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0" r:id="rId2"/>
    <p:sldMasterId id="2147483682" r:id="rId3"/>
  </p:sldMasterIdLst>
  <p:notesMasterIdLst>
    <p:notesMasterId r:id="rId17"/>
  </p:notesMasterIdLst>
  <p:sldIdLst>
    <p:sldId id="256" r:id="rId4"/>
    <p:sldId id="5487" r:id="rId5"/>
    <p:sldId id="5513" r:id="rId6"/>
    <p:sldId id="5534" r:id="rId7"/>
    <p:sldId id="2147309165" r:id="rId8"/>
    <p:sldId id="2147480982" r:id="rId9"/>
    <p:sldId id="5492" r:id="rId10"/>
    <p:sldId id="5501" r:id="rId11"/>
    <p:sldId id="2147309371" r:id="rId12"/>
    <p:sldId id="2147309168" r:id="rId13"/>
    <p:sldId id="2147309173" r:id="rId14"/>
    <p:sldId id="1694296482" r:id="rId15"/>
    <p:sldId id="25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FC1FD1-A3D0-8E7A-1DD5-0ED669863EF1}" name="Kostarides, Stacey Ellen" initials="KE" userId="S::stacey.kostarides@cvshealth.com::cf6eb228-ce26-4628-aa49-2ae5d707efa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5592"/>
    <a:srgbClr val="0CADCE"/>
    <a:srgbClr val="39B9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C246F1-4857-4596-A730-995AD8D1BAB6}" v="45" dt="2024-09-12T21:58:36.8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52626" autoAdjust="0"/>
  </p:normalViewPr>
  <p:slideViewPr>
    <p:cSldViewPr snapToGrid="0">
      <p:cViewPr varScale="1">
        <p:scale>
          <a:sx n="66" d="100"/>
          <a:sy n="66" d="100"/>
        </p:scale>
        <p:origin x="2310" y="66"/>
      </p:cViewPr>
      <p:guideLst/>
    </p:cSldViewPr>
  </p:slideViewPr>
  <p:notesTextViewPr>
    <p:cViewPr>
      <p:scale>
        <a:sx n="150" d="100"/>
        <a:sy n="150" d="100"/>
      </p:scale>
      <p:origin x="0" y="-102"/>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iegler, Judson M" userId="a42ab57f-2d77-49da-a63e-43189f0a7410" providerId="ADAL" clId="{39BF5923-AA2B-42B0-89A8-9CDC2A79258E}"/>
    <pc:docChg chg="modSld">
      <pc:chgData name="Ziegler, Judson M" userId="a42ab57f-2d77-49da-a63e-43189f0a7410" providerId="ADAL" clId="{39BF5923-AA2B-42B0-89A8-9CDC2A79258E}" dt="2024-08-15T13:57:26.367" v="11"/>
      <pc:docMkLst>
        <pc:docMk/>
      </pc:docMkLst>
      <pc:sldChg chg="addSp delSp modSp modTransition modAnim">
        <pc:chgData name="Ziegler, Judson M" userId="a42ab57f-2d77-49da-a63e-43189f0a7410" providerId="ADAL" clId="{39BF5923-AA2B-42B0-89A8-9CDC2A79258E}" dt="2024-08-15T13:56:56.958" v="10"/>
        <pc:sldMkLst>
          <pc:docMk/>
          <pc:sldMk cId="3318698433" sldId="5487"/>
        </pc:sldMkLst>
        <pc:picChg chg="add del mod">
          <ac:chgData name="Ziegler, Judson M" userId="a42ab57f-2d77-49da-a63e-43189f0a7410" providerId="ADAL" clId="{39BF5923-AA2B-42B0-89A8-9CDC2A79258E}" dt="2024-08-15T13:56:56.958" v="10"/>
          <ac:picMkLst>
            <pc:docMk/>
            <pc:sldMk cId="3318698433" sldId="5487"/>
            <ac:picMk id="39" creationId="{4EE52164-76F4-18D3-BED9-86D18982C962}"/>
          </ac:picMkLst>
        </pc:picChg>
      </pc:sldChg>
      <pc:sldChg chg="modTransition">
        <pc:chgData name="Ziegler, Judson M" userId="a42ab57f-2d77-49da-a63e-43189f0a7410" providerId="ADAL" clId="{39BF5923-AA2B-42B0-89A8-9CDC2A79258E}" dt="2024-08-15T13:56:56.958" v="10"/>
        <pc:sldMkLst>
          <pc:docMk/>
          <pc:sldMk cId="431770075" sldId="5492"/>
        </pc:sldMkLst>
      </pc:sldChg>
      <pc:sldChg chg="modTransition">
        <pc:chgData name="Ziegler, Judson M" userId="a42ab57f-2d77-49da-a63e-43189f0a7410" providerId="ADAL" clId="{39BF5923-AA2B-42B0-89A8-9CDC2A79258E}" dt="2024-08-15T13:56:56.958" v="10"/>
        <pc:sldMkLst>
          <pc:docMk/>
          <pc:sldMk cId="2308901982" sldId="5501"/>
        </pc:sldMkLst>
      </pc:sldChg>
      <pc:sldChg chg="modTransition">
        <pc:chgData name="Ziegler, Judson M" userId="a42ab57f-2d77-49da-a63e-43189f0a7410" providerId="ADAL" clId="{39BF5923-AA2B-42B0-89A8-9CDC2A79258E}" dt="2024-08-15T13:56:56.958" v="10"/>
        <pc:sldMkLst>
          <pc:docMk/>
          <pc:sldMk cId="3914810991" sldId="5513"/>
        </pc:sldMkLst>
      </pc:sldChg>
      <pc:sldChg chg="modTransition">
        <pc:chgData name="Ziegler, Judson M" userId="a42ab57f-2d77-49da-a63e-43189f0a7410" providerId="ADAL" clId="{39BF5923-AA2B-42B0-89A8-9CDC2A79258E}" dt="2024-08-15T13:56:56.958" v="10"/>
        <pc:sldMkLst>
          <pc:docMk/>
          <pc:sldMk cId="4133137525" sldId="5528"/>
        </pc:sldMkLst>
      </pc:sldChg>
      <pc:sldChg chg="modTransition">
        <pc:chgData name="Ziegler, Judson M" userId="a42ab57f-2d77-49da-a63e-43189f0a7410" providerId="ADAL" clId="{39BF5923-AA2B-42B0-89A8-9CDC2A79258E}" dt="2024-08-15T13:56:56.958" v="10"/>
        <pc:sldMkLst>
          <pc:docMk/>
          <pc:sldMk cId="2034815746" sldId="5534"/>
        </pc:sldMkLst>
      </pc:sldChg>
      <pc:sldChg chg="modTransition">
        <pc:chgData name="Ziegler, Judson M" userId="a42ab57f-2d77-49da-a63e-43189f0a7410" providerId="ADAL" clId="{39BF5923-AA2B-42B0-89A8-9CDC2A79258E}" dt="2024-08-15T13:56:56.958" v="10"/>
        <pc:sldMkLst>
          <pc:docMk/>
          <pc:sldMk cId="2306761068" sldId="1694296482"/>
        </pc:sldMkLst>
      </pc:sldChg>
      <pc:sldChg chg="modTransition">
        <pc:chgData name="Ziegler, Judson M" userId="a42ab57f-2d77-49da-a63e-43189f0a7410" providerId="ADAL" clId="{39BF5923-AA2B-42B0-89A8-9CDC2A79258E}" dt="2024-08-15T13:56:56.958" v="10"/>
        <pc:sldMkLst>
          <pc:docMk/>
          <pc:sldMk cId="1442973020" sldId="2147309165"/>
        </pc:sldMkLst>
      </pc:sldChg>
      <pc:sldChg chg="modTransition">
        <pc:chgData name="Ziegler, Judson M" userId="a42ab57f-2d77-49da-a63e-43189f0a7410" providerId="ADAL" clId="{39BF5923-AA2B-42B0-89A8-9CDC2A79258E}" dt="2024-08-15T13:56:56.958" v="10"/>
        <pc:sldMkLst>
          <pc:docMk/>
          <pc:sldMk cId="657613491" sldId="2147309168"/>
        </pc:sldMkLst>
      </pc:sldChg>
      <pc:sldChg chg="modTransition">
        <pc:chgData name="Ziegler, Judson M" userId="a42ab57f-2d77-49da-a63e-43189f0a7410" providerId="ADAL" clId="{39BF5923-AA2B-42B0-89A8-9CDC2A79258E}" dt="2024-08-15T13:56:56.958" v="10"/>
        <pc:sldMkLst>
          <pc:docMk/>
          <pc:sldMk cId="3771231228" sldId="2147309173"/>
        </pc:sldMkLst>
      </pc:sldChg>
      <pc:sldChg chg="modTransition">
        <pc:chgData name="Ziegler, Judson M" userId="a42ab57f-2d77-49da-a63e-43189f0a7410" providerId="ADAL" clId="{39BF5923-AA2B-42B0-89A8-9CDC2A79258E}" dt="2024-08-15T13:56:56.958" v="10"/>
        <pc:sldMkLst>
          <pc:docMk/>
          <pc:sldMk cId="3824817091" sldId="2147309371"/>
        </pc:sldMkLst>
      </pc:sldChg>
      <pc:sldChg chg="modTransition">
        <pc:chgData name="Ziegler, Judson M" userId="a42ab57f-2d77-49da-a63e-43189f0a7410" providerId="ADAL" clId="{39BF5923-AA2B-42B0-89A8-9CDC2A79258E}" dt="2024-08-15T13:56:56.958" v="10"/>
        <pc:sldMkLst>
          <pc:docMk/>
          <pc:sldMk cId="170799111" sldId="2147309372"/>
        </pc:sldMkLst>
      </pc:sldChg>
      <pc:sldChg chg="addSp delSp modSp mod modTransition modAnim">
        <pc:chgData name="Ziegler, Judson M" userId="a42ab57f-2d77-49da-a63e-43189f0a7410" providerId="ADAL" clId="{39BF5923-AA2B-42B0-89A8-9CDC2A79258E}" dt="2024-08-15T13:57:26.367" v="11"/>
        <pc:sldMkLst>
          <pc:docMk/>
          <pc:sldMk cId="3250418178" sldId="2147309620"/>
        </pc:sldMkLst>
        <pc:picChg chg="add del mod ord">
          <ac:chgData name="Ziegler, Judson M" userId="a42ab57f-2d77-49da-a63e-43189f0a7410" providerId="ADAL" clId="{39BF5923-AA2B-42B0-89A8-9CDC2A79258E}" dt="2024-08-15T13:39:52.186" v="6"/>
          <ac:picMkLst>
            <pc:docMk/>
            <pc:sldMk cId="3250418178" sldId="2147309620"/>
            <ac:picMk id="53" creationId="{458CB9BF-ADC3-32CC-5FD6-963D9DB86E01}"/>
          </ac:picMkLst>
        </pc:picChg>
        <pc:picChg chg="add del mod">
          <ac:chgData name="Ziegler, Judson M" userId="a42ab57f-2d77-49da-a63e-43189f0a7410" providerId="ADAL" clId="{39BF5923-AA2B-42B0-89A8-9CDC2A79258E}" dt="2024-08-14T22:44:51.286" v="2"/>
          <ac:picMkLst>
            <pc:docMk/>
            <pc:sldMk cId="3250418178" sldId="2147309620"/>
            <ac:picMk id="54" creationId="{ABB0E260-5023-3ABF-9745-2575CD6238DF}"/>
          </ac:picMkLst>
        </pc:picChg>
        <pc:picChg chg="add del mod">
          <ac:chgData name="Ziegler, Judson M" userId="a42ab57f-2d77-49da-a63e-43189f0a7410" providerId="ADAL" clId="{39BF5923-AA2B-42B0-89A8-9CDC2A79258E}" dt="2024-08-15T13:39:44.604" v="5"/>
          <ac:picMkLst>
            <pc:docMk/>
            <pc:sldMk cId="3250418178" sldId="2147309620"/>
            <ac:picMk id="55" creationId="{8CCC199C-D02F-56C9-61B9-ED538A6BDCDB}"/>
          </ac:picMkLst>
        </pc:picChg>
        <pc:picChg chg="add del mod">
          <ac:chgData name="Ziegler, Judson M" userId="a42ab57f-2d77-49da-a63e-43189f0a7410" providerId="ADAL" clId="{39BF5923-AA2B-42B0-89A8-9CDC2A79258E}" dt="2024-08-15T13:40:13.177" v="9"/>
          <ac:picMkLst>
            <pc:docMk/>
            <pc:sldMk cId="3250418178" sldId="2147309620"/>
            <ac:picMk id="58" creationId="{C27E92D3-5B99-ED00-CFEA-2135728D49B8}"/>
          </ac:picMkLst>
        </pc:picChg>
        <pc:picChg chg="add del mod">
          <ac:chgData name="Ziegler, Judson M" userId="a42ab57f-2d77-49da-a63e-43189f0a7410" providerId="ADAL" clId="{39BF5923-AA2B-42B0-89A8-9CDC2A79258E}" dt="2024-08-15T13:56:56.958" v="10"/>
          <ac:picMkLst>
            <pc:docMk/>
            <pc:sldMk cId="3250418178" sldId="2147309620"/>
            <ac:picMk id="59" creationId="{C93C080F-B1EC-9671-F163-2603DEBFB14C}"/>
          </ac:picMkLst>
        </pc:picChg>
        <pc:picChg chg="add mod">
          <ac:chgData name="Ziegler, Judson M" userId="a42ab57f-2d77-49da-a63e-43189f0a7410" providerId="ADAL" clId="{39BF5923-AA2B-42B0-89A8-9CDC2A79258E}" dt="2024-08-15T13:57:26.367" v="11"/>
          <ac:picMkLst>
            <pc:docMk/>
            <pc:sldMk cId="3250418178" sldId="2147309620"/>
            <ac:picMk id="1033" creationId="{B6C8427C-EB7C-C482-0F90-4DB10B190FEF}"/>
          </ac:picMkLst>
        </pc:picChg>
      </pc:sldChg>
    </pc:docChg>
  </pc:docChgLst>
  <pc:docChgLst>
    <pc:chgData name="Ziegler, Judson M" userId="a42ab57f-2d77-49da-a63e-43189f0a7410" providerId="ADAL" clId="{7ACE922F-AAD2-4E12-AB30-871241E66902}"/>
    <pc:docChg chg="custSel modSld">
      <pc:chgData name="Ziegler, Judson M" userId="a42ab57f-2d77-49da-a63e-43189f0a7410" providerId="ADAL" clId="{7ACE922F-AAD2-4E12-AB30-871241E66902}" dt="2023-10-10T20:22:38.947" v="131"/>
      <pc:docMkLst>
        <pc:docMk/>
      </pc:docMkLst>
      <pc:sldChg chg="modNotesTx">
        <pc:chgData name="Ziegler, Judson M" userId="a42ab57f-2d77-49da-a63e-43189f0a7410" providerId="ADAL" clId="{7ACE922F-AAD2-4E12-AB30-871241E66902}" dt="2023-10-10T20:22:38.947" v="131"/>
        <pc:sldMkLst>
          <pc:docMk/>
          <pc:sldMk cId="431770075" sldId="5492"/>
        </pc:sldMkLst>
      </pc:sldChg>
      <pc:sldChg chg="modNotesTx">
        <pc:chgData name="Ziegler, Judson M" userId="a42ab57f-2d77-49da-a63e-43189f0a7410" providerId="ADAL" clId="{7ACE922F-AAD2-4E12-AB30-871241E66902}" dt="2023-10-10T19:43:07.323" v="117" actId="20577"/>
        <pc:sldMkLst>
          <pc:docMk/>
          <pc:sldMk cId="2034815746" sldId="5534"/>
        </pc:sldMkLst>
      </pc:sldChg>
      <pc:sldChg chg="modNotesTx">
        <pc:chgData name="Ziegler, Judson M" userId="a42ab57f-2d77-49da-a63e-43189f0a7410" providerId="ADAL" clId="{7ACE922F-AAD2-4E12-AB30-871241E66902}" dt="2023-10-10T19:40:43.587" v="113" actId="20577"/>
        <pc:sldMkLst>
          <pc:docMk/>
          <pc:sldMk cId="3250418178" sldId="2147309620"/>
        </pc:sldMkLst>
      </pc:sldChg>
    </pc:docChg>
  </pc:docChgLst>
  <pc:docChgLst>
    <pc:chgData name="Ziegler, Judson M" userId="a42ab57f-2d77-49da-a63e-43189f0a7410" providerId="ADAL" clId="{EAC246F1-4857-4596-A730-995AD8D1BAB6}"/>
    <pc:docChg chg="undo redo custSel addSld delSld modSld">
      <pc:chgData name="Ziegler, Judson M" userId="a42ab57f-2d77-49da-a63e-43189f0a7410" providerId="ADAL" clId="{EAC246F1-4857-4596-A730-995AD8D1BAB6}" dt="2024-09-12T21:58:48.853" v="1439" actId="29295"/>
      <pc:docMkLst>
        <pc:docMk/>
      </pc:docMkLst>
      <pc:sldChg chg="modSp add del mod modNotesTx">
        <pc:chgData name="Ziegler, Judson M" userId="a42ab57f-2d77-49da-a63e-43189f0a7410" providerId="ADAL" clId="{EAC246F1-4857-4596-A730-995AD8D1BAB6}" dt="2024-09-12T18:32:28.751" v="1307" actId="1076"/>
        <pc:sldMkLst>
          <pc:docMk/>
          <pc:sldMk cId="3836214926" sldId="256"/>
        </pc:sldMkLst>
        <pc:spChg chg="mod">
          <ac:chgData name="Ziegler, Judson M" userId="a42ab57f-2d77-49da-a63e-43189f0a7410" providerId="ADAL" clId="{EAC246F1-4857-4596-A730-995AD8D1BAB6}" dt="2024-09-12T13:35:23.637" v="154" actId="20577"/>
          <ac:spMkLst>
            <pc:docMk/>
            <pc:sldMk cId="3836214926" sldId="256"/>
            <ac:spMk id="8" creationId="{AA7A8C7D-C4F1-F1D9-81A4-0183AB91EFFD}"/>
          </ac:spMkLst>
        </pc:spChg>
        <pc:spChg chg="mod">
          <ac:chgData name="Ziegler, Judson M" userId="a42ab57f-2d77-49da-a63e-43189f0a7410" providerId="ADAL" clId="{EAC246F1-4857-4596-A730-995AD8D1BAB6}" dt="2024-09-12T18:31:20.936" v="1304" actId="20577"/>
          <ac:spMkLst>
            <pc:docMk/>
            <pc:sldMk cId="3836214926" sldId="256"/>
            <ac:spMk id="9" creationId="{2951B3AF-6D45-0176-5913-3262968661B5}"/>
          </ac:spMkLst>
        </pc:spChg>
        <pc:picChg chg="mod">
          <ac:chgData name="Ziegler, Judson M" userId="a42ab57f-2d77-49da-a63e-43189f0a7410" providerId="ADAL" clId="{EAC246F1-4857-4596-A730-995AD8D1BAB6}" dt="2024-09-12T18:32:28.751" v="1307" actId="1076"/>
          <ac:picMkLst>
            <pc:docMk/>
            <pc:sldMk cId="3836214926" sldId="256"/>
            <ac:picMk id="2" creationId="{5C17E3C9-99BD-370E-2A3A-E1B97E793056}"/>
          </ac:picMkLst>
        </pc:picChg>
      </pc:sldChg>
      <pc:sldChg chg="modSp del mod">
        <pc:chgData name="Ziegler, Judson M" userId="a42ab57f-2d77-49da-a63e-43189f0a7410" providerId="ADAL" clId="{EAC246F1-4857-4596-A730-995AD8D1BAB6}" dt="2024-09-12T21:44:07.008" v="1435" actId="29295"/>
        <pc:sldMkLst>
          <pc:docMk/>
          <pc:sldMk cId="3400393850" sldId="259"/>
        </pc:sldMkLst>
        <pc:picChg chg="mod">
          <ac:chgData name="Ziegler, Judson M" userId="a42ab57f-2d77-49da-a63e-43189f0a7410" providerId="ADAL" clId="{EAC246F1-4857-4596-A730-995AD8D1BAB6}" dt="2024-09-12T21:44:07.008" v="1435" actId="29295"/>
          <ac:picMkLst>
            <pc:docMk/>
            <pc:sldMk cId="3400393850" sldId="259"/>
            <ac:picMk id="2" creationId="{7B19EE86-3839-7081-8C4D-6E927A4B8D02}"/>
          </ac:picMkLst>
        </pc:picChg>
      </pc:sldChg>
      <pc:sldChg chg="modSp mod">
        <pc:chgData name="Ziegler, Judson M" userId="a42ab57f-2d77-49da-a63e-43189f0a7410" providerId="ADAL" clId="{EAC246F1-4857-4596-A730-995AD8D1BAB6}" dt="2024-09-12T21:42:36.737" v="1344" actId="29295"/>
        <pc:sldMkLst>
          <pc:docMk/>
          <pc:sldMk cId="3318698433" sldId="5487"/>
        </pc:sldMkLst>
        <pc:picChg chg="mod">
          <ac:chgData name="Ziegler, Judson M" userId="a42ab57f-2d77-49da-a63e-43189f0a7410" providerId="ADAL" clId="{EAC246F1-4857-4596-A730-995AD8D1BAB6}" dt="2024-09-12T21:42:36.737" v="1344" actId="29295"/>
          <ac:picMkLst>
            <pc:docMk/>
            <pc:sldMk cId="3318698433" sldId="5487"/>
            <ac:picMk id="3" creationId="{5DB19909-0BB0-A046-A499-97C59CE838C8}"/>
          </ac:picMkLst>
        </pc:picChg>
      </pc:sldChg>
      <pc:sldChg chg="modSp mod modNotesTx">
        <pc:chgData name="Ziegler, Judson M" userId="a42ab57f-2d77-49da-a63e-43189f0a7410" providerId="ADAL" clId="{EAC246F1-4857-4596-A730-995AD8D1BAB6}" dt="2024-09-12T21:43:20.472" v="1391" actId="29295"/>
        <pc:sldMkLst>
          <pc:docMk/>
          <pc:sldMk cId="431770075" sldId="5492"/>
        </pc:sldMkLst>
        <pc:picChg chg="mod">
          <ac:chgData name="Ziegler, Judson M" userId="a42ab57f-2d77-49da-a63e-43189f0a7410" providerId="ADAL" clId="{EAC246F1-4857-4596-A730-995AD8D1BAB6}" dt="2024-09-12T21:43:20.472" v="1391" actId="29295"/>
          <ac:picMkLst>
            <pc:docMk/>
            <pc:sldMk cId="431770075" sldId="5492"/>
            <ac:picMk id="2" creationId="{9884C696-2C05-F3D9-57C7-2F6F3EADC827}"/>
          </ac:picMkLst>
        </pc:picChg>
      </pc:sldChg>
      <pc:sldChg chg="modSp mod">
        <pc:chgData name="Ziegler, Judson M" userId="a42ab57f-2d77-49da-a63e-43189f0a7410" providerId="ADAL" clId="{EAC246F1-4857-4596-A730-995AD8D1BAB6}" dt="2024-09-12T21:43:28.018" v="1401" actId="29295"/>
        <pc:sldMkLst>
          <pc:docMk/>
          <pc:sldMk cId="2308901982" sldId="5501"/>
        </pc:sldMkLst>
        <pc:picChg chg="mod">
          <ac:chgData name="Ziegler, Judson M" userId="a42ab57f-2d77-49da-a63e-43189f0a7410" providerId="ADAL" clId="{EAC246F1-4857-4596-A730-995AD8D1BAB6}" dt="2024-09-12T21:43:28.018" v="1401" actId="29295"/>
          <ac:picMkLst>
            <pc:docMk/>
            <pc:sldMk cId="2308901982" sldId="5501"/>
            <ac:picMk id="3" creationId="{E5E58619-15B1-5DB0-FDCD-B6D016177B9C}"/>
          </ac:picMkLst>
        </pc:picChg>
      </pc:sldChg>
      <pc:sldChg chg="modSp mod">
        <pc:chgData name="Ziegler, Judson M" userId="a42ab57f-2d77-49da-a63e-43189f0a7410" providerId="ADAL" clId="{EAC246F1-4857-4596-A730-995AD8D1BAB6}" dt="2024-09-12T21:42:46.202" v="1358" actId="29295"/>
        <pc:sldMkLst>
          <pc:docMk/>
          <pc:sldMk cId="3914810991" sldId="5513"/>
        </pc:sldMkLst>
        <pc:picChg chg="mod">
          <ac:chgData name="Ziegler, Judson M" userId="a42ab57f-2d77-49da-a63e-43189f0a7410" providerId="ADAL" clId="{EAC246F1-4857-4596-A730-995AD8D1BAB6}" dt="2024-09-12T21:42:46.202" v="1358" actId="29295"/>
          <ac:picMkLst>
            <pc:docMk/>
            <pc:sldMk cId="3914810991" sldId="5513"/>
            <ac:picMk id="4" creationId="{92185D8F-A8F3-68AD-90E6-F4579323894D}"/>
          </ac:picMkLst>
        </pc:picChg>
      </pc:sldChg>
      <pc:sldChg chg="modSp mod">
        <pc:chgData name="Ziegler, Judson M" userId="a42ab57f-2d77-49da-a63e-43189f0a7410" providerId="ADAL" clId="{EAC246F1-4857-4596-A730-995AD8D1BAB6}" dt="2024-09-12T21:42:54.425" v="1366" actId="29295"/>
        <pc:sldMkLst>
          <pc:docMk/>
          <pc:sldMk cId="2034815746" sldId="5534"/>
        </pc:sldMkLst>
        <pc:picChg chg="mod">
          <ac:chgData name="Ziegler, Judson M" userId="a42ab57f-2d77-49da-a63e-43189f0a7410" providerId="ADAL" clId="{EAC246F1-4857-4596-A730-995AD8D1BAB6}" dt="2024-09-12T21:42:54.425" v="1366" actId="29295"/>
          <ac:picMkLst>
            <pc:docMk/>
            <pc:sldMk cId="2034815746" sldId="5534"/>
            <ac:picMk id="2" creationId="{B8369C09-3A43-E327-CA51-2804672ACECF}"/>
          </ac:picMkLst>
        </pc:picChg>
      </pc:sldChg>
      <pc:sldChg chg="delSp modSp mod delAnim">
        <pc:chgData name="Ziegler, Judson M" userId="a42ab57f-2d77-49da-a63e-43189f0a7410" providerId="ADAL" clId="{EAC246F1-4857-4596-A730-995AD8D1BAB6}" dt="2024-09-12T21:58:48.853" v="1439" actId="29295"/>
        <pc:sldMkLst>
          <pc:docMk/>
          <pc:sldMk cId="1442973020" sldId="2147309165"/>
        </pc:sldMkLst>
        <pc:picChg chg="del mod">
          <ac:chgData name="Ziegler, Judson M" userId="a42ab57f-2d77-49da-a63e-43189f0a7410" providerId="ADAL" clId="{EAC246F1-4857-4596-A730-995AD8D1BAB6}" dt="2024-09-12T21:57:44.828" v="1436" actId="478"/>
          <ac:picMkLst>
            <pc:docMk/>
            <pc:sldMk cId="1442973020" sldId="2147309165"/>
            <ac:picMk id="2" creationId="{A2CAE64A-20D9-3A32-B077-3480EAE59C96}"/>
          </ac:picMkLst>
        </pc:picChg>
        <pc:picChg chg="mod">
          <ac:chgData name="Ziegler, Judson M" userId="a42ab57f-2d77-49da-a63e-43189f0a7410" providerId="ADAL" clId="{EAC246F1-4857-4596-A730-995AD8D1BAB6}" dt="2024-09-12T21:58:48.853" v="1439" actId="29295"/>
          <ac:picMkLst>
            <pc:docMk/>
            <pc:sldMk cId="1442973020" sldId="2147309165"/>
            <ac:picMk id="7" creationId="{0E611C96-4361-39B5-CB7B-BC017E7A63B3}"/>
          </ac:picMkLst>
        </pc:picChg>
      </pc:sldChg>
      <pc:sldChg chg="modSp mod">
        <pc:chgData name="Ziegler, Judson M" userId="a42ab57f-2d77-49da-a63e-43189f0a7410" providerId="ADAL" clId="{EAC246F1-4857-4596-A730-995AD8D1BAB6}" dt="2024-09-12T21:43:40.316" v="1418" actId="29295"/>
        <pc:sldMkLst>
          <pc:docMk/>
          <pc:sldMk cId="657613491" sldId="2147309168"/>
        </pc:sldMkLst>
        <pc:picChg chg="mod">
          <ac:chgData name="Ziegler, Judson M" userId="a42ab57f-2d77-49da-a63e-43189f0a7410" providerId="ADAL" clId="{EAC246F1-4857-4596-A730-995AD8D1BAB6}" dt="2024-09-12T21:43:40.316" v="1418" actId="29295"/>
          <ac:picMkLst>
            <pc:docMk/>
            <pc:sldMk cId="657613491" sldId="2147309168"/>
            <ac:picMk id="4" creationId="{FAF7057C-2491-716F-81D9-A168798B6724}"/>
          </ac:picMkLst>
        </pc:picChg>
      </pc:sldChg>
      <pc:sldChg chg="modSp mod">
        <pc:chgData name="Ziegler, Judson M" userId="a42ab57f-2d77-49da-a63e-43189f0a7410" providerId="ADAL" clId="{EAC246F1-4857-4596-A730-995AD8D1BAB6}" dt="2024-09-12T21:43:46.143" v="1429" actId="29295"/>
        <pc:sldMkLst>
          <pc:docMk/>
          <pc:sldMk cId="3771231228" sldId="2147309173"/>
        </pc:sldMkLst>
        <pc:picChg chg="mod">
          <ac:chgData name="Ziegler, Judson M" userId="a42ab57f-2d77-49da-a63e-43189f0a7410" providerId="ADAL" clId="{EAC246F1-4857-4596-A730-995AD8D1BAB6}" dt="2024-09-12T21:43:46.143" v="1429" actId="29295"/>
          <ac:picMkLst>
            <pc:docMk/>
            <pc:sldMk cId="3771231228" sldId="2147309173"/>
            <ac:picMk id="4" creationId="{8D4C9D7E-A8B3-F15E-6D9C-1AA6FCBEB64C}"/>
          </ac:picMkLst>
        </pc:picChg>
      </pc:sldChg>
      <pc:sldChg chg="modSp mod">
        <pc:chgData name="Ziegler, Judson M" userId="a42ab57f-2d77-49da-a63e-43189f0a7410" providerId="ADAL" clId="{EAC246F1-4857-4596-A730-995AD8D1BAB6}" dt="2024-09-12T21:43:34.834" v="1412" actId="29295"/>
        <pc:sldMkLst>
          <pc:docMk/>
          <pc:sldMk cId="3824817091" sldId="2147309371"/>
        </pc:sldMkLst>
        <pc:picChg chg="mod">
          <ac:chgData name="Ziegler, Judson M" userId="a42ab57f-2d77-49da-a63e-43189f0a7410" providerId="ADAL" clId="{EAC246F1-4857-4596-A730-995AD8D1BAB6}" dt="2024-09-12T21:43:34.834" v="1412" actId="29295"/>
          <ac:picMkLst>
            <pc:docMk/>
            <pc:sldMk cId="3824817091" sldId="2147309371"/>
            <ac:picMk id="9" creationId="{7C777CCB-46A7-4972-7326-24FAA5A0378A}"/>
          </ac:picMkLst>
        </pc:picChg>
      </pc:sldChg>
      <pc:sldChg chg="del">
        <pc:chgData name="Ziegler, Judson M" userId="a42ab57f-2d77-49da-a63e-43189f0a7410" providerId="ADAL" clId="{EAC246F1-4857-4596-A730-995AD8D1BAB6}" dt="2024-09-12T18:16:17.054" v="973" actId="2696"/>
        <pc:sldMkLst>
          <pc:docMk/>
          <pc:sldMk cId="170799111" sldId="2147309372"/>
        </pc:sldMkLst>
      </pc:sldChg>
      <pc:sldChg chg="new del">
        <pc:chgData name="Ziegler, Judson M" userId="a42ab57f-2d77-49da-a63e-43189f0a7410" providerId="ADAL" clId="{EAC246F1-4857-4596-A730-995AD8D1BAB6}" dt="2024-09-12T13:55:03.847" v="440" actId="680"/>
        <pc:sldMkLst>
          <pc:docMk/>
          <pc:sldMk cId="2148988656" sldId="2147309373"/>
        </pc:sldMkLst>
      </pc:sldChg>
      <pc:sldChg chg="add del">
        <pc:chgData name="Ziegler, Judson M" userId="a42ab57f-2d77-49da-a63e-43189f0a7410" providerId="ADAL" clId="{EAC246F1-4857-4596-A730-995AD8D1BAB6}" dt="2024-09-12T13:35:10.688" v="109" actId="2696"/>
        <pc:sldMkLst>
          <pc:docMk/>
          <pc:sldMk cId="3250418178" sldId="2147309620"/>
        </pc:sldMkLst>
      </pc:sldChg>
      <pc:sldChg chg="addSp delSp modSp mod delAnim modAnim delCm modCm modNotesTx">
        <pc:chgData name="Ziegler, Judson M" userId="a42ab57f-2d77-49da-a63e-43189f0a7410" providerId="ADAL" clId="{EAC246F1-4857-4596-A730-995AD8D1BAB6}" dt="2024-09-12T21:42:23.424" v="1339" actId="29295"/>
        <pc:sldMkLst>
          <pc:docMk/>
          <pc:sldMk cId="3717180921" sldId="2147480982"/>
        </pc:sldMkLst>
        <pc:spChg chg="mod">
          <ac:chgData name="Ziegler, Judson M" userId="a42ab57f-2d77-49da-a63e-43189f0a7410" providerId="ADAL" clId="{EAC246F1-4857-4596-A730-995AD8D1BAB6}" dt="2024-09-12T21:40:57.036" v="1319" actId="20577"/>
          <ac:spMkLst>
            <pc:docMk/>
            <pc:sldMk cId="3717180921" sldId="2147480982"/>
            <ac:spMk id="2" creationId="{1909EF79-DAC1-D03D-1421-FC2BC79FCCFB}"/>
          </ac:spMkLst>
        </pc:spChg>
        <pc:spChg chg="add mod">
          <ac:chgData name="Ziegler, Judson M" userId="a42ab57f-2d77-49da-a63e-43189f0a7410" providerId="ADAL" clId="{EAC246F1-4857-4596-A730-995AD8D1BAB6}" dt="2024-09-12T18:16:03.172" v="972" actId="1036"/>
          <ac:spMkLst>
            <pc:docMk/>
            <pc:sldMk cId="3717180921" sldId="2147480982"/>
            <ac:spMk id="3" creationId="{A6F5A4B5-2EE7-304B-9E66-C98C2988B229}"/>
          </ac:spMkLst>
        </pc:spChg>
        <pc:spChg chg="mod">
          <ac:chgData name="Ziegler, Judson M" userId="a42ab57f-2d77-49da-a63e-43189f0a7410" providerId="ADAL" clId="{EAC246F1-4857-4596-A730-995AD8D1BAB6}" dt="2024-09-12T14:06:08.220" v="537" actId="20577"/>
          <ac:spMkLst>
            <pc:docMk/>
            <pc:sldMk cId="3717180921" sldId="2147480982"/>
            <ac:spMk id="4" creationId="{AE0414C4-2C42-80F8-60D8-A0D9E57E20C9}"/>
          </ac:spMkLst>
        </pc:spChg>
        <pc:spChg chg="mod">
          <ac:chgData name="Ziegler, Judson M" userId="a42ab57f-2d77-49da-a63e-43189f0a7410" providerId="ADAL" clId="{EAC246F1-4857-4596-A730-995AD8D1BAB6}" dt="2024-09-12T14:12:23.256" v="785" actId="207"/>
          <ac:spMkLst>
            <pc:docMk/>
            <pc:sldMk cId="3717180921" sldId="2147480982"/>
            <ac:spMk id="6" creationId="{6A76FEAD-3029-8649-9A6F-16040A458F3E}"/>
          </ac:spMkLst>
        </pc:spChg>
        <pc:spChg chg="mod">
          <ac:chgData name="Ziegler, Judson M" userId="a42ab57f-2d77-49da-a63e-43189f0a7410" providerId="ADAL" clId="{EAC246F1-4857-4596-A730-995AD8D1BAB6}" dt="2024-09-12T14:59:51.625" v="946" actId="207"/>
          <ac:spMkLst>
            <pc:docMk/>
            <pc:sldMk cId="3717180921" sldId="2147480982"/>
            <ac:spMk id="11" creationId="{959647F9-55E3-429B-8279-35B30CC3E62C}"/>
          </ac:spMkLst>
        </pc:spChg>
        <pc:spChg chg="mod">
          <ac:chgData name="Ziegler, Judson M" userId="a42ab57f-2d77-49da-a63e-43189f0a7410" providerId="ADAL" clId="{EAC246F1-4857-4596-A730-995AD8D1BAB6}" dt="2024-09-12T14:59:46.057" v="945" actId="207"/>
          <ac:spMkLst>
            <pc:docMk/>
            <pc:sldMk cId="3717180921" sldId="2147480982"/>
            <ac:spMk id="16" creationId="{D8A5AA0E-5473-44D5-8AA0-79DEAC8CA7E2}"/>
          </ac:spMkLst>
        </pc:spChg>
        <pc:spChg chg="del">
          <ac:chgData name="Ziegler, Judson M" userId="a42ab57f-2d77-49da-a63e-43189f0a7410" providerId="ADAL" clId="{EAC246F1-4857-4596-A730-995AD8D1BAB6}" dt="2024-09-12T14:10:04.770" v="772" actId="478"/>
          <ac:spMkLst>
            <pc:docMk/>
            <pc:sldMk cId="3717180921" sldId="2147480982"/>
            <ac:spMk id="19" creationId="{154A07B6-3A24-1F17-B929-F32827E474C3}"/>
          </ac:spMkLst>
        </pc:spChg>
        <pc:spChg chg="mod">
          <ac:chgData name="Ziegler, Judson M" userId="a42ab57f-2d77-49da-a63e-43189f0a7410" providerId="ADAL" clId="{EAC246F1-4857-4596-A730-995AD8D1BAB6}" dt="2024-09-12T14:07:36.420" v="652" actId="20577"/>
          <ac:spMkLst>
            <pc:docMk/>
            <pc:sldMk cId="3717180921" sldId="2147480982"/>
            <ac:spMk id="21" creationId="{729FE0FF-FA03-E59B-8EED-3E7545560A35}"/>
          </ac:spMkLst>
        </pc:spChg>
        <pc:spChg chg="mod">
          <ac:chgData name="Ziegler, Judson M" userId="a42ab57f-2d77-49da-a63e-43189f0a7410" providerId="ADAL" clId="{EAC246F1-4857-4596-A730-995AD8D1BAB6}" dt="2024-09-12T14:07:56.917" v="685" actId="14100"/>
          <ac:spMkLst>
            <pc:docMk/>
            <pc:sldMk cId="3717180921" sldId="2147480982"/>
            <ac:spMk id="24" creationId="{CD507798-DEC2-27DD-AA31-4330711B8D89}"/>
          </ac:spMkLst>
        </pc:spChg>
        <pc:picChg chg="del mod">
          <ac:chgData name="Ziegler, Judson M" userId="a42ab57f-2d77-49da-a63e-43189f0a7410" providerId="ADAL" clId="{EAC246F1-4857-4596-A730-995AD8D1BAB6}" dt="2024-09-12T18:25:06.889" v="1206" actId="478"/>
          <ac:picMkLst>
            <pc:docMk/>
            <pc:sldMk cId="3717180921" sldId="2147480982"/>
            <ac:picMk id="7" creationId="{CB93015B-65C7-B091-42A4-FC779BE3E3B6}"/>
          </ac:picMkLst>
        </pc:picChg>
        <pc:picChg chg="mod">
          <ac:chgData name="Ziegler, Judson M" userId="a42ab57f-2d77-49da-a63e-43189f0a7410" providerId="ADAL" clId="{EAC246F1-4857-4596-A730-995AD8D1BAB6}" dt="2024-09-12T21:42:23.424" v="1339" actId="29295"/>
          <ac:picMkLst>
            <pc:docMk/>
            <pc:sldMk cId="3717180921" sldId="2147480982"/>
            <ac:picMk id="15" creationId="{7B9B7766-F61D-92A1-1390-B73CBB9AF0B4}"/>
          </ac:picMkLst>
        </pc:picChg>
        <pc:extLst>
          <p:ext xmlns:p="http://schemas.openxmlformats.org/presentationml/2006/main" uri="{D6D511B9-2390-475A-947B-AFAB55BFBCF1}">
            <pc226:cmChg xmlns:pc226="http://schemas.microsoft.com/office/powerpoint/2022/06/main/command" chg="del mod">
              <pc226:chgData name="Ziegler, Judson M" userId="a42ab57f-2d77-49da-a63e-43189f0a7410" providerId="ADAL" clId="{EAC246F1-4857-4596-A730-995AD8D1BAB6}" dt="2024-09-12T14:14:31.586" v="799"/>
              <pc2:cmMkLst xmlns:pc2="http://schemas.microsoft.com/office/powerpoint/2019/9/main/command">
                <pc:docMk/>
                <pc:sldMk cId="3717180921" sldId="2147480982"/>
                <pc2:cmMk id="{BAD96523-09C2-402C-919E-A9450FC206AD}"/>
              </pc2:cmMkLst>
            </pc226:cmChg>
          </p:ext>
        </pc:extLst>
      </pc:sldChg>
      <pc:sldMasterChg chg="addSldLayout delSldLayout">
        <pc:chgData name="Ziegler, Judson M" userId="a42ab57f-2d77-49da-a63e-43189f0a7410" providerId="ADAL" clId="{EAC246F1-4857-4596-A730-995AD8D1BAB6}" dt="2024-09-12T18:16:17.054" v="973" actId="2696"/>
        <pc:sldMasterMkLst>
          <pc:docMk/>
          <pc:sldMasterMk cId="519579666" sldId="2147483648"/>
        </pc:sldMasterMkLst>
        <pc:sldLayoutChg chg="add del">
          <pc:chgData name="Ziegler, Judson M" userId="a42ab57f-2d77-49da-a63e-43189f0a7410" providerId="ADAL" clId="{EAC246F1-4857-4596-A730-995AD8D1BAB6}" dt="2024-09-12T13:35:10.688" v="109" actId="2696"/>
          <pc:sldLayoutMkLst>
            <pc:docMk/>
            <pc:sldMasterMk cId="519579666" sldId="2147483648"/>
            <pc:sldLayoutMk cId="3010352765" sldId="2147483664"/>
          </pc:sldLayoutMkLst>
        </pc:sldLayoutChg>
        <pc:sldLayoutChg chg="del">
          <pc:chgData name="Ziegler, Judson M" userId="a42ab57f-2d77-49da-a63e-43189f0a7410" providerId="ADAL" clId="{EAC246F1-4857-4596-A730-995AD8D1BAB6}" dt="2024-09-12T18:16:17.054" v="973" actId="2696"/>
          <pc:sldLayoutMkLst>
            <pc:docMk/>
            <pc:sldMasterMk cId="519579666" sldId="2147483648"/>
            <pc:sldLayoutMk cId="627718323" sldId="2147483669"/>
          </pc:sldLayoutMkLst>
        </pc:sldLayoutChg>
      </pc:sldMasterChg>
    </pc:docChg>
  </pc:docChgLst>
  <pc:docChgLst>
    <pc:chgData name="Ziegler, Judson M" userId="a42ab57f-2d77-49da-a63e-43189f0a7410" providerId="ADAL" clId="{058B76AE-DAA9-43EC-8353-810399131FA5}"/>
    <pc:docChg chg="modSld">
      <pc:chgData name="Ziegler, Judson M" userId="a42ab57f-2d77-49da-a63e-43189f0a7410" providerId="ADAL" clId="{058B76AE-DAA9-43EC-8353-810399131FA5}" dt="2024-08-22T15:50:48.096" v="0" actId="20577"/>
      <pc:docMkLst>
        <pc:docMk/>
      </pc:docMkLst>
      <pc:sldChg chg="modNotesTx">
        <pc:chgData name="Ziegler, Judson M" userId="a42ab57f-2d77-49da-a63e-43189f0a7410" providerId="ADAL" clId="{058B76AE-DAA9-43EC-8353-810399131FA5}" dt="2024-08-22T15:50:48.096" v="0" actId="20577"/>
        <pc:sldMkLst>
          <pc:docMk/>
          <pc:sldMk cId="431770075" sldId="5492"/>
        </pc:sldMkLst>
      </pc:sldChg>
    </pc:docChg>
  </pc:docChgLst>
  <pc:docChgLst>
    <pc:chgData name="Ziegler, Judson M" userId="a42ab57f-2d77-49da-a63e-43189f0a7410" providerId="ADAL" clId="{D8AA4A54-2396-4249-B882-990745FFCFCF}"/>
    <pc:docChg chg="undo custSel modSld">
      <pc:chgData name="Ziegler, Judson M" userId="a42ab57f-2d77-49da-a63e-43189f0a7410" providerId="ADAL" clId="{D8AA4A54-2396-4249-B882-990745FFCFCF}" dt="2024-08-14T18:14:29.007" v="1053" actId="20577"/>
      <pc:docMkLst>
        <pc:docMk/>
      </pc:docMkLst>
      <pc:sldChg chg="modSp mod">
        <pc:chgData name="Ziegler, Judson M" userId="a42ab57f-2d77-49da-a63e-43189f0a7410" providerId="ADAL" clId="{D8AA4A54-2396-4249-B882-990745FFCFCF}" dt="2024-08-14T17:37:46.674" v="28" actId="20577"/>
        <pc:sldMkLst>
          <pc:docMk/>
          <pc:sldMk cId="3318698433" sldId="5487"/>
        </pc:sldMkLst>
        <pc:spChg chg="mod">
          <ac:chgData name="Ziegler, Judson M" userId="a42ab57f-2d77-49da-a63e-43189f0a7410" providerId="ADAL" clId="{D8AA4A54-2396-4249-B882-990745FFCFCF}" dt="2024-08-14T17:37:46.674" v="28" actId="20577"/>
          <ac:spMkLst>
            <pc:docMk/>
            <pc:sldMk cId="3318698433" sldId="5487"/>
            <ac:spMk id="40" creationId="{A60CE147-A214-469F-BB8F-D35C8205E0B3}"/>
          </ac:spMkLst>
        </pc:spChg>
      </pc:sldChg>
      <pc:sldChg chg="modSp mod">
        <pc:chgData name="Ziegler, Judson M" userId="a42ab57f-2d77-49da-a63e-43189f0a7410" providerId="ADAL" clId="{D8AA4A54-2396-4249-B882-990745FFCFCF}" dt="2024-08-14T17:38:18.240" v="36" actId="20577"/>
        <pc:sldMkLst>
          <pc:docMk/>
          <pc:sldMk cId="431770075" sldId="5492"/>
        </pc:sldMkLst>
        <pc:spChg chg="mod">
          <ac:chgData name="Ziegler, Judson M" userId="a42ab57f-2d77-49da-a63e-43189f0a7410" providerId="ADAL" clId="{D8AA4A54-2396-4249-B882-990745FFCFCF}" dt="2024-08-14T17:38:18.240" v="36" actId="20577"/>
          <ac:spMkLst>
            <pc:docMk/>
            <pc:sldMk cId="431770075" sldId="5492"/>
            <ac:spMk id="25" creationId="{C61FF793-B149-456F-BEA3-BDF1B5D73250}"/>
          </ac:spMkLst>
        </pc:spChg>
      </pc:sldChg>
      <pc:sldChg chg="delSp modSp mod modNotesTx">
        <pc:chgData name="Ziegler, Judson M" userId="a42ab57f-2d77-49da-a63e-43189f0a7410" providerId="ADAL" clId="{D8AA4A54-2396-4249-B882-990745FFCFCF}" dt="2024-08-14T18:13:20.639" v="1050"/>
        <pc:sldMkLst>
          <pc:docMk/>
          <pc:sldMk cId="2308901982" sldId="5501"/>
        </pc:sldMkLst>
        <pc:spChg chg="mod">
          <ac:chgData name="Ziegler, Judson M" userId="a42ab57f-2d77-49da-a63e-43189f0a7410" providerId="ADAL" clId="{D8AA4A54-2396-4249-B882-990745FFCFCF}" dt="2024-08-14T17:59:42.879" v="127" actId="313"/>
          <ac:spMkLst>
            <pc:docMk/>
            <pc:sldMk cId="2308901982" sldId="5501"/>
            <ac:spMk id="2" creationId="{00000000-0000-0000-0000-000000000000}"/>
          </ac:spMkLst>
        </pc:spChg>
        <pc:spChg chg="del mod">
          <ac:chgData name="Ziegler, Judson M" userId="a42ab57f-2d77-49da-a63e-43189f0a7410" providerId="ADAL" clId="{D8AA4A54-2396-4249-B882-990745FFCFCF}" dt="2024-08-14T18:13:20.639" v="1050"/>
          <ac:spMkLst>
            <pc:docMk/>
            <pc:sldMk cId="2308901982" sldId="5501"/>
            <ac:spMk id="3" creationId="{00000000-0000-0000-0000-000000000000}"/>
          </ac:spMkLst>
        </pc:spChg>
        <pc:spChg chg="mod">
          <ac:chgData name="Ziegler, Judson M" userId="a42ab57f-2d77-49da-a63e-43189f0a7410" providerId="ADAL" clId="{D8AA4A54-2396-4249-B882-990745FFCFCF}" dt="2024-08-14T17:57:52.163" v="63" actId="122"/>
          <ac:spMkLst>
            <pc:docMk/>
            <pc:sldMk cId="2308901982" sldId="5501"/>
            <ac:spMk id="5" creationId="{DDA6E9FC-7127-439D-82BD-6A0869922E28}"/>
          </ac:spMkLst>
        </pc:spChg>
        <pc:spChg chg="mod">
          <ac:chgData name="Ziegler, Judson M" userId="a42ab57f-2d77-49da-a63e-43189f0a7410" providerId="ADAL" clId="{D8AA4A54-2396-4249-B882-990745FFCFCF}" dt="2024-08-14T18:03:02.211" v="335" actId="1076"/>
          <ac:spMkLst>
            <pc:docMk/>
            <pc:sldMk cId="2308901982" sldId="5501"/>
            <ac:spMk id="7" creationId="{56063EDE-BD81-4DDA-A39E-D391196D3F11}"/>
          </ac:spMkLst>
        </pc:spChg>
        <pc:spChg chg="mod">
          <ac:chgData name="Ziegler, Judson M" userId="a42ab57f-2d77-49da-a63e-43189f0a7410" providerId="ADAL" clId="{D8AA4A54-2396-4249-B882-990745FFCFCF}" dt="2024-08-14T17:59:55.578" v="130" actId="1076"/>
          <ac:spMkLst>
            <pc:docMk/>
            <pc:sldMk cId="2308901982" sldId="5501"/>
            <ac:spMk id="8" creationId="{0B2C3556-5C77-4FAC-8968-FBCE2DFDDDEF}"/>
          </ac:spMkLst>
        </pc:spChg>
        <pc:spChg chg="mod">
          <ac:chgData name="Ziegler, Judson M" userId="a42ab57f-2d77-49da-a63e-43189f0a7410" providerId="ADAL" clId="{D8AA4A54-2396-4249-B882-990745FFCFCF}" dt="2024-08-14T18:10:05.091" v="549" actId="20577"/>
          <ac:spMkLst>
            <pc:docMk/>
            <pc:sldMk cId="2308901982" sldId="5501"/>
            <ac:spMk id="9" creationId="{78FD0D07-04B5-426F-B398-2B619981098E}"/>
          </ac:spMkLst>
        </pc:spChg>
        <pc:spChg chg="mod">
          <ac:chgData name="Ziegler, Judson M" userId="a42ab57f-2d77-49da-a63e-43189f0a7410" providerId="ADAL" clId="{D8AA4A54-2396-4249-B882-990745FFCFCF}" dt="2024-08-14T18:02:29.027" v="319" actId="1076"/>
          <ac:spMkLst>
            <pc:docMk/>
            <pc:sldMk cId="2308901982" sldId="5501"/>
            <ac:spMk id="30" creationId="{5B0499F7-2F2D-E247-8D0F-8299CAED2084}"/>
          </ac:spMkLst>
        </pc:spChg>
        <pc:spChg chg="mod">
          <ac:chgData name="Ziegler, Judson M" userId="a42ab57f-2d77-49da-a63e-43189f0a7410" providerId="ADAL" clId="{D8AA4A54-2396-4249-B882-990745FFCFCF}" dt="2024-08-14T18:03:15.176" v="339" actId="1076"/>
          <ac:spMkLst>
            <pc:docMk/>
            <pc:sldMk cId="2308901982" sldId="5501"/>
            <ac:spMk id="36" creationId="{00000000-0000-0000-0000-000000000000}"/>
          </ac:spMkLst>
        </pc:spChg>
        <pc:spChg chg="mod">
          <ac:chgData name="Ziegler, Judson M" userId="a42ab57f-2d77-49da-a63e-43189f0a7410" providerId="ADAL" clId="{D8AA4A54-2396-4249-B882-990745FFCFCF}" dt="2024-08-14T18:03:15.176" v="339" actId="1076"/>
          <ac:spMkLst>
            <pc:docMk/>
            <pc:sldMk cId="2308901982" sldId="5501"/>
            <ac:spMk id="37" creationId="{ABE2ADF7-C524-BA4F-BED4-C3DA6C77B5F1}"/>
          </ac:spMkLst>
        </pc:spChg>
        <pc:spChg chg="mod">
          <ac:chgData name="Ziegler, Judson M" userId="a42ab57f-2d77-49da-a63e-43189f0a7410" providerId="ADAL" clId="{D8AA4A54-2396-4249-B882-990745FFCFCF}" dt="2024-08-14T18:03:15.176" v="339" actId="1076"/>
          <ac:spMkLst>
            <pc:docMk/>
            <pc:sldMk cId="2308901982" sldId="5501"/>
            <ac:spMk id="38" creationId="{4278439F-635D-2D4A-8B46-B5655847FED4}"/>
          </ac:spMkLst>
        </pc:spChg>
        <pc:spChg chg="mod">
          <ac:chgData name="Ziegler, Judson M" userId="a42ab57f-2d77-49da-a63e-43189f0a7410" providerId="ADAL" clId="{D8AA4A54-2396-4249-B882-990745FFCFCF}" dt="2024-08-14T18:03:15.176" v="339" actId="1076"/>
          <ac:spMkLst>
            <pc:docMk/>
            <pc:sldMk cId="2308901982" sldId="5501"/>
            <ac:spMk id="39" creationId="{66AFB0F9-F0C0-3B4F-ABDE-9C3EFBE39317}"/>
          </ac:spMkLst>
        </pc:spChg>
        <pc:spChg chg="mod">
          <ac:chgData name="Ziegler, Judson M" userId="a42ab57f-2d77-49da-a63e-43189f0a7410" providerId="ADAL" clId="{D8AA4A54-2396-4249-B882-990745FFCFCF}" dt="2024-08-14T18:03:15.176" v="339" actId="1076"/>
          <ac:spMkLst>
            <pc:docMk/>
            <pc:sldMk cId="2308901982" sldId="5501"/>
            <ac:spMk id="40" creationId="{DB33D168-811B-7345-B69C-0D575B72A493}"/>
          </ac:spMkLst>
        </pc:spChg>
        <pc:spChg chg="mod">
          <ac:chgData name="Ziegler, Judson M" userId="a42ab57f-2d77-49da-a63e-43189f0a7410" providerId="ADAL" clId="{D8AA4A54-2396-4249-B882-990745FFCFCF}" dt="2024-08-14T18:03:15.176" v="339" actId="1076"/>
          <ac:spMkLst>
            <pc:docMk/>
            <pc:sldMk cId="2308901982" sldId="5501"/>
            <ac:spMk id="41" creationId="{8CF4E780-1DCD-154E-AB0B-B92FDDF9FD47}"/>
          </ac:spMkLst>
        </pc:spChg>
        <pc:spChg chg="mod">
          <ac:chgData name="Ziegler, Judson M" userId="a42ab57f-2d77-49da-a63e-43189f0a7410" providerId="ADAL" clId="{D8AA4A54-2396-4249-B882-990745FFCFCF}" dt="2024-08-14T18:03:15.176" v="339" actId="1076"/>
          <ac:spMkLst>
            <pc:docMk/>
            <pc:sldMk cId="2308901982" sldId="5501"/>
            <ac:spMk id="42" creationId="{3C0E6C62-396D-7A4C-A84B-001A3109AAB7}"/>
          </ac:spMkLst>
        </pc:spChg>
        <pc:spChg chg="mod">
          <ac:chgData name="Ziegler, Judson M" userId="a42ab57f-2d77-49da-a63e-43189f0a7410" providerId="ADAL" clId="{D8AA4A54-2396-4249-B882-990745FFCFCF}" dt="2024-08-14T18:03:15.176" v="339" actId="1076"/>
          <ac:spMkLst>
            <pc:docMk/>
            <pc:sldMk cId="2308901982" sldId="5501"/>
            <ac:spMk id="43" creationId="{FC74AEDC-82F9-774F-872B-0D9B19C629AC}"/>
          </ac:spMkLst>
        </pc:spChg>
        <pc:spChg chg="mod">
          <ac:chgData name="Ziegler, Judson M" userId="a42ab57f-2d77-49da-a63e-43189f0a7410" providerId="ADAL" clId="{D8AA4A54-2396-4249-B882-990745FFCFCF}" dt="2024-08-14T18:03:15.176" v="339" actId="1076"/>
          <ac:spMkLst>
            <pc:docMk/>
            <pc:sldMk cId="2308901982" sldId="5501"/>
            <ac:spMk id="44" creationId="{BB28AE90-33C6-C444-A094-A145B94647B4}"/>
          </ac:spMkLst>
        </pc:spChg>
        <pc:spChg chg="mod">
          <ac:chgData name="Ziegler, Judson M" userId="a42ab57f-2d77-49da-a63e-43189f0a7410" providerId="ADAL" clId="{D8AA4A54-2396-4249-B882-990745FFCFCF}" dt="2024-08-14T17:57:37.763" v="38" actId="20577"/>
          <ac:spMkLst>
            <pc:docMk/>
            <pc:sldMk cId="2308901982" sldId="5501"/>
            <ac:spMk id="47" creationId="{E0A5766B-411A-44C6-828B-1BF603964E0B}"/>
          </ac:spMkLst>
        </pc:spChg>
        <pc:spChg chg="mod">
          <ac:chgData name="Ziegler, Judson M" userId="a42ab57f-2d77-49da-a63e-43189f0a7410" providerId="ADAL" clId="{D8AA4A54-2396-4249-B882-990745FFCFCF}" dt="2024-08-14T18:00:05.703" v="132" actId="1076"/>
          <ac:spMkLst>
            <pc:docMk/>
            <pc:sldMk cId="2308901982" sldId="5501"/>
            <ac:spMk id="48"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49"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0"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1"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2"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3"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4"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5"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6"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7"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8" creationId="{00000000-0000-0000-0000-000000000000}"/>
          </ac:spMkLst>
        </pc:spChg>
        <pc:spChg chg="mod">
          <ac:chgData name="Ziegler, Judson M" userId="a42ab57f-2d77-49da-a63e-43189f0a7410" providerId="ADAL" clId="{D8AA4A54-2396-4249-B882-990745FFCFCF}" dt="2024-08-14T18:00:05.703" v="132" actId="1076"/>
          <ac:spMkLst>
            <pc:docMk/>
            <pc:sldMk cId="2308901982" sldId="5501"/>
            <ac:spMk id="59" creationId="{00000000-0000-0000-0000-000000000000}"/>
          </ac:spMkLst>
        </pc:spChg>
        <pc:grpChg chg="mod">
          <ac:chgData name="Ziegler, Judson M" userId="a42ab57f-2d77-49da-a63e-43189f0a7410" providerId="ADAL" clId="{D8AA4A54-2396-4249-B882-990745FFCFCF}" dt="2024-08-14T18:03:15.176" v="339" actId="1076"/>
          <ac:grpSpMkLst>
            <pc:docMk/>
            <pc:sldMk cId="2308901982" sldId="5501"/>
            <ac:grpSpMk id="34" creationId="{00000000-0000-0000-0000-000000000000}"/>
          </ac:grpSpMkLst>
        </pc:grpChg>
        <pc:grpChg chg="mod">
          <ac:chgData name="Ziegler, Judson M" userId="a42ab57f-2d77-49da-a63e-43189f0a7410" providerId="ADAL" clId="{D8AA4A54-2396-4249-B882-990745FFCFCF}" dt="2024-08-14T18:03:15.176" v="339" actId="1076"/>
          <ac:grpSpMkLst>
            <pc:docMk/>
            <pc:sldMk cId="2308901982" sldId="5501"/>
            <ac:grpSpMk id="35" creationId="{93FF3041-1F6C-BC47-9747-C9BD8D3AA652}"/>
          </ac:grpSpMkLst>
        </pc:grpChg>
        <pc:grpChg chg="mod">
          <ac:chgData name="Ziegler, Judson M" userId="a42ab57f-2d77-49da-a63e-43189f0a7410" providerId="ADAL" clId="{D8AA4A54-2396-4249-B882-990745FFCFCF}" dt="2024-08-14T18:00:05.703" v="132" actId="1076"/>
          <ac:grpSpMkLst>
            <pc:docMk/>
            <pc:sldMk cId="2308901982" sldId="5501"/>
            <ac:grpSpMk id="46" creationId="{00000000-0000-0000-0000-000000000000}"/>
          </ac:grpSpMkLst>
        </pc:grpChg>
        <pc:picChg chg="mod">
          <ac:chgData name="Ziegler, Judson M" userId="a42ab57f-2d77-49da-a63e-43189f0a7410" providerId="ADAL" clId="{D8AA4A54-2396-4249-B882-990745FFCFCF}" dt="2024-08-14T18:03:07.702" v="337" actId="1076"/>
          <ac:picMkLst>
            <pc:docMk/>
            <pc:sldMk cId="2308901982" sldId="5501"/>
            <ac:picMk id="32" creationId="{2B0B39EA-25BB-F54C-B762-F8A5D159A7EB}"/>
          </ac:picMkLst>
        </pc:picChg>
        <pc:cxnChg chg="mod">
          <ac:chgData name="Ziegler, Judson M" userId="a42ab57f-2d77-49da-a63e-43189f0a7410" providerId="ADAL" clId="{D8AA4A54-2396-4249-B882-990745FFCFCF}" dt="2024-08-14T18:02:22.927" v="317" actId="1036"/>
          <ac:cxnSpMkLst>
            <pc:docMk/>
            <pc:sldMk cId="2308901982" sldId="5501"/>
            <ac:cxnSpMk id="61" creationId="{00000000-0000-0000-0000-000000000000}"/>
          </ac:cxnSpMkLst>
        </pc:cxnChg>
      </pc:sldChg>
      <pc:sldChg chg="modSp mod">
        <pc:chgData name="Ziegler, Judson M" userId="a42ab57f-2d77-49da-a63e-43189f0a7410" providerId="ADAL" clId="{D8AA4A54-2396-4249-B882-990745FFCFCF}" dt="2024-08-14T17:37:54.107" v="30" actId="20577"/>
        <pc:sldMkLst>
          <pc:docMk/>
          <pc:sldMk cId="3914810991" sldId="5513"/>
        </pc:sldMkLst>
        <pc:spChg chg="mod">
          <ac:chgData name="Ziegler, Judson M" userId="a42ab57f-2d77-49da-a63e-43189f0a7410" providerId="ADAL" clId="{D8AA4A54-2396-4249-B882-990745FFCFCF}" dt="2024-08-14T17:37:54.107" v="30" actId="20577"/>
          <ac:spMkLst>
            <pc:docMk/>
            <pc:sldMk cId="3914810991" sldId="5513"/>
            <ac:spMk id="45" creationId="{F4C47724-F36A-4B2C-A624-24FFBB9166C4}"/>
          </ac:spMkLst>
        </pc:spChg>
      </pc:sldChg>
      <pc:sldChg chg="modSp mod">
        <pc:chgData name="Ziegler, Judson M" userId="a42ab57f-2d77-49da-a63e-43189f0a7410" providerId="ADAL" clId="{D8AA4A54-2396-4249-B882-990745FFCFCF}" dt="2024-08-14T17:38:03.864" v="32" actId="20577"/>
        <pc:sldMkLst>
          <pc:docMk/>
          <pc:sldMk cId="1442973020" sldId="2147309165"/>
        </pc:sldMkLst>
        <pc:spChg chg="mod">
          <ac:chgData name="Ziegler, Judson M" userId="a42ab57f-2d77-49da-a63e-43189f0a7410" providerId="ADAL" clId="{D8AA4A54-2396-4249-B882-990745FFCFCF}" dt="2024-08-14T17:38:03.864" v="32" actId="20577"/>
          <ac:spMkLst>
            <pc:docMk/>
            <pc:sldMk cId="1442973020" sldId="2147309165"/>
            <ac:spMk id="23" creationId="{BD78D1E7-FBEE-4E02-AB55-FAC49EEA3D65}"/>
          </ac:spMkLst>
        </pc:spChg>
      </pc:sldChg>
      <pc:sldChg chg="modSp mod">
        <pc:chgData name="Ziegler, Judson M" userId="a42ab57f-2d77-49da-a63e-43189f0a7410" providerId="ADAL" clId="{D8AA4A54-2396-4249-B882-990745FFCFCF}" dt="2024-08-14T18:14:29.007" v="1053" actId="20577"/>
        <pc:sldMkLst>
          <pc:docMk/>
          <pc:sldMk cId="657613491" sldId="2147309168"/>
        </pc:sldMkLst>
        <pc:spChg chg="mod">
          <ac:chgData name="Ziegler, Judson M" userId="a42ab57f-2d77-49da-a63e-43189f0a7410" providerId="ADAL" clId="{D8AA4A54-2396-4249-B882-990745FFCFCF}" dt="2024-08-14T18:14:23.720" v="1051" actId="6549"/>
          <ac:spMkLst>
            <pc:docMk/>
            <pc:sldMk cId="657613491" sldId="2147309168"/>
            <ac:spMk id="5" creationId="{00000000-0000-0000-0000-000000000000}"/>
          </ac:spMkLst>
        </pc:spChg>
        <pc:spChg chg="mod">
          <ac:chgData name="Ziegler, Judson M" userId="a42ab57f-2d77-49da-a63e-43189f0a7410" providerId="ADAL" clId="{D8AA4A54-2396-4249-B882-990745FFCFCF}" dt="2024-08-14T18:14:29.007" v="1053" actId="20577"/>
          <ac:spMkLst>
            <pc:docMk/>
            <pc:sldMk cId="657613491" sldId="2147309168"/>
            <ac:spMk id="20" creationId="{BC1647EC-4C29-4AF6-B12A-771C224E2F36}"/>
          </ac:spMkLst>
        </pc:spChg>
      </pc:sldChg>
      <pc:sldChg chg="addSp delSp modSp mod">
        <pc:chgData name="Ziegler, Judson M" userId="a42ab57f-2d77-49da-a63e-43189f0a7410" providerId="ADAL" clId="{D8AA4A54-2396-4249-B882-990745FFCFCF}" dt="2024-08-14T17:37:33.357" v="26" actId="20577"/>
        <pc:sldMkLst>
          <pc:docMk/>
          <pc:sldMk cId="3250418178" sldId="2147309620"/>
        </pc:sldMkLst>
        <pc:spChg chg="mod">
          <ac:chgData name="Ziegler, Judson M" userId="a42ab57f-2d77-49da-a63e-43189f0a7410" providerId="ADAL" clId="{D8AA4A54-2396-4249-B882-990745FFCFCF}" dt="2024-08-14T17:37:33.357" v="26" actId="20577"/>
          <ac:spMkLst>
            <pc:docMk/>
            <pc:sldMk cId="3250418178" sldId="2147309620"/>
            <ac:spMk id="6" creationId="{2C476B37-D382-71DE-347B-2054ADDC5A96}"/>
          </ac:spMkLst>
        </pc:spChg>
        <pc:spChg chg="del">
          <ac:chgData name="Ziegler, Judson M" userId="a42ab57f-2d77-49da-a63e-43189f0a7410" providerId="ADAL" clId="{D8AA4A54-2396-4249-B882-990745FFCFCF}" dt="2024-08-14T17:34:12.928" v="0" actId="478"/>
          <ac:spMkLst>
            <pc:docMk/>
            <pc:sldMk cId="3250418178" sldId="2147309620"/>
            <ac:spMk id="13" creationId="{18162114-615E-56F4-ED73-928194ABCC1B}"/>
          </ac:spMkLst>
        </pc:spChg>
        <pc:picChg chg="add mod">
          <ac:chgData name="Ziegler, Judson M" userId="a42ab57f-2d77-49da-a63e-43189f0a7410" providerId="ADAL" clId="{D8AA4A54-2396-4249-B882-990745FFCFCF}" dt="2024-08-14T17:36:44.905" v="18" actId="732"/>
          <ac:picMkLst>
            <pc:docMk/>
            <pc:sldMk cId="3250418178" sldId="2147309620"/>
            <ac:picMk id="1026" creationId="{135459D7-5DA3-C277-F66F-09EE92D0E0ED}"/>
          </ac:picMkLst>
        </pc:picChg>
        <pc:picChg chg="add del mod">
          <ac:chgData name="Ziegler, Judson M" userId="a42ab57f-2d77-49da-a63e-43189f0a7410" providerId="ADAL" clId="{D8AA4A54-2396-4249-B882-990745FFCFCF}" dt="2024-08-14T17:36:20.051" v="17" actId="478"/>
          <ac:picMkLst>
            <pc:docMk/>
            <pc:sldMk cId="3250418178" sldId="2147309620"/>
            <ac:picMk id="1028" creationId="{2D18A12A-E42A-9CB2-69A4-B5590AA4611A}"/>
          </ac:picMkLst>
        </pc:picChg>
        <pc:cxnChg chg="mod">
          <ac:chgData name="Ziegler, Judson M" userId="a42ab57f-2d77-49da-a63e-43189f0a7410" providerId="ADAL" clId="{D8AA4A54-2396-4249-B882-990745FFCFCF}" dt="2024-08-14T17:37:26.358" v="22" actId="692"/>
          <ac:cxnSpMkLst>
            <pc:docMk/>
            <pc:sldMk cId="3250418178" sldId="2147309620"/>
            <ac:cxnSpMk id="19" creationId="{0EB47DD4-93B2-47DF-A581-927E9703A9F2}"/>
          </ac:cxnSpMkLst>
        </pc:cxnChg>
      </pc:sldChg>
    </pc:docChg>
  </pc:docChgLst>
  <pc:docChgLst>
    <pc:chgData name="Ziegler, Judson M" userId="a42ab57f-2d77-49da-a63e-43189f0a7410" providerId="ADAL" clId="{5535F5D6-3EE5-4D0D-BFAA-6320327FB25E}"/>
    <pc:docChg chg="modSld">
      <pc:chgData name="Ziegler, Judson M" userId="a42ab57f-2d77-49da-a63e-43189f0a7410" providerId="ADAL" clId="{5535F5D6-3EE5-4D0D-BFAA-6320327FB25E}" dt="2023-10-02T15:54:42.634" v="0"/>
      <pc:docMkLst>
        <pc:docMk/>
      </pc:docMkLst>
      <pc:sldChg chg="modNotesTx">
        <pc:chgData name="Ziegler, Judson M" userId="a42ab57f-2d77-49da-a63e-43189f0a7410" providerId="ADAL" clId="{5535F5D6-3EE5-4D0D-BFAA-6320327FB25E}" dt="2023-10-02T15:54:42.634" v="0"/>
        <pc:sldMkLst>
          <pc:docMk/>
          <pc:sldMk cId="431770075" sldId="5492"/>
        </pc:sldMkLst>
      </pc:sldChg>
    </pc:docChg>
  </pc:docChgLst>
  <pc:docChgLst>
    <pc:chgData name="Ziegler, Judson M" userId="a42ab57f-2d77-49da-a63e-43189f0a7410" providerId="ADAL" clId="{29CCCBDE-C951-497E-B097-AC73515EF597}"/>
    <pc:docChg chg="modSld">
      <pc:chgData name="Ziegler, Judson M" userId="a42ab57f-2d77-49da-a63e-43189f0a7410" providerId="ADAL" clId="{29CCCBDE-C951-497E-B097-AC73515EF597}" dt="2024-08-15T22:01:07.472" v="25" actId="1076"/>
      <pc:docMkLst>
        <pc:docMk/>
      </pc:docMkLst>
      <pc:sldChg chg="modSp mod">
        <pc:chgData name="Ziegler, Judson M" userId="a42ab57f-2d77-49da-a63e-43189f0a7410" providerId="ADAL" clId="{29CCCBDE-C951-497E-B097-AC73515EF597}" dt="2024-08-15T22:00:21.112" v="15" actId="1076"/>
        <pc:sldMkLst>
          <pc:docMk/>
          <pc:sldMk cId="3318698433" sldId="5487"/>
        </pc:sldMkLst>
        <pc:picChg chg="mod">
          <ac:chgData name="Ziegler, Judson M" userId="a42ab57f-2d77-49da-a63e-43189f0a7410" providerId="ADAL" clId="{29CCCBDE-C951-497E-B097-AC73515EF597}" dt="2024-08-15T22:00:21.112" v="15" actId="1076"/>
          <ac:picMkLst>
            <pc:docMk/>
            <pc:sldMk cId="3318698433" sldId="5487"/>
            <ac:picMk id="3" creationId="{5DB19909-0BB0-A046-A499-97C59CE838C8}"/>
          </ac:picMkLst>
        </pc:picChg>
      </pc:sldChg>
      <pc:sldChg chg="modSp mod">
        <pc:chgData name="Ziegler, Judson M" userId="a42ab57f-2d77-49da-a63e-43189f0a7410" providerId="ADAL" clId="{29CCCBDE-C951-497E-B097-AC73515EF597}" dt="2024-08-15T22:00:49.036" v="21" actId="1076"/>
        <pc:sldMkLst>
          <pc:docMk/>
          <pc:sldMk cId="431770075" sldId="5492"/>
        </pc:sldMkLst>
        <pc:picChg chg="mod">
          <ac:chgData name="Ziegler, Judson M" userId="a42ab57f-2d77-49da-a63e-43189f0a7410" providerId="ADAL" clId="{29CCCBDE-C951-497E-B097-AC73515EF597}" dt="2024-08-15T22:00:49.036" v="21" actId="1076"/>
          <ac:picMkLst>
            <pc:docMk/>
            <pc:sldMk cId="431770075" sldId="5492"/>
            <ac:picMk id="2" creationId="{9884C696-2C05-F3D9-57C7-2F6F3EADC827}"/>
          </ac:picMkLst>
        </pc:picChg>
      </pc:sldChg>
      <pc:sldChg chg="modSp mod">
        <pc:chgData name="Ziegler, Judson M" userId="a42ab57f-2d77-49da-a63e-43189f0a7410" providerId="ADAL" clId="{29CCCBDE-C951-497E-B097-AC73515EF597}" dt="2024-08-15T22:00:54.023" v="22" actId="1076"/>
        <pc:sldMkLst>
          <pc:docMk/>
          <pc:sldMk cId="2308901982" sldId="5501"/>
        </pc:sldMkLst>
        <pc:picChg chg="mod">
          <ac:chgData name="Ziegler, Judson M" userId="a42ab57f-2d77-49da-a63e-43189f0a7410" providerId="ADAL" clId="{29CCCBDE-C951-497E-B097-AC73515EF597}" dt="2024-08-15T22:00:54.023" v="22" actId="1076"/>
          <ac:picMkLst>
            <pc:docMk/>
            <pc:sldMk cId="2308901982" sldId="5501"/>
            <ac:picMk id="3" creationId="{E5E58619-15B1-5DB0-FDCD-B6D016177B9C}"/>
          </ac:picMkLst>
        </pc:picChg>
      </pc:sldChg>
      <pc:sldChg chg="modSp mod">
        <pc:chgData name="Ziegler, Judson M" userId="a42ab57f-2d77-49da-a63e-43189f0a7410" providerId="ADAL" clId="{29CCCBDE-C951-497E-B097-AC73515EF597}" dt="2024-08-15T22:00:28.923" v="17" actId="1076"/>
        <pc:sldMkLst>
          <pc:docMk/>
          <pc:sldMk cId="3914810991" sldId="5513"/>
        </pc:sldMkLst>
        <pc:picChg chg="mod">
          <ac:chgData name="Ziegler, Judson M" userId="a42ab57f-2d77-49da-a63e-43189f0a7410" providerId="ADAL" clId="{29CCCBDE-C951-497E-B097-AC73515EF597}" dt="2024-08-15T22:00:28.923" v="17" actId="1076"/>
          <ac:picMkLst>
            <pc:docMk/>
            <pc:sldMk cId="3914810991" sldId="5513"/>
            <ac:picMk id="4" creationId="{92185D8F-A8F3-68AD-90E6-F4579323894D}"/>
          </ac:picMkLst>
        </pc:picChg>
      </pc:sldChg>
      <pc:sldChg chg="modSp mod">
        <pc:chgData name="Ziegler, Judson M" userId="a42ab57f-2d77-49da-a63e-43189f0a7410" providerId="ADAL" clId="{29CCCBDE-C951-497E-B097-AC73515EF597}" dt="2024-08-15T22:00:24.329" v="16" actId="1076"/>
        <pc:sldMkLst>
          <pc:docMk/>
          <pc:sldMk cId="4133137525" sldId="5528"/>
        </pc:sldMkLst>
        <pc:picChg chg="mod">
          <ac:chgData name="Ziegler, Judson M" userId="a42ab57f-2d77-49da-a63e-43189f0a7410" providerId="ADAL" clId="{29CCCBDE-C951-497E-B097-AC73515EF597}" dt="2024-08-15T22:00:24.329" v="16" actId="1076"/>
          <ac:picMkLst>
            <pc:docMk/>
            <pc:sldMk cId="4133137525" sldId="5528"/>
            <ac:picMk id="3" creationId="{F67A3174-E7CF-C806-7EFB-626A9BD81044}"/>
          </ac:picMkLst>
        </pc:picChg>
      </pc:sldChg>
      <pc:sldChg chg="modSp mod">
        <pc:chgData name="Ziegler, Judson M" userId="a42ab57f-2d77-49da-a63e-43189f0a7410" providerId="ADAL" clId="{29CCCBDE-C951-497E-B097-AC73515EF597}" dt="2024-08-15T22:00:32.624" v="18" actId="1076"/>
        <pc:sldMkLst>
          <pc:docMk/>
          <pc:sldMk cId="2034815746" sldId="5534"/>
        </pc:sldMkLst>
        <pc:picChg chg="mod">
          <ac:chgData name="Ziegler, Judson M" userId="a42ab57f-2d77-49da-a63e-43189f0a7410" providerId="ADAL" clId="{29CCCBDE-C951-497E-B097-AC73515EF597}" dt="2024-08-15T22:00:32.624" v="18" actId="1076"/>
          <ac:picMkLst>
            <pc:docMk/>
            <pc:sldMk cId="2034815746" sldId="5534"/>
            <ac:picMk id="2" creationId="{B8369C09-3A43-E327-CA51-2804672ACECF}"/>
          </ac:picMkLst>
        </pc:picChg>
      </pc:sldChg>
      <pc:sldChg chg="modSp mod modNotesTx">
        <pc:chgData name="Ziegler, Judson M" userId="a42ab57f-2d77-49da-a63e-43189f0a7410" providerId="ADAL" clId="{29CCCBDE-C951-497E-B097-AC73515EF597}" dt="2024-08-15T22:00:44.845" v="20" actId="1076"/>
        <pc:sldMkLst>
          <pc:docMk/>
          <pc:sldMk cId="1442973020" sldId="2147309165"/>
        </pc:sldMkLst>
        <pc:picChg chg="mod">
          <ac:chgData name="Ziegler, Judson M" userId="a42ab57f-2d77-49da-a63e-43189f0a7410" providerId="ADAL" clId="{29CCCBDE-C951-497E-B097-AC73515EF597}" dt="2024-08-15T22:00:44.845" v="20" actId="1076"/>
          <ac:picMkLst>
            <pc:docMk/>
            <pc:sldMk cId="1442973020" sldId="2147309165"/>
            <ac:picMk id="2" creationId="{A2CAE64A-20D9-3A32-B077-3480EAE59C96}"/>
          </ac:picMkLst>
        </pc:picChg>
      </pc:sldChg>
      <pc:sldChg chg="modSp mod">
        <pc:chgData name="Ziegler, Judson M" userId="a42ab57f-2d77-49da-a63e-43189f0a7410" providerId="ADAL" clId="{29CCCBDE-C951-497E-B097-AC73515EF597}" dt="2024-08-15T22:01:02.723" v="24" actId="1076"/>
        <pc:sldMkLst>
          <pc:docMk/>
          <pc:sldMk cId="657613491" sldId="2147309168"/>
        </pc:sldMkLst>
        <pc:picChg chg="mod">
          <ac:chgData name="Ziegler, Judson M" userId="a42ab57f-2d77-49da-a63e-43189f0a7410" providerId="ADAL" clId="{29CCCBDE-C951-497E-B097-AC73515EF597}" dt="2024-08-15T22:01:02.723" v="24" actId="1076"/>
          <ac:picMkLst>
            <pc:docMk/>
            <pc:sldMk cId="657613491" sldId="2147309168"/>
            <ac:picMk id="4" creationId="{FAF7057C-2491-716F-81D9-A168798B6724}"/>
          </ac:picMkLst>
        </pc:picChg>
      </pc:sldChg>
      <pc:sldChg chg="modSp mod">
        <pc:chgData name="Ziegler, Judson M" userId="a42ab57f-2d77-49da-a63e-43189f0a7410" providerId="ADAL" clId="{29CCCBDE-C951-497E-B097-AC73515EF597}" dt="2024-08-15T22:01:07.472" v="25" actId="1076"/>
        <pc:sldMkLst>
          <pc:docMk/>
          <pc:sldMk cId="3771231228" sldId="2147309173"/>
        </pc:sldMkLst>
        <pc:picChg chg="mod">
          <ac:chgData name="Ziegler, Judson M" userId="a42ab57f-2d77-49da-a63e-43189f0a7410" providerId="ADAL" clId="{29CCCBDE-C951-497E-B097-AC73515EF597}" dt="2024-08-15T22:01:07.472" v="25" actId="1076"/>
          <ac:picMkLst>
            <pc:docMk/>
            <pc:sldMk cId="3771231228" sldId="2147309173"/>
            <ac:picMk id="4" creationId="{8D4C9D7E-A8B3-F15E-6D9C-1AA6FCBEB64C}"/>
          </ac:picMkLst>
        </pc:picChg>
      </pc:sldChg>
      <pc:sldChg chg="addSp modSp mod">
        <pc:chgData name="Ziegler, Judson M" userId="a42ab57f-2d77-49da-a63e-43189f0a7410" providerId="ADAL" clId="{29CCCBDE-C951-497E-B097-AC73515EF597}" dt="2024-08-15T22:00:58.212" v="23" actId="1076"/>
        <pc:sldMkLst>
          <pc:docMk/>
          <pc:sldMk cId="3824817091" sldId="2147309371"/>
        </pc:sldMkLst>
        <pc:picChg chg="add mod">
          <ac:chgData name="Ziegler, Judson M" userId="a42ab57f-2d77-49da-a63e-43189f0a7410" providerId="ADAL" clId="{29CCCBDE-C951-497E-B097-AC73515EF597}" dt="2024-08-15T22:00:58.212" v="23" actId="1076"/>
          <ac:picMkLst>
            <pc:docMk/>
            <pc:sldMk cId="3824817091" sldId="2147309371"/>
            <ac:picMk id="9" creationId="{7C777CCB-46A7-4972-7326-24FAA5A0378A}"/>
          </ac:picMkLst>
        </pc:picChg>
      </pc:sldChg>
      <pc:sldChg chg="addSp modSp">
        <pc:chgData name="Ziegler, Judson M" userId="a42ab57f-2d77-49da-a63e-43189f0a7410" providerId="ADAL" clId="{29CCCBDE-C951-497E-B097-AC73515EF597}" dt="2024-08-15T21:57:11.384" v="12"/>
        <pc:sldMkLst>
          <pc:docMk/>
          <pc:sldMk cId="170799111" sldId="2147309372"/>
        </pc:sldMkLst>
        <pc:picChg chg="add mod">
          <ac:chgData name="Ziegler, Judson M" userId="a42ab57f-2d77-49da-a63e-43189f0a7410" providerId="ADAL" clId="{29CCCBDE-C951-497E-B097-AC73515EF597}" dt="2024-08-15T21:57:11.384" v="12"/>
          <ac:picMkLst>
            <pc:docMk/>
            <pc:sldMk cId="170799111" sldId="2147309372"/>
            <ac:picMk id="7" creationId="{6D630505-900F-BB94-CADE-87CDA4D6B80D}"/>
          </ac:picMkLst>
        </pc:picChg>
      </pc:sldChg>
      <pc:sldChg chg="modSp mod">
        <pc:chgData name="Ziegler, Judson M" userId="a42ab57f-2d77-49da-a63e-43189f0a7410" providerId="ADAL" clId="{29CCCBDE-C951-497E-B097-AC73515EF597}" dt="2024-08-15T22:00:17.146" v="14" actId="1076"/>
        <pc:sldMkLst>
          <pc:docMk/>
          <pc:sldMk cId="3250418178" sldId="2147309620"/>
        </pc:sldMkLst>
        <pc:picChg chg="mod">
          <ac:chgData name="Ziegler, Judson M" userId="a42ab57f-2d77-49da-a63e-43189f0a7410" providerId="ADAL" clId="{29CCCBDE-C951-497E-B097-AC73515EF597}" dt="2024-08-15T22:00:17.146" v="14" actId="1076"/>
          <ac:picMkLst>
            <pc:docMk/>
            <pc:sldMk cId="3250418178" sldId="2147309620"/>
            <ac:picMk id="13" creationId="{2A86F9C3-EF02-40CE-2341-CFF1F84ACF93}"/>
          </ac:picMkLst>
        </pc:picChg>
      </pc:sldChg>
    </pc:docChg>
  </pc:docChgLst>
  <pc:docChgLst>
    <pc:chgData name="Ziegler, Judson M" userId="a42ab57f-2d77-49da-a63e-43189f0a7410" providerId="ADAL" clId="{3100FB13-481F-4887-B03F-629C8A64DBE1}"/>
    <pc:docChg chg="delSld">
      <pc:chgData name="Ziegler, Judson M" userId="a42ab57f-2d77-49da-a63e-43189f0a7410" providerId="ADAL" clId="{3100FB13-481F-4887-B03F-629C8A64DBE1}" dt="2024-09-09T19:06:52.574" v="0" actId="2696"/>
      <pc:docMkLst>
        <pc:docMk/>
      </pc:docMkLst>
      <pc:sldChg chg="del">
        <pc:chgData name="Ziegler, Judson M" userId="a42ab57f-2d77-49da-a63e-43189f0a7410" providerId="ADAL" clId="{3100FB13-481F-4887-B03F-629C8A64DBE1}" dt="2024-09-09T19:06:52.574" v="0" actId="2696"/>
        <pc:sldMkLst>
          <pc:docMk/>
          <pc:sldMk cId="4133137525" sldId="5528"/>
        </pc:sldMkLst>
      </pc:sldChg>
      <pc:sldMasterChg chg="delSldLayout">
        <pc:chgData name="Ziegler, Judson M" userId="a42ab57f-2d77-49da-a63e-43189f0a7410" providerId="ADAL" clId="{3100FB13-481F-4887-B03F-629C8A64DBE1}" dt="2024-09-09T19:06:52.574" v="0" actId="2696"/>
        <pc:sldMasterMkLst>
          <pc:docMk/>
          <pc:sldMasterMk cId="519579666" sldId="2147483648"/>
        </pc:sldMasterMkLst>
        <pc:sldLayoutChg chg="del">
          <pc:chgData name="Ziegler, Judson M" userId="a42ab57f-2d77-49da-a63e-43189f0a7410" providerId="ADAL" clId="{3100FB13-481F-4887-B03F-629C8A64DBE1}" dt="2024-09-09T19:06:52.574" v="0" actId="2696"/>
          <pc:sldLayoutMkLst>
            <pc:docMk/>
            <pc:sldMasterMk cId="519579666" sldId="2147483648"/>
            <pc:sldLayoutMk cId="3536040566" sldId="2147483666"/>
          </pc:sldLayoutMkLst>
        </pc:sldLayoutChg>
      </pc:sldMasterChg>
    </pc:docChg>
  </pc:docChgLst>
  <pc:docChgLst>
    <pc:chgData name="Ziegler, Judson M" userId="a42ab57f-2d77-49da-a63e-43189f0a7410" providerId="ADAL" clId="{97C29CBF-00C2-4FD9-8ACD-BB21A3327706}"/>
    <pc:docChg chg="modSld">
      <pc:chgData name="Ziegler, Judson M" userId="a42ab57f-2d77-49da-a63e-43189f0a7410" providerId="ADAL" clId="{97C29CBF-00C2-4FD9-8ACD-BB21A3327706}" dt="2024-09-13T17:40:34.104" v="19" actId="20577"/>
      <pc:docMkLst>
        <pc:docMk/>
      </pc:docMkLst>
      <pc:sldChg chg="modNotesTx">
        <pc:chgData name="Ziegler, Judson M" userId="a42ab57f-2d77-49da-a63e-43189f0a7410" providerId="ADAL" clId="{97C29CBF-00C2-4FD9-8ACD-BB21A3327706}" dt="2024-09-13T17:39:49.054" v="1" actId="20577"/>
        <pc:sldMkLst>
          <pc:docMk/>
          <pc:sldMk cId="3836214926" sldId="256"/>
        </pc:sldMkLst>
      </pc:sldChg>
      <pc:sldChg chg="modNotesTx">
        <pc:chgData name="Ziegler, Judson M" userId="a42ab57f-2d77-49da-a63e-43189f0a7410" providerId="ADAL" clId="{97C29CBF-00C2-4FD9-8ACD-BB21A3327706}" dt="2024-09-13T17:40:34.104" v="19" actId="20577"/>
        <pc:sldMkLst>
          <pc:docMk/>
          <pc:sldMk cId="3717180921" sldId="2147480982"/>
        </pc:sldMkLst>
      </pc:sldChg>
    </pc:docChg>
  </pc:docChgLst>
  <pc:docChgLst>
    <pc:chgData name="Ziegler, Judson M" userId="a42ab57f-2d77-49da-a63e-43189f0a7410" providerId="ADAL" clId="{EF805091-B799-44C4-810F-B1462AE1A7C0}"/>
    <pc:docChg chg="custSel modSld">
      <pc:chgData name="Ziegler, Judson M" userId="a42ab57f-2d77-49da-a63e-43189f0a7410" providerId="ADAL" clId="{EF805091-B799-44C4-810F-B1462AE1A7C0}" dt="2024-08-14T22:07:21.748" v="364" actId="20577"/>
      <pc:docMkLst>
        <pc:docMk/>
      </pc:docMkLst>
      <pc:sldChg chg="modSp mod modNotesTx">
        <pc:chgData name="Ziegler, Judson M" userId="a42ab57f-2d77-49da-a63e-43189f0a7410" providerId="ADAL" clId="{EF805091-B799-44C4-810F-B1462AE1A7C0}" dt="2024-08-14T22:07:21.748" v="364" actId="20577"/>
        <pc:sldMkLst>
          <pc:docMk/>
          <pc:sldMk cId="657613491" sldId="2147309168"/>
        </pc:sldMkLst>
        <pc:spChg chg="mod">
          <ac:chgData name="Ziegler, Judson M" userId="a42ab57f-2d77-49da-a63e-43189f0a7410" providerId="ADAL" clId="{EF805091-B799-44C4-810F-B1462AE1A7C0}" dt="2024-08-14T22:03:44.267" v="110" actId="20577"/>
          <ac:spMkLst>
            <pc:docMk/>
            <pc:sldMk cId="657613491" sldId="2147309168"/>
            <ac:spMk id="5" creationId="{00000000-0000-0000-0000-000000000000}"/>
          </ac:spMkLst>
        </pc:spChg>
      </pc:sldChg>
    </pc:docChg>
  </pc:docChgLst>
  <pc:docChgLst>
    <pc:chgData name="Ziegler, Judson M" userId="a42ab57f-2d77-49da-a63e-43189f0a7410" providerId="ADAL" clId="{0D2C12BF-14DB-460A-8F7B-040508909D21}"/>
    <pc:docChg chg="modSld">
      <pc:chgData name="Ziegler, Judson M" userId="a42ab57f-2d77-49da-a63e-43189f0a7410" providerId="ADAL" clId="{0D2C12BF-14DB-460A-8F7B-040508909D21}" dt="2024-08-20T21:41:10.371" v="9" actId="20577"/>
      <pc:docMkLst>
        <pc:docMk/>
      </pc:docMkLst>
      <pc:sldChg chg="modNotesTx">
        <pc:chgData name="Ziegler, Judson M" userId="a42ab57f-2d77-49da-a63e-43189f0a7410" providerId="ADAL" clId="{0D2C12BF-14DB-460A-8F7B-040508909D21}" dt="2024-08-20T21:41:10.371" v="9" actId="20577"/>
        <pc:sldMkLst>
          <pc:docMk/>
          <pc:sldMk cId="2034815746" sldId="553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68581E-877C-463A-907A-B3A3508F0F7E}" type="datetimeFigureOut">
              <a:rPr lang="en-US" smtClean="0"/>
              <a:t>9/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BC078F-FFEB-423A-879E-395A5555BDD5}" type="slidenum">
              <a:rPr lang="en-US" smtClean="0"/>
              <a:t>‹#›</a:t>
            </a:fld>
            <a:endParaRPr lang="en-US"/>
          </a:p>
        </p:txBody>
      </p:sp>
    </p:spTree>
    <p:extLst>
      <p:ext uri="{BB962C8B-B14F-4D97-AF65-F5344CB8AC3E}">
        <p14:creationId xmlns:p14="http://schemas.microsoft.com/office/powerpoint/2010/main" val="2638970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nd Welcome to an overview of your Prescription Benefit</a:t>
            </a:r>
          </a:p>
        </p:txBody>
      </p:sp>
      <p:sp>
        <p:nvSpPr>
          <p:cNvPr id="4" name="Slide Number Placeholder 3"/>
          <p:cNvSpPr>
            <a:spLocks noGrp="1"/>
          </p:cNvSpPr>
          <p:nvPr>
            <p:ph type="sldNum" sz="quarter" idx="5"/>
          </p:nvPr>
        </p:nvSpPr>
        <p:spPr/>
        <p:txBody>
          <a:bodyPr/>
          <a:lstStyle/>
          <a:p>
            <a:fld id="{B9BC078F-FFEB-423A-879E-395A5555BDD5}" type="slidenum">
              <a:rPr lang="en-US" smtClean="0"/>
              <a:t>1</a:t>
            </a:fld>
            <a:endParaRPr lang="en-US"/>
          </a:p>
        </p:txBody>
      </p:sp>
    </p:spTree>
    <p:extLst>
      <p:ext uri="{BB962C8B-B14F-4D97-AF65-F5344CB8AC3E}">
        <p14:creationId xmlns:p14="http://schemas.microsoft.com/office/powerpoint/2010/main" val="777943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 is working with </a:t>
            </a:r>
            <a:r>
              <a:rPr lang="en-US" dirty="0" err="1"/>
              <a:t>PrudentRx</a:t>
            </a:r>
            <a:r>
              <a:rPr lang="en-US" dirty="0"/>
              <a:t> to reduce your out-of-pocket costs for specialty medications to $0. If you are taking an eligible specialty medication, you will need to enroll if you have not already done so. Once we receive a claim for an eligible specialty medication, </a:t>
            </a:r>
            <a:r>
              <a:rPr lang="en-US" dirty="0" err="1"/>
              <a:t>PrudentRx</a:t>
            </a:r>
            <a:r>
              <a:rPr lang="en-US" dirty="0"/>
              <a:t> will reach out to begin enrollment. Once enrolled, you’ll pay $0 for as long as you participate in the program. Watch your mailbox for important information on the program and how to enroll. If you choose not to enroll, you’ll be responsible for 30% of the cost of your specialty medi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5084532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CVS Health Creative Resource Library, accessed 2021, G-925163620. Asset: 244527. No expiration. </a:t>
            </a:r>
          </a:p>
        </p:txBody>
      </p:sp>
      <p:sp>
        <p:nvSpPr>
          <p:cNvPr id="4" name="Slide Number Placeholder 3"/>
          <p:cNvSpPr>
            <a:spLocks noGrp="1"/>
          </p:cNvSpPr>
          <p:nvPr>
            <p:ph type="sldNum" sz="quarter" idx="10"/>
          </p:nvPr>
        </p:nvSpPr>
        <p:spPr/>
        <p:txBody>
          <a:bodyPr/>
          <a:lstStyle/>
          <a:p>
            <a:fld id="{50AD15A5-6128-B84F-818D-8AA5BDD9AF9D}" type="slidenum">
              <a:rPr lang="en-US" smtClean="0"/>
              <a:pPr/>
              <a:t>11</a:t>
            </a:fld>
            <a:endParaRPr lang="en-US" dirty="0"/>
          </a:p>
        </p:txBody>
      </p:sp>
    </p:spTree>
    <p:extLst>
      <p:ext uri="{BB962C8B-B14F-4D97-AF65-F5344CB8AC3E}">
        <p14:creationId xmlns:p14="http://schemas.microsoft.com/office/powerpoint/2010/main" val="3762205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AD15A5-6128-B84F-818D-8AA5BDD9AF9D}" type="slidenum">
              <a:rPr lang="en-US" smtClean="0"/>
              <a:pPr/>
              <a:t>12</a:t>
            </a:fld>
            <a:endParaRPr lang="en-US" dirty="0"/>
          </a:p>
        </p:txBody>
      </p:sp>
    </p:spTree>
    <p:extLst>
      <p:ext uri="{BB962C8B-B14F-4D97-AF65-F5344CB8AC3E}">
        <p14:creationId xmlns:p14="http://schemas.microsoft.com/office/powerpoint/2010/main" val="2970931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BC078F-FFEB-423A-879E-395A5555BDD5}" type="slidenum">
              <a:rPr lang="en-US" smtClean="0"/>
              <a:t>13</a:t>
            </a:fld>
            <a:endParaRPr lang="en-US"/>
          </a:p>
        </p:txBody>
      </p:sp>
    </p:spTree>
    <p:extLst>
      <p:ext uri="{BB962C8B-B14F-4D97-AF65-F5344CB8AC3E}">
        <p14:creationId xmlns:p14="http://schemas.microsoft.com/office/powerpoint/2010/main" val="876727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3F3F3F"/>
                </a:solidFill>
              </a:rPr>
              <a:t>CVS Caremark works with the State of New Mexico </a:t>
            </a:r>
            <a:r>
              <a:rPr lang="en-US" baseline="0" dirty="0">
                <a:solidFill>
                  <a:srgbClr val="3F3F3F"/>
                </a:solidFill>
              </a:rPr>
              <a:t>to provide you with prescription benefits. This includes determining what medications are covered under your plan, how much you’ll pay for your medications, and where you can fill prescriptions. CVS Caremark also gives you tools and services to help you stay on track with your medications and take care of your health so you can live your best life.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aseline="0" dirty="0">
              <a:solidFill>
                <a:srgbClr val="3F3F3F"/>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aseline="0" dirty="0">
              <a:solidFill>
                <a:srgbClr val="3F3F3F"/>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baseline="0" dirty="0">
              <a:solidFill>
                <a:srgbClr val="3F3F3F"/>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rgbClr val="3F3F3F"/>
              </a:solidFill>
            </a:endParaRPr>
          </a:p>
        </p:txBody>
      </p:sp>
      <p:sp>
        <p:nvSpPr>
          <p:cNvPr id="4" name="Slide Number Placeholder 3"/>
          <p:cNvSpPr>
            <a:spLocks noGrp="1"/>
          </p:cNvSpPr>
          <p:nvPr>
            <p:ph type="sldNum" sz="quarter" idx="10"/>
          </p:nvPr>
        </p:nvSpPr>
        <p:spPr/>
        <p:txBody>
          <a:bodyPr/>
          <a:lstStyle/>
          <a:p>
            <a:fld id="{50AD15A5-6128-B84F-818D-8AA5BDD9AF9D}" type="slidenum">
              <a:rPr lang="en-US" smtClean="0"/>
              <a:pPr/>
              <a:t>2</a:t>
            </a:fld>
            <a:endParaRPr lang="en-US" dirty="0"/>
          </a:p>
        </p:txBody>
      </p:sp>
    </p:spTree>
    <p:extLst>
      <p:ext uri="{BB962C8B-B14F-4D97-AF65-F5344CB8AC3E}">
        <p14:creationId xmlns:p14="http://schemas.microsoft.com/office/powerpoint/2010/main" val="969079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t>Caremark.com makes it easy for you</a:t>
            </a:r>
            <a:r>
              <a:rPr lang="en-US" sz="1000" baseline="0" dirty="0"/>
              <a:t> to manage your medications from your desktop or smart device. Once you register, you can review your specific plan details, see how much your medications will cost and find ways to save, find pharmacies in your plan’s network, refill your mail service prescriptions, view your prescription history, and see your progress toward meeting your individual or family maximum. You can also set up alerts and reminders to help you stay on track.</a:t>
            </a:r>
            <a:endParaRPr lang="en-US" sz="1000" dirty="0"/>
          </a:p>
        </p:txBody>
      </p:sp>
      <p:sp>
        <p:nvSpPr>
          <p:cNvPr id="4" name="Slide Number Placeholder 3"/>
          <p:cNvSpPr>
            <a:spLocks noGrp="1"/>
          </p:cNvSpPr>
          <p:nvPr>
            <p:ph type="sldNum" sz="quarter" idx="10"/>
          </p:nvPr>
        </p:nvSpPr>
        <p:spPr/>
        <p:txBody>
          <a:bodyPr/>
          <a:lstStyle/>
          <a:p>
            <a:fld id="{6E316562-8D5B-4FA8-A1F8-64F74D39FB21}" type="slidenum">
              <a:rPr lang="en-US" smtClean="0"/>
              <a:pPr/>
              <a:t>3</a:t>
            </a:fld>
            <a:endParaRPr lang="en-US" dirty="0"/>
          </a:p>
        </p:txBody>
      </p:sp>
    </p:spTree>
    <p:extLst>
      <p:ext uri="{BB962C8B-B14F-4D97-AF65-F5344CB8AC3E}">
        <p14:creationId xmlns:p14="http://schemas.microsoft.com/office/powerpoint/2010/main" val="1268643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lvl="0"/>
            <a:r>
              <a:rPr lang="en-US" sz="1200" kern="1200" dirty="0">
                <a:solidFill>
                  <a:schemeClr val="tx2"/>
                </a:solidFill>
                <a:effectLst/>
                <a:latin typeface="+mn-lt"/>
                <a:ea typeface="+mn-ea"/>
                <a:cs typeface="Arial" panose="020B0604020202020204" pitchFamily="34" charset="0"/>
              </a:rPr>
              <a:t>To help simplify and enhance your experience, we present relevant, contextual information to members where they live and work in a digital world through tools like text, email, web, mobile web, apps, and wearables</a:t>
            </a:r>
            <a:r>
              <a:rPr lang="en-US" sz="1800" kern="1200" dirty="0">
                <a:solidFill>
                  <a:schemeClr val="tx2"/>
                </a:solidFill>
                <a:effectLst/>
                <a:latin typeface="+mn-lt"/>
                <a:ea typeface="+mn-ea"/>
                <a:cs typeface="Arial" panose="020B0604020202020204" pitchFamily="34" charset="0"/>
              </a:rPr>
              <a:t>.  </a:t>
            </a:r>
            <a:r>
              <a:rPr lang="en-US" sz="1200" kern="1200" dirty="0">
                <a:solidFill>
                  <a:schemeClr val="tx2"/>
                </a:solidFill>
                <a:effectLst/>
                <a:latin typeface="+mn-lt"/>
                <a:ea typeface="+mn-ea"/>
                <a:cs typeface="Arial" panose="020B0604020202020204" pitchFamily="34" charset="0"/>
              </a:rPr>
              <a:t>Here you can see a small subset of the high-level features, tools and benefits we offer. We’ve built this ecosystem so that that you can manage your prescription needs and connect to care – when, where and how you want to do it.</a:t>
            </a:r>
            <a:r>
              <a:rPr lang="en-US" sz="1800" kern="1200" dirty="0">
                <a:solidFill>
                  <a:schemeClr val="tx2"/>
                </a:solidFill>
                <a:effectLst/>
                <a:latin typeface="+mn-lt"/>
                <a:ea typeface="+mn-ea"/>
                <a:cs typeface="Arial" panose="020B0604020202020204" pitchFamily="34" charset="0"/>
              </a:rPr>
              <a:t> </a:t>
            </a:r>
            <a:r>
              <a:rPr lang="en-US" sz="1200" kern="1200" dirty="0">
                <a:solidFill>
                  <a:schemeClr val="tx2"/>
                </a:solidFill>
                <a:effectLst/>
                <a:latin typeface="+mn-lt"/>
                <a:ea typeface="+mn-ea"/>
                <a:cs typeface="Arial" panose="020B0604020202020204" pitchFamily="34" charset="0"/>
              </a:rPr>
              <a:t>Our digital tools provide three key benefits for you:</a:t>
            </a:r>
            <a:endParaRPr lang="en-US" sz="1800" kern="1200" dirty="0">
              <a:solidFill>
                <a:schemeClr val="tx2"/>
              </a:solidFill>
              <a:effectLst/>
              <a:latin typeface="+mn-lt"/>
              <a:ea typeface="+mn-ea"/>
              <a:cs typeface="Arial" panose="020B0604020202020204" pitchFamily="34" charset="0"/>
            </a:endParaRPr>
          </a:p>
          <a:p>
            <a:pPr marL="628650" lvl="1" indent="-171450">
              <a:buFont typeface="Arial" panose="020B0604020202020204" pitchFamily="34" charset="0"/>
              <a:buChar char="•"/>
            </a:pPr>
            <a:r>
              <a:rPr lang="en-US" sz="1200" kern="1200" dirty="0">
                <a:solidFill>
                  <a:schemeClr val="tx2"/>
                </a:solidFill>
                <a:effectLst/>
                <a:latin typeface="+mn-lt"/>
                <a:ea typeface="+mn-ea"/>
                <a:cs typeface="Arial" panose="020B0604020202020204" pitchFamily="34" charset="0"/>
              </a:rPr>
              <a:t>Connections to care</a:t>
            </a:r>
            <a:endParaRPr lang="en-US" sz="1800" kern="1200" dirty="0">
              <a:solidFill>
                <a:schemeClr val="tx2"/>
              </a:solidFill>
              <a:effectLst/>
              <a:latin typeface="+mn-lt"/>
              <a:ea typeface="+mn-ea"/>
              <a:cs typeface="Arial" panose="020B0604020202020204" pitchFamily="34" charset="0"/>
            </a:endParaRPr>
          </a:p>
          <a:p>
            <a:pPr marL="628650" lvl="1" indent="-171450">
              <a:buFont typeface="Arial" panose="020B0604020202020204" pitchFamily="34" charset="0"/>
              <a:buChar char="•"/>
            </a:pPr>
            <a:r>
              <a:rPr lang="en-US" sz="1200" kern="1200" dirty="0">
                <a:solidFill>
                  <a:schemeClr val="tx2"/>
                </a:solidFill>
                <a:effectLst/>
                <a:latin typeface="+mn-lt"/>
                <a:ea typeface="+mn-ea"/>
                <a:cs typeface="Arial" panose="020B0604020202020204" pitchFamily="34" charset="0"/>
              </a:rPr>
              <a:t>Convenience,  through savings and ease of use</a:t>
            </a:r>
            <a:endParaRPr lang="en-US" sz="1800" kern="1200" dirty="0">
              <a:solidFill>
                <a:schemeClr val="tx2"/>
              </a:solidFill>
              <a:effectLst/>
              <a:latin typeface="+mn-lt"/>
              <a:ea typeface="+mn-ea"/>
              <a:cs typeface="Arial" panose="020B0604020202020204" pitchFamily="34" charset="0"/>
            </a:endParaRPr>
          </a:p>
          <a:p>
            <a:pPr marL="628650" lvl="1" indent="-171450">
              <a:buFont typeface="Arial" panose="020B0604020202020204" pitchFamily="34" charset="0"/>
              <a:buChar char="•"/>
            </a:pPr>
            <a:r>
              <a:rPr lang="en-US" sz="1200" kern="1200" dirty="0">
                <a:solidFill>
                  <a:schemeClr val="tx2"/>
                </a:solidFill>
                <a:effectLst/>
                <a:latin typeface="+mn-lt"/>
                <a:ea typeface="+mn-ea"/>
                <a:cs typeface="Arial" panose="020B0604020202020204" pitchFamily="34" charset="0"/>
              </a:rPr>
              <a:t>Access to benefit information</a:t>
            </a:r>
            <a:endParaRPr lang="en-US" sz="1800" kern="1200" dirty="0">
              <a:solidFill>
                <a:schemeClr val="tx2"/>
              </a:solidFill>
              <a:effectLst/>
              <a:latin typeface="+mn-lt"/>
              <a:ea typeface="+mn-ea"/>
              <a:cs typeface="Arial" panose="020B0604020202020204" pitchFamily="34" charset="0"/>
            </a:endParaRPr>
          </a:p>
          <a:p>
            <a:pPr lvl="0"/>
            <a:endParaRPr lang="en-US" sz="1200" b="1" kern="1200" dirty="0">
              <a:solidFill>
                <a:schemeClr val="tx2"/>
              </a:solidFill>
              <a:effectLst/>
              <a:latin typeface="+mn-lt"/>
              <a:ea typeface="+mn-ea"/>
              <a:cs typeface="Arial" panose="020B0604020202020204" pitchFamily="34" charset="0"/>
            </a:endParaRPr>
          </a:p>
          <a:p>
            <a:pPr lvl="0"/>
            <a:r>
              <a:rPr lang="en-US" sz="1200" kern="1200" dirty="0">
                <a:solidFill>
                  <a:schemeClr val="tx2"/>
                </a:solidFill>
                <a:effectLst/>
                <a:latin typeface="+mn-lt"/>
                <a:ea typeface="+mn-ea"/>
                <a:cs typeface="Arial" panose="020B0604020202020204" pitchFamily="34" charset="0"/>
              </a:rPr>
              <a:t>Tools like secure messaging, wearables and connected meters enable clinical guidance grounded in the patient’s experience and biometric data, helping you better manage your condition, with support from your providers and care teams.</a:t>
            </a:r>
          </a:p>
          <a:p>
            <a:pPr lvl="0"/>
            <a:endParaRPr lang="en-US" sz="1800" kern="1200" dirty="0">
              <a:solidFill>
                <a:schemeClr val="tx2"/>
              </a:solidFill>
              <a:effectLst/>
              <a:latin typeface="+mn-lt"/>
              <a:ea typeface="+mn-ea"/>
              <a:cs typeface="Arial" panose="020B0604020202020204" pitchFamily="34" charset="0"/>
            </a:endParaRPr>
          </a:p>
          <a:p>
            <a:pPr lvl="0"/>
            <a:r>
              <a:rPr lang="en-US" sz="1200" kern="1200" dirty="0">
                <a:solidFill>
                  <a:schemeClr val="tx2"/>
                </a:solidFill>
                <a:effectLst/>
                <a:latin typeface="+mn-lt"/>
                <a:ea typeface="+mn-ea"/>
                <a:cs typeface="Arial" panose="020B0604020202020204" pitchFamily="34" charset="0"/>
              </a:rPr>
              <a:t>A great example of how we provide </a:t>
            </a:r>
            <a:r>
              <a:rPr lang="en-US" sz="1200" b="1" kern="1200" dirty="0">
                <a:solidFill>
                  <a:schemeClr val="tx2"/>
                </a:solidFill>
                <a:effectLst/>
                <a:latin typeface="+mn-lt"/>
                <a:ea typeface="+mn-ea"/>
                <a:cs typeface="Arial" panose="020B0604020202020204" pitchFamily="34" charset="0"/>
              </a:rPr>
              <a:t>greater convenience </a:t>
            </a:r>
            <a:r>
              <a:rPr lang="en-US" sz="1200" kern="1200" dirty="0">
                <a:solidFill>
                  <a:schemeClr val="tx2"/>
                </a:solidFill>
                <a:effectLst/>
                <a:latin typeface="+mn-lt"/>
                <a:ea typeface="+mn-ea"/>
                <a:cs typeface="Arial" panose="020B0604020202020204" pitchFamily="34" charset="0"/>
              </a:rPr>
              <a:t>for you is our guest refill, or scan-to-refill, where you can scan a bar code, and the tool uses optical recognition so you can refill a prescription without having to log in.  With Savings Advisor, you can see personalized Rx </a:t>
            </a:r>
            <a:r>
              <a:rPr lang="en-US" sz="1200" b="1" kern="1200" dirty="0">
                <a:solidFill>
                  <a:schemeClr val="tx2"/>
                </a:solidFill>
                <a:effectLst/>
                <a:latin typeface="+mn-lt"/>
                <a:ea typeface="+mn-ea"/>
                <a:cs typeface="Arial" panose="020B0604020202020204" pitchFamily="34" charset="0"/>
              </a:rPr>
              <a:t>savings</a:t>
            </a:r>
            <a:r>
              <a:rPr lang="en-US" sz="1200" kern="1200" dirty="0">
                <a:solidFill>
                  <a:schemeClr val="tx2"/>
                </a:solidFill>
                <a:effectLst/>
                <a:latin typeface="+mn-lt"/>
                <a:ea typeface="+mn-ea"/>
                <a:cs typeface="Arial" panose="020B0604020202020204" pitchFamily="34" charset="0"/>
              </a:rPr>
              <a:t> opportunities, either by going to your personalized page on Caremark.com that clearly lists all your savings opportunities, or by choosing to receive proactive email savings alerts – helping you find the most affordable drug options.</a:t>
            </a:r>
          </a:p>
          <a:p>
            <a:pPr lvl="0"/>
            <a:endParaRPr lang="en-US" sz="1800" kern="1200" dirty="0">
              <a:solidFill>
                <a:schemeClr val="tx2"/>
              </a:solidFill>
              <a:effectLst/>
              <a:latin typeface="+mn-lt"/>
              <a:ea typeface="+mn-ea"/>
              <a:cs typeface="Arial" panose="020B0604020202020204" pitchFamily="34" charset="0"/>
            </a:endParaRPr>
          </a:p>
          <a:p>
            <a:pPr lvl="0"/>
            <a:r>
              <a:rPr lang="en-US" sz="1200" kern="1200" dirty="0">
                <a:solidFill>
                  <a:schemeClr val="tx2"/>
                </a:solidFill>
                <a:effectLst/>
                <a:latin typeface="+mn-lt"/>
                <a:ea typeface="+mn-ea"/>
                <a:cs typeface="Arial" panose="020B0604020202020204" pitchFamily="34" charset="0"/>
              </a:rPr>
              <a:t>We provide a broad set of tools to help you get what you need – when and how you need it.  This enables greater connections to care, convenience and access to benefits.</a:t>
            </a:r>
            <a:endParaRPr lang="en-US" sz="1200" b="0" i="0" kern="1200" baseline="0" dirty="0">
              <a:solidFill>
                <a:schemeClr val="tx2"/>
              </a:solidFill>
              <a:effectLst/>
              <a:latin typeface="+mn-lt"/>
              <a:ea typeface="+mn-ea"/>
              <a:cs typeface="Arial" panose="020B0604020202020204" pitchFamily="34" charset="0"/>
            </a:endParaRPr>
          </a:p>
          <a:p>
            <a:endParaRPr lang="en-US" sz="1200" b="0" i="0" kern="1200" baseline="0" dirty="0">
              <a:solidFill>
                <a:schemeClr val="tx2"/>
              </a:solidFill>
              <a:effectLst/>
              <a:latin typeface="+mn-lt"/>
              <a:ea typeface="+mn-ea"/>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2ED77D82-5003-4C27-8D3E-7A3C46DD7FB5}" type="slidenum">
              <a:rPr lang="en-US" smtClean="0">
                <a:solidFill>
                  <a:srgbClr val="3F3F3F"/>
                </a:solidFill>
              </a:rPr>
              <a:pPr/>
              <a:t>4</a:t>
            </a:fld>
            <a:endParaRPr lang="en-US" dirty="0">
              <a:solidFill>
                <a:srgbClr val="3F3F3F"/>
              </a:solidFill>
            </a:endParaRPr>
          </a:p>
        </p:txBody>
      </p:sp>
    </p:spTree>
    <p:extLst>
      <p:ext uri="{BB962C8B-B14F-4D97-AF65-F5344CB8AC3E}">
        <p14:creationId xmlns:p14="http://schemas.microsoft.com/office/powerpoint/2010/main" val="681111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a:p>
            <a:pPr lvl="0"/>
            <a:r>
              <a:rPr lang="en-US" sz="1200" dirty="0"/>
              <a:t>The </a:t>
            </a:r>
            <a:r>
              <a:rPr lang="en-US" sz="1200" dirty="0">
                <a:highlight>
                  <a:srgbClr val="00FF00"/>
                </a:highlight>
              </a:rPr>
              <a:t>ACA preventive</a:t>
            </a:r>
            <a:r>
              <a:rPr lang="en-US" sz="1200" baseline="0" dirty="0">
                <a:highlight>
                  <a:srgbClr val="00FF00"/>
                </a:highlight>
              </a:rPr>
              <a:t> services drug list </a:t>
            </a:r>
            <a:r>
              <a:rPr lang="en-US" sz="1200" baseline="0" dirty="0"/>
              <a:t>includes medications and other products that are used to prevent or manage certain health conditions, help you quit smoking, or prepare for certain health screenings. It also includes certain vaccines and contraceptives for women. If you fill a prescription for one of these medications, you’ll pay $0. You can see the full list at </a:t>
            </a:r>
            <a:r>
              <a:rPr lang="en-US" sz="1200" b="1" i="1" baseline="0" dirty="0">
                <a:solidFill>
                  <a:srgbClr val="FF0000"/>
                </a:solidFill>
                <a:highlight>
                  <a:srgbClr val="FFFF00"/>
                </a:highlight>
              </a:rPr>
              <a:t>Caremark.com</a:t>
            </a:r>
            <a:r>
              <a:rPr lang="en-US" sz="1200" baseline="0" dirty="0"/>
              <a:t>.</a:t>
            </a:r>
            <a:r>
              <a:rPr lang="en-US" sz="1200"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srgbClr val="3F3F3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3F3F3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161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pharmacy Benefit plan utilizes a Formulary, also know as a preferred drug list. A formulary is a list of prescription drugs that are covered by your plan. The purpose of the formulary is to ensure that drugs covered by your plan are safe, effective, and available at a reasonable cost.</a:t>
            </a:r>
          </a:p>
          <a:p>
            <a:endParaRPr lang="en-US" b="1" dirty="0"/>
          </a:p>
          <a:p>
            <a:r>
              <a:rPr lang="en-US" b="1" dirty="0"/>
              <a:t>Medication on the Formulary are separated into 3 categories or Tiers. </a:t>
            </a:r>
          </a:p>
          <a:p>
            <a:endParaRPr lang="en-US" b="1" dirty="0"/>
          </a:p>
          <a:p>
            <a:r>
              <a:rPr lang="en-US" dirty="0"/>
              <a:t>Tier 1- is Generic medications ǀ Have the same active ingredients as the brand-name medication and are approved by the U.S. Food and Drug Administration (FDA); These are usually your lowest-cost option</a:t>
            </a:r>
          </a:p>
          <a:p>
            <a:endParaRPr lang="en-US" dirty="0"/>
          </a:p>
          <a:p>
            <a:r>
              <a:rPr lang="en-US" dirty="0"/>
              <a:t>Tier 2- is Preferred brand medications ǀ Are Brand Medications that are typically at a lower-cost option</a:t>
            </a:r>
          </a:p>
          <a:p>
            <a:endParaRPr lang="en-US" dirty="0"/>
          </a:p>
          <a:p>
            <a:r>
              <a:rPr lang="en-US" dirty="0"/>
              <a:t>Tier </a:t>
            </a:r>
            <a:r>
              <a:rPr lang="en-US"/>
              <a:t>3- is Non-preferred </a:t>
            </a:r>
            <a:r>
              <a:rPr lang="en-US" dirty="0"/>
              <a:t>brand medication ǀ Are Brand medications that are covered but at a Higher-cost option</a:t>
            </a:r>
          </a:p>
          <a:p>
            <a:endParaRPr lang="en-US" dirty="0"/>
          </a:p>
          <a:p>
            <a:r>
              <a:rPr lang="en-US" dirty="0"/>
              <a:t>Specialty medications have their own Formulary  and are also divided into these three categories. Additionally, the State of New Mexico partners with </a:t>
            </a:r>
            <a:r>
              <a:rPr lang="en-US" dirty="0" err="1"/>
              <a:t>PrudentRx</a:t>
            </a:r>
            <a:r>
              <a:rPr lang="en-US" dirty="0"/>
              <a:t> to provide specialty medications. We will discuss </a:t>
            </a:r>
            <a:r>
              <a:rPr lang="en-US" dirty="0" err="1"/>
              <a:t>PrudentRx</a:t>
            </a:r>
            <a:r>
              <a:rPr lang="en-US" dirty="0"/>
              <a:t> more in just a moment.</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srgbClr val="3F3F3F"/>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3F3F3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25116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2"/>
                </a:solidFill>
                <a:effectLst/>
                <a:latin typeface="+mn-lt"/>
                <a:ea typeface="+mn-ea"/>
                <a:cs typeface="Arial" panose="020B0604020202020204" pitchFamily="34" charset="0"/>
              </a:rPr>
              <a:t> </a:t>
            </a:r>
            <a:r>
              <a:rPr lang="en-US" dirty="0"/>
              <a:t>This information provides a summary of your cost share. </a:t>
            </a:r>
          </a:p>
          <a:p>
            <a:pPr marL="0" marR="0">
              <a:spcBef>
                <a:spcPts val="0"/>
              </a:spcBef>
              <a:spcAft>
                <a:spcPts val="0"/>
              </a:spcAft>
            </a:pPr>
            <a:r>
              <a:rPr lang="en-US" sz="1200" dirty="0">
                <a:effectLst/>
                <a:latin typeface="Calibri" panose="020F0502020204030204" pitchFamily="34" charset="0"/>
              </a:rPr>
              <a:t>Again, generic medications are the least expensive option, and we encourage you to speak with you provider about generic options, whenever possible. Filling a 90 day supply through mail order or an in network pharmacy will also provide a greater savings and convenience. WE encourage you to utilize the check drug cost tool on Caremark.com in order to find the lowest cost option for you.</a:t>
            </a:r>
          </a:p>
          <a:p>
            <a:pPr marL="0" marR="0">
              <a:spcBef>
                <a:spcPts val="0"/>
              </a:spcBef>
              <a:spcAft>
                <a:spcPts val="0"/>
              </a:spcAft>
            </a:pPr>
            <a:r>
              <a:rPr lang="en-US" sz="1200" dirty="0">
                <a:effectLst/>
                <a:latin typeface="Calibri" panose="020F0502020204030204" pitchFamily="34" charset="0"/>
              </a:rPr>
              <a:t> </a:t>
            </a:r>
          </a:p>
          <a:p>
            <a:pPr marL="0" marR="0">
              <a:spcBef>
                <a:spcPts val="0"/>
              </a:spcBef>
              <a:spcAft>
                <a:spcPts val="0"/>
              </a:spcAft>
            </a:pPr>
            <a:r>
              <a:rPr lang="en-US" sz="1200" dirty="0">
                <a:effectLst/>
                <a:latin typeface="Calibri" panose="020F0502020204030204" pitchFamily="34" charset="0"/>
              </a:rPr>
              <a:t>Your plan also has a set maximum out of pocket limit that varies with each plan option. After reaching this maximum out of pocket limit, you will pay $0 out of pocket for covered medications.</a:t>
            </a:r>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7</a:t>
            </a:fld>
            <a:endParaRPr lang="en-US" dirty="0"/>
          </a:p>
        </p:txBody>
      </p:sp>
    </p:spTree>
    <p:extLst>
      <p:ext uri="{BB962C8B-B14F-4D97-AF65-F5344CB8AC3E}">
        <p14:creationId xmlns:p14="http://schemas.microsoft.com/office/powerpoint/2010/main" val="3823748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Incentivized Mail order aims to decrease cost for members through encouraging members to fill long term medications at 90 day supplies through Mail order. Members may fill up to 3 times at retail pharmacies or in 30-day supplies. Members should then fill at 90-day supplies through mail order to receive increased savings.</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50AD15A5-6128-B84F-818D-8AA5BDD9AF9D}" type="slidenum">
              <a:rPr lang="en-US" smtClean="0"/>
              <a:pPr/>
              <a:t>8</a:t>
            </a:fld>
            <a:endParaRPr lang="en-US" dirty="0"/>
          </a:p>
        </p:txBody>
      </p:sp>
    </p:spTree>
    <p:extLst>
      <p:ext uri="{BB962C8B-B14F-4D97-AF65-F5344CB8AC3E}">
        <p14:creationId xmlns:p14="http://schemas.microsoft.com/office/powerpoint/2010/main" val="3135641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77D82-5003-4C27-8D3E-7A3C46DD7FB5}" type="slidenum">
              <a:rPr lang="en-US" smtClean="0"/>
              <a:t>9</a:t>
            </a:fld>
            <a:endParaRPr lang="en-US" dirty="0"/>
          </a:p>
        </p:txBody>
      </p:sp>
    </p:spTree>
    <p:extLst>
      <p:ext uri="{BB962C8B-B14F-4D97-AF65-F5344CB8AC3E}">
        <p14:creationId xmlns:p14="http://schemas.microsoft.com/office/powerpoint/2010/main" val="3264639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CEAC-AB96-2AED-A14D-4A0B89FF24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058C913-8230-556D-7A29-31224EACDF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93F147-BB92-7761-28B3-18F232FFED82}"/>
              </a:ext>
            </a:extLst>
          </p:cNvPr>
          <p:cNvSpPr>
            <a:spLocks noGrp="1"/>
          </p:cNvSpPr>
          <p:nvPr>
            <p:ph type="dt" sz="half" idx="10"/>
          </p:nvPr>
        </p:nvSpPr>
        <p:spPr/>
        <p:txBody>
          <a:bodyPr/>
          <a:lstStyle/>
          <a:p>
            <a:fld id="{1755472A-8235-42C1-93BE-203CFABD6798}" type="datetime1">
              <a:rPr lang="en-US" smtClean="0"/>
              <a:t>9/13/2024</a:t>
            </a:fld>
            <a:endParaRPr lang="en-US"/>
          </a:p>
        </p:txBody>
      </p:sp>
      <p:sp>
        <p:nvSpPr>
          <p:cNvPr id="5" name="Footer Placeholder 4">
            <a:extLst>
              <a:ext uri="{FF2B5EF4-FFF2-40B4-BE49-F238E27FC236}">
                <a16:creationId xmlns:a16="http://schemas.microsoft.com/office/drawing/2014/main" id="{F8332B61-3073-7F63-1F12-3A7EDE6EE7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056C14-3301-6F2A-6F0E-902BC1641403}"/>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837115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CED23-AAA5-2A57-591A-01A90559CE8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4AFC70-F12D-0A76-8BB7-23A3C6F243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BC7D64-A5FC-A310-0EC2-2E7D1AA014CD}"/>
              </a:ext>
            </a:extLst>
          </p:cNvPr>
          <p:cNvSpPr>
            <a:spLocks noGrp="1"/>
          </p:cNvSpPr>
          <p:nvPr>
            <p:ph type="dt" sz="half" idx="10"/>
          </p:nvPr>
        </p:nvSpPr>
        <p:spPr/>
        <p:txBody>
          <a:bodyPr/>
          <a:lstStyle/>
          <a:p>
            <a:fld id="{208CA38C-498D-4397-B349-9A7AC7AD1631}" type="datetime1">
              <a:rPr lang="en-US" smtClean="0"/>
              <a:t>9/13/2024</a:t>
            </a:fld>
            <a:endParaRPr lang="en-US"/>
          </a:p>
        </p:txBody>
      </p:sp>
      <p:sp>
        <p:nvSpPr>
          <p:cNvPr id="5" name="Footer Placeholder 4">
            <a:extLst>
              <a:ext uri="{FF2B5EF4-FFF2-40B4-BE49-F238E27FC236}">
                <a16:creationId xmlns:a16="http://schemas.microsoft.com/office/drawing/2014/main" id="{321BBEBC-277C-F6D4-3153-CE91680DC2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D5D0A0-44D0-24ED-F35C-4EB6E6650953}"/>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1873764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6AD7E94-DD91-D906-F03E-51E768CB79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255E29-20A6-C7E6-5D14-222DF5459C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E26A33-363D-3F32-BAF5-B860807BFB70}"/>
              </a:ext>
            </a:extLst>
          </p:cNvPr>
          <p:cNvSpPr>
            <a:spLocks noGrp="1"/>
          </p:cNvSpPr>
          <p:nvPr>
            <p:ph type="dt" sz="half" idx="10"/>
          </p:nvPr>
        </p:nvSpPr>
        <p:spPr/>
        <p:txBody>
          <a:bodyPr/>
          <a:lstStyle/>
          <a:p>
            <a:fld id="{1E4752DE-FB41-473E-9CCC-BFA18D0317F5}" type="datetime1">
              <a:rPr lang="en-US" smtClean="0"/>
              <a:t>9/13/2024</a:t>
            </a:fld>
            <a:endParaRPr lang="en-US"/>
          </a:p>
        </p:txBody>
      </p:sp>
      <p:sp>
        <p:nvSpPr>
          <p:cNvPr id="5" name="Footer Placeholder 4">
            <a:extLst>
              <a:ext uri="{FF2B5EF4-FFF2-40B4-BE49-F238E27FC236}">
                <a16:creationId xmlns:a16="http://schemas.microsoft.com/office/drawing/2014/main" id="{DD713365-2966-6F82-D0EC-8DBDA69EFE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1F92A4-F08D-B103-89AB-6825D263BB22}"/>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2961509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7931" y="2130386"/>
            <a:ext cx="4682948" cy="2011680"/>
          </a:xfrm>
        </p:spPr>
        <p:txBody>
          <a:bodyPr rIns="0" anchor="b" anchorCtr="0"/>
          <a:lstStyle>
            <a:lvl1pPr>
              <a:lnSpc>
                <a:spcPct val="90000"/>
              </a:lnSpc>
              <a:defRPr sz="4000">
                <a:solidFill>
                  <a:schemeClr val="tx2"/>
                </a:solidFill>
              </a:defRPr>
            </a:lvl1pPr>
          </a:lstStyle>
          <a:p>
            <a:r>
              <a:rPr lang="en-US" dirty="0"/>
              <a:t>Click to add title</a:t>
            </a:r>
          </a:p>
        </p:txBody>
      </p:sp>
      <p:sp>
        <p:nvSpPr>
          <p:cNvPr id="15" name="Text Placeholder 4"/>
          <p:cNvSpPr>
            <a:spLocks noGrp="1"/>
          </p:cNvSpPr>
          <p:nvPr>
            <p:ph type="body" sz="quarter" idx="16" hasCustomPrompt="1"/>
          </p:nvPr>
        </p:nvSpPr>
        <p:spPr>
          <a:xfrm>
            <a:off x="557930" y="4379002"/>
            <a:ext cx="3582950" cy="1262324"/>
          </a:xfrm>
        </p:spPr>
        <p:txBody>
          <a:bodyPr/>
          <a:lstStyle>
            <a:lvl1pPr>
              <a:defRPr lang="en-US" sz="1500" b="1" kern="1200" dirty="0">
                <a:solidFill>
                  <a:schemeClr val="tx2"/>
                </a:solidFill>
                <a:latin typeface="CVS Health Sans" panose="020B0504020202020204" pitchFamily="34" charset="0"/>
                <a:ea typeface="+mn-ea"/>
                <a:cs typeface="+mn-cs"/>
              </a:defRPr>
            </a:lvl1pPr>
            <a:lvl2pPr marL="0" indent="0">
              <a:spcBef>
                <a:spcPts val="0"/>
              </a:spcBef>
              <a:spcAft>
                <a:spcPts val="2400"/>
              </a:spcAft>
              <a:buFontTx/>
              <a:buNone/>
              <a:defRPr sz="1300">
                <a:solidFill>
                  <a:schemeClr val="tx2"/>
                </a:solidFill>
              </a:defRPr>
            </a:lvl2pPr>
            <a:lvl3pPr marL="0" indent="0">
              <a:buFontTx/>
              <a:buNone/>
              <a:defRPr sz="1200">
                <a:solidFill>
                  <a:schemeClr val="tx2"/>
                </a:solidFill>
              </a:defRPr>
            </a:lvl3pPr>
            <a:lvl4pPr>
              <a:defRPr>
                <a:solidFill>
                  <a:schemeClr val="bg1"/>
                </a:solidFill>
              </a:defRPr>
            </a:lvl4pPr>
            <a:lvl5pPr>
              <a:defRPr>
                <a:solidFill>
                  <a:schemeClr val="bg1"/>
                </a:solidFill>
              </a:defRPr>
            </a:lvl5pPr>
          </a:lstStyle>
          <a:p>
            <a:pPr marL="0" lvl="0" indent="0" algn="l" defTabSz="457200" rtl="0" eaLnBrk="1" latinLnBrk="0" hangingPunct="1">
              <a:lnSpc>
                <a:spcPct val="108000"/>
              </a:lnSpc>
              <a:spcBef>
                <a:spcPts val="1800"/>
              </a:spcBef>
              <a:buClrTx/>
              <a:buFont typeface="Arial"/>
              <a:buNone/>
            </a:pPr>
            <a:r>
              <a:rPr lang="en-US" dirty="0"/>
              <a:t>Presenter name</a:t>
            </a:r>
          </a:p>
          <a:p>
            <a:pPr lvl="1"/>
            <a:r>
              <a:rPr lang="en-US" dirty="0"/>
              <a:t>Presenter title</a:t>
            </a:r>
          </a:p>
          <a:p>
            <a:pPr lvl="2"/>
            <a:r>
              <a:rPr lang="en-US" dirty="0"/>
              <a:t>Date</a:t>
            </a:r>
          </a:p>
        </p:txBody>
      </p:sp>
      <p:pic>
        <p:nvPicPr>
          <p:cNvPr id="8" name="Picture 7" descr="CVS caremark logo.">
            <a:extLst>
              <a:ext uri="{FF2B5EF4-FFF2-40B4-BE49-F238E27FC236}">
                <a16:creationId xmlns:a16="http://schemas.microsoft.com/office/drawing/2014/main" id="{0D412B52-69A7-4DDA-8BEC-454CABCC1F1B}"/>
              </a:ext>
            </a:extLst>
          </p:cNvPr>
          <p:cNvPicPr>
            <a:picLocks noChangeAspect="1"/>
          </p:cNvPicPr>
          <p:nvPr userDrawn="1"/>
        </p:nvPicPr>
        <p:blipFill>
          <a:blip r:embed="rId2"/>
          <a:stretch>
            <a:fillRect/>
          </a:stretch>
        </p:blipFill>
        <p:spPr>
          <a:xfrm>
            <a:off x="557930" y="426502"/>
            <a:ext cx="3165924" cy="357826"/>
          </a:xfrm>
          <a:prstGeom prst="rect">
            <a:avLst/>
          </a:prstGeom>
        </p:spPr>
      </p:pic>
    </p:spTree>
    <p:extLst>
      <p:ext uri="{BB962C8B-B14F-4D97-AF65-F5344CB8AC3E}">
        <p14:creationId xmlns:p14="http://schemas.microsoft.com/office/powerpoint/2010/main" val="684892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10D22-ECA3-45A8-6A88-1BD96989D2B5}"/>
              </a:ext>
            </a:extLst>
          </p:cNvPr>
          <p:cNvSpPr>
            <a:spLocks noGrp="1"/>
          </p:cNvSpPr>
          <p:nvPr>
            <p:ph type="ctrTitle"/>
          </p:nvPr>
        </p:nvSpPr>
        <p:spPr>
          <a:xfrm>
            <a:off x="0" y="1965511"/>
            <a:ext cx="4114800" cy="2387600"/>
          </a:xfrm>
        </p:spPr>
        <p:txBody>
          <a:bodyPr anchor="b">
            <a:normAutofit/>
          </a:bodyPr>
          <a:lstStyle>
            <a:lvl1pPr algn="ctr">
              <a:defRPr sz="2400"/>
            </a:lvl1pPr>
          </a:lstStyle>
          <a:p>
            <a:r>
              <a:rPr lang="en-US" dirty="0"/>
              <a:t>Click to edit Master title style</a:t>
            </a:r>
          </a:p>
        </p:txBody>
      </p:sp>
      <p:sp>
        <p:nvSpPr>
          <p:cNvPr id="3" name="Subtitle 2">
            <a:extLst>
              <a:ext uri="{FF2B5EF4-FFF2-40B4-BE49-F238E27FC236}">
                <a16:creationId xmlns:a16="http://schemas.microsoft.com/office/drawing/2014/main" id="{AF790F05-95BB-ACF7-3544-2D54DB5DC101}"/>
              </a:ext>
            </a:extLst>
          </p:cNvPr>
          <p:cNvSpPr>
            <a:spLocks noGrp="1"/>
          </p:cNvSpPr>
          <p:nvPr>
            <p:ph type="subTitle" idx="1"/>
          </p:nvPr>
        </p:nvSpPr>
        <p:spPr>
          <a:xfrm>
            <a:off x="0" y="4445186"/>
            <a:ext cx="4114800" cy="1655762"/>
          </a:xfrm>
        </p:spPr>
        <p:txBody>
          <a:bodyPr>
            <a:normAutofit/>
          </a:bodyPr>
          <a:lstStyle>
            <a:lvl1pPr marL="0" indent="0" algn="ctr">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558CCC9B-4528-8DB2-3952-323F5FDB6935}"/>
              </a:ext>
            </a:extLst>
          </p:cNvPr>
          <p:cNvSpPr>
            <a:spLocks noGrp="1"/>
          </p:cNvSpPr>
          <p:nvPr>
            <p:ph type="dt" sz="half" idx="10"/>
          </p:nvPr>
        </p:nvSpPr>
        <p:spPr/>
        <p:txBody>
          <a:bodyPr/>
          <a:lstStyle>
            <a:lvl1pPr>
              <a:defRPr sz="1000"/>
            </a:lvl1pPr>
          </a:lstStyle>
          <a:p>
            <a:fld id="{21F1C8F6-F537-A543-8E07-685F09530F22}" type="datetimeFigureOut">
              <a:rPr lang="en-US" smtClean="0"/>
              <a:pPr/>
              <a:t>9/13/2024</a:t>
            </a:fld>
            <a:endParaRPr lang="en-US" dirty="0"/>
          </a:p>
        </p:txBody>
      </p:sp>
      <p:sp>
        <p:nvSpPr>
          <p:cNvPr id="5" name="Footer Placeholder 4">
            <a:extLst>
              <a:ext uri="{FF2B5EF4-FFF2-40B4-BE49-F238E27FC236}">
                <a16:creationId xmlns:a16="http://schemas.microsoft.com/office/drawing/2014/main" id="{883C713C-0919-44C0-CFBD-24143FF7BDD5}"/>
              </a:ext>
            </a:extLst>
          </p:cNvPr>
          <p:cNvSpPr>
            <a:spLocks noGrp="1"/>
          </p:cNvSpPr>
          <p:nvPr>
            <p:ph type="ftr" sz="quarter" idx="11"/>
          </p:nvPr>
        </p:nvSpPr>
        <p:spPr/>
        <p:txBody>
          <a:bodyPr/>
          <a:lstStyle>
            <a:lvl1pPr>
              <a:defRPr sz="1000"/>
            </a:lvl1pPr>
          </a:lstStyle>
          <a:p>
            <a:endParaRPr lang="en-US"/>
          </a:p>
        </p:txBody>
      </p:sp>
      <p:sp>
        <p:nvSpPr>
          <p:cNvPr id="6" name="Slide Number Placeholder 5">
            <a:extLst>
              <a:ext uri="{FF2B5EF4-FFF2-40B4-BE49-F238E27FC236}">
                <a16:creationId xmlns:a16="http://schemas.microsoft.com/office/drawing/2014/main" id="{261DB61B-B143-DFA7-96E8-05C76EC42C00}"/>
              </a:ext>
            </a:extLst>
          </p:cNvPr>
          <p:cNvSpPr>
            <a:spLocks noGrp="1"/>
          </p:cNvSpPr>
          <p:nvPr>
            <p:ph type="sldNum" sz="quarter" idx="12"/>
          </p:nvPr>
        </p:nvSpPr>
        <p:spPr>
          <a:xfrm>
            <a:off x="8962869" y="6356350"/>
            <a:ext cx="2743200" cy="365125"/>
          </a:xfrm>
        </p:spPr>
        <p:txBody>
          <a:bodyPr/>
          <a:lstStyle>
            <a:lvl1pPr>
              <a:defRPr sz="1000"/>
            </a:lvl1pPr>
          </a:lstStyle>
          <a:p>
            <a:fld id="{60E0043C-8871-8641-B07E-1A97482E98AE}" type="slidenum">
              <a:rPr lang="en-US" smtClean="0"/>
              <a:pPr/>
              <a:t>‹#›</a:t>
            </a:fld>
            <a:endParaRPr lang="en-US"/>
          </a:p>
        </p:txBody>
      </p:sp>
    </p:spTree>
    <p:extLst>
      <p:ext uri="{BB962C8B-B14F-4D97-AF65-F5344CB8AC3E}">
        <p14:creationId xmlns:p14="http://schemas.microsoft.com/office/powerpoint/2010/main" val="2422926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272BC-4F23-15CF-C378-0D63364A952E}"/>
              </a:ext>
            </a:extLst>
          </p:cNvPr>
          <p:cNvSpPr>
            <a:spLocks noGrp="1"/>
          </p:cNvSpPr>
          <p:nvPr>
            <p:ph type="title"/>
          </p:nvPr>
        </p:nvSpPr>
        <p:spPr/>
        <p:txBody>
          <a:bodyPr>
            <a:normAutofit/>
          </a:bodyPr>
          <a:lstStyle>
            <a:lvl1pPr>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5E3A681A-5059-5702-FEC2-4E585D17A2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5CD774-9924-0F5D-BDE3-68FFA3D8DD42}"/>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5" name="Footer Placeholder 4">
            <a:extLst>
              <a:ext uri="{FF2B5EF4-FFF2-40B4-BE49-F238E27FC236}">
                <a16:creationId xmlns:a16="http://schemas.microsoft.com/office/drawing/2014/main" id="{28C0AD55-EA7C-5E33-3B4F-204EBD1890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89B4CC-DD91-7388-CCD1-03B0D046FBE7}"/>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3525197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37995-2EFE-1701-8781-4735B6D65F8C}"/>
              </a:ext>
            </a:extLst>
          </p:cNvPr>
          <p:cNvSpPr>
            <a:spLocks noGrp="1"/>
          </p:cNvSpPr>
          <p:nvPr>
            <p:ph type="title"/>
          </p:nvPr>
        </p:nvSpPr>
        <p:spPr>
          <a:xfrm>
            <a:off x="1843686" y="-591252"/>
            <a:ext cx="10215901" cy="2852737"/>
          </a:xfrm>
        </p:spPr>
        <p:txBody>
          <a:bodyPr anchor="b">
            <a:normAutofit/>
          </a:bodyPr>
          <a:lstStyle>
            <a:lvl1pPr>
              <a:defRPr sz="2000"/>
            </a:lvl1pPr>
          </a:lstStyle>
          <a:p>
            <a:r>
              <a:rPr lang="en-US" dirty="0"/>
              <a:t>Click to edit Master title style</a:t>
            </a:r>
          </a:p>
        </p:txBody>
      </p:sp>
      <p:sp>
        <p:nvSpPr>
          <p:cNvPr id="3" name="Text Placeholder 2">
            <a:extLst>
              <a:ext uri="{FF2B5EF4-FFF2-40B4-BE49-F238E27FC236}">
                <a16:creationId xmlns:a16="http://schemas.microsoft.com/office/drawing/2014/main" id="{CAC8BF12-B83C-D0A7-21F0-18AE96F22250}"/>
              </a:ext>
            </a:extLst>
          </p:cNvPr>
          <p:cNvSpPr>
            <a:spLocks noGrp="1"/>
          </p:cNvSpPr>
          <p:nvPr>
            <p:ph type="body" idx="1"/>
          </p:nvPr>
        </p:nvSpPr>
        <p:spPr>
          <a:xfrm>
            <a:off x="1843686" y="2288473"/>
            <a:ext cx="10215901" cy="1500187"/>
          </a:xfrm>
        </p:spPr>
        <p:txBody>
          <a:bodyPr>
            <a:normAutofit/>
          </a:bodyPr>
          <a:lstStyle>
            <a:lvl1pPr marL="0" indent="0">
              <a:buNone/>
              <a:defRPr sz="1600">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D004A960-6E4B-734F-7EB5-EF8C872C4004}"/>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5" name="Footer Placeholder 4">
            <a:extLst>
              <a:ext uri="{FF2B5EF4-FFF2-40B4-BE49-F238E27FC236}">
                <a16:creationId xmlns:a16="http://schemas.microsoft.com/office/drawing/2014/main" id="{94DDC5E5-EAF4-E82A-D99C-A62B9B9346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D66380-92F1-E823-3F65-BB299236CA47}"/>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2150151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017FA-DC0B-578F-8EC7-0A42AE6F51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64A809-47C3-B204-D9F7-71A95E2D950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9A2BA9-47F3-932D-9CBC-40E846B2F7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7D737D0-FB72-EB8D-5968-F0AD6B25CDE0}"/>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6" name="Footer Placeholder 5">
            <a:extLst>
              <a:ext uri="{FF2B5EF4-FFF2-40B4-BE49-F238E27FC236}">
                <a16:creationId xmlns:a16="http://schemas.microsoft.com/office/drawing/2014/main" id="{D3C94856-0BB1-E99C-11AE-16A5A1117E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EB3EA9-2F10-DDAF-F3DB-B13A09993A64}"/>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19372066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E10EF-9C21-F4F5-A0E2-B932977DFD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03E4DA5-8FB7-CEE5-8236-658401FE24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3341CAA-8360-7FD9-2297-759E487EDA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D6AA5A-E294-D7B0-DB25-F280B51CAFC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FE9401-A734-E85F-DB2A-62536C0D7C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75B107-7849-380E-F5F2-29F0CA73E435}"/>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8" name="Footer Placeholder 7">
            <a:extLst>
              <a:ext uri="{FF2B5EF4-FFF2-40B4-BE49-F238E27FC236}">
                <a16:creationId xmlns:a16="http://schemas.microsoft.com/office/drawing/2014/main" id="{6C868FFA-E5D7-5405-04A0-596B69D87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7A80D9A-1917-0A99-F8B3-966A8A155F27}"/>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41493326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BACC3-BDCA-79FB-2F3F-B3D03542FA8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704569-9093-FF86-EFEA-A26B0037433E}"/>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4" name="Footer Placeholder 3">
            <a:extLst>
              <a:ext uri="{FF2B5EF4-FFF2-40B4-BE49-F238E27FC236}">
                <a16:creationId xmlns:a16="http://schemas.microsoft.com/office/drawing/2014/main" id="{4CCB43A5-9534-7B2A-DFD6-FD56D1ED83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392214-8A52-F71F-C9ED-58045666F932}"/>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17002575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65CA5F-D9E7-9D00-C828-52571B47E43A}"/>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3" name="Footer Placeholder 2">
            <a:extLst>
              <a:ext uri="{FF2B5EF4-FFF2-40B4-BE49-F238E27FC236}">
                <a16:creationId xmlns:a16="http://schemas.microsoft.com/office/drawing/2014/main" id="{5A0081C5-5D9D-2DE8-C192-810881062B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5E06D0-F4E5-5B08-EBF7-2FCC6DA912CC}"/>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2495344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3D1C8-5246-DDDF-36B7-6E54D4BD5E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698558-7612-C63B-FB92-EA70C7FBB6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4E804E-60DB-ED31-4203-8321D21A4ECB}"/>
              </a:ext>
            </a:extLst>
          </p:cNvPr>
          <p:cNvSpPr>
            <a:spLocks noGrp="1"/>
          </p:cNvSpPr>
          <p:nvPr>
            <p:ph type="dt" sz="half" idx="10"/>
          </p:nvPr>
        </p:nvSpPr>
        <p:spPr/>
        <p:txBody>
          <a:bodyPr/>
          <a:lstStyle/>
          <a:p>
            <a:fld id="{B6B56446-0B3F-464C-9A1C-1EE1309C996E}" type="datetime1">
              <a:rPr lang="en-US" smtClean="0"/>
              <a:t>9/13/2024</a:t>
            </a:fld>
            <a:endParaRPr lang="en-US"/>
          </a:p>
        </p:txBody>
      </p:sp>
      <p:sp>
        <p:nvSpPr>
          <p:cNvPr id="5" name="Footer Placeholder 4">
            <a:extLst>
              <a:ext uri="{FF2B5EF4-FFF2-40B4-BE49-F238E27FC236}">
                <a16:creationId xmlns:a16="http://schemas.microsoft.com/office/drawing/2014/main" id="{F98121DC-9033-BA8A-2604-6D4191CD3F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D7DD5B-18D7-9C67-3BF2-09F65F72ADF1}"/>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3371505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B90E1-792E-922C-BB7D-EC3F769A8D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1DE135-29BF-E80B-E1F2-358A7A5D1CF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8E736C-C136-4E2B-CF4E-73E5B5602D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B074DF-E1F5-B3C7-6F7C-0D231E96AB57}"/>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6" name="Footer Placeholder 5">
            <a:extLst>
              <a:ext uri="{FF2B5EF4-FFF2-40B4-BE49-F238E27FC236}">
                <a16:creationId xmlns:a16="http://schemas.microsoft.com/office/drawing/2014/main" id="{9C8393AB-303E-CFAB-5069-2320EEDE15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849047-26D5-B1C4-9FFF-A3605A938998}"/>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2584388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DF5B4-7612-3654-D950-39CB770ABA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7F40E85-A20F-142D-2730-11F4D9E792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C6E5D42-023E-FB23-C8C1-3F71D2DF5F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4D22EC-22E4-2EAA-0C0F-E841762FF6AB}"/>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6" name="Footer Placeholder 5">
            <a:extLst>
              <a:ext uri="{FF2B5EF4-FFF2-40B4-BE49-F238E27FC236}">
                <a16:creationId xmlns:a16="http://schemas.microsoft.com/office/drawing/2014/main" id="{4550C307-17BC-E95D-534B-5AC998B22E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D224E0-1E96-FFFC-63EC-7E186A438F52}"/>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34933053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DBE4E-78B6-EB8F-603A-E99F602FAC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239DB2B-CF2A-A38A-84F7-D1C7C1D1EF6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FB1EF4-A098-A3B6-34E0-B2AC2E85092D}"/>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5" name="Footer Placeholder 4">
            <a:extLst>
              <a:ext uri="{FF2B5EF4-FFF2-40B4-BE49-F238E27FC236}">
                <a16:creationId xmlns:a16="http://schemas.microsoft.com/office/drawing/2014/main" id="{3234AEEE-ADB0-0B11-C552-F242C3FBC8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347D26-685A-86CA-AD6E-924630A29D30}"/>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41932902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43B821-626B-13F7-AF40-A63741E6D4B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1C7407-A2D1-6007-41EE-D05FA780E7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6B5073-9DEA-B9D8-3F64-A6288F4C1AC9}"/>
              </a:ext>
            </a:extLst>
          </p:cNvPr>
          <p:cNvSpPr>
            <a:spLocks noGrp="1"/>
          </p:cNvSpPr>
          <p:nvPr>
            <p:ph type="dt" sz="half" idx="10"/>
          </p:nvPr>
        </p:nvSpPr>
        <p:spPr/>
        <p:txBody>
          <a:bodyPr/>
          <a:lstStyle/>
          <a:p>
            <a:fld id="{21F1C8F6-F537-A543-8E07-685F09530F22}" type="datetimeFigureOut">
              <a:rPr lang="en-US" smtClean="0"/>
              <a:t>9/13/2024</a:t>
            </a:fld>
            <a:endParaRPr lang="en-US"/>
          </a:p>
        </p:txBody>
      </p:sp>
      <p:sp>
        <p:nvSpPr>
          <p:cNvPr id="5" name="Footer Placeholder 4">
            <a:extLst>
              <a:ext uri="{FF2B5EF4-FFF2-40B4-BE49-F238E27FC236}">
                <a16:creationId xmlns:a16="http://schemas.microsoft.com/office/drawing/2014/main" id="{E3DC7AB2-B9E3-11B5-89E2-A016F528CC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9E96B7-A33D-6EA6-A9A0-9E10B5C5F6FA}"/>
              </a:ext>
            </a:extLst>
          </p:cNvPr>
          <p:cNvSpPr>
            <a:spLocks noGrp="1"/>
          </p:cNvSpPr>
          <p:nvPr>
            <p:ph type="sldNum" sz="quarter" idx="12"/>
          </p:nvPr>
        </p:nvSpPr>
        <p:spPr/>
        <p:txBody>
          <a:bodyPr/>
          <a:lstStyle/>
          <a:p>
            <a:fld id="{60E0043C-8871-8641-B07E-1A97482E98AE}" type="slidenum">
              <a:rPr lang="en-US" smtClean="0"/>
              <a:t>‹#›</a:t>
            </a:fld>
            <a:endParaRPr lang="en-US"/>
          </a:p>
        </p:txBody>
      </p:sp>
    </p:spTree>
    <p:extLst>
      <p:ext uri="{BB962C8B-B14F-4D97-AF65-F5344CB8AC3E}">
        <p14:creationId xmlns:p14="http://schemas.microsoft.com/office/powerpoint/2010/main" val="17177494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0027C3E-6425-389A-DFB7-FB726AFAC6CC}"/>
              </a:ext>
            </a:extLst>
          </p:cNvPr>
          <p:cNvGrpSpPr/>
          <p:nvPr userDrawn="1"/>
        </p:nvGrpSpPr>
        <p:grpSpPr>
          <a:xfrm>
            <a:off x="0" y="1"/>
            <a:ext cx="12192127" cy="6858001"/>
            <a:chOff x="0" y="0"/>
            <a:chExt cx="12188952" cy="6858001"/>
          </a:xfrm>
        </p:grpSpPr>
        <p:sp>
          <p:nvSpPr>
            <p:cNvPr id="6" name="Freeform: Shape 5">
              <a:extLst>
                <a:ext uri="{FF2B5EF4-FFF2-40B4-BE49-F238E27FC236}">
                  <a16:creationId xmlns:a16="http://schemas.microsoft.com/office/drawing/2014/main" id="{5BDFBE4F-0802-1F1D-0EBE-3B238C6C4A97}"/>
                </a:ext>
              </a:extLst>
            </p:cNvPr>
            <p:cNvSpPr/>
            <p:nvPr userDrawn="1"/>
          </p:nvSpPr>
          <p:spPr>
            <a:xfrm>
              <a:off x="3822422" y="3408029"/>
              <a:ext cx="2604499" cy="3449972"/>
            </a:xfrm>
            <a:custGeom>
              <a:avLst/>
              <a:gdLst>
                <a:gd name="connsiteX0" fmla="*/ 987717 w 2604499"/>
                <a:gd name="connsiteY0" fmla="*/ 0 h 3449972"/>
                <a:gd name="connsiteX1" fmla="*/ 908428 w 2604499"/>
                <a:gd name="connsiteY1" fmla="*/ 88585 h 3449972"/>
                <a:gd name="connsiteX2" fmla="*/ 625049 w 2604499"/>
                <a:gd name="connsiteY2" fmla="*/ 915717 h 3449972"/>
                <a:gd name="connsiteX3" fmla="*/ 994261 w 2604499"/>
                <a:gd name="connsiteY3" fmla="*/ 1839737 h 3449972"/>
                <a:gd name="connsiteX4" fmla="*/ 2604499 w 2604499"/>
                <a:gd name="connsiteY4" fmla="*/ 3449972 h 3449972"/>
                <a:gd name="connsiteX5" fmla="*/ 1354155 w 2604499"/>
                <a:gd name="connsiteY5" fmla="*/ 3449972 h 3449972"/>
                <a:gd name="connsiteX6" fmla="*/ 369473 w 2604499"/>
                <a:gd name="connsiteY6" fmla="*/ 2465292 h 3449972"/>
                <a:gd name="connsiteX7" fmla="*/ 261 w 2604499"/>
                <a:gd name="connsiteY7" fmla="*/ 1541272 h 3449972"/>
                <a:gd name="connsiteX8" fmla="*/ 369473 w 2604499"/>
                <a:gd name="connsiteY8" fmla="*/ 618243 h 344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4499" h="3449972">
                  <a:moveTo>
                    <a:pt x="987717" y="0"/>
                  </a:moveTo>
                  <a:lnTo>
                    <a:pt x="908428" y="88585"/>
                  </a:lnTo>
                  <a:cubicBezTo>
                    <a:pt x="720412" y="321257"/>
                    <a:pt x="619177" y="613910"/>
                    <a:pt x="625049" y="915717"/>
                  </a:cubicBezTo>
                  <a:cubicBezTo>
                    <a:pt x="618070" y="1260981"/>
                    <a:pt x="751274" y="1594348"/>
                    <a:pt x="994261" y="1839737"/>
                  </a:cubicBezTo>
                  <a:lnTo>
                    <a:pt x="2604499" y="3449972"/>
                  </a:lnTo>
                  <a:lnTo>
                    <a:pt x="1354155" y="3449972"/>
                  </a:lnTo>
                  <a:lnTo>
                    <a:pt x="369473" y="2465292"/>
                  </a:lnTo>
                  <a:cubicBezTo>
                    <a:pt x="126486" y="2219903"/>
                    <a:pt x="-6719" y="1886536"/>
                    <a:pt x="261" y="1541272"/>
                  </a:cubicBezTo>
                  <a:cubicBezTo>
                    <a:pt x="-6450" y="1196349"/>
                    <a:pt x="126733" y="863384"/>
                    <a:pt x="369473" y="618243"/>
                  </a:cubicBezTo>
                  <a:close/>
                </a:path>
              </a:pathLst>
            </a:custGeom>
            <a:solidFill>
              <a:srgbClr val="0A4B8C"/>
            </a:solidFill>
            <a:ln w="9525" cap="flat">
              <a:noFill/>
              <a:prstDash val="solid"/>
              <a:miter/>
            </a:ln>
          </p:spPr>
          <p:txBody>
            <a:bodyPr rtlCol="0" anchor="ctr"/>
            <a:lstStyle/>
            <a:p>
              <a:endParaRPr lang="en-US" sz="1800" dirty="0"/>
            </a:p>
          </p:txBody>
        </p:sp>
        <p:sp>
          <p:nvSpPr>
            <p:cNvPr id="7" name="Freeform: Shape 6">
              <a:extLst>
                <a:ext uri="{FF2B5EF4-FFF2-40B4-BE49-F238E27FC236}">
                  <a16:creationId xmlns:a16="http://schemas.microsoft.com/office/drawing/2014/main" id="{999B8CC6-76FA-9121-ADB9-AC02DB3A9738}"/>
                </a:ext>
              </a:extLst>
            </p:cNvPr>
            <p:cNvSpPr/>
            <p:nvPr userDrawn="1"/>
          </p:nvSpPr>
          <p:spPr>
            <a:xfrm>
              <a:off x="4444828" y="2725500"/>
              <a:ext cx="3361670" cy="4132501"/>
            </a:xfrm>
            <a:custGeom>
              <a:avLst/>
              <a:gdLst>
                <a:gd name="connsiteX0" fmla="*/ 1044691 w 3361670"/>
                <a:gd name="connsiteY0" fmla="*/ 0 h 4132501"/>
                <a:gd name="connsiteX1" fmla="*/ 973746 w 3361670"/>
                <a:gd name="connsiteY1" fmla="*/ 79263 h 4132501"/>
                <a:gd name="connsiteX2" fmla="*/ 690367 w 3361670"/>
                <a:gd name="connsiteY2" fmla="*/ 906395 h 4132501"/>
                <a:gd name="connsiteX3" fmla="*/ 1059579 w 3361670"/>
                <a:gd name="connsiteY3" fmla="*/ 1830415 h 4132501"/>
                <a:gd name="connsiteX4" fmla="*/ 3361670 w 3361670"/>
                <a:gd name="connsiteY4" fmla="*/ 4132501 h 4132501"/>
                <a:gd name="connsiteX5" fmla="*/ 1979711 w 3361670"/>
                <a:gd name="connsiteY5" fmla="*/ 4132501 h 4132501"/>
                <a:gd name="connsiteX6" fmla="*/ 369473 w 3361670"/>
                <a:gd name="connsiteY6" fmla="*/ 2522266 h 4132501"/>
                <a:gd name="connsiteX7" fmla="*/ 261 w 3361670"/>
                <a:gd name="connsiteY7" fmla="*/ 1598246 h 4132501"/>
                <a:gd name="connsiteX8" fmla="*/ 369473 w 3361670"/>
                <a:gd name="connsiteY8" fmla="*/ 675217 h 413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670" h="4132501">
                  <a:moveTo>
                    <a:pt x="1044691" y="0"/>
                  </a:moveTo>
                  <a:lnTo>
                    <a:pt x="973746" y="79263"/>
                  </a:lnTo>
                  <a:cubicBezTo>
                    <a:pt x="785730" y="311935"/>
                    <a:pt x="684495" y="604588"/>
                    <a:pt x="690367" y="906395"/>
                  </a:cubicBezTo>
                  <a:cubicBezTo>
                    <a:pt x="683388" y="1251659"/>
                    <a:pt x="816592" y="1585026"/>
                    <a:pt x="1059579" y="1830415"/>
                  </a:cubicBezTo>
                  <a:lnTo>
                    <a:pt x="3361670" y="4132501"/>
                  </a:lnTo>
                  <a:lnTo>
                    <a:pt x="1979711" y="4132501"/>
                  </a:lnTo>
                  <a:lnTo>
                    <a:pt x="369473" y="2522266"/>
                  </a:lnTo>
                  <a:cubicBezTo>
                    <a:pt x="126486" y="2276877"/>
                    <a:pt x="-6719" y="1943510"/>
                    <a:pt x="261" y="1598246"/>
                  </a:cubicBezTo>
                  <a:cubicBezTo>
                    <a:pt x="-6451" y="1253323"/>
                    <a:pt x="126734" y="920358"/>
                    <a:pt x="369473" y="675217"/>
                  </a:cubicBezTo>
                  <a:close/>
                </a:path>
              </a:pathLst>
            </a:custGeom>
            <a:solidFill>
              <a:srgbClr val="0073E3"/>
            </a:solidFill>
            <a:ln w="6350" cap="flat">
              <a:noFill/>
              <a:prstDash val="solid"/>
              <a:miter/>
            </a:ln>
          </p:spPr>
          <p:txBody>
            <a:bodyPr rtlCol="0" anchor="ctr"/>
            <a:lstStyle/>
            <a:p>
              <a:endParaRPr lang="en-US" sz="1800" dirty="0"/>
            </a:p>
          </p:txBody>
        </p:sp>
        <p:sp>
          <p:nvSpPr>
            <p:cNvPr id="8" name="Freeform: Shape 7">
              <a:extLst>
                <a:ext uri="{FF2B5EF4-FFF2-40B4-BE49-F238E27FC236}">
                  <a16:creationId xmlns:a16="http://schemas.microsoft.com/office/drawing/2014/main" id="{31547D08-7AC4-A920-CF70-09A98A47B03A}"/>
                </a:ext>
              </a:extLst>
            </p:cNvPr>
            <p:cNvSpPr/>
            <p:nvPr userDrawn="1"/>
          </p:nvSpPr>
          <p:spPr bwMode="gray">
            <a:xfrm>
              <a:off x="0" y="0"/>
              <a:ext cx="12188952" cy="6858000"/>
            </a:xfrm>
            <a:custGeom>
              <a:avLst/>
              <a:gdLst>
                <a:gd name="connsiteX0" fmla="*/ 0 w 12188952"/>
                <a:gd name="connsiteY0" fmla="*/ 0 h 6858000"/>
                <a:gd name="connsiteX1" fmla="*/ 12188952 w 12188952"/>
                <a:gd name="connsiteY1" fmla="*/ 0 h 6858000"/>
                <a:gd name="connsiteX2" fmla="*/ 12188952 w 12188952"/>
                <a:gd name="connsiteY2" fmla="*/ 878046 h 6858000"/>
                <a:gd name="connsiteX3" fmla="*/ 12140844 w 12188952"/>
                <a:gd name="connsiteY3" fmla="*/ 921516 h 6858000"/>
                <a:gd name="connsiteX4" fmla="*/ 10647915 w 12188952"/>
                <a:gd name="connsiteY4" fmla="*/ 2404623 h 6858000"/>
                <a:gd name="connsiteX5" fmla="*/ 9154986 w 12188952"/>
                <a:gd name="connsiteY5" fmla="*/ 921516 h 6858000"/>
                <a:gd name="connsiteX6" fmla="*/ 8231728 w 12188952"/>
                <a:gd name="connsiteY6" fmla="*/ 548284 h 6858000"/>
                <a:gd name="connsiteX7" fmla="*/ 7308470 w 12188952"/>
                <a:gd name="connsiteY7" fmla="*/ 921516 h 6858000"/>
                <a:gd name="connsiteX8" fmla="*/ 6060962 w 12188952"/>
                <a:gd name="connsiteY8" fmla="*/ 2169024 h 6858000"/>
                <a:gd name="connsiteX9" fmla="*/ 5986241 w 12188952"/>
                <a:gd name="connsiteY9" fmla="*/ 2236540 h 6858000"/>
                <a:gd name="connsiteX10" fmla="*/ 4198655 w 12188952"/>
                <a:gd name="connsiteY10" fmla="*/ 4024126 h 6858000"/>
                <a:gd name="connsiteX11" fmla="*/ 3825423 w 12188952"/>
                <a:gd name="connsiteY11" fmla="*/ 4947385 h 6858000"/>
                <a:gd name="connsiteX12" fmla="*/ 4198655 w 12188952"/>
                <a:gd name="connsiteY12" fmla="*/ 5870643 h 6858000"/>
                <a:gd name="connsiteX13" fmla="*/ 5186012 w 12188952"/>
                <a:gd name="connsiteY13" fmla="*/ 6858000 h 6858000"/>
                <a:gd name="connsiteX14" fmla="*/ 0 w 12188952"/>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6858000">
                  <a:moveTo>
                    <a:pt x="0" y="0"/>
                  </a:moveTo>
                  <a:lnTo>
                    <a:pt x="12188952" y="0"/>
                  </a:lnTo>
                  <a:lnTo>
                    <a:pt x="12188952" y="878046"/>
                  </a:lnTo>
                  <a:lnTo>
                    <a:pt x="12140844" y="921516"/>
                  </a:lnTo>
                  <a:lnTo>
                    <a:pt x="10647915" y="2404623"/>
                  </a:lnTo>
                  <a:lnTo>
                    <a:pt x="9154986" y="921516"/>
                  </a:lnTo>
                  <a:cubicBezTo>
                    <a:pt x="8899617" y="666147"/>
                    <a:pt x="8575494" y="548284"/>
                    <a:pt x="8231728" y="548284"/>
                  </a:cubicBezTo>
                  <a:cubicBezTo>
                    <a:pt x="7887961" y="548284"/>
                    <a:pt x="7563840" y="666147"/>
                    <a:pt x="7308470" y="921516"/>
                  </a:cubicBezTo>
                  <a:lnTo>
                    <a:pt x="6060962" y="2169024"/>
                  </a:lnTo>
                  <a:lnTo>
                    <a:pt x="5986241" y="2236540"/>
                  </a:lnTo>
                  <a:lnTo>
                    <a:pt x="4198655" y="4024126"/>
                  </a:lnTo>
                  <a:cubicBezTo>
                    <a:pt x="3943286" y="4279496"/>
                    <a:pt x="3825423" y="4603618"/>
                    <a:pt x="3825423" y="4947385"/>
                  </a:cubicBezTo>
                  <a:cubicBezTo>
                    <a:pt x="3825423" y="5291151"/>
                    <a:pt x="3943286" y="5615274"/>
                    <a:pt x="4198655" y="5870643"/>
                  </a:cubicBezTo>
                  <a:lnTo>
                    <a:pt x="5186012" y="6858000"/>
                  </a:lnTo>
                  <a:lnTo>
                    <a:pt x="0" y="6858000"/>
                  </a:lnTo>
                  <a:close/>
                </a:path>
              </a:pathLst>
            </a:cu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
        <p:nvSpPr>
          <p:cNvPr id="4" name="Picture Placeholder 3">
            <a:extLst>
              <a:ext uri="{FF2B5EF4-FFF2-40B4-BE49-F238E27FC236}">
                <a16:creationId xmlns:a16="http://schemas.microsoft.com/office/drawing/2014/main" id="{D8B48745-7DE9-6120-7E44-074B4BF78287}"/>
              </a:ext>
            </a:extLst>
          </p:cNvPr>
          <p:cNvSpPr>
            <a:spLocks noGrp="1"/>
          </p:cNvSpPr>
          <p:nvPr>
            <p:ph type="pic" sz="quarter" idx="17"/>
          </p:nvPr>
        </p:nvSpPr>
        <p:spPr bwMode="gray">
          <a:xfrm>
            <a:off x="5124361" y="545903"/>
            <a:ext cx="7067639" cy="6312097"/>
          </a:xfrm>
          <a:custGeom>
            <a:avLst/>
            <a:gdLst>
              <a:gd name="connsiteX0" fmla="*/ 3097840 w 7056273"/>
              <a:gd name="connsiteY0" fmla="*/ 0 h 6309716"/>
              <a:gd name="connsiteX1" fmla="*/ 4021410 w 7056273"/>
              <a:gd name="connsiteY1" fmla="*/ 373232 h 6309716"/>
              <a:gd name="connsiteX2" fmla="*/ 5514843 w 7056273"/>
              <a:gd name="connsiteY2" fmla="*/ 1856339 h 6309716"/>
              <a:gd name="connsiteX3" fmla="*/ 7008276 w 7056273"/>
              <a:gd name="connsiteY3" fmla="*/ 373232 h 6309716"/>
              <a:gd name="connsiteX4" fmla="*/ 7056273 w 7056273"/>
              <a:gd name="connsiteY4" fmla="*/ 329877 h 6309716"/>
              <a:gd name="connsiteX5" fmla="*/ 7056273 w 7056273"/>
              <a:gd name="connsiteY5" fmla="*/ 6309716 h 6309716"/>
              <a:gd name="connsiteX6" fmla="*/ 2672466 w 7056273"/>
              <a:gd name="connsiteY6" fmla="*/ 6309716 h 6309716"/>
              <a:gd name="connsiteX7" fmla="*/ 369599 w 7056273"/>
              <a:gd name="connsiteY7" fmla="*/ 4007631 h 6309716"/>
              <a:gd name="connsiteX8" fmla="*/ 262 w 7056273"/>
              <a:gd name="connsiteY8" fmla="*/ 3083611 h 6309716"/>
              <a:gd name="connsiteX9" fmla="*/ 159272 w 7056273"/>
              <a:gd name="connsiteY9" fmla="*/ 2441436 h 6309716"/>
              <a:gd name="connsiteX10" fmla="*/ 256918 w 7056273"/>
              <a:gd name="connsiteY10" fmla="*/ 2296333 h 6309716"/>
              <a:gd name="connsiteX11" fmla="*/ 2233699 w 7056273"/>
              <a:gd name="connsiteY11" fmla="*/ 319552 h 6309716"/>
              <a:gd name="connsiteX12" fmla="*/ 2273195 w 7056273"/>
              <a:gd name="connsiteY12" fmla="*/ 283876 h 6309716"/>
              <a:gd name="connsiteX13" fmla="*/ 3097840 w 7056273"/>
              <a:gd name="connsiteY13" fmla="*/ 0 h 630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56273" h="6309716">
                <a:moveTo>
                  <a:pt x="3097840" y="0"/>
                </a:moveTo>
                <a:cubicBezTo>
                  <a:pt x="3441722" y="0"/>
                  <a:pt x="3765955" y="117863"/>
                  <a:pt x="4021410" y="373232"/>
                </a:cubicBezTo>
                <a:lnTo>
                  <a:pt x="5514843" y="1856339"/>
                </a:lnTo>
                <a:lnTo>
                  <a:pt x="7008276" y="373232"/>
                </a:lnTo>
                <a:lnTo>
                  <a:pt x="7056273" y="329877"/>
                </a:lnTo>
                <a:lnTo>
                  <a:pt x="7056273" y="6309716"/>
                </a:lnTo>
                <a:lnTo>
                  <a:pt x="2672466" y="6309716"/>
                </a:lnTo>
                <a:lnTo>
                  <a:pt x="369599" y="4007631"/>
                </a:lnTo>
                <a:cubicBezTo>
                  <a:pt x="126530" y="3762242"/>
                  <a:pt x="-6720" y="3428875"/>
                  <a:pt x="262" y="3083611"/>
                </a:cubicBezTo>
                <a:cubicBezTo>
                  <a:pt x="-4143" y="2857256"/>
                  <a:pt x="51720" y="2636050"/>
                  <a:pt x="159272" y="2441436"/>
                </a:cubicBezTo>
                <a:lnTo>
                  <a:pt x="256918" y="2296333"/>
                </a:lnTo>
                <a:lnTo>
                  <a:pt x="2233699" y="319552"/>
                </a:lnTo>
                <a:lnTo>
                  <a:pt x="2273195" y="283876"/>
                </a:lnTo>
                <a:cubicBezTo>
                  <a:pt x="2511092" y="90239"/>
                  <a:pt x="2796943" y="0"/>
                  <a:pt x="3097840" y="0"/>
                </a:cubicBezTo>
                <a:close/>
              </a:path>
            </a:pathLst>
          </a:custGeom>
          <a:solidFill>
            <a:schemeClr val="bg1">
              <a:lumMod val="75000"/>
            </a:schemeClr>
          </a:solidFill>
        </p:spPr>
        <p:txBody>
          <a:bodyPr wrap="square" tIns="2194560">
            <a:noAutofit/>
          </a:bodyPr>
          <a:lstStyle>
            <a:lvl1pPr algn="ctr">
              <a:defRPr sz="2000" b="1">
                <a:solidFill>
                  <a:schemeClr val="bg1"/>
                </a:solidFill>
              </a:defRPr>
            </a:lvl1pPr>
          </a:lstStyle>
          <a:p>
            <a:r>
              <a:rPr lang="en-US"/>
              <a:t>Click icon to add picture</a:t>
            </a:r>
            <a:endParaRPr lang="en-US" dirty="0"/>
          </a:p>
        </p:txBody>
      </p:sp>
      <p:sp>
        <p:nvSpPr>
          <p:cNvPr id="2" name="Freeform: Shape 1" descr="CVS Caremark logo.">
            <a:extLst>
              <a:ext uri="{FF2B5EF4-FFF2-40B4-BE49-F238E27FC236}">
                <a16:creationId xmlns:a16="http://schemas.microsoft.com/office/drawing/2014/main" id="{51E17FCC-6DC9-78D0-78A5-C24C025033C9}"/>
              </a:ext>
            </a:extLst>
          </p:cNvPr>
          <p:cNvSpPr/>
          <p:nvPr userDrawn="1"/>
        </p:nvSpPr>
        <p:spPr>
          <a:xfrm>
            <a:off x="869243" y="1398588"/>
            <a:ext cx="1774072" cy="200649"/>
          </a:xfrm>
          <a:custGeom>
            <a:avLst/>
            <a:gdLst>
              <a:gd name="connsiteX0" fmla="*/ 675480 w 1773610"/>
              <a:gd name="connsiteY0" fmla="*/ 135969 h 200649"/>
              <a:gd name="connsiteX1" fmla="*/ 703379 w 1773610"/>
              <a:gd name="connsiteY1" fmla="*/ 155237 h 200649"/>
              <a:gd name="connsiteX2" fmla="*/ 726211 w 1773610"/>
              <a:gd name="connsiteY2" fmla="*/ 141538 h 200649"/>
              <a:gd name="connsiteX3" fmla="*/ 692724 w 1773610"/>
              <a:gd name="connsiteY3" fmla="*/ 122771 h 200649"/>
              <a:gd name="connsiteX4" fmla="*/ 641493 w 1773610"/>
              <a:gd name="connsiteY4" fmla="*/ 104506 h 200649"/>
              <a:gd name="connsiteX5" fmla="*/ 619682 w 1773610"/>
              <a:gd name="connsiteY5" fmla="*/ 60634 h 200649"/>
              <a:gd name="connsiteX6" fmla="*/ 699063 w 1773610"/>
              <a:gd name="connsiteY6" fmla="*/ 0 h 200649"/>
              <a:gd name="connsiteX7" fmla="*/ 780236 w 1773610"/>
              <a:gd name="connsiteY7" fmla="*/ 59864 h 200649"/>
              <a:gd name="connsiteX8" fmla="*/ 722646 w 1773610"/>
              <a:gd name="connsiteY8" fmla="*/ 59864 h 200649"/>
              <a:gd name="connsiteX9" fmla="*/ 698061 w 1773610"/>
              <a:gd name="connsiteY9" fmla="*/ 43120 h 200649"/>
              <a:gd name="connsiteX10" fmla="*/ 678794 w 1773610"/>
              <a:gd name="connsiteY10" fmla="*/ 56049 h 200649"/>
              <a:gd name="connsiteX11" fmla="*/ 706944 w 1773610"/>
              <a:gd name="connsiteY11" fmla="*/ 72792 h 200649"/>
              <a:gd name="connsiteX12" fmla="*/ 761239 w 1773610"/>
              <a:gd name="connsiteY12" fmla="*/ 90807 h 200649"/>
              <a:gd name="connsiteX13" fmla="*/ 785573 w 1773610"/>
              <a:gd name="connsiteY13" fmla="*/ 135122 h 200649"/>
              <a:gd name="connsiteX14" fmla="*/ 700797 w 1773610"/>
              <a:gd name="connsiteY14" fmla="*/ 200630 h 200649"/>
              <a:gd name="connsiteX15" fmla="*/ 616021 w 1773610"/>
              <a:gd name="connsiteY15" fmla="*/ 135950 h 200649"/>
              <a:gd name="connsiteX16" fmla="*/ 451517 w 1773610"/>
              <a:gd name="connsiteY16" fmla="*/ 121519 h 200649"/>
              <a:gd name="connsiteX17" fmla="*/ 360711 w 1773610"/>
              <a:gd name="connsiteY17" fmla="*/ 200650 h 200649"/>
              <a:gd name="connsiteX18" fmla="*/ 263064 w 1773610"/>
              <a:gd name="connsiteY18" fmla="*/ 100460 h 200649"/>
              <a:gd name="connsiteX19" fmla="*/ 359401 w 1773610"/>
              <a:gd name="connsiteY19" fmla="*/ 19 h 200649"/>
              <a:gd name="connsiteX20" fmla="*/ 450496 w 1773610"/>
              <a:gd name="connsiteY20" fmla="*/ 77089 h 200649"/>
              <a:gd name="connsiteX21" fmla="*/ 392405 w 1773610"/>
              <a:gd name="connsiteY21" fmla="*/ 77089 h 200649"/>
              <a:gd name="connsiteX22" fmla="*/ 360191 w 1773610"/>
              <a:gd name="connsiteY22" fmla="*/ 47667 h 200649"/>
              <a:gd name="connsiteX23" fmla="*/ 324430 w 1773610"/>
              <a:gd name="connsiteY23" fmla="*/ 100421 h 200649"/>
              <a:gd name="connsiteX24" fmla="*/ 361982 w 1773610"/>
              <a:gd name="connsiteY24" fmla="*/ 152944 h 200649"/>
              <a:gd name="connsiteX25" fmla="*/ 393947 w 1773610"/>
              <a:gd name="connsiteY25" fmla="*/ 121480 h 200649"/>
              <a:gd name="connsiteX26" fmla="*/ 438570 w 1773610"/>
              <a:gd name="connsiteY26" fmla="*/ 5337 h 200649"/>
              <a:gd name="connsiteX27" fmla="*/ 500726 w 1773610"/>
              <a:gd name="connsiteY27" fmla="*/ 5337 h 200649"/>
              <a:gd name="connsiteX28" fmla="*/ 532690 w 1773610"/>
              <a:gd name="connsiteY28" fmla="*/ 128108 h 200649"/>
              <a:gd name="connsiteX29" fmla="*/ 566909 w 1773610"/>
              <a:gd name="connsiteY29" fmla="*/ 5337 h 200649"/>
              <a:gd name="connsiteX30" fmla="*/ 626773 w 1773610"/>
              <a:gd name="connsiteY30" fmla="*/ 5337 h 200649"/>
              <a:gd name="connsiteX31" fmla="*/ 562863 w 1773610"/>
              <a:gd name="connsiteY31" fmla="*/ 195332 h 200649"/>
              <a:gd name="connsiteX32" fmla="*/ 502248 w 1773610"/>
              <a:gd name="connsiteY32" fmla="*/ 195332 h 200649"/>
              <a:gd name="connsiteX33" fmla="*/ 67983 w 1773610"/>
              <a:gd name="connsiteY33" fmla="*/ 270 h 200649"/>
              <a:gd name="connsiteX34" fmla="*/ 48196 w 1773610"/>
              <a:gd name="connsiteY34" fmla="*/ 8535 h 200649"/>
              <a:gd name="connsiteX35" fmla="*/ 8254 w 1773610"/>
              <a:gd name="connsiteY35" fmla="*/ 48380 h 200649"/>
              <a:gd name="connsiteX36" fmla="*/ 8246 w 1773610"/>
              <a:gd name="connsiteY36" fmla="*/ 88217 h 200649"/>
              <a:gd name="connsiteX37" fmla="*/ 8254 w 1773610"/>
              <a:gd name="connsiteY37" fmla="*/ 88225 h 200649"/>
              <a:gd name="connsiteX38" fmla="*/ 120679 w 1773610"/>
              <a:gd name="connsiteY38" fmla="*/ 200650 h 200649"/>
              <a:gd name="connsiteX39" fmla="*/ 233161 w 1773610"/>
              <a:gd name="connsiteY39" fmla="*/ 88225 h 200649"/>
              <a:gd name="connsiteX40" fmla="*/ 233169 w 1773610"/>
              <a:gd name="connsiteY40" fmla="*/ 48388 h 200649"/>
              <a:gd name="connsiteX41" fmla="*/ 233161 w 1773610"/>
              <a:gd name="connsiteY41" fmla="*/ 48380 h 200649"/>
              <a:gd name="connsiteX42" fmla="*/ 193317 w 1773610"/>
              <a:gd name="connsiteY42" fmla="*/ 8574 h 200649"/>
              <a:gd name="connsiteX43" fmla="*/ 153617 w 1773610"/>
              <a:gd name="connsiteY43" fmla="*/ 8410 h 200649"/>
              <a:gd name="connsiteX44" fmla="*/ 153453 w 1773610"/>
              <a:gd name="connsiteY44" fmla="*/ 8574 h 200649"/>
              <a:gd name="connsiteX45" fmla="*/ 120698 w 1773610"/>
              <a:gd name="connsiteY45" fmla="*/ 41328 h 200649"/>
              <a:gd name="connsiteX46" fmla="*/ 87944 w 1773610"/>
              <a:gd name="connsiteY46" fmla="*/ 8574 h 200649"/>
              <a:gd name="connsiteX47" fmla="*/ 67983 w 1773610"/>
              <a:gd name="connsiteY47" fmla="*/ 270 h 200649"/>
              <a:gd name="connsiteX48" fmla="*/ 827114 w 1773610"/>
              <a:gd name="connsiteY48" fmla="*/ 137434 h 200649"/>
              <a:gd name="connsiteX49" fmla="*/ 883509 w 1773610"/>
              <a:gd name="connsiteY49" fmla="*/ 77031 h 200649"/>
              <a:gd name="connsiteX50" fmla="*/ 934298 w 1773610"/>
              <a:gd name="connsiteY50" fmla="*/ 118032 h 200649"/>
              <a:gd name="connsiteX51" fmla="*/ 909443 w 1773610"/>
              <a:gd name="connsiteY51" fmla="*/ 118032 h 200649"/>
              <a:gd name="connsiteX52" fmla="*/ 884395 w 1773610"/>
              <a:gd name="connsiteY52" fmla="*/ 97531 h 200649"/>
              <a:gd name="connsiteX53" fmla="*/ 852758 w 1773610"/>
              <a:gd name="connsiteY53" fmla="*/ 137434 h 200649"/>
              <a:gd name="connsiteX54" fmla="*/ 884241 w 1773610"/>
              <a:gd name="connsiteY54" fmla="*/ 177279 h 200649"/>
              <a:gd name="connsiteX55" fmla="*/ 910541 w 1773610"/>
              <a:gd name="connsiteY55" fmla="*/ 154331 h 200649"/>
              <a:gd name="connsiteX56" fmla="*/ 935049 w 1773610"/>
              <a:gd name="connsiteY56" fmla="*/ 154331 h 200649"/>
              <a:gd name="connsiteX57" fmla="*/ 884684 w 1773610"/>
              <a:gd name="connsiteY57" fmla="*/ 198010 h 200649"/>
              <a:gd name="connsiteX58" fmla="*/ 827191 w 1773610"/>
              <a:gd name="connsiteY58" fmla="*/ 137395 h 200649"/>
              <a:gd name="connsiteX59" fmla="*/ 1018842 w 1773610"/>
              <a:gd name="connsiteY59" fmla="*/ 179957 h 200649"/>
              <a:gd name="connsiteX60" fmla="*/ 983179 w 1773610"/>
              <a:gd name="connsiteY60" fmla="*/ 197124 h 200649"/>
              <a:gd name="connsiteX61" fmla="*/ 944644 w 1773610"/>
              <a:gd name="connsiteY61" fmla="*/ 163464 h 200649"/>
              <a:gd name="connsiteX62" fmla="*/ 991675 w 1773610"/>
              <a:gd name="connsiteY62" fmla="*/ 126471 h 200649"/>
              <a:gd name="connsiteX63" fmla="*/ 1018650 w 1773610"/>
              <a:gd name="connsiteY63" fmla="*/ 111982 h 200649"/>
              <a:gd name="connsiteX64" fmla="*/ 997032 w 1773610"/>
              <a:gd name="connsiteY64" fmla="*/ 96163 h 200649"/>
              <a:gd name="connsiteX65" fmla="*/ 973641 w 1773610"/>
              <a:gd name="connsiteY65" fmla="*/ 115546 h 200649"/>
              <a:gd name="connsiteX66" fmla="*/ 949750 w 1773610"/>
              <a:gd name="connsiteY66" fmla="*/ 115546 h 200649"/>
              <a:gd name="connsiteX67" fmla="*/ 996762 w 1773610"/>
              <a:gd name="connsiteY67" fmla="*/ 77435 h 200649"/>
              <a:gd name="connsiteX68" fmla="*/ 1043562 w 1773610"/>
              <a:gd name="connsiteY68" fmla="*/ 117107 h 200649"/>
              <a:gd name="connsiteX69" fmla="*/ 1043562 w 1773610"/>
              <a:gd name="connsiteY69" fmla="*/ 167202 h 200649"/>
              <a:gd name="connsiteX70" fmla="*/ 1053389 w 1773610"/>
              <a:gd name="connsiteY70" fmla="*/ 177452 h 200649"/>
              <a:gd name="connsiteX71" fmla="*/ 1054044 w 1773610"/>
              <a:gd name="connsiteY71" fmla="*/ 177452 h 200649"/>
              <a:gd name="connsiteX72" fmla="*/ 1054044 w 1773610"/>
              <a:gd name="connsiteY72" fmla="*/ 193714 h 200649"/>
              <a:gd name="connsiteX73" fmla="*/ 1042483 w 1773610"/>
              <a:gd name="connsiteY73" fmla="*/ 196160 h 200649"/>
              <a:gd name="connsiteX74" fmla="*/ 1019093 w 1773610"/>
              <a:gd name="connsiteY74" fmla="*/ 179899 h 200649"/>
              <a:gd name="connsiteX75" fmla="*/ 1019054 w 1773610"/>
              <a:gd name="connsiteY75" fmla="*/ 153445 h 200649"/>
              <a:gd name="connsiteX76" fmla="*/ 1019054 w 1773610"/>
              <a:gd name="connsiteY76" fmla="*/ 135430 h 200649"/>
              <a:gd name="connsiteX77" fmla="*/ 996550 w 1773610"/>
              <a:gd name="connsiteY77" fmla="*/ 142771 h 200649"/>
              <a:gd name="connsiteX78" fmla="*/ 970250 w 1773610"/>
              <a:gd name="connsiteY78" fmla="*/ 162828 h 200649"/>
              <a:gd name="connsiteX79" fmla="*/ 989421 w 1773610"/>
              <a:gd name="connsiteY79" fmla="*/ 179109 h 200649"/>
              <a:gd name="connsiteX80" fmla="*/ 1019054 w 1773610"/>
              <a:gd name="connsiteY80" fmla="*/ 153483 h 200649"/>
              <a:gd name="connsiteX81" fmla="*/ 1092578 w 1773610"/>
              <a:gd name="connsiteY81" fmla="*/ 98861 h 200649"/>
              <a:gd name="connsiteX82" fmla="*/ 1093253 w 1773610"/>
              <a:gd name="connsiteY82" fmla="*/ 98861 h 200649"/>
              <a:gd name="connsiteX83" fmla="*/ 1123791 w 1773610"/>
              <a:gd name="connsiteY83" fmla="*/ 79015 h 200649"/>
              <a:gd name="connsiteX84" fmla="*/ 1130920 w 1773610"/>
              <a:gd name="connsiteY84" fmla="*/ 79902 h 200649"/>
              <a:gd name="connsiteX85" fmla="*/ 1130920 w 1773610"/>
              <a:gd name="connsiteY85" fmla="*/ 102868 h 200649"/>
              <a:gd name="connsiteX86" fmla="*/ 1130246 w 1773610"/>
              <a:gd name="connsiteY86" fmla="*/ 102868 h 200649"/>
              <a:gd name="connsiteX87" fmla="*/ 1124234 w 1773610"/>
              <a:gd name="connsiteY87" fmla="*/ 102213 h 200649"/>
              <a:gd name="connsiteX88" fmla="*/ 1093253 w 1773610"/>
              <a:gd name="connsiteY88" fmla="*/ 135873 h 200649"/>
              <a:gd name="connsiteX89" fmla="*/ 1093253 w 1773610"/>
              <a:gd name="connsiteY89" fmla="*/ 194619 h 200649"/>
              <a:gd name="connsiteX90" fmla="*/ 1068070 w 1773610"/>
              <a:gd name="connsiteY90" fmla="*/ 194619 h 200649"/>
              <a:gd name="connsiteX91" fmla="*/ 1068070 w 1773610"/>
              <a:gd name="connsiteY91" fmla="*/ 79921 h 200649"/>
              <a:gd name="connsiteX92" fmla="*/ 1092578 w 1773610"/>
              <a:gd name="connsiteY92" fmla="*/ 79921 h 200649"/>
              <a:gd name="connsiteX93" fmla="*/ 1132693 w 1773610"/>
              <a:gd name="connsiteY93" fmla="*/ 137395 h 200649"/>
              <a:gd name="connsiteX94" fmla="*/ 1188414 w 1773610"/>
              <a:gd name="connsiteY94" fmla="*/ 76992 h 200649"/>
              <a:gd name="connsiteX95" fmla="*/ 1243229 w 1773610"/>
              <a:gd name="connsiteY95" fmla="*/ 144081 h 200649"/>
              <a:gd name="connsiteX96" fmla="*/ 1157875 w 1773610"/>
              <a:gd name="connsiteY96" fmla="*/ 144081 h 200649"/>
              <a:gd name="connsiteX97" fmla="*/ 1190417 w 1773610"/>
              <a:gd name="connsiteY97" fmla="*/ 177953 h 200649"/>
              <a:gd name="connsiteX98" fmla="*/ 1216043 w 1773610"/>
              <a:gd name="connsiteY98" fmla="*/ 162115 h 200649"/>
              <a:gd name="connsiteX99" fmla="*/ 1240840 w 1773610"/>
              <a:gd name="connsiteY99" fmla="*/ 162115 h 200649"/>
              <a:gd name="connsiteX100" fmla="*/ 1190475 w 1773610"/>
              <a:gd name="connsiteY100" fmla="*/ 198010 h 200649"/>
              <a:gd name="connsiteX101" fmla="*/ 1132673 w 1773610"/>
              <a:gd name="connsiteY101" fmla="*/ 137395 h 200649"/>
              <a:gd name="connsiteX102" fmla="*/ 1158299 w 1773610"/>
              <a:gd name="connsiteY102" fmla="*/ 126239 h 200649"/>
              <a:gd name="connsiteX103" fmla="*/ 1216698 w 1773610"/>
              <a:gd name="connsiteY103" fmla="*/ 126239 h 200649"/>
              <a:gd name="connsiteX104" fmla="*/ 1188606 w 1773610"/>
              <a:gd name="connsiteY104" fmla="*/ 96606 h 200649"/>
              <a:gd name="connsiteX105" fmla="*/ 1158299 w 1773610"/>
              <a:gd name="connsiteY105" fmla="*/ 126239 h 200649"/>
              <a:gd name="connsiteX106" fmla="*/ 1259683 w 1773610"/>
              <a:gd name="connsiteY106" fmla="*/ 79882 h 200649"/>
              <a:gd name="connsiteX107" fmla="*/ 1284211 w 1773610"/>
              <a:gd name="connsiteY107" fmla="*/ 79882 h 200649"/>
              <a:gd name="connsiteX108" fmla="*/ 1284211 w 1773610"/>
              <a:gd name="connsiteY108" fmla="*/ 95720 h 200649"/>
              <a:gd name="connsiteX109" fmla="*/ 1284885 w 1773610"/>
              <a:gd name="connsiteY109" fmla="*/ 95720 h 200649"/>
              <a:gd name="connsiteX110" fmla="*/ 1318314 w 1773610"/>
              <a:gd name="connsiteY110" fmla="*/ 77089 h 200649"/>
              <a:gd name="connsiteX111" fmla="*/ 1349295 w 1773610"/>
              <a:gd name="connsiteY111" fmla="*/ 97319 h 200649"/>
              <a:gd name="connsiteX112" fmla="*/ 1349739 w 1773610"/>
              <a:gd name="connsiteY112" fmla="*/ 97319 h 200649"/>
              <a:gd name="connsiteX113" fmla="*/ 1384420 w 1773610"/>
              <a:gd name="connsiteY113" fmla="*/ 77031 h 200649"/>
              <a:gd name="connsiteX114" fmla="*/ 1421027 w 1773610"/>
              <a:gd name="connsiteY114" fmla="*/ 116259 h 200649"/>
              <a:gd name="connsiteX115" fmla="*/ 1421027 w 1773610"/>
              <a:gd name="connsiteY115" fmla="*/ 194619 h 200649"/>
              <a:gd name="connsiteX116" fmla="*/ 1395652 w 1773610"/>
              <a:gd name="connsiteY116" fmla="*/ 194619 h 200649"/>
              <a:gd name="connsiteX117" fmla="*/ 1395652 w 1773610"/>
              <a:gd name="connsiteY117" fmla="*/ 119477 h 200649"/>
              <a:gd name="connsiteX118" fmla="*/ 1376713 w 1773610"/>
              <a:gd name="connsiteY118" fmla="*/ 98533 h 200649"/>
              <a:gd name="connsiteX119" fmla="*/ 1352860 w 1773610"/>
              <a:gd name="connsiteY119" fmla="*/ 125950 h 200649"/>
              <a:gd name="connsiteX120" fmla="*/ 1352860 w 1773610"/>
              <a:gd name="connsiteY120" fmla="*/ 194619 h 200649"/>
              <a:gd name="connsiteX121" fmla="*/ 1327678 w 1773610"/>
              <a:gd name="connsiteY121" fmla="*/ 194619 h 200649"/>
              <a:gd name="connsiteX122" fmla="*/ 1327678 w 1773610"/>
              <a:gd name="connsiteY122" fmla="*/ 119477 h 200649"/>
              <a:gd name="connsiteX123" fmla="*/ 1309181 w 1773610"/>
              <a:gd name="connsiteY123" fmla="*/ 98533 h 200649"/>
              <a:gd name="connsiteX124" fmla="*/ 1284904 w 1773610"/>
              <a:gd name="connsiteY124" fmla="*/ 125950 h 200649"/>
              <a:gd name="connsiteX125" fmla="*/ 1284904 w 1773610"/>
              <a:gd name="connsiteY125" fmla="*/ 194619 h 200649"/>
              <a:gd name="connsiteX126" fmla="*/ 1259703 w 1773610"/>
              <a:gd name="connsiteY126" fmla="*/ 194619 h 200649"/>
              <a:gd name="connsiteX127" fmla="*/ 1510852 w 1773610"/>
              <a:gd name="connsiteY127" fmla="*/ 179995 h 200649"/>
              <a:gd name="connsiteX128" fmla="*/ 1475188 w 1773610"/>
              <a:gd name="connsiteY128" fmla="*/ 197162 h 200649"/>
              <a:gd name="connsiteX129" fmla="*/ 1436653 w 1773610"/>
              <a:gd name="connsiteY129" fmla="*/ 163502 h 200649"/>
              <a:gd name="connsiteX130" fmla="*/ 1483685 w 1773610"/>
              <a:gd name="connsiteY130" fmla="*/ 126509 h 200649"/>
              <a:gd name="connsiteX131" fmla="*/ 1510659 w 1773610"/>
              <a:gd name="connsiteY131" fmla="*/ 112020 h 200649"/>
              <a:gd name="connsiteX132" fmla="*/ 1489041 w 1773610"/>
              <a:gd name="connsiteY132" fmla="*/ 96202 h 200649"/>
              <a:gd name="connsiteX133" fmla="*/ 1465650 w 1773610"/>
              <a:gd name="connsiteY133" fmla="*/ 115585 h 200649"/>
              <a:gd name="connsiteX134" fmla="*/ 1441759 w 1773610"/>
              <a:gd name="connsiteY134" fmla="*/ 115585 h 200649"/>
              <a:gd name="connsiteX135" fmla="*/ 1488790 w 1773610"/>
              <a:gd name="connsiteY135" fmla="*/ 77474 h 200649"/>
              <a:gd name="connsiteX136" fmla="*/ 1535591 w 1773610"/>
              <a:gd name="connsiteY136" fmla="*/ 117145 h 200649"/>
              <a:gd name="connsiteX137" fmla="*/ 1535591 w 1773610"/>
              <a:gd name="connsiteY137" fmla="*/ 167240 h 200649"/>
              <a:gd name="connsiteX138" fmla="*/ 1545398 w 1773610"/>
              <a:gd name="connsiteY138" fmla="*/ 177490 h 200649"/>
              <a:gd name="connsiteX139" fmla="*/ 1546072 w 1773610"/>
              <a:gd name="connsiteY139" fmla="*/ 177490 h 200649"/>
              <a:gd name="connsiteX140" fmla="*/ 1546072 w 1773610"/>
              <a:gd name="connsiteY140" fmla="*/ 193752 h 200649"/>
              <a:gd name="connsiteX141" fmla="*/ 1534512 w 1773610"/>
              <a:gd name="connsiteY141" fmla="*/ 196199 h 200649"/>
              <a:gd name="connsiteX142" fmla="*/ 1511121 w 1773610"/>
              <a:gd name="connsiteY142" fmla="*/ 179937 h 200649"/>
              <a:gd name="connsiteX143" fmla="*/ 1511083 w 1773610"/>
              <a:gd name="connsiteY143" fmla="*/ 153483 h 200649"/>
              <a:gd name="connsiteX144" fmla="*/ 1511083 w 1773610"/>
              <a:gd name="connsiteY144" fmla="*/ 135430 h 200649"/>
              <a:gd name="connsiteX145" fmla="*/ 1488559 w 1773610"/>
              <a:gd name="connsiteY145" fmla="*/ 142771 h 200649"/>
              <a:gd name="connsiteX146" fmla="*/ 1462279 w 1773610"/>
              <a:gd name="connsiteY146" fmla="*/ 162828 h 200649"/>
              <a:gd name="connsiteX147" fmla="*/ 1481430 w 1773610"/>
              <a:gd name="connsiteY147" fmla="*/ 179109 h 200649"/>
              <a:gd name="connsiteX148" fmla="*/ 1511083 w 1773610"/>
              <a:gd name="connsiteY148" fmla="*/ 153483 h 200649"/>
              <a:gd name="connsiteX149" fmla="*/ 1584607 w 1773610"/>
              <a:gd name="connsiteY149" fmla="*/ 98861 h 200649"/>
              <a:gd name="connsiteX150" fmla="*/ 1585281 w 1773610"/>
              <a:gd name="connsiteY150" fmla="*/ 98861 h 200649"/>
              <a:gd name="connsiteX151" fmla="*/ 1615800 w 1773610"/>
              <a:gd name="connsiteY151" fmla="*/ 79015 h 200649"/>
              <a:gd name="connsiteX152" fmla="*/ 1622929 w 1773610"/>
              <a:gd name="connsiteY152" fmla="*/ 79902 h 200649"/>
              <a:gd name="connsiteX153" fmla="*/ 1622929 w 1773610"/>
              <a:gd name="connsiteY153" fmla="*/ 102868 h 200649"/>
              <a:gd name="connsiteX154" fmla="*/ 1622332 w 1773610"/>
              <a:gd name="connsiteY154" fmla="*/ 102868 h 200649"/>
              <a:gd name="connsiteX155" fmla="*/ 1616301 w 1773610"/>
              <a:gd name="connsiteY155" fmla="*/ 102213 h 200649"/>
              <a:gd name="connsiteX156" fmla="*/ 1585339 w 1773610"/>
              <a:gd name="connsiteY156" fmla="*/ 135873 h 200649"/>
              <a:gd name="connsiteX157" fmla="*/ 1585339 w 1773610"/>
              <a:gd name="connsiteY157" fmla="*/ 194619 h 200649"/>
              <a:gd name="connsiteX158" fmla="*/ 1560079 w 1773610"/>
              <a:gd name="connsiteY158" fmla="*/ 194619 h 200649"/>
              <a:gd name="connsiteX159" fmla="*/ 1560079 w 1773610"/>
              <a:gd name="connsiteY159" fmla="*/ 79921 h 200649"/>
              <a:gd name="connsiteX160" fmla="*/ 1584607 w 1773610"/>
              <a:gd name="connsiteY160" fmla="*/ 79921 h 200649"/>
              <a:gd name="connsiteX161" fmla="*/ 1675510 w 1773610"/>
              <a:gd name="connsiteY161" fmla="*/ 138089 h 200649"/>
              <a:gd name="connsiteX162" fmla="*/ 1660366 w 1773610"/>
              <a:gd name="connsiteY162" fmla="*/ 154158 h 200649"/>
              <a:gd name="connsiteX163" fmla="*/ 1660366 w 1773610"/>
              <a:gd name="connsiteY163" fmla="*/ 194619 h 200649"/>
              <a:gd name="connsiteX164" fmla="*/ 1635164 w 1773610"/>
              <a:gd name="connsiteY164" fmla="*/ 194619 h 200649"/>
              <a:gd name="connsiteX165" fmla="*/ 1635164 w 1773610"/>
              <a:gd name="connsiteY165" fmla="*/ 35356 h 200649"/>
              <a:gd name="connsiteX166" fmla="*/ 1660366 w 1773610"/>
              <a:gd name="connsiteY166" fmla="*/ 35356 h 200649"/>
              <a:gd name="connsiteX167" fmla="*/ 1660366 w 1773610"/>
              <a:gd name="connsiteY167" fmla="*/ 126066 h 200649"/>
              <a:gd name="connsiteX168" fmla="*/ 1703601 w 1773610"/>
              <a:gd name="connsiteY168" fmla="*/ 79824 h 200649"/>
              <a:gd name="connsiteX169" fmla="*/ 1733466 w 1773610"/>
              <a:gd name="connsiteY169" fmla="*/ 79824 h 200649"/>
              <a:gd name="connsiteX170" fmla="*/ 1692889 w 1773610"/>
              <a:gd name="connsiteY170" fmla="*/ 122482 h 200649"/>
              <a:gd name="connsiteX171" fmla="*/ 1736568 w 1773610"/>
              <a:gd name="connsiteY171" fmla="*/ 194619 h 200649"/>
              <a:gd name="connsiteX172" fmla="*/ 1708283 w 1773610"/>
              <a:gd name="connsiteY172" fmla="*/ 194619 h 200649"/>
              <a:gd name="connsiteX173" fmla="*/ 1756702 w 1773610"/>
              <a:gd name="connsiteY173" fmla="*/ 81963 h 200649"/>
              <a:gd name="connsiteX174" fmla="*/ 1739716 w 1773610"/>
              <a:gd name="connsiteY174" fmla="*/ 65742 h 200649"/>
              <a:gd name="connsiteX175" fmla="*/ 1739727 w 1773610"/>
              <a:gd name="connsiteY175" fmla="*/ 64623 h 200649"/>
              <a:gd name="connsiteX176" fmla="*/ 1756663 w 1773610"/>
              <a:gd name="connsiteY176" fmla="*/ 47687 h 200649"/>
              <a:gd name="connsiteX177" fmla="*/ 1773599 w 1773610"/>
              <a:gd name="connsiteY177" fmla="*/ 64623 h 200649"/>
              <a:gd name="connsiteX178" fmla="*/ 1757503 w 1773610"/>
              <a:gd name="connsiteY178" fmla="*/ 81953 h 200649"/>
              <a:gd name="connsiteX179" fmla="*/ 1756702 w 1773610"/>
              <a:gd name="connsiteY179" fmla="*/ 81963 h 200649"/>
              <a:gd name="connsiteX180" fmla="*/ 1756702 w 1773610"/>
              <a:gd name="connsiteY180" fmla="*/ 50461 h 200649"/>
              <a:gd name="connsiteX181" fmla="*/ 1743427 w 1773610"/>
              <a:gd name="connsiteY181" fmla="*/ 64719 h 200649"/>
              <a:gd name="connsiteX182" fmla="*/ 1756702 w 1773610"/>
              <a:gd name="connsiteY182" fmla="*/ 78957 h 200649"/>
              <a:gd name="connsiteX183" fmla="*/ 1769900 w 1773610"/>
              <a:gd name="connsiteY183" fmla="*/ 64719 h 200649"/>
              <a:gd name="connsiteX184" fmla="*/ 1756702 w 1773610"/>
              <a:gd name="connsiteY184" fmla="*/ 50461 h 200649"/>
              <a:gd name="connsiteX185" fmla="*/ 1753349 w 1773610"/>
              <a:gd name="connsiteY185" fmla="*/ 74584 h 200649"/>
              <a:gd name="connsiteX186" fmla="*/ 1750209 w 1773610"/>
              <a:gd name="connsiteY186" fmla="*/ 74584 h 200649"/>
              <a:gd name="connsiteX187" fmla="*/ 1750209 w 1773610"/>
              <a:gd name="connsiteY187" fmla="*/ 55490 h 200649"/>
              <a:gd name="connsiteX188" fmla="*/ 1757453 w 1773610"/>
              <a:gd name="connsiteY188" fmla="*/ 55490 h 200649"/>
              <a:gd name="connsiteX189" fmla="*/ 1764428 w 1773610"/>
              <a:gd name="connsiteY189" fmla="*/ 60981 h 200649"/>
              <a:gd name="connsiteX190" fmla="*/ 1759894 w 1773610"/>
              <a:gd name="connsiteY190" fmla="*/ 66174 h 200649"/>
              <a:gd name="connsiteX191" fmla="*/ 1759438 w 1773610"/>
              <a:gd name="connsiteY191" fmla="*/ 66183 h 200649"/>
              <a:gd name="connsiteX192" fmla="*/ 1764794 w 1773610"/>
              <a:gd name="connsiteY192" fmla="*/ 74584 h 200649"/>
              <a:gd name="connsiteX193" fmla="*/ 1761230 w 1773610"/>
              <a:gd name="connsiteY193" fmla="*/ 74584 h 200649"/>
              <a:gd name="connsiteX194" fmla="*/ 1756317 w 1773610"/>
              <a:gd name="connsiteY194" fmla="*/ 66414 h 200649"/>
              <a:gd name="connsiteX195" fmla="*/ 1753349 w 1773610"/>
              <a:gd name="connsiteY195" fmla="*/ 66414 h 200649"/>
              <a:gd name="connsiteX196" fmla="*/ 1756856 w 1773610"/>
              <a:gd name="connsiteY196" fmla="*/ 63736 h 200649"/>
              <a:gd name="connsiteX197" fmla="*/ 1761288 w 1773610"/>
              <a:gd name="connsiteY197" fmla="*/ 60750 h 200649"/>
              <a:gd name="connsiteX198" fmla="*/ 1757145 w 1773610"/>
              <a:gd name="connsiteY198" fmla="*/ 58168 h 200649"/>
              <a:gd name="connsiteX199" fmla="*/ 1753292 w 1773610"/>
              <a:gd name="connsiteY199" fmla="*/ 58168 h 200649"/>
              <a:gd name="connsiteX200" fmla="*/ 1753292 w 1773610"/>
              <a:gd name="connsiteY200" fmla="*/ 63736 h 20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773610" h="200649">
                <a:moveTo>
                  <a:pt x="675480" y="135969"/>
                </a:moveTo>
                <a:cubicBezTo>
                  <a:pt x="678524" y="150189"/>
                  <a:pt x="686636" y="155237"/>
                  <a:pt x="703379" y="155237"/>
                </a:cubicBezTo>
                <a:cubicBezTo>
                  <a:pt x="718080" y="155237"/>
                  <a:pt x="726211" y="149900"/>
                  <a:pt x="726211" y="141538"/>
                </a:cubicBezTo>
                <a:cubicBezTo>
                  <a:pt x="726211" y="129611"/>
                  <a:pt x="715306" y="128609"/>
                  <a:pt x="692724" y="122771"/>
                </a:cubicBezTo>
                <a:cubicBezTo>
                  <a:pt x="666348" y="115931"/>
                  <a:pt x="649354" y="110093"/>
                  <a:pt x="641493" y="104506"/>
                </a:cubicBezTo>
                <a:cubicBezTo>
                  <a:pt x="626773" y="94102"/>
                  <a:pt x="619682" y="79458"/>
                  <a:pt x="619682" y="60634"/>
                </a:cubicBezTo>
                <a:cubicBezTo>
                  <a:pt x="619682" y="23853"/>
                  <a:pt x="648583" y="0"/>
                  <a:pt x="699063" y="0"/>
                </a:cubicBezTo>
                <a:cubicBezTo>
                  <a:pt x="748022" y="0"/>
                  <a:pt x="776942" y="21560"/>
                  <a:pt x="780236" y="59864"/>
                </a:cubicBezTo>
                <a:lnTo>
                  <a:pt x="722646" y="59864"/>
                </a:lnTo>
                <a:cubicBezTo>
                  <a:pt x="720623" y="48438"/>
                  <a:pt x="712762" y="43120"/>
                  <a:pt x="698061" y="43120"/>
                </a:cubicBezTo>
                <a:cubicBezTo>
                  <a:pt x="685114" y="43120"/>
                  <a:pt x="678794" y="47436"/>
                  <a:pt x="678794" y="56049"/>
                </a:cubicBezTo>
                <a:cubicBezTo>
                  <a:pt x="678794" y="66202"/>
                  <a:pt x="688678" y="67975"/>
                  <a:pt x="706944" y="72792"/>
                </a:cubicBezTo>
                <a:cubicBezTo>
                  <a:pt x="730546" y="78900"/>
                  <a:pt x="749332" y="82695"/>
                  <a:pt x="761239" y="90807"/>
                </a:cubicBezTo>
                <a:cubicBezTo>
                  <a:pt x="777963" y="101963"/>
                  <a:pt x="785573" y="115662"/>
                  <a:pt x="785573" y="135122"/>
                </a:cubicBezTo>
                <a:cubicBezTo>
                  <a:pt x="785573" y="176469"/>
                  <a:pt x="755902" y="200630"/>
                  <a:pt x="700797" y="200630"/>
                </a:cubicBezTo>
                <a:cubicBezTo>
                  <a:pt x="649797" y="200630"/>
                  <a:pt x="619875" y="176546"/>
                  <a:pt x="616021" y="135950"/>
                </a:cubicBezTo>
                <a:close/>
                <a:moveTo>
                  <a:pt x="451517" y="121519"/>
                </a:moveTo>
                <a:cubicBezTo>
                  <a:pt x="448223" y="171498"/>
                  <a:pt x="415237" y="200650"/>
                  <a:pt x="360711" y="200650"/>
                </a:cubicBezTo>
                <a:cubicBezTo>
                  <a:pt x="300077" y="200650"/>
                  <a:pt x="263064" y="162115"/>
                  <a:pt x="263064" y="100460"/>
                </a:cubicBezTo>
                <a:cubicBezTo>
                  <a:pt x="263064" y="38323"/>
                  <a:pt x="300346" y="19"/>
                  <a:pt x="359401" y="19"/>
                </a:cubicBezTo>
                <a:cubicBezTo>
                  <a:pt x="414486" y="19"/>
                  <a:pt x="447028" y="27918"/>
                  <a:pt x="450496" y="77089"/>
                </a:cubicBezTo>
                <a:lnTo>
                  <a:pt x="392405" y="77089"/>
                </a:lnTo>
                <a:cubicBezTo>
                  <a:pt x="390633" y="57821"/>
                  <a:pt x="379728" y="47667"/>
                  <a:pt x="360191" y="47667"/>
                </a:cubicBezTo>
                <a:cubicBezTo>
                  <a:pt x="336357" y="47667"/>
                  <a:pt x="324430" y="65181"/>
                  <a:pt x="324430" y="100421"/>
                </a:cubicBezTo>
                <a:cubicBezTo>
                  <a:pt x="324430" y="134929"/>
                  <a:pt x="337378" y="152944"/>
                  <a:pt x="361982" y="152944"/>
                </a:cubicBezTo>
                <a:cubicBezTo>
                  <a:pt x="380498" y="152944"/>
                  <a:pt x="392155" y="141769"/>
                  <a:pt x="393947" y="121480"/>
                </a:cubicBezTo>
                <a:close/>
                <a:moveTo>
                  <a:pt x="438570" y="5337"/>
                </a:moveTo>
                <a:lnTo>
                  <a:pt x="500726" y="5337"/>
                </a:lnTo>
                <a:lnTo>
                  <a:pt x="532690" y="128108"/>
                </a:lnTo>
                <a:lnTo>
                  <a:pt x="566909" y="5337"/>
                </a:lnTo>
                <a:lnTo>
                  <a:pt x="626773" y="5337"/>
                </a:lnTo>
                <a:lnTo>
                  <a:pt x="562863" y="195332"/>
                </a:lnTo>
                <a:lnTo>
                  <a:pt x="502248" y="195332"/>
                </a:lnTo>
                <a:close/>
                <a:moveTo>
                  <a:pt x="67983" y="270"/>
                </a:moveTo>
                <a:cubicBezTo>
                  <a:pt x="60551" y="285"/>
                  <a:pt x="53430" y="3259"/>
                  <a:pt x="48196" y="8535"/>
                </a:cubicBezTo>
                <a:lnTo>
                  <a:pt x="8254" y="48380"/>
                </a:lnTo>
                <a:cubicBezTo>
                  <a:pt x="-2748" y="59379"/>
                  <a:pt x="-2752" y="77214"/>
                  <a:pt x="8246" y="88217"/>
                </a:cubicBezTo>
                <a:cubicBezTo>
                  <a:pt x="8249" y="88220"/>
                  <a:pt x="8252" y="88222"/>
                  <a:pt x="8254" y="88225"/>
                </a:cubicBezTo>
                <a:lnTo>
                  <a:pt x="120679" y="200650"/>
                </a:lnTo>
                <a:lnTo>
                  <a:pt x="233161" y="88225"/>
                </a:lnTo>
                <a:cubicBezTo>
                  <a:pt x="244165" y="77227"/>
                  <a:pt x="244169" y="59391"/>
                  <a:pt x="233169" y="48388"/>
                </a:cubicBezTo>
                <a:cubicBezTo>
                  <a:pt x="233167" y="48386"/>
                  <a:pt x="233163" y="48383"/>
                  <a:pt x="233161" y="48380"/>
                </a:cubicBezTo>
                <a:lnTo>
                  <a:pt x="193317" y="8574"/>
                </a:lnTo>
                <a:cubicBezTo>
                  <a:pt x="182399" y="-2434"/>
                  <a:pt x="164625" y="-2508"/>
                  <a:pt x="153617" y="8410"/>
                </a:cubicBezTo>
                <a:cubicBezTo>
                  <a:pt x="153562" y="8464"/>
                  <a:pt x="153507" y="8519"/>
                  <a:pt x="153453" y="8574"/>
                </a:cubicBezTo>
                <a:lnTo>
                  <a:pt x="120698" y="41328"/>
                </a:lnTo>
                <a:lnTo>
                  <a:pt x="87944" y="8574"/>
                </a:lnTo>
                <a:cubicBezTo>
                  <a:pt x="82660" y="3261"/>
                  <a:pt x="75476" y="273"/>
                  <a:pt x="67983" y="270"/>
                </a:cubicBezTo>
                <a:moveTo>
                  <a:pt x="827114" y="137434"/>
                </a:moveTo>
                <a:cubicBezTo>
                  <a:pt x="827114" y="103543"/>
                  <a:pt x="848944" y="77031"/>
                  <a:pt x="883509" y="77031"/>
                </a:cubicBezTo>
                <a:cubicBezTo>
                  <a:pt x="912237" y="77031"/>
                  <a:pt x="930290" y="93524"/>
                  <a:pt x="934298" y="118032"/>
                </a:cubicBezTo>
                <a:lnTo>
                  <a:pt x="909443" y="118032"/>
                </a:lnTo>
                <a:cubicBezTo>
                  <a:pt x="907208" y="105778"/>
                  <a:pt x="898075" y="97531"/>
                  <a:pt x="884395" y="97531"/>
                </a:cubicBezTo>
                <a:cubicBezTo>
                  <a:pt x="863452" y="97531"/>
                  <a:pt x="852758" y="114024"/>
                  <a:pt x="852758" y="137434"/>
                </a:cubicBezTo>
                <a:cubicBezTo>
                  <a:pt x="852758" y="160843"/>
                  <a:pt x="863298" y="177279"/>
                  <a:pt x="884241" y="177279"/>
                </a:cubicBezTo>
                <a:cubicBezTo>
                  <a:pt x="899173" y="177279"/>
                  <a:pt x="908749" y="169244"/>
                  <a:pt x="910541" y="154331"/>
                </a:cubicBezTo>
                <a:lnTo>
                  <a:pt x="935049" y="154331"/>
                </a:lnTo>
                <a:cubicBezTo>
                  <a:pt x="933122" y="179957"/>
                  <a:pt x="914317" y="198010"/>
                  <a:pt x="884684" y="198010"/>
                </a:cubicBezTo>
                <a:cubicBezTo>
                  <a:pt x="849252" y="198010"/>
                  <a:pt x="827191" y="171267"/>
                  <a:pt x="827191" y="137395"/>
                </a:cubicBezTo>
                <a:moveTo>
                  <a:pt x="1018842" y="179957"/>
                </a:moveTo>
                <a:cubicBezTo>
                  <a:pt x="1012368" y="188858"/>
                  <a:pt x="1002349" y="197124"/>
                  <a:pt x="983179" y="197124"/>
                </a:cubicBezTo>
                <a:cubicBezTo>
                  <a:pt x="960886" y="197124"/>
                  <a:pt x="944644" y="185756"/>
                  <a:pt x="944644" y="163464"/>
                </a:cubicBezTo>
                <a:cubicBezTo>
                  <a:pt x="944644" y="137395"/>
                  <a:pt x="965376" y="130247"/>
                  <a:pt x="991675" y="126471"/>
                </a:cubicBezTo>
                <a:cubicBezTo>
                  <a:pt x="1009016" y="123792"/>
                  <a:pt x="1018650" y="122232"/>
                  <a:pt x="1018650" y="111982"/>
                </a:cubicBezTo>
                <a:cubicBezTo>
                  <a:pt x="1018650" y="102175"/>
                  <a:pt x="1010943" y="96163"/>
                  <a:pt x="997032" y="96163"/>
                </a:cubicBezTo>
                <a:cubicBezTo>
                  <a:pt x="981618" y="96163"/>
                  <a:pt x="974296" y="102175"/>
                  <a:pt x="973641" y="115546"/>
                </a:cubicBezTo>
                <a:lnTo>
                  <a:pt x="949750" y="115546"/>
                </a:lnTo>
                <a:cubicBezTo>
                  <a:pt x="950424" y="94602"/>
                  <a:pt x="964894" y="77435"/>
                  <a:pt x="996762" y="77435"/>
                </a:cubicBezTo>
                <a:cubicBezTo>
                  <a:pt x="1027744" y="77435"/>
                  <a:pt x="1043562" y="90132"/>
                  <a:pt x="1043562" y="117107"/>
                </a:cubicBezTo>
                <a:lnTo>
                  <a:pt x="1043562" y="167202"/>
                </a:lnTo>
                <a:cubicBezTo>
                  <a:pt x="1043562" y="175448"/>
                  <a:pt x="1045354" y="179013"/>
                  <a:pt x="1053389" y="177452"/>
                </a:cubicBezTo>
                <a:lnTo>
                  <a:pt x="1054044" y="177452"/>
                </a:lnTo>
                <a:lnTo>
                  <a:pt x="1054044" y="193714"/>
                </a:lnTo>
                <a:cubicBezTo>
                  <a:pt x="1050468" y="195517"/>
                  <a:pt x="1046483" y="196361"/>
                  <a:pt x="1042483" y="196160"/>
                </a:cubicBezTo>
                <a:cubicBezTo>
                  <a:pt x="1028457" y="196160"/>
                  <a:pt x="1021097" y="191479"/>
                  <a:pt x="1019093" y="179899"/>
                </a:cubicBezTo>
                <a:close/>
                <a:moveTo>
                  <a:pt x="1019054" y="153445"/>
                </a:moveTo>
                <a:lnTo>
                  <a:pt x="1019054" y="135430"/>
                </a:lnTo>
                <a:cubicBezTo>
                  <a:pt x="1013486" y="138763"/>
                  <a:pt x="1004796" y="140998"/>
                  <a:pt x="996550" y="142771"/>
                </a:cubicBezTo>
                <a:cubicBezTo>
                  <a:pt x="980057" y="146335"/>
                  <a:pt x="970250" y="149457"/>
                  <a:pt x="970250" y="162828"/>
                </a:cubicBezTo>
                <a:cubicBezTo>
                  <a:pt x="970250" y="175313"/>
                  <a:pt x="978728" y="179109"/>
                  <a:pt x="989421" y="179109"/>
                </a:cubicBezTo>
                <a:cubicBezTo>
                  <a:pt x="1009247" y="179109"/>
                  <a:pt x="1019054" y="165506"/>
                  <a:pt x="1019054" y="153483"/>
                </a:cubicBezTo>
                <a:moveTo>
                  <a:pt x="1092578" y="98861"/>
                </a:moveTo>
                <a:lnTo>
                  <a:pt x="1093253" y="98861"/>
                </a:lnTo>
                <a:cubicBezTo>
                  <a:pt x="1100189" y="86607"/>
                  <a:pt x="1109533" y="79015"/>
                  <a:pt x="1123791" y="79015"/>
                </a:cubicBezTo>
                <a:cubicBezTo>
                  <a:pt x="1126202" y="78882"/>
                  <a:pt x="1128616" y="79182"/>
                  <a:pt x="1130920" y="79902"/>
                </a:cubicBezTo>
                <a:lnTo>
                  <a:pt x="1130920" y="102868"/>
                </a:lnTo>
                <a:lnTo>
                  <a:pt x="1130246" y="102868"/>
                </a:lnTo>
                <a:cubicBezTo>
                  <a:pt x="1128279" y="102391"/>
                  <a:pt x="1126257" y="102171"/>
                  <a:pt x="1124234" y="102213"/>
                </a:cubicBezTo>
                <a:cubicBezTo>
                  <a:pt x="1106894" y="102213"/>
                  <a:pt x="1093253" y="114024"/>
                  <a:pt x="1093253" y="135873"/>
                </a:cubicBezTo>
                <a:lnTo>
                  <a:pt x="1093253" y="194619"/>
                </a:lnTo>
                <a:lnTo>
                  <a:pt x="1068070" y="194619"/>
                </a:lnTo>
                <a:lnTo>
                  <a:pt x="1068070" y="79921"/>
                </a:lnTo>
                <a:lnTo>
                  <a:pt x="1092578" y="79921"/>
                </a:lnTo>
                <a:close/>
                <a:moveTo>
                  <a:pt x="1132693" y="137395"/>
                </a:moveTo>
                <a:cubicBezTo>
                  <a:pt x="1132693" y="103504"/>
                  <a:pt x="1155197" y="76992"/>
                  <a:pt x="1188414" y="76992"/>
                </a:cubicBezTo>
                <a:cubicBezTo>
                  <a:pt x="1224058" y="76992"/>
                  <a:pt x="1243229" y="104410"/>
                  <a:pt x="1243229" y="144081"/>
                </a:cubicBezTo>
                <a:lnTo>
                  <a:pt x="1157875" y="144081"/>
                </a:lnTo>
                <a:cubicBezTo>
                  <a:pt x="1159667" y="164138"/>
                  <a:pt x="1170803" y="177953"/>
                  <a:pt x="1190417" y="177953"/>
                </a:cubicBezTo>
                <a:cubicBezTo>
                  <a:pt x="1203346" y="177953"/>
                  <a:pt x="1212035" y="172173"/>
                  <a:pt x="1216043" y="162115"/>
                </a:cubicBezTo>
                <a:lnTo>
                  <a:pt x="1240840" y="162115"/>
                </a:lnTo>
                <a:cubicBezTo>
                  <a:pt x="1236158" y="182616"/>
                  <a:pt x="1218105" y="198010"/>
                  <a:pt x="1190475" y="198010"/>
                </a:cubicBezTo>
                <a:cubicBezTo>
                  <a:pt x="1153713" y="198010"/>
                  <a:pt x="1132673" y="171036"/>
                  <a:pt x="1132673" y="137395"/>
                </a:cubicBezTo>
                <a:moveTo>
                  <a:pt x="1158299" y="126239"/>
                </a:moveTo>
                <a:lnTo>
                  <a:pt x="1216698" y="126239"/>
                </a:lnTo>
                <a:cubicBezTo>
                  <a:pt x="1215792" y="108186"/>
                  <a:pt x="1205138" y="96606"/>
                  <a:pt x="1188606" y="96606"/>
                </a:cubicBezTo>
                <a:cubicBezTo>
                  <a:pt x="1170341" y="96606"/>
                  <a:pt x="1160977" y="108860"/>
                  <a:pt x="1158299" y="126239"/>
                </a:cubicBezTo>
                <a:moveTo>
                  <a:pt x="1259683" y="79882"/>
                </a:moveTo>
                <a:lnTo>
                  <a:pt x="1284211" y="79882"/>
                </a:lnTo>
                <a:lnTo>
                  <a:pt x="1284211" y="95720"/>
                </a:lnTo>
                <a:lnTo>
                  <a:pt x="1284885" y="95720"/>
                </a:lnTo>
                <a:cubicBezTo>
                  <a:pt x="1291887" y="83971"/>
                  <a:pt x="1304638" y="76864"/>
                  <a:pt x="1318314" y="77089"/>
                </a:cubicBezTo>
                <a:cubicBezTo>
                  <a:pt x="1331826" y="76794"/>
                  <a:pt x="1344132" y="84830"/>
                  <a:pt x="1349295" y="97319"/>
                </a:cubicBezTo>
                <a:lnTo>
                  <a:pt x="1349739" y="97319"/>
                </a:lnTo>
                <a:cubicBezTo>
                  <a:pt x="1356825" y="84828"/>
                  <a:pt x="1370058" y="77087"/>
                  <a:pt x="1384420" y="77031"/>
                </a:cubicBezTo>
                <a:cubicBezTo>
                  <a:pt x="1406943" y="77031"/>
                  <a:pt x="1421027" y="91751"/>
                  <a:pt x="1421027" y="116259"/>
                </a:cubicBezTo>
                <a:lnTo>
                  <a:pt x="1421027" y="194619"/>
                </a:lnTo>
                <a:lnTo>
                  <a:pt x="1395652" y="194619"/>
                </a:lnTo>
                <a:lnTo>
                  <a:pt x="1395652" y="119477"/>
                </a:lnTo>
                <a:cubicBezTo>
                  <a:pt x="1395652" y="105893"/>
                  <a:pt x="1387849" y="98533"/>
                  <a:pt x="1376713" y="98533"/>
                </a:cubicBezTo>
                <a:cubicBezTo>
                  <a:pt x="1363110" y="98533"/>
                  <a:pt x="1352860" y="109689"/>
                  <a:pt x="1352860" y="125950"/>
                </a:cubicBezTo>
                <a:lnTo>
                  <a:pt x="1352860" y="194619"/>
                </a:lnTo>
                <a:lnTo>
                  <a:pt x="1327678" y="194619"/>
                </a:lnTo>
                <a:lnTo>
                  <a:pt x="1327678" y="119477"/>
                </a:lnTo>
                <a:cubicBezTo>
                  <a:pt x="1327678" y="105893"/>
                  <a:pt x="1320549" y="98533"/>
                  <a:pt x="1309181" y="98533"/>
                </a:cubicBezTo>
                <a:cubicBezTo>
                  <a:pt x="1296041" y="98533"/>
                  <a:pt x="1284904" y="109689"/>
                  <a:pt x="1284904" y="125950"/>
                </a:cubicBezTo>
                <a:lnTo>
                  <a:pt x="1284904" y="194619"/>
                </a:lnTo>
                <a:lnTo>
                  <a:pt x="1259703" y="194619"/>
                </a:lnTo>
                <a:close/>
                <a:moveTo>
                  <a:pt x="1510852" y="179995"/>
                </a:moveTo>
                <a:cubicBezTo>
                  <a:pt x="1504378" y="188897"/>
                  <a:pt x="1494359" y="197162"/>
                  <a:pt x="1475188" y="197162"/>
                </a:cubicBezTo>
                <a:cubicBezTo>
                  <a:pt x="1452915" y="197162"/>
                  <a:pt x="1436653" y="185795"/>
                  <a:pt x="1436653" y="163502"/>
                </a:cubicBezTo>
                <a:cubicBezTo>
                  <a:pt x="1436653" y="137434"/>
                  <a:pt x="1457385" y="130286"/>
                  <a:pt x="1483685" y="126509"/>
                </a:cubicBezTo>
                <a:cubicBezTo>
                  <a:pt x="1501025" y="123831"/>
                  <a:pt x="1510659" y="122270"/>
                  <a:pt x="1510659" y="112020"/>
                </a:cubicBezTo>
                <a:cubicBezTo>
                  <a:pt x="1510659" y="102213"/>
                  <a:pt x="1502952" y="96202"/>
                  <a:pt x="1489041" y="96202"/>
                </a:cubicBezTo>
                <a:cubicBezTo>
                  <a:pt x="1473627" y="96202"/>
                  <a:pt x="1466325" y="102213"/>
                  <a:pt x="1465650" y="115585"/>
                </a:cubicBezTo>
                <a:lnTo>
                  <a:pt x="1441759" y="115585"/>
                </a:lnTo>
                <a:cubicBezTo>
                  <a:pt x="1442433" y="94641"/>
                  <a:pt x="1456922" y="77474"/>
                  <a:pt x="1488790" y="77474"/>
                </a:cubicBezTo>
                <a:cubicBezTo>
                  <a:pt x="1519753" y="77474"/>
                  <a:pt x="1535591" y="90171"/>
                  <a:pt x="1535591" y="117145"/>
                </a:cubicBezTo>
                <a:lnTo>
                  <a:pt x="1535591" y="167240"/>
                </a:lnTo>
                <a:cubicBezTo>
                  <a:pt x="1535591" y="175487"/>
                  <a:pt x="1537363" y="179051"/>
                  <a:pt x="1545398" y="177490"/>
                </a:cubicBezTo>
                <a:lnTo>
                  <a:pt x="1546072" y="177490"/>
                </a:lnTo>
                <a:lnTo>
                  <a:pt x="1546072" y="193752"/>
                </a:lnTo>
                <a:cubicBezTo>
                  <a:pt x="1542496" y="195555"/>
                  <a:pt x="1538512" y="196399"/>
                  <a:pt x="1534512" y="196199"/>
                </a:cubicBezTo>
                <a:cubicBezTo>
                  <a:pt x="1520466" y="196199"/>
                  <a:pt x="1513125" y="191517"/>
                  <a:pt x="1511121" y="179937"/>
                </a:cubicBezTo>
                <a:close/>
                <a:moveTo>
                  <a:pt x="1511083" y="153483"/>
                </a:moveTo>
                <a:lnTo>
                  <a:pt x="1511083" y="135430"/>
                </a:lnTo>
                <a:cubicBezTo>
                  <a:pt x="1505495" y="138763"/>
                  <a:pt x="1496806" y="140998"/>
                  <a:pt x="1488559" y="142771"/>
                </a:cubicBezTo>
                <a:cubicBezTo>
                  <a:pt x="1472066" y="146335"/>
                  <a:pt x="1462279" y="149457"/>
                  <a:pt x="1462279" y="162828"/>
                </a:cubicBezTo>
                <a:cubicBezTo>
                  <a:pt x="1462279" y="175313"/>
                  <a:pt x="1470737" y="179109"/>
                  <a:pt x="1481430" y="179109"/>
                </a:cubicBezTo>
                <a:cubicBezTo>
                  <a:pt x="1501276" y="179109"/>
                  <a:pt x="1511083" y="165506"/>
                  <a:pt x="1511083" y="153483"/>
                </a:cubicBezTo>
                <a:moveTo>
                  <a:pt x="1584607" y="98861"/>
                </a:moveTo>
                <a:lnTo>
                  <a:pt x="1585281" y="98861"/>
                </a:lnTo>
                <a:cubicBezTo>
                  <a:pt x="1592179" y="86607"/>
                  <a:pt x="1601543" y="79015"/>
                  <a:pt x="1615800" y="79015"/>
                </a:cubicBezTo>
                <a:cubicBezTo>
                  <a:pt x="1618211" y="78879"/>
                  <a:pt x="1620625" y="79179"/>
                  <a:pt x="1622929" y="79902"/>
                </a:cubicBezTo>
                <a:lnTo>
                  <a:pt x="1622929" y="102868"/>
                </a:lnTo>
                <a:lnTo>
                  <a:pt x="1622332" y="102868"/>
                </a:lnTo>
                <a:cubicBezTo>
                  <a:pt x="1620359" y="102391"/>
                  <a:pt x="1618332" y="102171"/>
                  <a:pt x="1616301" y="102213"/>
                </a:cubicBezTo>
                <a:cubicBezTo>
                  <a:pt x="1598961" y="102213"/>
                  <a:pt x="1585339" y="114024"/>
                  <a:pt x="1585339" y="135873"/>
                </a:cubicBezTo>
                <a:lnTo>
                  <a:pt x="1585339" y="194619"/>
                </a:lnTo>
                <a:lnTo>
                  <a:pt x="1560079" y="194619"/>
                </a:lnTo>
                <a:lnTo>
                  <a:pt x="1560079" y="79921"/>
                </a:lnTo>
                <a:lnTo>
                  <a:pt x="1584607" y="79921"/>
                </a:lnTo>
                <a:close/>
                <a:moveTo>
                  <a:pt x="1675510" y="138089"/>
                </a:moveTo>
                <a:lnTo>
                  <a:pt x="1660366" y="154158"/>
                </a:lnTo>
                <a:lnTo>
                  <a:pt x="1660366" y="194619"/>
                </a:lnTo>
                <a:lnTo>
                  <a:pt x="1635164" y="194619"/>
                </a:lnTo>
                <a:lnTo>
                  <a:pt x="1635164" y="35356"/>
                </a:lnTo>
                <a:lnTo>
                  <a:pt x="1660366" y="35356"/>
                </a:lnTo>
                <a:lnTo>
                  <a:pt x="1660366" y="126066"/>
                </a:lnTo>
                <a:lnTo>
                  <a:pt x="1703601" y="79824"/>
                </a:lnTo>
                <a:lnTo>
                  <a:pt x="1733466" y="79824"/>
                </a:lnTo>
                <a:lnTo>
                  <a:pt x="1692889" y="122482"/>
                </a:lnTo>
                <a:lnTo>
                  <a:pt x="1736568" y="194619"/>
                </a:lnTo>
                <a:lnTo>
                  <a:pt x="1708283" y="194619"/>
                </a:lnTo>
                <a:close/>
                <a:moveTo>
                  <a:pt x="1756702" y="81963"/>
                </a:moveTo>
                <a:cubicBezTo>
                  <a:pt x="1747533" y="82174"/>
                  <a:pt x="1739926" y="74912"/>
                  <a:pt x="1739716" y="65742"/>
                </a:cubicBezTo>
                <a:cubicBezTo>
                  <a:pt x="1739706" y="65369"/>
                  <a:pt x="1739710" y="64995"/>
                  <a:pt x="1739727" y="64623"/>
                </a:cubicBezTo>
                <a:cubicBezTo>
                  <a:pt x="1739727" y="55269"/>
                  <a:pt x="1747309" y="47687"/>
                  <a:pt x="1756663" y="47687"/>
                </a:cubicBezTo>
                <a:cubicBezTo>
                  <a:pt x="1766018" y="47687"/>
                  <a:pt x="1773599" y="55269"/>
                  <a:pt x="1773599" y="64623"/>
                </a:cubicBezTo>
                <a:cubicBezTo>
                  <a:pt x="1773940" y="73853"/>
                  <a:pt x="1766734" y="81612"/>
                  <a:pt x="1757503" y="81953"/>
                </a:cubicBezTo>
                <a:cubicBezTo>
                  <a:pt x="1757238" y="81963"/>
                  <a:pt x="1756970" y="81966"/>
                  <a:pt x="1756702" y="81963"/>
                </a:cubicBezTo>
                <a:moveTo>
                  <a:pt x="1756702" y="50461"/>
                </a:moveTo>
                <a:cubicBezTo>
                  <a:pt x="1749226" y="50461"/>
                  <a:pt x="1743427" y="56241"/>
                  <a:pt x="1743427" y="64719"/>
                </a:cubicBezTo>
                <a:cubicBezTo>
                  <a:pt x="1743427" y="72561"/>
                  <a:pt x="1748494" y="78957"/>
                  <a:pt x="1756702" y="78957"/>
                </a:cubicBezTo>
                <a:cubicBezTo>
                  <a:pt x="1764081" y="78957"/>
                  <a:pt x="1769900" y="73177"/>
                  <a:pt x="1769900" y="64719"/>
                </a:cubicBezTo>
                <a:cubicBezTo>
                  <a:pt x="1769900" y="56261"/>
                  <a:pt x="1764120" y="50461"/>
                  <a:pt x="1756702" y="50461"/>
                </a:cubicBezTo>
                <a:moveTo>
                  <a:pt x="1753349" y="74584"/>
                </a:moveTo>
                <a:lnTo>
                  <a:pt x="1750209" y="74584"/>
                </a:lnTo>
                <a:lnTo>
                  <a:pt x="1750209" y="55490"/>
                </a:lnTo>
                <a:lnTo>
                  <a:pt x="1757453" y="55490"/>
                </a:lnTo>
                <a:cubicBezTo>
                  <a:pt x="1762078" y="55490"/>
                  <a:pt x="1764428" y="57108"/>
                  <a:pt x="1764428" y="60981"/>
                </a:cubicBezTo>
                <a:cubicBezTo>
                  <a:pt x="1764609" y="63667"/>
                  <a:pt x="1762580" y="65992"/>
                  <a:pt x="1759894" y="66174"/>
                </a:cubicBezTo>
                <a:cubicBezTo>
                  <a:pt x="1759742" y="66184"/>
                  <a:pt x="1759590" y="66187"/>
                  <a:pt x="1759438" y="66183"/>
                </a:cubicBezTo>
                <a:lnTo>
                  <a:pt x="1764794" y="74584"/>
                </a:lnTo>
                <a:lnTo>
                  <a:pt x="1761230" y="74584"/>
                </a:lnTo>
                <a:lnTo>
                  <a:pt x="1756317" y="66414"/>
                </a:lnTo>
                <a:lnTo>
                  <a:pt x="1753349" y="66414"/>
                </a:lnTo>
                <a:close/>
                <a:moveTo>
                  <a:pt x="1756856" y="63736"/>
                </a:moveTo>
                <a:cubicBezTo>
                  <a:pt x="1759207" y="63736"/>
                  <a:pt x="1761288" y="63524"/>
                  <a:pt x="1761288" y="60750"/>
                </a:cubicBezTo>
                <a:cubicBezTo>
                  <a:pt x="1761288" y="58438"/>
                  <a:pt x="1759033" y="58168"/>
                  <a:pt x="1757145" y="58168"/>
                </a:cubicBezTo>
                <a:lnTo>
                  <a:pt x="1753292" y="58168"/>
                </a:lnTo>
                <a:lnTo>
                  <a:pt x="1753292" y="63736"/>
                </a:lnTo>
                <a:close/>
              </a:path>
            </a:pathLst>
          </a:custGeom>
          <a:solidFill>
            <a:srgbClr val="CC0000"/>
          </a:solidFill>
          <a:ln w="192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dirty="0">
              <a:ln>
                <a:noFill/>
              </a:ln>
              <a:solidFill>
                <a:srgbClr val="3F3F3F"/>
              </a:solidFill>
              <a:effectLst/>
              <a:uLnTx/>
              <a:uFillTx/>
              <a:latin typeface="CVS Health Sans"/>
              <a:ea typeface="+mn-ea"/>
              <a:cs typeface="+mn-cs"/>
            </a:endParaRPr>
          </a:p>
        </p:txBody>
      </p:sp>
      <p:sp>
        <p:nvSpPr>
          <p:cNvPr id="24" name="Title 1"/>
          <p:cNvSpPr>
            <a:spLocks noGrp="1"/>
          </p:cNvSpPr>
          <p:nvPr userDrawn="1">
            <p:ph type="ctrTitle" hasCustomPrompt="1"/>
          </p:nvPr>
        </p:nvSpPr>
        <p:spPr>
          <a:xfrm>
            <a:off x="857378" y="1947673"/>
            <a:ext cx="3814041" cy="1090759"/>
          </a:xfrm>
          <a:noFill/>
        </p:spPr>
        <p:txBody>
          <a:bodyPr lIns="0" tIns="0" rIns="0" bIns="0" anchor="t">
            <a:noAutofit/>
          </a:bodyPr>
          <a:lstStyle>
            <a:lvl1pPr algn="l">
              <a:defRPr sz="3800">
                <a:solidFill>
                  <a:schemeClr val="tx2"/>
                </a:solidFill>
              </a:defRPr>
            </a:lvl1pPr>
          </a:lstStyle>
          <a:p>
            <a:r>
              <a:rPr lang="en-US" dirty="0"/>
              <a:t>Presentation title here</a:t>
            </a:r>
          </a:p>
        </p:txBody>
      </p:sp>
      <p:sp>
        <p:nvSpPr>
          <p:cNvPr id="14" name="Text Placeholder 4"/>
          <p:cNvSpPr>
            <a:spLocks noGrp="1"/>
          </p:cNvSpPr>
          <p:nvPr userDrawn="1">
            <p:ph type="body" sz="quarter" idx="16" hasCustomPrompt="1"/>
          </p:nvPr>
        </p:nvSpPr>
        <p:spPr>
          <a:xfrm>
            <a:off x="857378" y="4562856"/>
            <a:ext cx="2533548"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spcBef>
                <a:spcPts val="0"/>
              </a:spcBef>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Tree>
    <p:extLst>
      <p:ext uri="{BB962C8B-B14F-4D97-AF65-F5344CB8AC3E}">
        <p14:creationId xmlns:p14="http://schemas.microsoft.com/office/powerpoint/2010/main" val="31942562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3 Layout">
    <p:spTree>
      <p:nvGrpSpPr>
        <p:cNvPr id="1" name=""/>
        <p:cNvGrpSpPr/>
        <p:nvPr/>
      </p:nvGrpSpPr>
      <p:grpSpPr>
        <a:xfrm>
          <a:off x="0" y="0"/>
          <a:ext cx="0" cy="0"/>
          <a:chOff x="0" y="0"/>
          <a:chExt cx="0" cy="0"/>
        </a:xfrm>
      </p:grpSpPr>
      <p:sp>
        <p:nvSpPr>
          <p:cNvPr id="2" name="Freeform: Shape 1" descr="CVS Caremark logo.">
            <a:extLst>
              <a:ext uri="{FF2B5EF4-FFF2-40B4-BE49-F238E27FC236}">
                <a16:creationId xmlns:a16="http://schemas.microsoft.com/office/drawing/2014/main" id="{5A2E7CF8-F4D6-F85A-DEA1-0DE1756C918B}"/>
              </a:ext>
            </a:extLst>
          </p:cNvPr>
          <p:cNvSpPr/>
          <p:nvPr userDrawn="1"/>
        </p:nvSpPr>
        <p:spPr>
          <a:xfrm>
            <a:off x="869243" y="1398588"/>
            <a:ext cx="1774072" cy="200649"/>
          </a:xfrm>
          <a:custGeom>
            <a:avLst/>
            <a:gdLst>
              <a:gd name="connsiteX0" fmla="*/ 675480 w 1773610"/>
              <a:gd name="connsiteY0" fmla="*/ 135969 h 200649"/>
              <a:gd name="connsiteX1" fmla="*/ 703379 w 1773610"/>
              <a:gd name="connsiteY1" fmla="*/ 155237 h 200649"/>
              <a:gd name="connsiteX2" fmla="*/ 726211 w 1773610"/>
              <a:gd name="connsiteY2" fmla="*/ 141538 h 200649"/>
              <a:gd name="connsiteX3" fmla="*/ 692724 w 1773610"/>
              <a:gd name="connsiteY3" fmla="*/ 122771 h 200649"/>
              <a:gd name="connsiteX4" fmla="*/ 641493 w 1773610"/>
              <a:gd name="connsiteY4" fmla="*/ 104506 h 200649"/>
              <a:gd name="connsiteX5" fmla="*/ 619682 w 1773610"/>
              <a:gd name="connsiteY5" fmla="*/ 60634 h 200649"/>
              <a:gd name="connsiteX6" fmla="*/ 699063 w 1773610"/>
              <a:gd name="connsiteY6" fmla="*/ 0 h 200649"/>
              <a:gd name="connsiteX7" fmla="*/ 780236 w 1773610"/>
              <a:gd name="connsiteY7" fmla="*/ 59864 h 200649"/>
              <a:gd name="connsiteX8" fmla="*/ 722646 w 1773610"/>
              <a:gd name="connsiteY8" fmla="*/ 59864 h 200649"/>
              <a:gd name="connsiteX9" fmla="*/ 698061 w 1773610"/>
              <a:gd name="connsiteY9" fmla="*/ 43120 h 200649"/>
              <a:gd name="connsiteX10" fmla="*/ 678794 w 1773610"/>
              <a:gd name="connsiteY10" fmla="*/ 56049 h 200649"/>
              <a:gd name="connsiteX11" fmla="*/ 706944 w 1773610"/>
              <a:gd name="connsiteY11" fmla="*/ 72792 h 200649"/>
              <a:gd name="connsiteX12" fmla="*/ 761239 w 1773610"/>
              <a:gd name="connsiteY12" fmla="*/ 90807 h 200649"/>
              <a:gd name="connsiteX13" fmla="*/ 785573 w 1773610"/>
              <a:gd name="connsiteY13" fmla="*/ 135122 h 200649"/>
              <a:gd name="connsiteX14" fmla="*/ 700797 w 1773610"/>
              <a:gd name="connsiteY14" fmla="*/ 200630 h 200649"/>
              <a:gd name="connsiteX15" fmla="*/ 616021 w 1773610"/>
              <a:gd name="connsiteY15" fmla="*/ 135950 h 200649"/>
              <a:gd name="connsiteX16" fmla="*/ 451517 w 1773610"/>
              <a:gd name="connsiteY16" fmla="*/ 121519 h 200649"/>
              <a:gd name="connsiteX17" fmla="*/ 360711 w 1773610"/>
              <a:gd name="connsiteY17" fmla="*/ 200650 h 200649"/>
              <a:gd name="connsiteX18" fmla="*/ 263064 w 1773610"/>
              <a:gd name="connsiteY18" fmla="*/ 100460 h 200649"/>
              <a:gd name="connsiteX19" fmla="*/ 359401 w 1773610"/>
              <a:gd name="connsiteY19" fmla="*/ 19 h 200649"/>
              <a:gd name="connsiteX20" fmla="*/ 450496 w 1773610"/>
              <a:gd name="connsiteY20" fmla="*/ 77089 h 200649"/>
              <a:gd name="connsiteX21" fmla="*/ 392405 w 1773610"/>
              <a:gd name="connsiteY21" fmla="*/ 77089 h 200649"/>
              <a:gd name="connsiteX22" fmla="*/ 360191 w 1773610"/>
              <a:gd name="connsiteY22" fmla="*/ 47667 h 200649"/>
              <a:gd name="connsiteX23" fmla="*/ 324430 w 1773610"/>
              <a:gd name="connsiteY23" fmla="*/ 100421 h 200649"/>
              <a:gd name="connsiteX24" fmla="*/ 361982 w 1773610"/>
              <a:gd name="connsiteY24" fmla="*/ 152944 h 200649"/>
              <a:gd name="connsiteX25" fmla="*/ 393947 w 1773610"/>
              <a:gd name="connsiteY25" fmla="*/ 121480 h 200649"/>
              <a:gd name="connsiteX26" fmla="*/ 438570 w 1773610"/>
              <a:gd name="connsiteY26" fmla="*/ 5337 h 200649"/>
              <a:gd name="connsiteX27" fmla="*/ 500726 w 1773610"/>
              <a:gd name="connsiteY27" fmla="*/ 5337 h 200649"/>
              <a:gd name="connsiteX28" fmla="*/ 532690 w 1773610"/>
              <a:gd name="connsiteY28" fmla="*/ 128108 h 200649"/>
              <a:gd name="connsiteX29" fmla="*/ 566909 w 1773610"/>
              <a:gd name="connsiteY29" fmla="*/ 5337 h 200649"/>
              <a:gd name="connsiteX30" fmla="*/ 626773 w 1773610"/>
              <a:gd name="connsiteY30" fmla="*/ 5337 h 200649"/>
              <a:gd name="connsiteX31" fmla="*/ 562863 w 1773610"/>
              <a:gd name="connsiteY31" fmla="*/ 195332 h 200649"/>
              <a:gd name="connsiteX32" fmla="*/ 502248 w 1773610"/>
              <a:gd name="connsiteY32" fmla="*/ 195332 h 200649"/>
              <a:gd name="connsiteX33" fmla="*/ 67983 w 1773610"/>
              <a:gd name="connsiteY33" fmla="*/ 270 h 200649"/>
              <a:gd name="connsiteX34" fmla="*/ 48196 w 1773610"/>
              <a:gd name="connsiteY34" fmla="*/ 8535 h 200649"/>
              <a:gd name="connsiteX35" fmla="*/ 8254 w 1773610"/>
              <a:gd name="connsiteY35" fmla="*/ 48380 h 200649"/>
              <a:gd name="connsiteX36" fmla="*/ 8246 w 1773610"/>
              <a:gd name="connsiteY36" fmla="*/ 88217 h 200649"/>
              <a:gd name="connsiteX37" fmla="*/ 8254 w 1773610"/>
              <a:gd name="connsiteY37" fmla="*/ 88225 h 200649"/>
              <a:gd name="connsiteX38" fmla="*/ 120679 w 1773610"/>
              <a:gd name="connsiteY38" fmla="*/ 200650 h 200649"/>
              <a:gd name="connsiteX39" fmla="*/ 233161 w 1773610"/>
              <a:gd name="connsiteY39" fmla="*/ 88225 h 200649"/>
              <a:gd name="connsiteX40" fmla="*/ 233169 w 1773610"/>
              <a:gd name="connsiteY40" fmla="*/ 48388 h 200649"/>
              <a:gd name="connsiteX41" fmla="*/ 233161 w 1773610"/>
              <a:gd name="connsiteY41" fmla="*/ 48380 h 200649"/>
              <a:gd name="connsiteX42" fmla="*/ 193317 w 1773610"/>
              <a:gd name="connsiteY42" fmla="*/ 8574 h 200649"/>
              <a:gd name="connsiteX43" fmla="*/ 153617 w 1773610"/>
              <a:gd name="connsiteY43" fmla="*/ 8410 h 200649"/>
              <a:gd name="connsiteX44" fmla="*/ 153453 w 1773610"/>
              <a:gd name="connsiteY44" fmla="*/ 8574 h 200649"/>
              <a:gd name="connsiteX45" fmla="*/ 120698 w 1773610"/>
              <a:gd name="connsiteY45" fmla="*/ 41328 h 200649"/>
              <a:gd name="connsiteX46" fmla="*/ 87944 w 1773610"/>
              <a:gd name="connsiteY46" fmla="*/ 8574 h 200649"/>
              <a:gd name="connsiteX47" fmla="*/ 67983 w 1773610"/>
              <a:gd name="connsiteY47" fmla="*/ 270 h 200649"/>
              <a:gd name="connsiteX48" fmla="*/ 827114 w 1773610"/>
              <a:gd name="connsiteY48" fmla="*/ 137434 h 200649"/>
              <a:gd name="connsiteX49" fmla="*/ 883509 w 1773610"/>
              <a:gd name="connsiteY49" fmla="*/ 77031 h 200649"/>
              <a:gd name="connsiteX50" fmla="*/ 934298 w 1773610"/>
              <a:gd name="connsiteY50" fmla="*/ 118032 h 200649"/>
              <a:gd name="connsiteX51" fmla="*/ 909443 w 1773610"/>
              <a:gd name="connsiteY51" fmla="*/ 118032 h 200649"/>
              <a:gd name="connsiteX52" fmla="*/ 884395 w 1773610"/>
              <a:gd name="connsiteY52" fmla="*/ 97531 h 200649"/>
              <a:gd name="connsiteX53" fmla="*/ 852758 w 1773610"/>
              <a:gd name="connsiteY53" fmla="*/ 137434 h 200649"/>
              <a:gd name="connsiteX54" fmla="*/ 884241 w 1773610"/>
              <a:gd name="connsiteY54" fmla="*/ 177279 h 200649"/>
              <a:gd name="connsiteX55" fmla="*/ 910541 w 1773610"/>
              <a:gd name="connsiteY55" fmla="*/ 154331 h 200649"/>
              <a:gd name="connsiteX56" fmla="*/ 935049 w 1773610"/>
              <a:gd name="connsiteY56" fmla="*/ 154331 h 200649"/>
              <a:gd name="connsiteX57" fmla="*/ 884684 w 1773610"/>
              <a:gd name="connsiteY57" fmla="*/ 198010 h 200649"/>
              <a:gd name="connsiteX58" fmla="*/ 827191 w 1773610"/>
              <a:gd name="connsiteY58" fmla="*/ 137395 h 200649"/>
              <a:gd name="connsiteX59" fmla="*/ 1018842 w 1773610"/>
              <a:gd name="connsiteY59" fmla="*/ 179957 h 200649"/>
              <a:gd name="connsiteX60" fmla="*/ 983179 w 1773610"/>
              <a:gd name="connsiteY60" fmla="*/ 197124 h 200649"/>
              <a:gd name="connsiteX61" fmla="*/ 944644 w 1773610"/>
              <a:gd name="connsiteY61" fmla="*/ 163464 h 200649"/>
              <a:gd name="connsiteX62" fmla="*/ 991675 w 1773610"/>
              <a:gd name="connsiteY62" fmla="*/ 126471 h 200649"/>
              <a:gd name="connsiteX63" fmla="*/ 1018650 w 1773610"/>
              <a:gd name="connsiteY63" fmla="*/ 111982 h 200649"/>
              <a:gd name="connsiteX64" fmla="*/ 997032 w 1773610"/>
              <a:gd name="connsiteY64" fmla="*/ 96163 h 200649"/>
              <a:gd name="connsiteX65" fmla="*/ 973641 w 1773610"/>
              <a:gd name="connsiteY65" fmla="*/ 115546 h 200649"/>
              <a:gd name="connsiteX66" fmla="*/ 949750 w 1773610"/>
              <a:gd name="connsiteY66" fmla="*/ 115546 h 200649"/>
              <a:gd name="connsiteX67" fmla="*/ 996762 w 1773610"/>
              <a:gd name="connsiteY67" fmla="*/ 77435 h 200649"/>
              <a:gd name="connsiteX68" fmla="*/ 1043562 w 1773610"/>
              <a:gd name="connsiteY68" fmla="*/ 117107 h 200649"/>
              <a:gd name="connsiteX69" fmla="*/ 1043562 w 1773610"/>
              <a:gd name="connsiteY69" fmla="*/ 167202 h 200649"/>
              <a:gd name="connsiteX70" fmla="*/ 1053389 w 1773610"/>
              <a:gd name="connsiteY70" fmla="*/ 177452 h 200649"/>
              <a:gd name="connsiteX71" fmla="*/ 1054044 w 1773610"/>
              <a:gd name="connsiteY71" fmla="*/ 177452 h 200649"/>
              <a:gd name="connsiteX72" fmla="*/ 1054044 w 1773610"/>
              <a:gd name="connsiteY72" fmla="*/ 193714 h 200649"/>
              <a:gd name="connsiteX73" fmla="*/ 1042483 w 1773610"/>
              <a:gd name="connsiteY73" fmla="*/ 196160 h 200649"/>
              <a:gd name="connsiteX74" fmla="*/ 1019093 w 1773610"/>
              <a:gd name="connsiteY74" fmla="*/ 179899 h 200649"/>
              <a:gd name="connsiteX75" fmla="*/ 1019054 w 1773610"/>
              <a:gd name="connsiteY75" fmla="*/ 153445 h 200649"/>
              <a:gd name="connsiteX76" fmla="*/ 1019054 w 1773610"/>
              <a:gd name="connsiteY76" fmla="*/ 135430 h 200649"/>
              <a:gd name="connsiteX77" fmla="*/ 996550 w 1773610"/>
              <a:gd name="connsiteY77" fmla="*/ 142771 h 200649"/>
              <a:gd name="connsiteX78" fmla="*/ 970250 w 1773610"/>
              <a:gd name="connsiteY78" fmla="*/ 162828 h 200649"/>
              <a:gd name="connsiteX79" fmla="*/ 989421 w 1773610"/>
              <a:gd name="connsiteY79" fmla="*/ 179109 h 200649"/>
              <a:gd name="connsiteX80" fmla="*/ 1019054 w 1773610"/>
              <a:gd name="connsiteY80" fmla="*/ 153483 h 200649"/>
              <a:gd name="connsiteX81" fmla="*/ 1092578 w 1773610"/>
              <a:gd name="connsiteY81" fmla="*/ 98861 h 200649"/>
              <a:gd name="connsiteX82" fmla="*/ 1093253 w 1773610"/>
              <a:gd name="connsiteY82" fmla="*/ 98861 h 200649"/>
              <a:gd name="connsiteX83" fmla="*/ 1123791 w 1773610"/>
              <a:gd name="connsiteY83" fmla="*/ 79015 h 200649"/>
              <a:gd name="connsiteX84" fmla="*/ 1130920 w 1773610"/>
              <a:gd name="connsiteY84" fmla="*/ 79902 h 200649"/>
              <a:gd name="connsiteX85" fmla="*/ 1130920 w 1773610"/>
              <a:gd name="connsiteY85" fmla="*/ 102868 h 200649"/>
              <a:gd name="connsiteX86" fmla="*/ 1130246 w 1773610"/>
              <a:gd name="connsiteY86" fmla="*/ 102868 h 200649"/>
              <a:gd name="connsiteX87" fmla="*/ 1124234 w 1773610"/>
              <a:gd name="connsiteY87" fmla="*/ 102213 h 200649"/>
              <a:gd name="connsiteX88" fmla="*/ 1093253 w 1773610"/>
              <a:gd name="connsiteY88" fmla="*/ 135873 h 200649"/>
              <a:gd name="connsiteX89" fmla="*/ 1093253 w 1773610"/>
              <a:gd name="connsiteY89" fmla="*/ 194619 h 200649"/>
              <a:gd name="connsiteX90" fmla="*/ 1068070 w 1773610"/>
              <a:gd name="connsiteY90" fmla="*/ 194619 h 200649"/>
              <a:gd name="connsiteX91" fmla="*/ 1068070 w 1773610"/>
              <a:gd name="connsiteY91" fmla="*/ 79921 h 200649"/>
              <a:gd name="connsiteX92" fmla="*/ 1092578 w 1773610"/>
              <a:gd name="connsiteY92" fmla="*/ 79921 h 200649"/>
              <a:gd name="connsiteX93" fmla="*/ 1132693 w 1773610"/>
              <a:gd name="connsiteY93" fmla="*/ 137395 h 200649"/>
              <a:gd name="connsiteX94" fmla="*/ 1188414 w 1773610"/>
              <a:gd name="connsiteY94" fmla="*/ 76992 h 200649"/>
              <a:gd name="connsiteX95" fmla="*/ 1243229 w 1773610"/>
              <a:gd name="connsiteY95" fmla="*/ 144081 h 200649"/>
              <a:gd name="connsiteX96" fmla="*/ 1157875 w 1773610"/>
              <a:gd name="connsiteY96" fmla="*/ 144081 h 200649"/>
              <a:gd name="connsiteX97" fmla="*/ 1190417 w 1773610"/>
              <a:gd name="connsiteY97" fmla="*/ 177953 h 200649"/>
              <a:gd name="connsiteX98" fmla="*/ 1216043 w 1773610"/>
              <a:gd name="connsiteY98" fmla="*/ 162115 h 200649"/>
              <a:gd name="connsiteX99" fmla="*/ 1240840 w 1773610"/>
              <a:gd name="connsiteY99" fmla="*/ 162115 h 200649"/>
              <a:gd name="connsiteX100" fmla="*/ 1190475 w 1773610"/>
              <a:gd name="connsiteY100" fmla="*/ 198010 h 200649"/>
              <a:gd name="connsiteX101" fmla="*/ 1132673 w 1773610"/>
              <a:gd name="connsiteY101" fmla="*/ 137395 h 200649"/>
              <a:gd name="connsiteX102" fmla="*/ 1158299 w 1773610"/>
              <a:gd name="connsiteY102" fmla="*/ 126239 h 200649"/>
              <a:gd name="connsiteX103" fmla="*/ 1216698 w 1773610"/>
              <a:gd name="connsiteY103" fmla="*/ 126239 h 200649"/>
              <a:gd name="connsiteX104" fmla="*/ 1188606 w 1773610"/>
              <a:gd name="connsiteY104" fmla="*/ 96606 h 200649"/>
              <a:gd name="connsiteX105" fmla="*/ 1158299 w 1773610"/>
              <a:gd name="connsiteY105" fmla="*/ 126239 h 200649"/>
              <a:gd name="connsiteX106" fmla="*/ 1259683 w 1773610"/>
              <a:gd name="connsiteY106" fmla="*/ 79882 h 200649"/>
              <a:gd name="connsiteX107" fmla="*/ 1284211 w 1773610"/>
              <a:gd name="connsiteY107" fmla="*/ 79882 h 200649"/>
              <a:gd name="connsiteX108" fmla="*/ 1284211 w 1773610"/>
              <a:gd name="connsiteY108" fmla="*/ 95720 h 200649"/>
              <a:gd name="connsiteX109" fmla="*/ 1284885 w 1773610"/>
              <a:gd name="connsiteY109" fmla="*/ 95720 h 200649"/>
              <a:gd name="connsiteX110" fmla="*/ 1318314 w 1773610"/>
              <a:gd name="connsiteY110" fmla="*/ 77089 h 200649"/>
              <a:gd name="connsiteX111" fmla="*/ 1349295 w 1773610"/>
              <a:gd name="connsiteY111" fmla="*/ 97319 h 200649"/>
              <a:gd name="connsiteX112" fmla="*/ 1349739 w 1773610"/>
              <a:gd name="connsiteY112" fmla="*/ 97319 h 200649"/>
              <a:gd name="connsiteX113" fmla="*/ 1384420 w 1773610"/>
              <a:gd name="connsiteY113" fmla="*/ 77031 h 200649"/>
              <a:gd name="connsiteX114" fmla="*/ 1421027 w 1773610"/>
              <a:gd name="connsiteY114" fmla="*/ 116259 h 200649"/>
              <a:gd name="connsiteX115" fmla="*/ 1421027 w 1773610"/>
              <a:gd name="connsiteY115" fmla="*/ 194619 h 200649"/>
              <a:gd name="connsiteX116" fmla="*/ 1395652 w 1773610"/>
              <a:gd name="connsiteY116" fmla="*/ 194619 h 200649"/>
              <a:gd name="connsiteX117" fmla="*/ 1395652 w 1773610"/>
              <a:gd name="connsiteY117" fmla="*/ 119477 h 200649"/>
              <a:gd name="connsiteX118" fmla="*/ 1376713 w 1773610"/>
              <a:gd name="connsiteY118" fmla="*/ 98533 h 200649"/>
              <a:gd name="connsiteX119" fmla="*/ 1352860 w 1773610"/>
              <a:gd name="connsiteY119" fmla="*/ 125950 h 200649"/>
              <a:gd name="connsiteX120" fmla="*/ 1352860 w 1773610"/>
              <a:gd name="connsiteY120" fmla="*/ 194619 h 200649"/>
              <a:gd name="connsiteX121" fmla="*/ 1327678 w 1773610"/>
              <a:gd name="connsiteY121" fmla="*/ 194619 h 200649"/>
              <a:gd name="connsiteX122" fmla="*/ 1327678 w 1773610"/>
              <a:gd name="connsiteY122" fmla="*/ 119477 h 200649"/>
              <a:gd name="connsiteX123" fmla="*/ 1309181 w 1773610"/>
              <a:gd name="connsiteY123" fmla="*/ 98533 h 200649"/>
              <a:gd name="connsiteX124" fmla="*/ 1284904 w 1773610"/>
              <a:gd name="connsiteY124" fmla="*/ 125950 h 200649"/>
              <a:gd name="connsiteX125" fmla="*/ 1284904 w 1773610"/>
              <a:gd name="connsiteY125" fmla="*/ 194619 h 200649"/>
              <a:gd name="connsiteX126" fmla="*/ 1259703 w 1773610"/>
              <a:gd name="connsiteY126" fmla="*/ 194619 h 200649"/>
              <a:gd name="connsiteX127" fmla="*/ 1510852 w 1773610"/>
              <a:gd name="connsiteY127" fmla="*/ 179995 h 200649"/>
              <a:gd name="connsiteX128" fmla="*/ 1475188 w 1773610"/>
              <a:gd name="connsiteY128" fmla="*/ 197162 h 200649"/>
              <a:gd name="connsiteX129" fmla="*/ 1436653 w 1773610"/>
              <a:gd name="connsiteY129" fmla="*/ 163502 h 200649"/>
              <a:gd name="connsiteX130" fmla="*/ 1483685 w 1773610"/>
              <a:gd name="connsiteY130" fmla="*/ 126509 h 200649"/>
              <a:gd name="connsiteX131" fmla="*/ 1510659 w 1773610"/>
              <a:gd name="connsiteY131" fmla="*/ 112020 h 200649"/>
              <a:gd name="connsiteX132" fmla="*/ 1489041 w 1773610"/>
              <a:gd name="connsiteY132" fmla="*/ 96202 h 200649"/>
              <a:gd name="connsiteX133" fmla="*/ 1465650 w 1773610"/>
              <a:gd name="connsiteY133" fmla="*/ 115585 h 200649"/>
              <a:gd name="connsiteX134" fmla="*/ 1441759 w 1773610"/>
              <a:gd name="connsiteY134" fmla="*/ 115585 h 200649"/>
              <a:gd name="connsiteX135" fmla="*/ 1488790 w 1773610"/>
              <a:gd name="connsiteY135" fmla="*/ 77474 h 200649"/>
              <a:gd name="connsiteX136" fmla="*/ 1535591 w 1773610"/>
              <a:gd name="connsiteY136" fmla="*/ 117145 h 200649"/>
              <a:gd name="connsiteX137" fmla="*/ 1535591 w 1773610"/>
              <a:gd name="connsiteY137" fmla="*/ 167240 h 200649"/>
              <a:gd name="connsiteX138" fmla="*/ 1545398 w 1773610"/>
              <a:gd name="connsiteY138" fmla="*/ 177490 h 200649"/>
              <a:gd name="connsiteX139" fmla="*/ 1546072 w 1773610"/>
              <a:gd name="connsiteY139" fmla="*/ 177490 h 200649"/>
              <a:gd name="connsiteX140" fmla="*/ 1546072 w 1773610"/>
              <a:gd name="connsiteY140" fmla="*/ 193752 h 200649"/>
              <a:gd name="connsiteX141" fmla="*/ 1534512 w 1773610"/>
              <a:gd name="connsiteY141" fmla="*/ 196199 h 200649"/>
              <a:gd name="connsiteX142" fmla="*/ 1511121 w 1773610"/>
              <a:gd name="connsiteY142" fmla="*/ 179937 h 200649"/>
              <a:gd name="connsiteX143" fmla="*/ 1511083 w 1773610"/>
              <a:gd name="connsiteY143" fmla="*/ 153483 h 200649"/>
              <a:gd name="connsiteX144" fmla="*/ 1511083 w 1773610"/>
              <a:gd name="connsiteY144" fmla="*/ 135430 h 200649"/>
              <a:gd name="connsiteX145" fmla="*/ 1488559 w 1773610"/>
              <a:gd name="connsiteY145" fmla="*/ 142771 h 200649"/>
              <a:gd name="connsiteX146" fmla="*/ 1462279 w 1773610"/>
              <a:gd name="connsiteY146" fmla="*/ 162828 h 200649"/>
              <a:gd name="connsiteX147" fmla="*/ 1481430 w 1773610"/>
              <a:gd name="connsiteY147" fmla="*/ 179109 h 200649"/>
              <a:gd name="connsiteX148" fmla="*/ 1511083 w 1773610"/>
              <a:gd name="connsiteY148" fmla="*/ 153483 h 200649"/>
              <a:gd name="connsiteX149" fmla="*/ 1584607 w 1773610"/>
              <a:gd name="connsiteY149" fmla="*/ 98861 h 200649"/>
              <a:gd name="connsiteX150" fmla="*/ 1585281 w 1773610"/>
              <a:gd name="connsiteY150" fmla="*/ 98861 h 200649"/>
              <a:gd name="connsiteX151" fmla="*/ 1615800 w 1773610"/>
              <a:gd name="connsiteY151" fmla="*/ 79015 h 200649"/>
              <a:gd name="connsiteX152" fmla="*/ 1622929 w 1773610"/>
              <a:gd name="connsiteY152" fmla="*/ 79902 h 200649"/>
              <a:gd name="connsiteX153" fmla="*/ 1622929 w 1773610"/>
              <a:gd name="connsiteY153" fmla="*/ 102868 h 200649"/>
              <a:gd name="connsiteX154" fmla="*/ 1622332 w 1773610"/>
              <a:gd name="connsiteY154" fmla="*/ 102868 h 200649"/>
              <a:gd name="connsiteX155" fmla="*/ 1616301 w 1773610"/>
              <a:gd name="connsiteY155" fmla="*/ 102213 h 200649"/>
              <a:gd name="connsiteX156" fmla="*/ 1585339 w 1773610"/>
              <a:gd name="connsiteY156" fmla="*/ 135873 h 200649"/>
              <a:gd name="connsiteX157" fmla="*/ 1585339 w 1773610"/>
              <a:gd name="connsiteY157" fmla="*/ 194619 h 200649"/>
              <a:gd name="connsiteX158" fmla="*/ 1560079 w 1773610"/>
              <a:gd name="connsiteY158" fmla="*/ 194619 h 200649"/>
              <a:gd name="connsiteX159" fmla="*/ 1560079 w 1773610"/>
              <a:gd name="connsiteY159" fmla="*/ 79921 h 200649"/>
              <a:gd name="connsiteX160" fmla="*/ 1584607 w 1773610"/>
              <a:gd name="connsiteY160" fmla="*/ 79921 h 200649"/>
              <a:gd name="connsiteX161" fmla="*/ 1675510 w 1773610"/>
              <a:gd name="connsiteY161" fmla="*/ 138089 h 200649"/>
              <a:gd name="connsiteX162" fmla="*/ 1660366 w 1773610"/>
              <a:gd name="connsiteY162" fmla="*/ 154158 h 200649"/>
              <a:gd name="connsiteX163" fmla="*/ 1660366 w 1773610"/>
              <a:gd name="connsiteY163" fmla="*/ 194619 h 200649"/>
              <a:gd name="connsiteX164" fmla="*/ 1635164 w 1773610"/>
              <a:gd name="connsiteY164" fmla="*/ 194619 h 200649"/>
              <a:gd name="connsiteX165" fmla="*/ 1635164 w 1773610"/>
              <a:gd name="connsiteY165" fmla="*/ 35356 h 200649"/>
              <a:gd name="connsiteX166" fmla="*/ 1660366 w 1773610"/>
              <a:gd name="connsiteY166" fmla="*/ 35356 h 200649"/>
              <a:gd name="connsiteX167" fmla="*/ 1660366 w 1773610"/>
              <a:gd name="connsiteY167" fmla="*/ 126066 h 200649"/>
              <a:gd name="connsiteX168" fmla="*/ 1703601 w 1773610"/>
              <a:gd name="connsiteY168" fmla="*/ 79824 h 200649"/>
              <a:gd name="connsiteX169" fmla="*/ 1733466 w 1773610"/>
              <a:gd name="connsiteY169" fmla="*/ 79824 h 200649"/>
              <a:gd name="connsiteX170" fmla="*/ 1692889 w 1773610"/>
              <a:gd name="connsiteY170" fmla="*/ 122482 h 200649"/>
              <a:gd name="connsiteX171" fmla="*/ 1736568 w 1773610"/>
              <a:gd name="connsiteY171" fmla="*/ 194619 h 200649"/>
              <a:gd name="connsiteX172" fmla="*/ 1708283 w 1773610"/>
              <a:gd name="connsiteY172" fmla="*/ 194619 h 200649"/>
              <a:gd name="connsiteX173" fmla="*/ 1756702 w 1773610"/>
              <a:gd name="connsiteY173" fmla="*/ 81963 h 200649"/>
              <a:gd name="connsiteX174" fmla="*/ 1739716 w 1773610"/>
              <a:gd name="connsiteY174" fmla="*/ 65742 h 200649"/>
              <a:gd name="connsiteX175" fmla="*/ 1739727 w 1773610"/>
              <a:gd name="connsiteY175" fmla="*/ 64623 h 200649"/>
              <a:gd name="connsiteX176" fmla="*/ 1756663 w 1773610"/>
              <a:gd name="connsiteY176" fmla="*/ 47687 h 200649"/>
              <a:gd name="connsiteX177" fmla="*/ 1773599 w 1773610"/>
              <a:gd name="connsiteY177" fmla="*/ 64623 h 200649"/>
              <a:gd name="connsiteX178" fmla="*/ 1757503 w 1773610"/>
              <a:gd name="connsiteY178" fmla="*/ 81953 h 200649"/>
              <a:gd name="connsiteX179" fmla="*/ 1756702 w 1773610"/>
              <a:gd name="connsiteY179" fmla="*/ 81963 h 200649"/>
              <a:gd name="connsiteX180" fmla="*/ 1756702 w 1773610"/>
              <a:gd name="connsiteY180" fmla="*/ 50461 h 200649"/>
              <a:gd name="connsiteX181" fmla="*/ 1743427 w 1773610"/>
              <a:gd name="connsiteY181" fmla="*/ 64719 h 200649"/>
              <a:gd name="connsiteX182" fmla="*/ 1756702 w 1773610"/>
              <a:gd name="connsiteY182" fmla="*/ 78957 h 200649"/>
              <a:gd name="connsiteX183" fmla="*/ 1769900 w 1773610"/>
              <a:gd name="connsiteY183" fmla="*/ 64719 h 200649"/>
              <a:gd name="connsiteX184" fmla="*/ 1756702 w 1773610"/>
              <a:gd name="connsiteY184" fmla="*/ 50461 h 200649"/>
              <a:gd name="connsiteX185" fmla="*/ 1753349 w 1773610"/>
              <a:gd name="connsiteY185" fmla="*/ 74584 h 200649"/>
              <a:gd name="connsiteX186" fmla="*/ 1750209 w 1773610"/>
              <a:gd name="connsiteY186" fmla="*/ 74584 h 200649"/>
              <a:gd name="connsiteX187" fmla="*/ 1750209 w 1773610"/>
              <a:gd name="connsiteY187" fmla="*/ 55490 h 200649"/>
              <a:gd name="connsiteX188" fmla="*/ 1757453 w 1773610"/>
              <a:gd name="connsiteY188" fmla="*/ 55490 h 200649"/>
              <a:gd name="connsiteX189" fmla="*/ 1764428 w 1773610"/>
              <a:gd name="connsiteY189" fmla="*/ 60981 h 200649"/>
              <a:gd name="connsiteX190" fmla="*/ 1759894 w 1773610"/>
              <a:gd name="connsiteY190" fmla="*/ 66174 h 200649"/>
              <a:gd name="connsiteX191" fmla="*/ 1759438 w 1773610"/>
              <a:gd name="connsiteY191" fmla="*/ 66183 h 200649"/>
              <a:gd name="connsiteX192" fmla="*/ 1764794 w 1773610"/>
              <a:gd name="connsiteY192" fmla="*/ 74584 h 200649"/>
              <a:gd name="connsiteX193" fmla="*/ 1761230 w 1773610"/>
              <a:gd name="connsiteY193" fmla="*/ 74584 h 200649"/>
              <a:gd name="connsiteX194" fmla="*/ 1756317 w 1773610"/>
              <a:gd name="connsiteY194" fmla="*/ 66414 h 200649"/>
              <a:gd name="connsiteX195" fmla="*/ 1753349 w 1773610"/>
              <a:gd name="connsiteY195" fmla="*/ 66414 h 200649"/>
              <a:gd name="connsiteX196" fmla="*/ 1756856 w 1773610"/>
              <a:gd name="connsiteY196" fmla="*/ 63736 h 200649"/>
              <a:gd name="connsiteX197" fmla="*/ 1761288 w 1773610"/>
              <a:gd name="connsiteY197" fmla="*/ 60750 h 200649"/>
              <a:gd name="connsiteX198" fmla="*/ 1757145 w 1773610"/>
              <a:gd name="connsiteY198" fmla="*/ 58168 h 200649"/>
              <a:gd name="connsiteX199" fmla="*/ 1753292 w 1773610"/>
              <a:gd name="connsiteY199" fmla="*/ 58168 h 200649"/>
              <a:gd name="connsiteX200" fmla="*/ 1753292 w 1773610"/>
              <a:gd name="connsiteY200" fmla="*/ 63736 h 20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773610" h="200649">
                <a:moveTo>
                  <a:pt x="675480" y="135969"/>
                </a:moveTo>
                <a:cubicBezTo>
                  <a:pt x="678524" y="150189"/>
                  <a:pt x="686636" y="155237"/>
                  <a:pt x="703379" y="155237"/>
                </a:cubicBezTo>
                <a:cubicBezTo>
                  <a:pt x="718080" y="155237"/>
                  <a:pt x="726211" y="149900"/>
                  <a:pt x="726211" y="141538"/>
                </a:cubicBezTo>
                <a:cubicBezTo>
                  <a:pt x="726211" y="129611"/>
                  <a:pt x="715306" y="128609"/>
                  <a:pt x="692724" y="122771"/>
                </a:cubicBezTo>
                <a:cubicBezTo>
                  <a:pt x="666348" y="115931"/>
                  <a:pt x="649354" y="110093"/>
                  <a:pt x="641493" y="104506"/>
                </a:cubicBezTo>
                <a:cubicBezTo>
                  <a:pt x="626773" y="94102"/>
                  <a:pt x="619682" y="79458"/>
                  <a:pt x="619682" y="60634"/>
                </a:cubicBezTo>
                <a:cubicBezTo>
                  <a:pt x="619682" y="23853"/>
                  <a:pt x="648583" y="0"/>
                  <a:pt x="699063" y="0"/>
                </a:cubicBezTo>
                <a:cubicBezTo>
                  <a:pt x="748022" y="0"/>
                  <a:pt x="776942" y="21560"/>
                  <a:pt x="780236" y="59864"/>
                </a:cubicBezTo>
                <a:lnTo>
                  <a:pt x="722646" y="59864"/>
                </a:lnTo>
                <a:cubicBezTo>
                  <a:pt x="720623" y="48438"/>
                  <a:pt x="712762" y="43120"/>
                  <a:pt x="698061" y="43120"/>
                </a:cubicBezTo>
                <a:cubicBezTo>
                  <a:pt x="685114" y="43120"/>
                  <a:pt x="678794" y="47436"/>
                  <a:pt x="678794" y="56049"/>
                </a:cubicBezTo>
                <a:cubicBezTo>
                  <a:pt x="678794" y="66202"/>
                  <a:pt x="688678" y="67975"/>
                  <a:pt x="706944" y="72792"/>
                </a:cubicBezTo>
                <a:cubicBezTo>
                  <a:pt x="730546" y="78900"/>
                  <a:pt x="749332" y="82695"/>
                  <a:pt x="761239" y="90807"/>
                </a:cubicBezTo>
                <a:cubicBezTo>
                  <a:pt x="777963" y="101963"/>
                  <a:pt x="785573" y="115662"/>
                  <a:pt x="785573" y="135122"/>
                </a:cubicBezTo>
                <a:cubicBezTo>
                  <a:pt x="785573" y="176469"/>
                  <a:pt x="755902" y="200630"/>
                  <a:pt x="700797" y="200630"/>
                </a:cubicBezTo>
                <a:cubicBezTo>
                  <a:pt x="649797" y="200630"/>
                  <a:pt x="619875" y="176546"/>
                  <a:pt x="616021" y="135950"/>
                </a:cubicBezTo>
                <a:close/>
                <a:moveTo>
                  <a:pt x="451517" y="121519"/>
                </a:moveTo>
                <a:cubicBezTo>
                  <a:pt x="448223" y="171498"/>
                  <a:pt x="415237" y="200650"/>
                  <a:pt x="360711" y="200650"/>
                </a:cubicBezTo>
                <a:cubicBezTo>
                  <a:pt x="300077" y="200650"/>
                  <a:pt x="263064" y="162115"/>
                  <a:pt x="263064" y="100460"/>
                </a:cubicBezTo>
                <a:cubicBezTo>
                  <a:pt x="263064" y="38323"/>
                  <a:pt x="300346" y="19"/>
                  <a:pt x="359401" y="19"/>
                </a:cubicBezTo>
                <a:cubicBezTo>
                  <a:pt x="414486" y="19"/>
                  <a:pt x="447028" y="27918"/>
                  <a:pt x="450496" y="77089"/>
                </a:cubicBezTo>
                <a:lnTo>
                  <a:pt x="392405" y="77089"/>
                </a:lnTo>
                <a:cubicBezTo>
                  <a:pt x="390633" y="57821"/>
                  <a:pt x="379728" y="47667"/>
                  <a:pt x="360191" y="47667"/>
                </a:cubicBezTo>
                <a:cubicBezTo>
                  <a:pt x="336357" y="47667"/>
                  <a:pt x="324430" y="65181"/>
                  <a:pt x="324430" y="100421"/>
                </a:cubicBezTo>
                <a:cubicBezTo>
                  <a:pt x="324430" y="134929"/>
                  <a:pt x="337378" y="152944"/>
                  <a:pt x="361982" y="152944"/>
                </a:cubicBezTo>
                <a:cubicBezTo>
                  <a:pt x="380498" y="152944"/>
                  <a:pt x="392155" y="141769"/>
                  <a:pt x="393947" y="121480"/>
                </a:cubicBezTo>
                <a:close/>
                <a:moveTo>
                  <a:pt x="438570" y="5337"/>
                </a:moveTo>
                <a:lnTo>
                  <a:pt x="500726" y="5337"/>
                </a:lnTo>
                <a:lnTo>
                  <a:pt x="532690" y="128108"/>
                </a:lnTo>
                <a:lnTo>
                  <a:pt x="566909" y="5337"/>
                </a:lnTo>
                <a:lnTo>
                  <a:pt x="626773" y="5337"/>
                </a:lnTo>
                <a:lnTo>
                  <a:pt x="562863" y="195332"/>
                </a:lnTo>
                <a:lnTo>
                  <a:pt x="502248" y="195332"/>
                </a:lnTo>
                <a:close/>
                <a:moveTo>
                  <a:pt x="67983" y="270"/>
                </a:moveTo>
                <a:cubicBezTo>
                  <a:pt x="60551" y="285"/>
                  <a:pt x="53430" y="3259"/>
                  <a:pt x="48196" y="8535"/>
                </a:cubicBezTo>
                <a:lnTo>
                  <a:pt x="8254" y="48380"/>
                </a:lnTo>
                <a:cubicBezTo>
                  <a:pt x="-2748" y="59379"/>
                  <a:pt x="-2752" y="77214"/>
                  <a:pt x="8246" y="88217"/>
                </a:cubicBezTo>
                <a:cubicBezTo>
                  <a:pt x="8249" y="88220"/>
                  <a:pt x="8252" y="88222"/>
                  <a:pt x="8254" y="88225"/>
                </a:cubicBezTo>
                <a:lnTo>
                  <a:pt x="120679" y="200650"/>
                </a:lnTo>
                <a:lnTo>
                  <a:pt x="233161" y="88225"/>
                </a:lnTo>
                <a:cubicBezTo>
                  <a:pt x="244165" y="77227"/>
                  <a:pt x="244169" y="59391"/>
                  <a:pt x="233169" y="48388"/>
                </a:cubicBezTo>
                <a:cubicBezTo>
                  <a:pt x="233167" y="48386"/>
                  <a:pt x="233163" y="48383"/>
                  <a:pt x="233161" y="48380"/>
                </a:cubicBezTo>
                <a:lnTo>
                  <a:pt x="193317" y="8574"/>
                </a:lnTo>
                <a:cubicBezTo>
                  <a:pt x="182399" y="-2434"/>
                  <a:pt x="164625" y="-2508"/>
                  <a:pt x="153617" y="8410"/>
                </a:cubicBezTo>
                <a:cubicBezTo>
                  <a:pt x="153562" y="8464"/>
                  <a:pt x="153507" y="8519"/>
                  <a:pt x="153453" y="8574"/>
                </a:cubicBezTo>
                <a:lnTo>
                  <a:pt x="120698" y="41328"/>
                </a:lnTo>
                <a:lnTo>
                  <a:pt x="87944" y="8574"/>
                </a:lnTo>
                <a:cubicBezTo>
                  <a:pt x="82660" y="3261"/>
                  <a:pt x="75476" y="273"/>
                  <a:pt x="67983" y="270"/>
                </a:cubicBezTo>
                <a:moveTo>
                  <a:pt x="827114" y="137434"/>
                </a:moveTo>
                <a:cubicBezTo>
                  <a:pt x="827114" y="103543"/>
                  <a:pt x="848944" y="77031"/>
                  <a:pt x="883509" y="77031"/>
                </a:cubicBezTo>
                <a:cubicBezTo>
                  <a:pt x="912237" y="77031"/>
                  <a:pt x="930290" y="93524"/>
                  <a:pt x="934298" y="118032"/>
                </a:cubicBezTo>
                <a:lnTo>
                  <a:pt x="909443" y="118032"/>
                </a:lnTo>
                <a:cubicBezTo>
                  <a:pt x="907208" y="105778"/>
                  <a:pt x="898075" y="97531"/>
                  <a:pt x="884395" y="97531"/>
                </a:cubicBezTo>
                <a:cubicBezTo>
                  <a:pt x="863452" y="97531"/>
                  <a:pt x="852758" y="114024"/>
                  <a:pt x="852758" y="137434"/>
                </a:cubicBezTo>
                <a:cubicBezTo>
                  <a:pt x="852758" y="160843"/>
                  <a:pt x="863298" y="177279"/>
                  <a:pt x="884241" y="177279"/>
                </a:cubicBezTo>
                <a:cubicBezTo>
                  <a:pt x="899173" y="177279"/>
                  <a:pt x="908749" y="169244"/>
                  <a:pt x="910541" y="154331"/>
                </a:cubicBezTo>
                <a:lnTo>
                  <a:pt x="935049" y="154331"/>
                </a:lnTo>
                <a:cubicBezTo>
                  <a:pt x="933122" y="179957"/>
                  <a:pt x="914317" y="198010"/>
                  <a:pt x="884684" y="198010"/>
                </a:cubicBezTo>
                <a:cubicBezTo>
                  <a:pt x="849252" y="198010"/>
                  <a:pt x="827191" y="171267"/>
                  <a:pt x="827191" y="137395"/>
                </a:cubicBezTo>
                <a:moveTo>
                  <a:pt x="1018842" y="179957"/>
                </a:moveTo>
                <a:cubicBezTo>
                  <a:pt x="1012368" y="188858"/>
                  <a:pt x="1002349" y="197124"/>
                  <a:pt x="983179" y="197124"/>
                </a:cubicBezTo>
                <a:cubicBezTo>
                  <a:pt x="960886" y="197124"/>
                  <a:pt x="944644" y="185756"/>
                  <a:pt x="944644" y="163464"/>
                </a:cubicBezTo>
                <a:cubicBezTo>
                  <a:pt x="944644" y="137395"/>
                  <a:pt x="965376" y="130247"/>
                  <a:pt x="991675" y="126471"/>
                </a:cubicBezTo>
                <a:cubicBezTo>
                  <a:pt x="1009016" y="123792"/>
                  <a:pt x="1018650" y="122232"/>
                  <a:pt x="1018650" y="111982"/>
                </a:cubicBezTo>
                <a:cubicBezTo>
                  <a:pt x="1018650" y="102175"/>
                  <a:pt x="1010943" y="96163"/>
                  <a:pt x="997032" y="96163"/>
                </a:cubicBezTo>
                <a:cubicBezTo>
                  <a:pt x="981618" y="96163"/>
                  <a:pt x="974296" y="102175"/>
                  <a:pt x="973641" y="115546"/>
                </a:cubicBezTo>
                <a:lnTo>
                  <a:pt x="949750" y="115546"/>
                </a:lnTo>
                <a:cubicBezTo>
                  <a:pt x="950424" y="94602"/>
                  <a:pt x="964894" y="77435"/>
                  <a:pt x="996762" y="77435"/>
                </a:cubicBezTo>
                <a:cubicBezTo>
                  <a:pt x="1027744" y="77435"/>
                  <a:pt x="1043562" y="90132"/>
                  <a:pt x="1043562" y="117107"/>
                </a:cubicBezTo>
                <a:lnTo>
                  <a:pt x="1043562" y="167202"/>
                </a:lnTo>
                <a:cubicBezTo>
                  <a:pt x="1043562" y="175448"/>
                  <a:pt x="1045354" y="179013"/>
                  <a:pt x="1053389" y="177452"/>
                </a:cubicBezTo>
                <a:lnTo>
                  <a:pt x="1054044" y="177452"/>
                </a:lnTo>
                <a:lnTo>
                  <a:pt x="1054044" y="193714"/>
                </a:lnTo>
                <a:cubicBezTo>
                  <a:pt x="1050468" y="195517"/>
                  <a:pt x="1046483" y="196361"/>
                  <a:pt x="1042483" y="196160"/>
                </a:cubicBezTo>
                <a:cubicBezTo>
                  <a:pt x="1028457" y="196160"/>
                  <a:pt x="1021097" y="191479"/>
                  <a:pt x="1019093" y="179899"/>
                </a:cubicBezTo>
                <a:close/>
                <a:moveTo>
                  <a:pt x="1019054" y="153445"/>
                </a:moveTo>
                <a:lnTo>
                  <a:pt x="1019054" y="135430"/>
                </a:lnTo>
                <a:cubicBezTo>
                  <a:pt x="1013486" y="138763"/>
                  <a:pt x="1004796" y="140998"/>
                  <a:pt x="996550" y="142771"/>
                </a:cubicBezTo>
                <a:cubicBezTo>
                  <a:pt x="980057" y="146335"/>
                  <a:pt x="970250" y="149457"/>
                  <a:pt x="970250" y="162828"/>
                </a:cubicBezTo>
                <a:cubicBezTo>
                  <a:pt x="970250" y="175313"/>
                  <a:pt x="978728" y="179109"/>
                  <a:pt x="989421" y="179109"/>
                </a:cubicBezTo>
                <a:cubicBezTo>
                  <a:pt x="1009247" y="179109"/>
                  <a:pt x="1019054" y="165506"/>
                  <a:pt x="1019054" y="153483"/>
                </a:cubicBezTo>
                <a:moveTo>
                  <a:pt x="1092578" y="98861"/>
                </a:moveTo>
                <a:lnTo>
                  <a:pt x="1093253" y="98861"/>
                </a:lnTo>
                <a:cubicBezTo>
                  <a:pt x="1100189" y="86607"/>
                  <a:pt x="1109533" y="79015"/>
                  <a:pt x="1123791" y="79015"/>
                </a:cubicBezTo>
                <a:cubicBezTo>
                  <a:pt x="1126202" y="78882"/>
                  <a:pt x="1128616" y="79182"/>
                  <a:pt x="1130920" y="79902"/>
                </a:cubicBezTo>
                <a:lnTo>
                  <a:pt x="1130920" y="102868"/>
                </a:lnTo>
                <a:lnTo>
                  <a:pt x="1130246" y="102868"/>
                </a:lnTo>
                <a:cubicBezTo>
                  <a:pt x="1128279" y="102391"/>
                  <a:pt x="1126257" y="102171"/>
                  <a:pt x="1124234" y="102213"/>
                </a:cubicBezTo>
                <a:cubicBezTo>
                  <a:pt x="1106894" y="102213"/>
                  <a:pt x="1093253" y="114024"/>
                  <a:pt x="1093253" y="135873"/>
                </a:cubicBezTo>
                <a:lnTo>
                  <a:pt x="1093253" y="194619"/>
                </a:lnTo>
                <a:lnTo>
                  <a:pt x="1068070" y="194619"/>
                </a:lnTo>
                <a:lnTo>
                  <a:pt x="1068070" y="79921"/>
                </a:lnTo>
                <a:lnTo>
                  <a:pt x="1092578" y="79921"/>
                </a:lnTo>
                <a:close/>
                <a:moveTo>
                  <a:pt x="1132693" y="137395"/>
                </a:moveTo>
                <a:cubicBezTo>
                  <a:pt x="1132693" y="103504"/>
                  <a:pt x="1155197" y="76992"/>
                  <a:pt x="1188414" y="76992"/>
                </a:cubicBezTo>
                <a:cubicBezTo>
                  <a:pt x="1224058" y="76992"/>
                  <a:pt x="1243229" y="104410"/>
                  <a:pt x="1243229" y="144081"/>
                </a:cubicBezTo>
                <a:lnTo>
                  <a:pt x="1157875" y="144081"/>
                </a:lnTo>
                <a:cubicBezTo>
                  <a:pt x="1159667" y="164138"/>
                  <a:pt x="1170803" y="177953"/>
                  <a:pt x="1190417" y="177953"/>
                </a:cubicBezTo>
                <a:cubicBezTo>
                  <a:pt x="1203346" y="177953"/>
                  <a:pt x="1212035" y="172173"/>
                  <a:pt x="1216043" y="162115"/>
                </a:cubicBezTo>
                <a:lnTo>
                  <a:pt x="1240840" y="162115"/>
                </a:lnTo>
                <a:cubicBezTo>
                  <a:pt x="1236158" y="182616"/>
                  <a:pt x="1218105" y="198010"/>
                  <a:pt x="1190475" y="198010"/>
                </a:cubicBezTo>
                <a:cubicBezTo>
                  <a:pt x="1153713" y="198010"/>
                  <a:pt x="1132673" y="171036"/>
                  <a:pt x="1132673" y="137395"/>
                </a:cubicBezTo>
                <a:moveTo>
                  <a:pt x="1158299" y="126239"/>
                </a:moveTo>
                <a:lnTo>
                  <a:pt x="1216698" y="126239"/>
                </a:lnTo>
                <a:cubicBezTo>
                  <a:pt x="1215792" y="108186"/>
                  <a:pt x="1205138" y="96606"/>
                  <a:pt x="1188606" y="96606"/>
                </a:cubicBezTo>
                <a:cubicBezTo>
                  <a:pt x="1170341" y="96606"/>
                  <a:pt x="1160977" y="108860"/>
                  <a:pt x="1158299" y="126239"/>
                </a:cubicBezTo>
                <a:moveTo>
                  <a:pt x="1259683" y="79882"/>
                </a:moveTo>
                <a:lnTo>
                  <a:pt x="1284211" y="79882"/>
                </a:lnTo>
                <a:lnTo>
                  <a:pt x="1284211" y="95720"/>
                </a:lnTo>
                <a:lnTo>
                  <a:pt x="1284885" y="95720"/>
                </a:lnTo>
                <a:cubicBezTo>
                  <a:pt x="1291887" y="83971"/>
                  <a:pt x="1304638" y="76864"/>
                  <a:pt x="1318314" y="77089"/>
                </a:cubicBezTo>
                <a:cubicBezTo>
                  <a:pt x="1331826" y="76794"/>
                  <a:pt x="1344132" y="84830"/>
                  <a:pt x="1349295" y="97319"/>
                </a:cubicBezTo>
                <a:lnTo>
                  <a:pt x="1349739" y="97319"/>
                </a:lnTo>
                <a:cubicBezTo>
                  <a:pt x="1356825" y="84828"/>
                  <a:pt x="1370058" y="77087"/>
                  <a:pt x="1384420" y="77031"/>
                </a:cubicBezTo>
                <a:cubicBezTo>
                  <a:pt x="1406943" y="77031"/>
                  <a:pt x="1421027" y="91751"/>
                  <a:pt x="1421027" y="116259"/>
                </a:cubicBezTo>
                <a:lnTo>
                  <a:pt x="1421027" y="194619"/>
                </a:lnTo>
                <a:lnTo>
                  <a:pt x="1395652" y="194619"/>
                </a:lnTo>
                <a:lnTo>
                  <a:pt x="1395652" y="119477"/>
                </a:lnTo>
                <a:cubicBezTo>
                  <a:pt x="1395652" y="105893"/>
                  <a:pt x="1387849" y="98533"/>
                  <a:pt x="1376713" y="98533"/>
                </a:cubicBezTo>
                <a:cubicBezTo>
                  <a:pt x="1363110" y="98533"/>
                  <a:pt x="1352860" y="109689"/>
                  <a:pt x="1352860" y="125950"/>
                </a:cubicBezTo>
                <a:lnTo>
                  <a:pt x="1352860" y="194619"/>
                </a:lnTo>
                <a:lnTo>
                  <a:pt x="1327678" y="194619"/>
                </a:lnTo>
                <a:lnTo>
                  <a:pt x="1327678" y="119477"/>
                </a:lnTo>
                <a:cubicBezTo>
                  <a:pt x="1327678" y="105893"/>
                  <a:pt x="1320549" y="98533"/>
                  <a:pt x="1309181" y="98533"/>
                </a:cubicBezTo>
                <a:cubicBezTo>
                  <a:pt x="1296041" y="98533"/>
                  <a:pt x="1284904" y="109689"/>
                  <a:pt x="1284904" y="125950"/>
                </a:cubicBezTo>
                <a:lnTo>
                  <a:pt x="1284904" y="194619"/>
                </a:lnTo>
                <a:lnTo>
                  <a:pt x="1259703" y="194619"/>
                </a:lnTo>
                <a:close/>
                <a:moveTo>
                  <a:pt x="1510852" y="179995"/>
                </a:moveTo>
                <a:cubicBezTo>
                  <a:pt x="1504378" y="188897"/>
                  <a:pt x="1494359" y="197162"/>
                  <a:pt x="1475188" y="197162"/>
                </a:cubicBezTo>
                <a:cubicBezTo>
                  <a:pt x="1452915" y="197162"/>
                  <a:pt x="1436653" y="185795"/>
                  <a:pt x="1436653" y="163502"/>
                </a:cubicBezTo>
                <a:cubicBezTo>
                  <a:pt x="1436653" y="137434"/>
                  <a:pt x="1457385" y="130286"/>
                  <a:pt x="1483685" y="126509"/>
                </a:cubicBezTo>
                <a:cubicBezTo>
                  <a:pt x="1501025" y="123831"/>
                  <a:pt x="1510659" y="122270"/>
                  <a:pt x="1510659" y="112020"/>
                </a:cubicBezTo>
                <a:cubicBezTo>
                  <a:pt x="1510659" y="102213"/>
                  <a:pt x="1502952" y="96202"/>
                  <a:pt x="1489041" y="96202"/>
                </a:cubicBezTo>
                <a:cubicBezTo>
                  <a:pt x="1473627" y="96202"/>
                  <a:pt x="1466325" y="102213"/>
                  <a:pt x="1465650" y="115585"/>
                </a:cubicBezTo>
                <a:lnTo>
                  <a:pt x="1441759" y="115585"/>
                </a:lnTo>
                <a:cubicBezTo>
                  <a:pt x="1442433" y="94641"/>
                  <a:pt x="1456922" y="77474"/>
                  <a:pt x="1488790" y="77474"/>
                </a:cubicBezTo>
                <a:cubicBezTo>
                  <a:pt x="1519753" y="77474"/>
                  <a:pt x="1535591" y="90171"/>
                  <a:pt x="1535591" y="117145"/>
                </a:cubicBezTo>
                <a:lnTo>
                  <a:pt x="1535591" y="167240"/>
                </a:lnTo>
                <a:cubicBezTo>
                  <a:pt x="1535591" y="175487"/>
                  <a:pt x="1537363" y="179051"/>
                  <a:pt x="1545398" y="177490"/>
                </a:cubicBezTo>
                <a:lnTo>
                  <a:pt x="1546072" y="177490"/>
                </a:lnTo>
                <a:lnTo>
                  <a:pt x="1546072" y="193752"/>
                </a:lnTo>
                <a:cubicBezTo>
                  <a:pt x="1542496" y="195555"/>
                  <a:pt x="1538512" y="196399"/>
                  <a:pt x="1534512" y="196199"/>
                </a:cubicBezTo>
                <a:cubicBezTo>
                  <a:pt x="1520466" y="196199"/>
                  <a:pt x="1513125" y="191517"/>
                  <a:pt x="1511121" y="179937"/>
                </a:cubicBezTo>
                <a:close/>
                <a:moveTo>
                  <a:pt x="1511083" y="153483"/>
                </a:moveTo>
                <a:lnTo>
                  <a:pt x="1511083" y="135430"/>
                </a:lnTo>
                <a:cubicBezTo>
                  <a:pt x="1505495" y="138763"/>
                  <a:pt x="1496806" y="140998"/>
                  <a:pt x="1488559" y="142771"/>
                </a:cubicBezTo>
                <a:cubicBezTo>
                  <a:pt x="1472066" y="146335"/>
                  <a:pt x="1462279" y="149457"/>
                  <a:pt x="1462279" y="162828"/>
                </a:cubicBezTo>
                <a:cubicBezTo>
                  <a:pt x="1462279" y="175313"/>
                  <a:pt x="1470737" y="179109"/>
                  <a:pt x="1481430" y="179109"/>
                </a:cubicBezTo>
                <a:cubicBezTo>
                  <a:pt x="1501276" y="179109"/>
                  <a:pt x="1511083" y="165506"/>
                  <a:pt x="1511083" y="153483"/>
                </a:cubicBezTo>
                <a:moveTo>
                  <a:pt x="1584607" y="98861"/>
                </a:moveTo>
                <a:lnTo>
                  <a:pt x="1585281" y="98861"/>
                </a:lnTo>
                <a:cubicBezTo>
                  <a:pt x="1592179" y="86607"/>
                  <a:pt x="1601543" y="79015"/>
                  <a:pt x="1615800" y="79015"/>
                </a:cubicBezTo>
                <a:cubicBezTo>
                  <a:pt x="1618211" y="78879"/>
                  <a:pt x="1620625" y="79179"/>
                  <a:pt x="1622929" y="79902"/>
                </a:cubicBezTo>
                <a:lnTo>
                  <a:pt x="1622929" y="102868"/>
                </a:lnTo>
                <a:lnTo>
                  <a:pt x="1622332" y="102868"/>
                </a:lnTo>
                <a:cubicBezTo>
                  <a:pt x="1620359" y="102391"/>
                  <a:pt x="1618332" y="102171"/>
                  <a:pt x="1616301" y="102213"/>
                </a:cubicBezTo>
                <a:cubicBezTo>
                  <a:pt x="1598961" y="102213"/>
                  <a:pt x="1585339" y="114024"/>
                  <a:pt x="1585339" y="135873"/>
                </a:cubicBezTo>
                <a:lnTo>
                  <a:pt x="1585339" y="194619"/>
                </a:lnTo>
                <a:lnTo>
                  <a:pt x="1560079" y="194619"/>
                </a:lnTo>
                <a:lnTo>
                  <a:pt x="1560079" y="79921"/>
                </a:lnTo>
                <a:lnTo>
                  <a:pt x="1584607" y="79921"/>
                </a:lnTo>
                <a:close/>
                <a:moveTo>
                  <a:pt x="1675510" y="138089"/>
                </a:moveTo>
                <a:lnTo>
                  <a:pt x="1660366" y="154158"/>
                </a:lnTo>
                <a:lnTo>
                  <a:pt x="1660366" y="194619"/>
                </a:lnTo>
                <a:lnTo>
                  <a:pt x="1635164" y="194619"/>
                </a:lnTo>
                <a:lnTo>
                  <a:pt x="1635164" y="35356"/>
                </a:lnTo>
                <a:lnTo>
                  <a:pt x="1660366" y="35356"/>
                </a:lnTo>
                <a:lnTo>
                  <a:pt x="1660366" y="126066"/>
                </a:lnTo>
                <a:lnTo>
                  <a:pt x="1703601" y="79824"/>
                </a:lnTo>
                <a:lnTo>
                  <a:pt x="1733466" y="79824"/>
                </a:lnTo>
                <a:lnTo>
                  <a:pt x="1692889" y="122482"/>
                </a:lnTo>
                <a:lnTo>
                  <a:pt x="1736568" y="194619"/>
                </a:lnTo>
                <a:lnTo>
                  <a:pt x="1708283" y="194619"/>
                </a:lnTo>
                <a:close/>
                <a:moveTo>
                  <a:pt x="1756702" y="81963"/>
                </a:moveTo>
                <a:cubicBezTo>
                  <a:pt x="1747533" y="82174"/>
                  <a:pt x="1739926" y="74912"/>
                  <a:pt x="1739716" y="65742"/>
                </a:cubicBezTo>
                <a:cubicBezTo>
                  <a:pt x="1739706" y="65369"/>
                  <a:pt x="1739710" y="64995"/>
                  <a:pt x="1739727" y="64623"/>
                </a:cubicBezTo>
                <a:cubicBezTo>
                  <a:pt x="1739727" y="55269"/>
                  <a:pt x="1747309" y="47687"/>
                  <a:pt x="1756663" y="47687"/>
                </a:cubicBezTo>
                <a:cubicBezTo>
                  <a:pt x="1766018" y="47687"/>
                  <a:pt x="1773599" y="55269"/>
                  <a:pt x="1773599" y="64623"/>
                </a:cubicBezTo>
                <a:cubicBezTo>
                  <a:pt x="1773940" y="73853"/>
                  <a:pt x="1766734" y="81612"/>
                  <a:pt x="1757503" y="81953"/>
                </a:cubicBezTo>
                <a:cubicBezTo>
                  <a:pt x="1757238" y="81963"/>
                  <a:pt x="1756970" y="81966"/>
                  <a:pt x="1756702" y="81963"/>
                </a:cubicBezTo>
                <a:moveTo>
                  <a:pt x="1756702" y="50461"/>
                </a:moveTo>
                <a:cubicBezTo>
                  <a:pt x="1749226" y="50461"/>
                  <a:pt x="1743427" y="56241"/>
                  <a:pt x="1743427" y="64719"/>
                </a:cubicBezTo>
                <a:cubicBezTo>
                  <a:pt x="1743427" y="72561"/>
                  <a:pt x="1748494" y="78957"/>
                  <a:pt x="1756702" y="78957"/>
                </a:cubicBezTo>
                <a:cubicBezTo>
                  <a:pt x="1764081" y="78957"/>
                  <a:pt x="1769900" y="73177"/>
                  <a:pt x="1769900" y="64719"/>
                </a:cubicBezTo>
                <a:cubicBezTo>
                  <a:pt x="1769900" y="56261"/>
                  <a:pt x="1764120" y="50461"/>
                  <a:pt x="1756702" y="50461"/>
                </a:cubicBezTo>
                <a:moveTo>
                  <a:pt x="1753349" y="74584"/>
                </a:moveTo>
                <a:lnTo>
                  <a:pt x="1750209" y="74584"/>
                </a:lnTo>
                <a:lnTo>
                  <a:pt x="1750209" y="55490"/>
                </a:lnTo>
                <a:lnTo>
                  <a:pt x="1757453" y="55490"/>
                </a:lnTo>
                <a:cubicBezTo>
                  <a:pt x="1762078" y="55490"/>
                  <a:pt x="1764428" y="57108"/>
                  <a:pt x="1764428" y="60981"/>
                </a:cubicBezTo>
                <a:cubicBezTo>
                  <a:pt x="1764609" y="63667"/>
                  <a:pt x="1762580" y="65992"/>
                  <a:pt x="1759894" y="66174"/>
                </a:cubicBezTo>
                <a:cubicBezTo>
                  <a:pt x="1759742" y="66184"/>
                  <a:pt x="1759590" y="66187"/>
                  <a:pt x="1759438" y="66183"/>
                </a:cubicBezTo>
                <a:lnTo>
                  <a:pt x="1764794" y="74584"/>
                </a:lnTo>
                <a:lnTo>
                  <a:pt x="1761230" y="74584"/>
                </a:lnTo>
                <a:lnTo>
                  <a:pt x="1756317" y="66414"/>
                </a:lnTo>
                <a:lnTo>
                  <a:pt x="1753349" y="66414"/>
                </a:lnTo>
                <a:close/>
                <a:moveTo>
                  <a:pt x="1756856" y="63736"/>
                </a:moveTo>
                <a:cubicBezTo>
                  <a:pt x="1759207" y="63736"/>
                  <a:pt x="1761288" y="63524"/>
                  <a:pt x="1761288" y="60750"/>
                </a:cubicBezTo>
                <a:cubicBezTo>
                  <a:pt x="1761288" y="58438"/>
                  <a:pt x="1759033" y="58168"/>
                  <a:pt x="1757145" y="58168"/>
                </a:cubicBezTo>
                <a:lnTo>
                  <a:pt x="1753292" y="58168"/>
                </a:lnTo>
                <a:lnTo>
                  <a:pt x="1753292" y="63736"/>
                </a:lnTo>
                <a:close/>
              </a:path>
            </a:pathLst>
          </a:custGeom>
          <a:solidFill>
            <a:srgbClr val="CC0000"/>
          </a:solidFill>
          <a:ln w="192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dirty="0">
              <a:ln>
                <a:noFill/>
              </a:ln>
              <a:solidFill>
                <a:srgbClr val="3F3F3F"/>
              </a:solidFill>
              <a:effectLst/>
              <a:uLnTx/>
              <a:uFillTx/>
              <a:latin typeface="CVS Health Sans"/>
              <a:ea typeface="+mn-ea"/>
              <a:cs typeface="+mn-cs"/>
            </a:endParaRPr>
          </a:p>
        </p:txBody>
      </p:sp>
      <p:sp>
        <p:nvSpPr>
          <p:cNvPr id="4" name="Title 1">
            <a:extLst>
              <a:ext uri="{FF2B5EF4-FFF2-40B4-BE49-F238E27FC236}">
                <a16:creationId xmlns:a16="http://schemas.microsoft.com/office/drawing/2014/main" id="{54B09DFE-84A9-4941-96E5-5279EBA20FEC}"/>
              </a:ext>
            </a:extLst>
          </p:cNvPr>
          <p:cNvSpPr>
            <a:spLocks noGrp="1"/>
          </p:cNvSpPr>
          <p:nvPr>
            <p:ph type="ctrTitle" hasCustomPrompt="1"/>
          </p:nvPr>
        </p:nvSpPr>
        <p:spPr>
          <a:xfrm>
            <a:off x="859760" y="1947672"/>
            <a:ext cx="3814041" cy="1152144"/>
          </a:xfrm>
          <a:noFill/>
        </p:spPr>
        <p:txBody>
          <a:bodyPr lIns="0" tIns="0" rIns="0" bIns="0" anchor="t">
            <a:noAutofit/>
          </a:bodyPr>
          <a:lstStyle>
            <a:lvl1pPr algn="l">
              <a:defRPr sz="3800">
                <a:solidFill>
                  <a:schemeClr val="tx2"/>
                </a:solidFill>
              </a:defRPr>
            </a:lvl1pPr>
          </a:lstStyle>
          <a:p>
            <a:r>
              <a:rPr lang="en-US" dirty="0"/>
              <a:t>Presentation title here</a:t>
            </a:r>
          </a:p>
        </p:txBody>
      </p:sp>
      <p:sp>
        <p:nvSpPr>
          <p:cNvPr id="6" name="Text Placeholder 4">
            <a:extLst>
              <a:ext uri="{FF2B5EF4-FFF2-40B4-BE49-F238E27FC236}">
                <a16:creationId xmlns:a16="http://schemas.microsoft.com/office/drawing/2014/main" id="{2C3116CB-B94C-4385-9DC5-8379D7EE2EA2}"/>
              </a:ext>
            </a:extLst>
          </p:cNvPr>
          <p:cNvSpPr>
            <a:spLocks noGrp="1"/>
          </p:cNvSpPr>
          <p:nvPr>
            <p:ph type="body" sz="quarter" idx="16" hasCustomPrompt="1"/>
          </p:nvPr>
        </p:nvSpPr>
        <p:spPr>
          <a:xfrm>
            <a:off x="859760" y="4562856"/>
            <a:ext cx="2533548"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spcBef>
                <a:spcPts val="0"/>
              </a:spcBef>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
        <p:nvSpPr>
          <p:cNvPr id="13" name="Freeform: Shape 12">
            <a:extLst>
              <a:ext uri="{FF2B5EF4-FFF2-40B4-BE49-F238E27FC236}">
                <a16:creationId xmlns:a16="http://schemas.microsoft.com/office/drawing/2014/main" id="{9573B57C-34F8-F734-8FD5-B6DEF0D3DCD5}"/>
              </a:ext>
            </a:extLst>
          </p:cNvPr>
          <p:cNvSpPr/>
          <p:nvPr userDrawn="1"/>
        </p:nvSpPr>
        <p:spPr bwMode="gray">
          <a:xfrm>
            <a:off x="2853524" y="0"/>
            <a:ext cx="6662212" cy="6858000"/>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chemeClr val="accent2">
              <a:alpha val="8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5" name="Freeform: Shape 4">
            <a:extLst>
              <a:ext uri="{FF2B5EF4-FFF2-40B4-BE49-F238E27FC236}">
                <a16:creationId xmlns:a16="http://schemas.microsoft.com/office/drawing/2014/main" id="{AFB5B710-D795-9AF7-4C96-C2D846F4CC01}"/>
              </a:ext>
            </a:extLst>
          </p:cNvPr>
          <p:cNvSpPr/>
          <p:nvPr userDrawn="1"/>
        </p:nvSpPr>
        <p:spPr bwMode="gray">
          <a:xfrm>
            <a:off x="9515487" y="0"/>
            <a:ext cx="2676339" cy="6858000"/>
          </a:xfrm>
          <a:custGeom>
            <a:avLst/>
            <a:gdLst>
              <a:gd name="connsiteX0" fmla="*/ 1600831 w 2675642"/>
              <a:gd name="connsiteY0" fmla="*/ 6736202 h 6858000"/>
              <a:gd name="connsiteX1" fmla="*/ 1628591 w 2675642"/>
              <a:gd name="connsiteY1" fmla="*/ 6747747 h 6858000"/>
              <a:gd name="connsiteX2" fmla="*/ 1693190 w 2675642"/>
              <a:gd name="connsiteY2" fmla="*/ 6812479 h 6858000"/>
              <a:gd name="connsiteX3" fmla="*/ 1704735 w 2675642"/>
              <a:gd name="connsiteY3" fmla="*/ 6824154 h 6858000"/>
              <a:gd name="connsiteX4" fmla="*/ 1716280 w 2675642"/>
              <a:gd name="connsiteY4" fmla="*/ 6812479 h 6858000"/>
              <a:gd name="connsiteX5" fmla="*/ 1780749 w 2675642"/>
              <a:gd name="connsiteY5" fmla="*/ 6747747 h 6858000"/>
              <a:gd name="connsiteX6" fmla="*/ 1808508 w 2675642"/>
              <a:gd name="connsiteY6" fmla="*/ 6736202 h 6858000"/>
              <a:gd name="connsiteX7" fmla="*/ 1836138 w 2675642"/>
              <a:gd name="connsiteY7" fmla="*/ 6747747 h 6858000"/>
              <a:gd name="connsiteX8" fmla="*/ 1914618 w 2675642"/>
              <a:gd name="connsiteY8" fmla="*/ 6826359 h 6858000"/>
              <a:gd name="connsiteX9" fmla="*/ 1926163 w 2675642"/>
              <a:gd name="connsiteY9" fmla="*/ 6854120 h 6858000"/>
              <a:gd name="connsiteX10" fmla="*/ 1924568 w 2675642"/>
              <a:gd name="connsiteY10" fmla="*/ 6858000 h 6858000"/>
              <a:gd name="connsiteX11" fmla="*/ 1484841 w 2675642"/>
              <a:gd name="connsiteY11" fmla="*/ 6858000 h 6858000"/>
              <a:gd name="connsiteX12" fmla="*/ 1483242 w 2675642"/>
              <a:gd name="connsiteY12" fmla="*/ 6854136 h 6858000"/>
              <a:gd name="connsiteX13" fmla="*/ 1494722 w 2675642"/>
              <a:gd name="connsiteY13" fmla="*/ 6826489 h 6858000"/>
              <a:gd name="connsiteX14" fmla="*/ 1573201 w 2675642"/>
              <a:gd name="connsiteY14" fmla="*/ 6747747 h 6858000"/>
              <a:gd name="connsiteX15" fmla="*/ 1600831 w 2675642"/>
              <a:gd name="connsiteY15" fmla="*/ 6736202 h 6858000"/>
              <a:gd name="connsiteX16" fmla="*/ 2397817 w 2675642"/>
              <a:gd name="connsiteY16" fmla="*/ 6509058 h 6858000"/>
              <a:gd name="connsiteX17" fmla="*/ 2675642 w 2675642"/>
              <a:gd name="connsiteY17" fmla="*/ 6669846 h 6858000"/>
              <a:gd name="connsiteX18" fmla="*/ 2675642 w 2675642"/>
              <a:gd name="connsiteY18" fmla="*/ 6858000 h 6858000"/>
              <a:gd name="connsiteX19" fmla="*/ 2397817 w 2675642"/>
              <a:gd name="connsiteY19" fmla="*/ 6858000 h 6858000"/>
              <a:gd name="connsiteX20" fmla="*/ 2381472 w 2675642"/>
              <a:gd name="connsiteY20" fmla="*/ 6509058 h 6858000"/>
              <a:gd name="connsiteX21" fmla="*/ 2381472 w 2675642"/>
              <a:gd name="connsiteY21" fmla="*/ 6858000 h 6858000"/>
              <a:gd name="connsiteX22" fmla="*/ 2055881 w 2675642"/>
              <a:gd name="connsiteY22" fmla="*/ 6858000 h 6858000"/>
              <a:gd name="connsiteX23" fmla="*/ 2055881 w 2675642"/>
              <a:gd name="connsiteY23" fmla="*/ 6697415 h 6858000"/>
              <a:gd name="connsiteX24" fmla="*/ 343997 w 2675642"/>
              <a:gd name="connsiteY24" fmla="*/ 6509058 h 6858000"/>
              <a:gd name="connsiteX25" fmla="*/ 669459 w 2675642"/>
              <a:gd name="connsiteY25" fmla="*/ 6697415 h 6858000"/>
              <a:gd name="connsiteX26" fmla="*/ 669459 w 2675642"/>
              <a:gd name="connsiteY26" fmla="*/ 6858000 h 6858000"/>
              <a:gd name="connsiteX27" fmla="*/ 343997 w 2675642"/>
              <a:gd name="connsiteY27" fmla="*/ 6858000 h 6858000"/>
              <a:gd name="connsiteX28" fmla="*/ 327652 w 2675642"/>
              <a:gd name="connsiteY28" fmla="*/ 6509058 h 6858000"/>
              <a:gd name="connsiteX29" fmla="*/ 327652 w 2675642"/>
              <a:gd name="connsiteY29" fmla="*/ 6858000 h 6858000"/>
              <a:gd name="connsiteX30" fmla="*/ 2061 w 2675642"/>
              <a:gd name="connsiteY30" fmla="*/ 6858000 h 6858000"/>
              <a:gd name="connsiteX31" fmla="*/ 2061 w 2675642"/>
              <a:gd name="connsiteY31" fmla="*/ 6697415 h 6858000"/>
              <a:gd name="connsiteX32" fmla="*/ 1019567 w 2675642"/>
              <a:gd name="connsiteY32" fmla="*/ 6504258 h 6858000"/>
              <a:gd name="connsiteX33" fmla="*/ 1353330 w 2675642"/>
              <a:gd name="connsiteY33" fmla="*/ 6697415 h 6858000"/>
              <a:gd name="connsiteX34" fmla="*/ 1353330 w 2675642"/>
              <a:gd name="connsiteY34" fmla="*/ 6858000 h 6858000"/>
              <a:gd name="connsiteX35" fmla="*/ 685932 w 2675642"/>
              <a:gd name="connsiteY35" fmla="*/ 6858000 h 6858000"/>
              <a:gd name="connsiteX36" fmla="*/ 685932 w 2675642"/>
              <a:gd name="connsiteY36" fmla="*/ 6697415 h 6858000"/>
              <a:gd name="connsiteX37" fmla="*/ 1704605 w 2675642"/>
              <a:gd name="connsiteY37" fmla="*/ 6503998 h 6858000"/>
              <a:gd name="connsiteX38" fmla="*/ 2038368 w 2675642"/>
              <a:gd name="connsiteY38" fmla="*/ 6697155 h 6858000"/>
              <a:gd name="connsiteX39" fmla="*/ 2038368 w 2675642"/>
              <a:gd name="connsiteY39" fmla="*/ 6858000 h 6858000"/>
              <a:gd name="connsiteX40" fmla="*/ 1940935 w 2675642"/>
              <a:gd name="connsiteY40" fmla="*/ 6858000 h 6858000"/>
              <a:gd name="connsiteX41" fmla="*/ 1942539 w 2675642"/>
              <a:gd name="connsiteY41" fmla="*/ 6854120 h 6858000"/>
              <a:gd name="connsiteX42" fmla="*/ 1926292 w 2675642"/>
              <a:gd name="connsiteY42" fmla="*/ 6814814 h 6858000"/>
              <a:gd name="connsiteX43" fmla="*/ 1847813 w 2675642"/>
              <a:gd name="connsiteY43" fmla="*/ 6736202 h 6858000"/>
              <a:gd name="connsiteX44" fmla="*/ 1808638 w 2675642"/>
              <a:gd name="connsiteY44" fmla="*/ 6719857 h 6858000"/>
              <a:gd name="connsiteX45" fmla="*/ 1808508 w 2675642"/>
              <a:gd name="connsiteY45" fmla="*/ 6719727 h 6858000"/>
              <a:gd name="connsiteX46" fmla="*/ 1769204 w 2675642"/>
              <a:gd name="connsiteY46" fmla="*/ 6736202 h 6858000"/>
              <a:gd name="connsiteX47" fmla="*/ 1704735 w 2675642"/>
              <a:gd name="connsiteY47" fmla="*/ 6800804 h 6858000"/>
              <a:gd name="connsiteX48" fmla="*/ 1640136 w 2675642"/>
              <a:gd name="connsiteY48" fmla="*/ 6736072 h 6858000"/>
              <a:gd name="connsiteX49" fmla="*/ 1600831 w 2675642"/>
              <a:gd name="connsiteY49" fmla="*/ 6719727 h 6858000"/>
              <a:gd name="connsiteX50" fmla="*/ 1561656 w 2675642"/>
              <a:gd name="connsiteY50" fmla="*/ 6736072 h 6858000"/>
              <a:gd name="connsiteX51" fmla="*/ 1483177 w 2675642"/>
              <a:gd name="connsiteY51" fmla="*/ 6814814 h 6858000"/>
              <a:gd name="connsiteX52" fmla="*/ 1466930 w 2675642"/>
              <a:gd name="connsiteY52" fmla="*/ 6854120 h 6858000"/>
              <a:gd name="connsiteX53" fmla="*/ 1468534 w 2675642"/>
              <a:gd name="connsiteY53" fmla="*/ 6858000 h 6858000"/>
              <a:gd name="connsiteX54" fmla="*/ 1370842 w 2675642"/>
              <a:gd name="connsiteY54" fmla="*/ 6858000 h 6858000"/>
              <a:gd name="connsiteX55" fmla="*/ 1370842 w 2675642"/>
              <a:gd name="connsiteY55" fmla="*/ 6697155 h 6858000"/>
              <a:gd name="connsiteX56" fmla="*/ 1362799 w 2675642"/>
              <a:gd name="connsiteY56" fmla="*/ 6306171 h 6858000"/>
              <a:gd name="connsiteX57" fmla="*/ 1688260 w 2675642"/>
              <a:gd name="connsiteY57" fmla="*/ 6494528 h 6858000"/>
              <a:gd name="connsiteX58" fmla="*/ 1362670 w 2675642"/>
              <a:gd name="connsiteY58" fmla="*/ 6682885 h 6858000"/>
              <a:gd name="connsiteX59" fmla="*/ 1037208 w 2675642"/>
              <a:gd name="connsiteY59" fmla="*/ 6494528 h 6858000"/>
              <a:gd name="connsiteX60" fmla="*/ 2627676 w 2675642"/>
              <a:gd name="connsiteY60" fmla="*/ 6142204 h 6858000"/>
              <a:gd name="connsiteX61" fmla="*/ 2655436 w 2675642"/>
              <a:gd name="connsiteY61" fmla="*/ 6153749 h 6858000"/>
              <a:gd name="connsiteX62" fmla="*/ 2675642 w 2675642"/>
              <a:gd name="connsiteY62" fmla="*/ 6173997 h 6858000"/>
              <a:gd name="connsiteX63" fmla="*/ 2675642 w 2675642"/>
              <a:gd name="connsiteY63" fmla="*/ 6442248 h 6858000"/>
              <a:gd name="connsiteX64" fmla="*/ 2521567 w 2675642"/>
              <a:gd name="connsiteY64" fmla="*/ 6287882 h 6858000"/>
              <a:gd name="connsiteX65" fmla="*/ 2521567 w 2675642"/>
              <a:gd name="connsiteY65" fmla="*/ 6232490 h 6858000"/>
              <a:gd name="connsiteX66" fmla="*/ 2600047 w 2675642"/>
              <a:gd name="connsiteY66" fmla="*/ 6153749 h 6858000"/>
              <a:gd name="connsiteX67" fmla="*/ 2627676 w 2675642"/>
              <a:gd name="connsiteY67" fmla="*/ 6142204 h 6858000"/>
              <a:gd name="connsiteX68" fmla="*/ 573858 w 2675642"/>
              <a:gd name="connsiteY68" fmla="*/ 6142204 h 6858000"/>
              <a:gd name="connsiteX69" fmla="*/ 601617 w 2675642"/>
              <a:gd name="connsiteY69" fmla="*/ 6153749 h 6858000"/>
              <a:gd name="connsiteX70" fmla="*/ 666217 w 2675642"/>
              <a:gd name="connsiteY70" fmla="*/ 6218481 h 6858000"/>
              <a:gd name="connsiteX71" fmla="*/ 677761 w 2675642"/>
              <a:gd name="connsiteY71" fmla="*/ 6230155 h 6858000"/>
              <a:gd name="connsiteX72" fmla="*/ 689306 w 2675642"/>
              <a:gd name="connsiteY72" fmla="*/ 6218481 h 6858000"/>
              <a:gd name="connsiteX73" fmla="*/ 753777 w 2675642"/>
              <a:gd name="connsiteY73" fmla="*/ 6153749 h 6858000"/>
              <a:gd name="connsiteX74" fmla="*/ 781534 w 2675642"/>
              <a:gd name="connsiteY74" fmla="*/ 6142204 h 6858000"/>
              <a:gd name="connsiteX75" fmla="*/ 809164 w 2675642"/>
              <a:gd name="connsiteY75" fmla="*/ 6153749 h 6858000"/>
              <a:gd name="connsiteX76" fmla="*/ 887644 w 2675642"/>
              <a:gd name="connsiteY76" fmla="*/ 6232360 h 6858000"/>
              <a:gd name="connsiteX77" fmla="*/ 899189 w 2675642"/>
              <a:gd name="connsiteY77" fmla="*/ 6260121 h 6858000"/>
              <a:gd name="connsiteX78" fmla="*/ 887774 w 2675642"/>
              <a:gd name="connsiteY78" fmla="*/ 6287882 h 6858000"/>
              <a:gd name="connsiteX79" fmla="*/ 677761 w 2675642"/>
              <a:gd name="connsiteY79" fmla="*/ 6498291 h 6858000"/>
              <a:gd name="connsiteX80" fmla="*/ 467748 w 2675642"/>
              <a:gd name="connsiteY80" fmla="*/ 6287882 h 6858000"/>
              <a:gd name="connsiteX81" fmla="*/ 467748 w 2675642"/>
              <a:gd name="connsiteY81" fmla="*/ 6232490 h 6858000"/>
              <a:gd name="connsiteX82" fmla="*/ 546228 w 2675642"/>
              <a:gd name="connsiteY82" fmla="*/ 6153749 h 6858000"/>
              <a:gd name="connsiteX83" fmla="*/ 573858 w 2675642"/>
              <a:gd name="connsiteY83" fmla="*/ 6142204 h 6858000"/>
              <a:gd name="connsiteX84" fmla="*/ 573858 w 2675642"/>
              <a:gd name="connsiteY84" fmla="*/ 6125729 h 6858000"/>
              <a:gd name="connsiteX85" fmla="*/ 534683 w 2675642"/>
              <a:gd name="connsiteY85" fmla="*/ 6142074 h 6858000"/>
              <a:gd name="connsiteX86" fmla="*/ 456203 w 2675642"/>
              <a:gd name="connsiteY86" fmla="*/ 6220816 h 6858000"/>
              <a:gd name="connsiteX87" fmla="*/ 456203 w 2675642"/>
              <a:gd name="connsiteY87" fmla="*/ 6299428 h 6858000"/>
              <a:gd name="connsiteX88" fmla="*/ 677761 w 2675642"/>
              <a:gd name="connsiteY88" fmla="*/ 6521512 h 6858000"/>
              <a:gd name="connsiteX89" fmla="*/ 899319 w 2675642"/>
              <a:gd name="connsiteY89" fmla="*/ 6299428 h 6858000"/>
              <a:gd name="connsiteX90" fmla="*/ 899319 w 2675642"/>
              <a:gd name="connsiteY90" fmla="*/ 6220816 h 6858000"/>
              <a:gd name="connsiteX91" fmla="*/ 820839 w 2675642"/>
              <a:gd name="connsiteY91" fmla="*/ 6142204 h 6858000"/>
              <a:gd name="connsiteX92" fmla="*/ 781664 w 2675642"/>
              <a:gd name="connsiteY92" fmla="*/ 6125859 h 6858000"/>
              <a:gd name="connsiteX93" fmla="*/ 781534 w 2675642"/>
              <a:gd name="connsiteY93" fmla="*/ 6125729 h 6858000"/>
              <a:gd name="connsiteX94" fmla="*/ 742232 w 2675642"/>
              <a:gd name="connsiteY94" fmla="*/ 6142204 h 6858000"/>
              <a:gd name="connsiteX95" fmla="*/ 677761 w 2675642"/>
              <a:gd name="connsiteY95" fmla="*/ 6206806 h 6858000"/>
              <a:gd name="connsiteX96" fmla="*/ 613162 w 2675642"/>
              <a:gd name="connsiteY96" fmla="*/ 6142074 h 6858000"/>
              <a:gd name="connsiteX97" fmla="*/ 573858 w 2675642"/>
              <a:gd name="connsiteY97" fmla="*/ 6125729 h 6858000"/>
              <a:gd name="connsiteX98" fmla="*/ 2675642 w 2675642"/>
              <a:gd name="connsiteY98" fmla="*/ 5942299 h 6858000"/>
              <a:gd name="connsiteX99" fmla="*/ 2675642 w 2675642"/>
              <a:gd name="connsiteY99" fmla="*/ 6150753 h 6858000"/>
              <a:gd name="connsiteX100" fmla="*/ 2666981 w 2675642"/>
              <a:gd name="connsiteY100" fmla="*/ 6142074 h 6858000"/>
              <a:gd name="connsiteX101" fmla="*/ 2627676 w 2675642"/>
              <a:gd name="connsiteY101" fmla="*/ 6125729 h 6858000"/>
              <a:gd name="connsiteX102" fmla="*/ 2588501 w 2675642"/>
              <a:gd name="connsiteY102" fmla="*/ 6142074 h 6858000"/>
              <a:gd name="connsiteX103" fmla="*/ 2510022 w 2675642"/>
              <a:gd name="connsiteY103" fmla="*/ 6220816 h 6858000"/>
              <a:gd name="connsiteX104" fmla="*/ 2510022 w 2675642"/>
              <a:gd name="connsiteY104" fmla="*/ 6299428 h 6858000"/>
              <a:gd name="connsiteX105" fmla="*/ 2675642 w 2675642"/>
              <a:gd name="connsiteY105" fmla="*/ 6465441 h 6858000"/>
              <a:gd name="connsiteX106" fmla="*/ 2675642 w 2675642"/>
              <a:gd name="connsiteY106" fmla="*/ 6650199 h 6858000"/>
              <a:gd name="connsiteX107" fmla="*/ 2397687 w 2675642"/>
              <a:gd name="connsiteY107" fmla="*/ 6489340 h 6858000"/>
              <a:gd name="connsiteX108" fmla="*/ 2397687 w 2675642"/>
              <a:gd name="connsiteY108" fmla="*/ 6103158 h 6858000"/>
              <a:gd name="connsiteX109" fmla="*/ 1370972 w 2675642"/>
              <a:gd name="connsiteY109" fmla="*/ 5915189 h 6858000"/>
              <a:gd name="connsiteX110" fmla="*/ 1696432 w 2675642"/>
              <a:gd name="connsiteY110" fmla="*/ 6103545 h 6858000"/>
              <a:gd name="connsiteX111" fmla="*/ 1696432 w 2675642"/>
              <a:gd name="connsiteY111" fmla="*/ 6480388 h 6858000"/>
              <a:gd name="connsiteX112" fmla="*/ 1370972 w 2675642"/>
              <a:gd name="connsiteY112" fmla="*/ 6292032 h 6858000"/>
              <a:gd name="connsiteX113" fmla="*/ 1354627 w 2675642"/>
              <a:gd name="connsiteY113" fmla="*/ 5915189 h 6858000"/>
              <a:gd name="connsiteX114" fmla="*/ 1354627 w 2675642"/>
              <a:gd name="connsiteY114" fmla="*/ 6292032 h 6858000"/>
              <a:gd name="connsiteX115" fmla="*/ 1029036 w 2675642"/>
              <a:gd name="connsiteY115" fmla="*/ 6480389 h 6858000"/>
              <a:gd name="connsiteX116" fmla="*/ 1029036 w 2675642"/>
              <a:gd name="connsiteY116" fmla="*/ 6103545 h 6858000"/>
              <a:gd name="connsiteX117" fmla="*/ 0 w 2675642"/>
              <a:gd name="connsiteY117" fmla="*/ 5914676 h 6858000"/>
              <a:gd name="connsiteX118" fmla="*/ 326355 w 2675642"/>
              <a:gd name="connsiteY118" fmla="*/ 6103545 h 6858000"/>
              <a:gd name="connsiteX119" fmla="*/ 326355 w 2675642"/>
              <a:gd name="connsiteY119" fmla="*/ 6489859 h 6858000"/>
              <a:gd name="connsiteX120" fmla="*/ 0 w 2675642"/>
              <a:gd name="connsiteY120" fmla="*/ 6678802 h 6858000"/>
              <a:gd name="connsiteX121" fmla="*/ 2046540 w 2675642"/>
              <a:gd name="connsiteY121" fmla="*/ 5910389 h 6858000"/>
              <a:gd name="connsiteX122" fmla="*/ 2380303 w 2675642"/>
              <a:gd name="connsiteY122" fmla="*/ 6103545 h 6858000"/>
              <a:gd name="connsiteX123" fmla="*/ 2380303 w 2675642"/>
              <a:gd name="connsiteY123" fmla="*/ 6489859 h 6858000"/>
              <a:gd name="connsiteX124" fmla="*/ 2046670 w 2675642"/>
              <a:gd name="connsiteY124" fmla="*/ 6683015 h 6858000"/>
              <a:gd name="connsiteX125" fmla="*/ 1712907 w 2675642"/>
              <a:gd name="connsiteY125" fmla="*/ 6489859 h 6858000"/>
              <a:gd name="connsiteX126" fmla="*/ 1712907 w 2675642"/>
              <a:gd name="connsiteY126" fmla="*/ 6103545 h 6858000"/>
              <a:gd name="connsiteX127" fmla="*/ 677631 w 2675642"/>
              <a:gd name="connsiteY127" fmla="*/ 5910001 h 6858000"/>
              <a:gd name="connsiteX128" fmla="*/ 1011395 w 2675642"/>
              <a:gd name="connsiteY128" fmla="*/ 6103158 h 6858000"/>
              <a:gd name="connsiteX129" fmla="*/ 1011395 w 2675642"/>
              <a:gd name="connsiteY129" fmla="*/ 6489340 h 6858000"/>
              <a:gd name="connsiteX130" fmla="*/ 677631 w 2675642"/>
              <a:gd name="connsiteY130" fmla="*/ 6682497 h 6858000"/>
              <a:gd name="connsiteX131" fmla="*/ 343867 w 2675642"/>
              <a:gd name="connsiteY131" fmla="*/ 6489340 h 6858000"/>
              <a:gd name="connsiteX132" fmla="*/ 343867 w 2675642"/>
              <a:gd name="connsiteY132" fmla="*/ 6103158 h 6858000"/>
              <a:gd name="connsiteX133" fmla="*/ 2389645 w 2675642"/>
              <a:gd name="connsiteY133" fmla="*/ 5712174 h 6858000"/>
              <a:gd name="connsiteX134" fmla="*/ 2675642 w 2675642"/>
              <a:gd name="connsiteY134" fmla="*/ 5877692 h 6858000"/>
              <a:gd name="connsiteX135" fmla="*/ 2675642 w 2675642"/>
              <a:gd name="connsiteY135" fmla="*/ 5923360 h 6858000"/>
              <a:gd name="connsiteX136" fmla="*/ 2389515 w 2675642"/>
              <a:gd name="connsiteY136" fmla="*/ 6088886 h 6858000"/>
              <a:gd name="connsiteX137" fmla="*/ 2064053 w 2675642"/>
              <a:gd name="connsiteY137" fmla="*/ 5900531 h 6858000"/>
              <a:gd name="connsiteX138" fmla="*/ 335824 w 2675642"/>
              <a:gd name="connsiteY138" fmla="*/ 5712174 h 6858000"/>
              <a:gd name="connsiteX139" fmla="*/ 661286 w 2675642"/>
              <a:gd name="connsiteY139" fmla="*/ 5900531 h 6858000"/>
              <a:gd name="connsiteX140" fmla="*/ 335694 w 2675642"/>
              <a:gd name="connsiteY140" fmla="*/ 6088886 h 6858000"/>
              <a:gd name="connsiteX141" fmla="*/ 10234 w 2675642"/>
              <a:gd name="connsiteY141" fmla="*/ 5900531 h 6858000"/>
              <a:gd name="connsiteX142" fmla="*/ 1600831 w 2675642"/>
              <a:gd name="connsiteY142" fmla="*/ 5548334 h 6858000"/>
              <a:gd name="connsiteX143" fmla="*/ 1628591 w 2675642"/>
              <a:gd name="connsiteY143" fmla="*/ 5559879 h 6858000"/>
              <a:gd name="connsiteX144" fmla="*/ 1693190 w 2675642"/>
              <a:gd name="connsiteY144" fmla="*/ 5624611 h 6858000"/>
              <a:gd name="connsiteX145" fmla="*/ 1704735 w 2675642"/>
              <a:gd name="connsiteY145" fmla="*/ 5636286 h 6858000"/>
              <a:gd name="connsiteX146" fmla="*/ 1716280 w 2675642"/>
              <a:gd name="connsiteY146" fmla="*/ 5624611 h 6858000"/>
              <a:gd name="connsiteX147" fmla="*/ 1780749 w 2675642"/>
              <a:gd name="connsiteY147" fmla="*/ 5559879 h 6858000"/>
              <a:gd name="connsiteX148" fmla="*/ 1808508 w 2675642"/>
              <a:gd name="connsiteY148" fmla="*/ 5548334 h 6858000"/>
              <a:gd name="connsiteX149" fmla="*/ 1836138 w 2675642"/>
              <a:gd name="connsiteY149" fmla="*/ 5559879 h 6858000"/>
              <a:gd name="connsiteX150" fmla="*/ 1914618 w 2675642"/>
              <a:gd name="connsiteY150" fmla="*/ 5638491 h 6858000"/>
              <a:gd name="connsiteX151" fmla="*/ 1926163 w 2675642"/>
              <a:gd name="connsiteY151" fmla="*/ 5666252 h 6858000"/>
              <a:gd name="connsiteX152" fmla="*/ 1914748 w 2675642"/>
              <a:gd name="connsiteY152" fmla="*/ 5694012 h 6858000"/>
              <a:gd name="connsiteX153" fmla="*/ 1704735 w 2675642"/>
              <a:gd name="connsiteY153" fmla="*/ 5904422 h 6858000"/>
              <a:gd name="connsiteX154" fmla="*/ 1494722 w 2675642"/>
              <a:gd name="connsiteY154" fmla="*/ 5694012 h 6858000"/>
              <a:gd name="connsiteX155" fmla="*/ 1494722 w 2675642"/>
              <a:gd name="connsiteY155" fmla="*/ 5638621 h 6858000"/>
              <a:gd name="connsiteX156" fmla="*/ 1573201 w 2675642"/>
              <a:gd name="connsiteY156" fmla="*/ 5559879 h 6858000"/>
              <a:gd name="connsiteX157" fmla="*/ 1600831 w 2675642"/>
              <a:gd name="connsiteY157" fmla="*/ 5548334 h 6858000"/>
              <a:gd name="connsiteX158" fmla="*/ 1600831 w 2675642"/>
              <a:gd name="connsiteY158" fmla="*/ 5531859 h 6858000"/>
              <a:gd name="connsiteX159" fmla="*/ 1561656 w 2675642"/>
              <a:gd name="connsiteY159" fmla="*/ 5548204 h 6858000"/>
              <a:gd name="connsiteX160" fmla="*/ 1483177 w 2675642"/>
              <a:gd name="connsiteY160" fmla="*/ 5626946 h 6858000"/>
              <a:gd name="connsiteX161" fmla="*/ 1483177 w 2675642"/>
              <a:gd name="connsiteY161" fmla="*/ 5705558 h 6858000"/>
              <a:gd name="connsiteX162" fmla="*/ 1704735 w 2675642"/>
              <a:gd name="connsiteY162" fmla="*/ 5927642 h 6858000"/>
              <a:gd name="connsiteX163" fmla="*/ 1926292 w 2675642"/>
              <a:gd name="connsiteY163" fmla="*/ 5705558 h 6858000"/>
              <a:gd name="connsiteX164" fmla="*/ 1926292 w 2675642"/>
              <a:gd name="connsiteY164" fmla="*/ 5626946 h 6858000"/>
              <a:gd name="connsiteX165" fmla="*/ 1847813 w 2675642"/>
              <a:gd name="connsiteY165" fmla="*/ 5548334 h 6858000"/>
              <a:gd name="connsiteX166" fmla="*/ 1808638 w 2675642"/>
              <a:gd name="connsiteY166" fmla="*/ 5531989 h 6858000"/>
              <a:gd name="connsiteX167" fmla="*/ 1808508 w 2675642"/>
              <a:gd name="connsiteY167" fmla="*/ 5531859 h 6858000"/>
              <a:gd name="connsiteX168" fmla="*/ 1769204 w 2675642"/>
              <a:gd name="connsiteY168" fmla="*/ 5548334 h 6858000"/>
              <a:gd name="connsiteX169" fmla="*/ 1704735 w 2675642"/>
              <a:gd name="connsiteY169" fmla="*/ 5612936 h 6858000"/>
              <a:gd name="connsiteX170" fmla="*/ 1640136 w 2675642"/>
              <a:gd name="connsiteY170" fmla="*/ 5548204 h 6858000"/>
              <a:gd name="connsiteX171" fmla="*/ 1600831 w 2675642"/>
              <a:gd name="connsiteY171" fmla="*/ 5531859 h 6858000"/>
              <a:gd name="connsiteX172" fmla="*/ 2397817 w 2675642"/>
              <a:gd name="connsiteY172" fmla="*/ 5321191 h 6858000"/>
              <a:gd name="connsiteX173" fmla="*/ 2675642 w 2675642"/>
              <a:gd name="connsiteY173" fmla="*/ 5481979 h 6858000"/>
              <a:gd name="connsiteX174" fmla="*/ 2675642 w 2675642"/>
              <a:gd name="connsiteY174" fmla="*/ 5858821 h 6858000"/>
              <a:gd name="connsiteX175" fmla="*/ 2397817 w 2675642"/>
              <a:gd name="connsiteY175" fmla="*/ 5698034 h 6858000"/>
              <a:gd name="connsiteX176" fmla="*/ 2381472 w 2675642"/>
              <a:gd name="connsiteY176" fmla="*/ 5321191 h 6858000"/>
              <a:gd name="connsiteX177" fmla="*/ 2381472 w 2675642"/>
              <a:gd name="connsiteY177" fmla="*/ 5698034 h 6858000"/>
              <a:gd name="connsiteX178" fmla="*/ 2055881 w 2675642"/>
              <a:gd name="connsiteY178" fmla="*/ 5886390 h 6858000"/>
              <a:gd name="connsiteX179" fmla="*/ 2055881 w 2675642"/>
              <a:gd name="connsiteY179" fmla="*/ 5509548 h 6858000"/>
              <a:gd name="connsiteX180" fmla="*/ 343997 w 2675642"/>
              <a:gd name="connsiteY180" fmla="*/ 5321191 h 6858000"/>
              <a:gd name="connsiteX181" fmla="*/ 669459 w 2675642"/>
              <a:gd name="connsiteY181" fmla="*/ 5509548 h 6858000"/>
              <a:gd name="connsiteX182" fmla="*/ 669459 w 2675642"/>
              <a:gd name="connsiteY182" fmla="*/ 5886390 h 6858000"/>
              <a:gd name="connsiteX183" fmla="*/ 343997 w 2675642"/>
              <a:gd name="connsiteY183" fmla="*/ 5698034 h 6858000"/>
              <a:gd name="connsiteX184" fmla="*/ 327652 w 2675642"/>
              <a:gd name="connsiteY184" fmla="*/ 5321191 h 6858000"/>
              <a:gd name="connsiteX185" fmla="*/ 327652 w 2675642"/>
              <a:gd name="connsiteY185" fmla="*/ 5698034 h 6858000"/>
              <a:gd name="connsiteX186" fmla="*/ 2061 w 2675642"/>
              <a:gd name="connsiteY186" fmla="*/ 5886390 h 6858000"/>
              <a:gd name="connsiteX187" fmla="*/ 2061 w 2675642"/>
              <a:gd name="connsiteY187" fmla="*/ 5509548 h 6858000"/>
              <a:gd name="connsiteX188" fmla="*/ 1019567 w 2675642"/>
              <a:gd name="connsiteY188" fmla="*/ 5316391 h 6858000"/>
              <a:gd name="connsiteX189" fmla="*/ 1353330 w 2675642"/>
              <a:gd name="connsiteY189" fmla="*/ 5509548 h 6858000"/>
              <a:gd name="connsiteX190" fmla="*/ 1353330 w 2675642"/>
              <a:gd name="connsiteY190" fmla="*/ 5895861 h 6858000"/>
              <a:gd name="connsiteX191" fmla="*/ 1019697 w 2675642"/>
              <a:gd name="connsiteY191" fmla="*/ 6089016 h 6858000"/>
              <a:gd name="connsiteX192" fmla="*/ 685932 w 2675642"/>
              <a:gd name="connsiteY192" fmla="*/ 5895861 h 6858000"/>
              <a:gd name="connsiteX193" fmla="*/ 685932 w 2675642"/>
              <a:gd name="connsiteY193" fmla="*/ 5509548 h 6858000"/>
              <a:gd name="connsiteX194" fmla="*/ 1704605 w 2675642"/>
              <a:gd name="connsiteY194" fmla="*/ 5316132 h 6858000"/>
              <a:gd name="connsiteX195" fmla="*/ 2038368 w 2675642"/>
              <a:gd name="connsiteY195" fmla="*/ 5509288 h 6858000"/>
              <a:gd name="connsiteX196" fmla="*/ 2038368 w 2675642"/>
              <a:gd name="connsiteY196" fmla="*/ 5895470 h 6858000"/>
              <a:gd name="connsiteX197" fmla="*/ 1704605 w 2675642"/>
              <a:gd name="connsiteY197" fmla="*/ 6088627 h 6858000"/>
              <a:gd name="connsiteX198" fmla="*/ 1370842 w 2675642"/>
              <a:gd name="connsiteY198" fmla="*/ 5895470 h 6858000"/>
              <a:gd name="connsiteX199" fmla="*/ 1370842 w 2675642"/>
              <a:gd name="connsiteY199" fmla="*/ 5509288 h 6858000"/>
              <a:gd name="connsiteX200" fmla="*/ 1362799 w 2675642"/>
              <a:gd name="connsiteY200" fmla="*/ 5118305 h 6858000"/>
              <a:gd name="connsiteX201" fmla="*/ 1688259 w 2675642"/>
              <a:gd name="connsiteY201" fmla="*/ 5306661 h 6858000"/>
              <a:gd name="connsiteX202" fmla="*/ 1362670 w 2675642"/>
              <a:gd name="connsiteY202" fmla="*/ 5495017 h 6858000"/>
              <a:gd name="connsiteX203" fmla="*/ 1037209 w 2675642"/>
              <a:gd name="connsiteY203" fmla="*/ 5306661 h 6858000"/>
              <a:gd name="connsiteX204" fmla="*/ 2627676 w 2675642"/>
              <a:gd name="connsiteY204" fmla="*/ 4954335 h 6858000"/>
              <a:gd name="connsiteX205" fmla="*/ 2655436 w 2675642"/>
              <a:gd name="connsiteY205" fmla="*/ 4965880 h 6858000"/>
              <a:gd name="connsiteX206" fmla="*/ 2675642 w 2675642"/>
              <a:gd name="connsiteY206" fmla="*/ 4986128 h 6858000"/>
              <a:gd name="connsiteX207" fmla="*/ 2675642 w 2675642"/>
              <a:gd name="connsiteY207" fmla="*/ 5254379 h 6858000"/>
              <a:gd name="connsiteX208" fmla="*/ 2521567 w 2675642"/>
              <a:gd name="connsiteY208" fmla="*/ 5100013 h 6858000"/>
              <a:gd name="connsiteX209" fmla="*/ 2521567 w 2675642"/>
              <a:gd name="connsiteY209" fmla="*/ 5044621 h 6858000"/>
              <a:gd name="connsiteX210" fmla="*/ 2600047 w 2675642"/>
              <a:gd name="connsiteY210" fmla="*/ 4965880 h 6858000"/>
              <a:gd name="connsiteX211" fmla="*/ 2627676 w 2675642"/>
              <a:gd name="connsiteY211" fmla="*/ 4954335 h 6858000"/>
              <a:gd name="connsiteX212" fmla="*/ 573858 w 2675642"/>
              <a:gd name="connsiteY212" fmla="*/ 4954335 h 6858000"/>
              <a:gd name="connsiteX213" fmla="*/ 601617 w 2675642"/>
              <a:gd name="connsiteY213" fmla="*/ 4965880 h 6858000"/>
              <a:gd name="connsiteX214" fmla="*/ 666217 w 2675642"/>
              <a:gd name="connsiteY214" fmla="*/ 5030612 h 6858000"/>
              <a:gd name="connsiteX215" fmla="*/ 677761 w 2675642"/>
              <a:gd name="connsiteY215" fmla="*/ 5042286 h 6858000"/>
              <a:gd name="connsiteX216" fmla="*/ 689306 w 2675642"/>
              <a:gd name="connsiteY216" fmla="*/ 5030612 h 6858000"/>
              <a:gd name="connsiteX217" fmla="*/ 753777 w 2675642"/>
              <a:gd name="connsiteY217" fmla="*/ 4965880 h 6858000"/>
              <a:gd name="connsiteX218" fmla="*/ 781534 w 2675642"/>
              <a:gd name="connsiteY218" fmla="*/ 4954335 h 6858000"/>
              <a:gd name="connsiteX219" fmla="*/ 809164 w 2675642"/>
              <a:gd name="connsiteY219" fmla="*/ 4965880 h 6858000"/>
              <a:gd name="connsiteX220" fmla="*/ 887644 w 2675642"/>
              <a:gd name="connsiteY220" fmla="*/ 5044492 h 6858000"/>
              <a:gd name="connsiteX221" fmla="*/ 899189 w 2675642"/>
              <a:gd name="connsiteY221" fmla="*/ 5072252 h 6858000"/>
              <a:gd name="connsiteX222" fmla="*/ 887774 w 2675642"/>
              <a:gd name="connsiteY222" fmla="*/ 5100013 h 6858000"/>
              <a:gd name="connsiteX223" fmla="*/ 677761 w 2675642"/>
              <a:gd name="connsiteY223" fmla="*/ 5310423 h 6858000"/>
              <a:gd name="connsiteX224" fmla="*/ 467748 w 2675642"/>
              <a:gd name="connsiteY224" fmla="*/ 5100013 h 6858000"/>
              <a:gd name="connsiteX225" fmla="*/ 467748 w 2675642"/>
              <a:gd name="connsiteY225" fmla="*/ 5044621 h 6858000"/>
              <a:gd name="connsiteX226" fmla="*/ 546228 w 2675642"/>
              <a:gd name="connsiteY226" fmla="*/ 4965880 h 6858000"/>
              <a:gd name="connsiteX227" fmla="*/ 573858 w 2675642"/>
              <a:gd name="connsiteY227" fmla="*/ 4954335 h 6858000"/>
              <a:gd name="connsiteX228" fmla="*/ 573858 w 2675642"/>
              <a:gd name="connsiteY228" fmla="*/ 4937860 h 6858000"/>
              <a:gd name="connsiteX229" fmla="*/ 534683 w 2675642"/>
              <a:gd name="connsiteY229" fmla="*/ 4954205 h 6858000"/>
              <a:gd name="connsiteX230" fmla="*/ 456203 w 2675642"/>
              <a:gd name="connsiteY230" fmla="*/ 5032947 h 6858000"/>
              <a:gd name="connsiteX231" fmla="*/ 456203 w 2675642"/>
              <a:gd name="connsiteY231" fmla="*/ 5111559 h 6858000"/>
              <a:gd name="connsiteX232" fmla="*/ 677761 w 2675642"/>
              <a:gd name="connsiteY232" fmla="*/ 5333643 h 6858000"/>
              <a:gd name="connsiteX233" fmla="*/ 899319 w 2675642"/>
              <a:gd name="connsiteY233" fmla="*/ 5111559 h 6858000"/>
              <a:gd name="connsiteX234" fmla="*/ 899319 w 2675642"/>
              <a:gd name="connsiteY234" fmla="*/ 5032947 h 6858000"/>
              <a:gd name="connsiteX235" fmla="*/ 820839 w 2675642"/>
              <a:gd name="connsiteY235" fmla="*/ 4954335 h 6858000"/>
              <a:gd name="connsiteX236" fmla="*/ 781664 w 2675642"/>
              <a:gd name="connsiteY236" fmla="*/ 4937990 h 6858000"/>
              <a:gd name="connsiteX237" fmla="*/ 781534 w 2675642"/>
              <a:gd name="connsiteY237" fmla="*/ 4937860 h 6858000"/>
              <a:gd name="connsiteX238" fmla="*/ 742232 w 2675642"/>
              <a:gd name="connsiteY238" fmla="*/ 4954335 h 6858000"/>
              <a:gd name="connsiteX239" fmla="*/ 677761 w 2675642"/>
              <a:gd name="connsiteY239" fmla="*/ 5018937 h 6858000"/>
              <a:gd name="connsiteX240" fmla="*/ 613162 w 2675642"/>
              <a:gd name="connsiteY240" fmla="*/ 4954205 h 6858000"/>
              <a:gd name="connsiteX241" fmla="*/ 573858 w 2675642"/>
              <a:gd name="connsiteY241" fmla="*/ 4937860 h 6858000"/>
              <a:gd name="connsiteX242" fmla="*/ 2675642 w 2675642"/>
              <a:gd name="connsiteY242" fmla="*/ 4754431 h 6858000"/>
              <a:gd name="connsiteX243" fmla="*/ 2675642 w 2675642"/>
              <a:gd name="connsiteY243" fmla="*/ 4962884 h 6858000"/>
              <a:gd name="connsiteX244" fmla="*/ 2666981 w 2675642"/>
              <a:gd name="connsiteY244" fmla="*/ 4954205 h 6858000"/>
              <a:gd name="connsiteX245" fmla="*/ 2627676 w 2675642"/>
              <a:gd name="connsiteY245" fmla="*/ 4937860 h 6858000"/>
              <a:gd name="connsiteX246" fmla="*/ 2588501 w 2675642"/>
              <a:gd name="connsiteY246" fmla="*/ 4954205 h 6858000"/>
              <a:gd name="connsiteX247" fmla="*/ 2510022 w 2675642"/>
              <a:gd name="connsiteY247" fmla="*/ 5032947 h 6858000"/>
              <a:gd name="connsiteX248" fmla="*/ 2510022 w 2675642"/>
              <a:gd name="connsiteY248" fmla="*/ 5111559 h 6858000"/>
              <a:gd name="connsiteX249" fmla="*/ 2675642 w 2675642"/>
              <a:gd name="connsiteY249" fmla="*/ 5277572 h 6858000"/>
              <a:gd name="connsiteX250" fmla="*/ 2675642 w 2675642"/>
              <a:gd name="connsiteY250" fmla="*/ 5462331 h 6858000"/>
              <a:gd name="connsiteX251" fmla="*/ 2397687 w 2675642"/>
              <a:gd name="connsiteY251" fmla="*/ 5301472 h 6858000"/>
              <a:gd name="connsiteX252" fmla="*/ 2397687 w 2675642"/>
              <a:gd name="connsiteY252" fmla="*/ 4915290 h 6858000"/>
              <a:gd name="connsiteX253" fmla="*/ 1370972 w 2675642"/>
              <a:gd name="connsiteY253" fmla="*/ 4727322 h 6858000"/>
              <a:gd name="connsiteX254" fmla="*/ 1696432 w 2675642"/>
              <a:gd name="connsiteY254" fmla="*/ 4915678 h 6858000"/>
              <a:gd name="connsiteX255" fmla="*/ 1696432 w 2675642"/>
              <a:gd name="connsiteY255" fmla="*/ 5292520 h 6858000"/>
              <a:gd name="connsiteX256" fmla="*/ 1370972 w 2675642"/>
              <a:gd name="connsiteY256" fmla="*/ 5104164 h 6858000"/>
              <a:gd name="connsiteX257" fmla="*/ 1354627 w 2675642"/>
              <a:gd name="connsiteY257" fmla="*/ 4727322 h 6858000"/>
              <a:gd name="connsiteX258" fmla="*/ 1354627 w 2675642"/>
              <a:gd name="connsiteY258" fmla="*/ 5104164 h 6858000"/>
              <a:gd name="connsiteX259" fmla="*/ 1029036 w 2675642"/>
              <a:gd name="connsiteY259" fmla="*/ 5292521 h 6858000"/>
              <a:gd name="connsiteX260" fmla="*/ 1029036 w 2675642"/>
              <a:gd name="connsiteY260" fmla="*/ 4915678 h 6858000"/>
              <a:gd name="connsiteX261" fmla="*/ 0 w 2675642"/>
              <a:gd name="connsiteY261" fmla="*/ 4726809 h 6858000"/>
              <a:gd name="connsiteX262" fmla="*/ 326355 w 2675642"/>
              <a:gd name="connsiteY262" fmla="*/ 4915678 h 6858000"/>
              <a:gd name="connsiteX263" fmla="*/ 326355 w 2675642"/>
              <a:gd name="connsiteY263" fmla="*/ 5301991 h 6858000"/>
              <a:gd name="connsiteX264" fmla="*/ 0 w 2675642"/>
              <a:gd name="connsiteY264" fmla="*/ 5490934 h 6858000"/>
              <a:gd name="connsiteX265" fmla="*/ 2046540 w 2675642"/>
              <a:gd name="connsiteY265" fmla="*/ 4722522 h 6858000"/>
              <a:gd name="connsiteX266" fmla="*/ 2380303 w 2675642"/>
              <a:gd name="connsiteY266" fmla="*/ 4915678 h 6858000"/>
              <a:gd name="connsiteX267" fmla="*/ 2380303 w 2675642"/>
              <a:gd name="connsiteY267" fmla="*/ 5301991 h 6858000"/>
              <a:gd name="connsiteX268" fmla="*/ 2046671 w 2675642"/>
              <a:gd name="connsiteY268" fmla="*/ 5495147 h 6858000"/>
              <a:gd name="connsiteX269" fmla="*/ 1712907 w 2675642"/>
              <a:gd name="connsiteY269" fmla="*/ 5301991 h 6858000"/>
              <a:gd name="connsiteX270" fmla="*/ 1712907 w 2675642"/>
              <a:gd name="connsiteY270" fmla="*/ 4915678 h 6858000"/>
              <a:gd name="connsiteX271" fmla="*/ 677631 w 2675642"/>
              <a:gd name="connsiteY271" fmla="*/ 4722133 h 6858000"/>
              <a:gd name="connsiteX272" fmla="*/ 1011395 w 2675642"/>
              <a:gd name="connsiteY272" fmla="*/ 4915290 h 6858000"/>
              <a:gd name="connsiteX273" fmla="*/ 1011395 w 2675642"/>
              <a:gd name="connsiteY273" fmla="*/ 5301472 h 6858000"/>
              <a:gd name="connsiteX274" fmla="*/ 677631 w 2675642"/>
              <a:gd name="connsiteY274" fmla="*/ 5494629 h 6858000"/>
              <a:gd name="connsiteX275" fmla="*/ 343867 w 2675642"/>
              <a:gd name="connsiteY275" fmla="*/ 5301472 h 6858000"/>
              <a:gd name="connsiteX276" fmla="*/ 343867 w 2675642"/>
              <a:gd name="connsiteY276" fmla="*/ 4915290 h 6858000"/>
              <a:gd name="connsiteX277" fmla="*/ 2389645 w 2675642"/>
              <a:gd name="connsiteY277" fmla="*/ 4524306 h 6858000"/>
              <a:gd name="connsiteX278" fmla="*/ 2675642 w 2675642"/>
              <a:gd name="connsiteY278" fmla="*/ 4689824 h 6858000"/>
              <a:gd name="connsiteX279" fmla="*/ 2675642 w 2675642"/>
              <a:gd name="connsiteY279" fmla="*/ 4735492 h 6858000"/>
              <a:gd name="connsiteX280" fmla="*/ 2389515 w 2675642"/>
              <a:gd name="connsiteY280" fmla="*/ 4901019 h 6858000"/>
              <a:gd name="connsiteX281" fmla="*/ 2064053 w 2675642"/>
              <a:gd name="connsiteY281" fmla="*/ 4712663 h 6858000"/>
              <a:gd name="connsiteX282" fmla="*/ 335824 w 2675642"/>
              <a:gd name="connsiteY282" fmla="*/ 4524306 h 6858000"/>
              <a:gd name="connsiteX283" fmla="*/ 661286 w 2675642"/>
              <a:gd name="connsiteY283" fmla="*/ 4712663 h 6858000"/>
              <a:gd name="connsiteX284" fmla="*/ 335694 w 2675642"/>
              <a:gd name="connsiteY284" fmla="*/ 4901019 h 6858000"/>
              <a:gd name="connsiteX285" fmla="*/ 10234 w 2675642"/>
              <a:gd name="connsiteY285" fmla="*/ 4712663 h 6858000"/>
              <a:gd name="connsiteX286" fmla="*/ 1600831 w 2675642"/>
              <a:gd name="connsiteY286" fmla="*/ 4360467 h 6858000"/>
              <a:gd name="connsiteX287" fmla="*/ 1628591 w 2675642"/>
              <a:gd name="connsiteY287" fmla="*/ 4372012 h 6858000"/>
              <a:gd name="connsiteX288" fmla="*/ 1693190 w 2675642"/>
              <a:gd name="connsiteY288" fmla="*/ 4436743 h 6858000"/>
              <a:gd name="connsiteX289" fmla="*/ 1704735 w 2675642"/>
              <a:gd name="connsiteY289" fmla="*/ 4448418 h 6858000"/>
              <a:gd name="connsiteX290" fmla="*/ 1716280 w 2675642"/>
              <a:gd name="connsiteY290" fmla="*/ 4436743 h 6858000"/>
              <a:gd name="connsiteX291" fmla="*/ 1780749 w 2675642"/>
              <a:gd name="connsiteY291" fmla="*/ 4372012 h 6858000"/>
              <a:gd name="connsiteX292" fmla="*/ 1808508 w 2675642"/>
              <a:gd name="connsiteY292" fmla="*/ 4360467 h 6858000"/>
              <a:gd name="connsiteX293" fmla="*/ 1836138 w 2675642"/>
              <a:gd name="connsiteY293" fmla="*/ 4372012 h 6858000"/>
              <a:gd name="connsiteX294" fmla="*/ 1914618 w 2675642"/>
              <a:gd name="connsiteY294" fmla="*/ 4450623 h 6858000"/>
              <a:gd name="connsiteX295" fmla="*/ 1926163 w 2675642"/>
              <a:gd name="connsiteY295" fmla="*/ 4478384 h 6858000"/>
              <a:gd name="connsiteX296" fmla="*/ 1914748 w 2675642"/>
              <a:gd name="connsiteY296" fmla="*/ 4506145 h 6858000"/>
              <a:gd name="connsiteX297" fmla="*/ 1704735 w 2675642"/>
              <a:gd name="connsiteY297" fmla="*/ 4716554 h 6858000"/>
              <a:gd name="connsiteX298" fmla="*/ 1494722 w 2675642"/>
              <a:gd name="connsiteY298" fmla="*/ 4506145 h 6858000"/>
              <a:gd name="connsiteX299" fmla="*/ 1494722 w 2675642"/>
              <a:gd name="connsiteY299" fmla="*/ 4450753 h 6858000"/>
              <a:gd name="connsiteX300" fmla="*/ 1573201 w 2675642"/>
              <a:gd name="connsiteY300" fmla="*/ 4372012 h 6858000"/>
              <a:gd name="connsiteX301" fmla="*/ 1600831 w 2675642"/>
              <a:gd name="connsiteY301" fmla="*/ 4360467 h 6858000"/>
              <a:gd name="connsiteX302" fmla="*/ 1600831 w 2675642"/>
              <a:gd name="connsiteY302" fmla="*/ 4343992 h 6858000"/>
              <a:gd name="connsiteX303" fmla="*/ 1561656 w 2675642"/>
              <a:gd name="connsiteY303" fmla="*/ 4360336 h 6858000"/>
              <a:gd name="connsiteX304" fmla="*/ 1483177 w 2675642"/>
              <a:gd name="connsiteY304" fmla="*/ 4439078 h 6858000"/>
              <a:gd name="connsiteX305" fmla="*/ 1483177 w 2675642"/>
              <a:gd name="connsiteY305" fmla="*/ 4517690 h 6858000"/>
              <a:gd name="connsiteX306" fmla="*/ 1704735 w 2675642"/>
              <a:gd name="connsiteY306" fmla="*/ 4739774 h 6858000"/>
              <a:gd name="connsiteX307" fmla="*/ 1926292 w 2675642"/>
              <a:gd name="connsiteY307" fmla="*/ 4517690 h 6858000"/>
              <a:gd name="connsiteX308" fmla="*/ 1926292 w 2675642"/>
              <a:gd name="connsiteY308" fmla="*/ 4439078 h 6858000"/>
              <a:gd name="connsiteX309" fmla="*/ 1847813 w 2675642"/>
              <a:gd name="connsiteY309" fmla="*/ 4360467 h 6858000"/>
              <a:gd name="connsiteX310" fmla="*/ 1808638 w 2675642"/>
              <a:gd name="connsiteY310" fmla="*/ 4344121 h 6858000"/>
              <a:gd name="connsiteX311" fmla="*/ 1808508 w 2675642"/>
              <a:gd name="connsiteY311" fmla="*/ 4343992 h 6858000"/>
              <a:gd name="connsiteX312" fmla="*/ 1769204 w 2675642"/>
              <a:gd name="connsiteY312" fmla="*/ 4360467 h 6858000"/>
              <a:gd name="connsiteX313" fmla="*/ 1704735 w 2675642"/>
              <a:gd name="connsiteY313" fmla="*/ 4425069 h 6858000"/>
              <a:gd name="connsiteX314" fmla="*/ 1640136 w 2675642"/>
              <a:gd name="connsiteY314" fmla="*/ 4360336 h 6858000"/>
              <a:gd name="connsiteX315" fmla="*/ 1600831 w 2675642"/>
              <a:gd name="connsiteY315" fmla="*/ 4343992 h 6858000"/>
              <a:gd name="connsiteX316" fmla="*/ 2397817 w 2675642"/>
              <a:gd name="connsiteY316" fmla="*/ 4133337 h 6858000"/>
              <a:gd name="connsiteX317" fmla="*/ 2675642 w 2675642"/>
              <a:gd name="connsiteY317" fmla="*/ 4294111 h 6858000"/>
              <a:gd name="connsiteX318" fmla="*/ 2675642 w 2675642"/>
              <a:gd name="connsiteY318" fmla="*/ 4670953 h 6858000"/>
              <a:gd name="connsiteX319" fmla="*/ 2397817 w 2675642"/>
              <a:gd name="connsiteY319" fmla="*/ 4510166 h 6858000"/>
              <a:gd name="connsiteX320" fmla="*/ 2381472 w 2675642"/>
              <a:gd name="connsiteY320" fmla="*/ 4133337 h 6858000"/>
              <a:gd name="connsiteX321" fmla="*/ 2381472 w 2675642"/>
              <a:gd name="connsiteY321" fmla="*/ 4510166 h 6858000"/>
              <a:gd name="connsiteX322" fmla="*/ 2055881 w 2675642"/>
              <a:gd name="connsiteY322" fmla="*/ 4698522 h 6858000"/>
              <a:gd name="connsiteX323" fmla="*/ 2055881 w 2675642"/>
              <a:gd name="connsiteY323" fmla="*/ 4321680 h 6858000"/>
              <a:gd name="connsiteX324" fmla="*/ 343997 w 2675642"/>
              <a:gd name="connsiteY324" fmla="*/ 4133335 h 6858000"/>
              <a:gd name="connsiteX325" fmla="*/ 669459 w 2675642"/>
              <a:gd name="connsiteY325" fmla="*/ 4321680 h 6858000"/>
              <a:gd name="connsiteX326" fmla="*/ 669459 w 2675642"/>
              <a:gd name="connsiteY326" fmla="*/ 4698522 h 6858000"/>
              <a:gd name="connsiteX327" fmla="*/ 343997 w 2675642"/>
              <a:gd name="connsiteY327" fmla="*/ 4510166 h 6858000"/>
              <a:gd name="connsiteX328" fmla="*/ 327652 w 2675642"/>
              <a:gd name="connsiteY328" fmla="*/ 4133335 h 6858000"/>
              <a:gd name="connsiteX329" fmla="*/ 327652 w 2675642"/>
              <a:gd name="connsiteY329" fmla="*/ 4510166 h 6858000"/>
              <a:gd name="connsiteX330" fmla="*/ 2061 w 2675642"/>
              <a:gd name="connsiteY330" fmla="*/ 4698522 h 6858000"/>
              <a:gd name="connsiteX331" fmla="*/ 2061 w 2675642"/>
              <a:gd name="connsiteY331" fmla="*/ 4321680 h 6858000"/>
              <a:gd name="connsiteX332" fmla="*/ 1019567 w 2675642"/>
              <a:gd name="connsiteY332" fmla="*/ 4128536 h 6858000"/>
              <a:gd name="connsiteX333" fmla="*/ 1353330 w 2675642"/>
              <a:gd name="connsiteY333" fmla="*/ 4321680 h 6858000"/>
              <a:gd name="connsiteX334" fmla="*/ 1353330 w 2675642"/>
              <a:gd name="connsiteY334" fmla="*/ 4707993 h 6858000"/>
              <a:gd name="connsiteX335" fmla="*/ 1019697 w 2675642"/>
              <a:gd name="connsiteY335" fmla="*/ 4901148 h 6858000"/>
              <a:gd name="connsiteX336" fmla="*/ 685932 w 2675642"/>
              <a:gd name="connsiteY336" fmla="*/ 4707993 h 6858000"/>
              <a:gd name="connsiteX337" fmla="*/ 685932 w 2675642"/>
              <a:gd name="connsiteY337" fmla="*/ 4321680 h 6858000"/>
              <a:gd name="connsiteX338" fmla="*/ 1704605 w 2675642"/>
              <a:gd name="connsiteY338" fmla="*/ 4128280 h 6858000"/>
              <a:gd name="connsiteX339" fmla="*/ 2038368 w 2675642"/>
              <a:gd name="connsiteY339" fmla="*/ 4321420 h 6858000"/>
              <a:gd name="connsiteX340" fmla="*/ 2038368 w 2675642"/>
              <a:gd name="connsiteY340" fmla="*/ 4707602 h 6858000"/>
              <a:gd name="connsiteX341" fmla="*/ 1704605 w 2675642"/>
              <a:gd name="connsiteY341" fmla="*/ 4900759 h 6858000"/>
              <a:gd name="connsiteX342" fmla="*/ 1370842 w 2675642"/>
              <a:gd name="connsiteY342" fmla="*/ 4707602 h 6858000"/>
              <a:gd name="connsiteX343" fmla="*/ 1370842 w 2675642"/>
              <a:gd name="connsiteY343" fmla="*/ 4321420 h 6858000"/>
              <a:gd name="connsiteX344" fmla="*/ 1362800 w 2675642"/>
              <a:gd name="connsiteY344" fmla="*/ 3930457 h 6858000"/>
              <a:gd name="connsiteX345" fmla="*/ 1688258 w 2675642"/>
              <a:gd name="connsiteY345" fmla="*/ 4118806 h 6858000"/>
              <a:gd name="connsiteX346" fmla="*/ 1362669 w 2675642"/>
              <a:gd name="connsiteY346" fmla="*/ 4307149 h 6858000"/>
              <a:gd name="connsiteX347" fmla="*/ 1296076 w 2675642"/>
              <a:gd name="connsiteY347" fmla="*/ 4268609 h 6858000"/>
              <a:gd name="connsiteX348" fmla="*/ 1037211 w 2675642"/>
              <a:gd name="connsiteY348" fmla="*/ 4118806 h 6858000"/>
              <a:gd name="connsiteX349" fmla="*/ 2627676 w 2675642"/>
              <a:gd name="connsiteY349" fmla="*/ 3766489 h 6858000"/>
              <a:gd name="connsiteX350" fmla="*/ 2655436 w 2675642"/>
              <a:gd name="connsiteY350" fmla="*/ 3778033 h 6858000"/>
              <a:gd name="connsiteX351" fmla="*/ 2675642 w 2675642"/>
              <a:gd name="connsiteY351" fmla="*/ 3798281 h 6858000"/>
              <a:gd name="connsiteX352" fmla="*/ 2675642 w 2675642"/>
              <a:gd name="connsiteY352" fmla="*/ 4066527 h 6858000"/>
              <a:gd name="connsiteX353" fmla="*/ 2521567 w 2675642"/>
              <a:gd name="connsiteY353" fmla="*/ 3912164 h 6858000"/>
              <a:gd name="connsiteX354" fmla="*/ 2521567 w 2675642"/>
              <a:gd name="connsiteY354" fmla="*/ 3856776 h 6858000"/>
              <a:gd name="connsiteX355" fmla="*/ 2600047 w 2675642"/>
              <a:gd name="connsiteY355" fmla="*/ 3778033 h 6858000"/>
              <a:gd name="connsiteX356" fmla="*/ 2627676 w 2675642"/>
              <a:gd name="connsiteY356" fmla="*/ 3766489 h 6858000"/>
              <a:gd name="connsiteX357" fmla="*/ 573858 w 2675642"/>
              <a:gd name="connsiteY357" fmla="*/ 3766487 h 6858000"/>
              <a:gd name="connsiteX358" fmla="*/ 601617 w 2675642"/>
              <a:gd name="connsiteY358" fmla="*/ 3778031 h 6858000"/>
              <a:gd name="connsiteX359" fmla="*/ 666217 w 2675642"/>
              <a:gd name="connsiteY359" fmla="*/ 3842759 h 6858000"/>
              <a:gd name="connsiteX360" fmla="*/ 677761 w 2675642"/>
              <a:gd name="connsiteY360" fmla="*/ 3854435 h 6858000"/>
              <a:gd name="connsiteX361" fmla="*/ 689306 w 2675642"/>
              <a:gd name="connsiteY361" fmla="*/ 3842759 h 6858000"/>
              <a:gd name="connsiteX362" fmla="*/ 753777 w 2675642"/>
              <a:gd name="connsiteY362" fmla="*/ 3778031 h 6858000"/>
              <a:gd name="connsiteX363" fmla="*/ 781534 w 2675642"/>
              <a:gd name="connsiteY363" fmla="*/ 3766487 h 6858000"/>
              <a:gd name="connsiteX364" fmla="*/ 809164 w 2675642"/>
              <a:gd name="connsiteY364" fmla="*/ 3778031 h 6858000"/>
              <a:gd name="connsiteX365" fmla="*/ 887644 w 2675642"/>
              <a:gd name="connsiteY365" fmla="*/ 3856639 h 6858000"/>
              <a:gd name="connsiteX366" fmla="*/ 899189 w 2675642"/>
              <a:gd name="connsiteY366" fmla="*/ 3884401 h 6858000"/>
              <a:gd name="connsiteX367" fmla="*/ 887774 w 2675642"/>
              <a:gd name="connsiteY367" fmla="*/ 3912160 h 6858000"/>
              <a:gd name="connsiteX368" fmla="*/ 677761 w 2675642"/>
              <a:gd name="connsiteY368" fmla="*/ 4122570 h 6858000"/>
              <a:gd name="connsiteX369" fmla="*/ 467748 w 2675642"/>
              <a:gd name="connsiteY369" fmla="*/ 3912160 h 6858000"/>
              <a:gd name="connsiteX370" fmla="*/ 467748 w 2675642"/>
              <a:gd name="connsiteY370" fmla="*/ 3856768 h 6858000"/>
              <a:gd name="connsiteX371" fmla="*/ 546228 w 2675642"/>
              <a:gd name="connsiteY371" fmla="*/ 3778031 h 6858000"/>
              <a:gd name="connsiteX372" fmla="*/ 573858 w 2675642"/>
              <a:gd name="connsiteY372" fmla="*/ 3766487 h 6858000"/>
              <a:gd name="connsiteX373" fmla="*/ 573858 w 2675642"/>
              <a:gd name="connsiteY373" fmla="*/ 3750008 h 6858000"/>
              <a:gd name="connsiteX374" fmla="*/ 534683 w 2675642"/>
              <a:gd name="connsiteY374" fmla="*/ 3766357 h 6858000"/>
              <a:gd name="connsiteX375" fmla="*/ 456203 w 2675642"/>
              <a:gd name="connsiteY375" fmla="*/ 3845095 h 6858000"/>
              <a:gd name="connsiteX376" fmla="*/ 456203 w 2675642"/>
              <a:gd name="connsiteY376" fmla="*/ 3923707 h 6858000"/>
              <a:gd name="connsiteX377" fmla="*/ 677761 w 2675642"/>
              <a:gd name="connsiteY377" fmla="*/ 4145787 h 6858000"/>
              <a:gd name="connsiteX378" fmla="*/ 899319 w 2675642"/>
              <a:gd name="connsiteY378" fmla="*/ 3923707 h 6858000"/>
              <a:gd name="connsiteX379" fmla="*/ 899319 w 2675642"/>
              <a:gd name="connsiteY379" fmla="*/ 3845095 h 6858000"/>
              <a:gd name="connsiteX380" fmla="*/ 820839 w 2675642"/>
              <a:gd name="connsiteY380" fmla="*/ 3766487 h 6858000"/>
              <a:gd name="connsiteX381" fmla="*/ 781664 w 2675642"/>
              <a:gd name="connsiteY381" fmla="*/ 3750141 h 6858000"/>
              <a:gd name="connsiteX382" fmla="*/ 781534 w 2675642"/>
              <a:gd name="connsiteY382" fmla="*/ 3750008 h 6858000"/>
              <a:gd name="connsiteX383" fmla="*/ 742232 w 2675642"/>
              <a:gd name="connsiteY383" fmla="*/ 3766487 h 6858000"/>
              <a:gd name="connsiteX384" fmla="*/ 677761 w 2675642"/>
              <a:gd name="connsiteY384" fmla="*/ 3831087 h 6858000"/>
              <a:gd name="connsiteX385" fmla="*/ 613162 w 2675642"/>
              <a:gd name="connsiteY385" fmla="*/ 3766357 h 6858000"/>
              <a:gd name="connsiteX386" fmla="*/ 573858 w 2675642"/>
              <a:gd name="connsiteY386" fmla="*/ 3750008 h 6858000"/>
              <a:gd name="connsiteX387" fmla="*/ 2675642 w 2675642"/>
              <a:gd name="connsiteY387" fmla="*/ 3566587 h 6858000"/>
              <a:gd name="connsiteX388" fmla="*/ 2675642 w 2675642"/>
              <a:gd name="connsiteY388" fmla="*/ 3775035 h 6858000"/>
              <a:gd name="connsiteX389" fmla="*/ 2666981 w 2675642"/>
              <a:gd name="connsiteY389" fmla="*/ 3766359 h 6858000"/>
              <a:gd name="connsiteX390" fmla="*/ 2627676 w 2675642"/>
              <a:gd name="connsiteY390" fmla="*/ 3750016 h 6858000"/>
              <a:gd name="connsiteX391" fmla="*/ 2588501 w 2675642"/>
              <a:gd name="connsiteY391" fmla="*/ 3766359 h 6858000"/>
              <a:gd name="connsiteX392" fmla="*/ 2510022 w 2675642"/>
              <a:gd name="connsiteY392" fmla="*/ 3845097 h 6858000"/>
              <a:gd name="connsiteX393" fmla="*/ 2510022 w 2675642"/>
              <a:gd name="connsiteY393" fmla="*/ 3923710 h 6858000"/>
              <a:gd name="connsiteX394" fmla="*/ 2675642 w 2675642"/>
              <a:gd name="connsiteY394" fmla="*/ 4089721 h 6858000"/>
              <a:gd name="connsiteX395" fmla="*/ 2675642 w 2675642"/>
              <a:gd name="connsiteY395" fmla="*/ 4274463 h 6858000"/>
              <a:gd name="connsiteX396" fmla="*/ 2397687 w 2675642"/>
              <a:gd name="connsiteY396" fmla="*/ 4113620 h 6858000"/>
              <a:gd name="connsiteX397" fmla="*/ 2397687 w 2675642"/>
              <a:gd name="connsiteY397" fmla="*/ 3727442 h 6858000"/>
              <a:gd name="connsiteX398" fmla="*/ 1370972 w 2675642"/>
              <a:gd name="connsiteY398" fmla="*/ 3539477 h 6858000"/>
              <a:gd name="connsiteX399" fmla="*/ 1696432 w 2675642"/>
              <a:gd name="connsiteY399" fmla="*/ 3727831 h 6858000"/>
              <a:gd name="connsiteX400" fmla="*/ 1696432 w 2675642"/>
              <a:gd name="connsiteY400" fmla="*/ 4104668 h 6858000"/>
              <a:gd name="connsiteX401" fmla="*/ 1370972 w 2675642"/>
              <a:gd name="connsiteY401" fmla="*/ 3916314 h 6858000"/>
              <a:gd name="connsiteX402" fmla="*/ 1354627 w 2675642"/>
              <a:gd name="connsiteY402" fmla="*/ 3539477 h 6858000"/>
              <a:gd name="connsiteX403" fmla="*/ 1354627 w 2675642"/>
              <a:gd name="connsiteY403" fmla="*/ 3916314 h 6858000"/>
              <a:gd name="connsiteX404" fmla="*/ 1029036 w 2675642"/>
              <a:gd name="connsiteY404" fmla="*/ 4104668 h 6858000"/>
              <a:gd name="connsiteX405" fmla="*/ 1029036 w 2675642"/>
              <a:gd name="connsiteY405" fmla="*/ 3727833 h 6858000"/>
              <a:gd name="connsiteX406" fmla="*/ 0 w 2675642"/>
              <a:gd name="connsiteY406" fmla="*/ 3538964 h 6858000"/>
              <a:gd name="connsiteX407" fmla="*/ 326355 w 2675642"/>
              <a:gd name="connsiteY407" fmla="*/ 3727828 h 6858000"/>
              <a:gd name="connsiteX408" fmla="*/ 326355 w 2675642"/>
              <a:gd name="connsiteY408" fmla="*/ 4114135 h 6858000"/>
              <a:gd name="connsiteX409" fmla="*/ 65830 w 2675642"/>
              <a:gd name="connsiteY409" fmla="*/ 4264954 h 6858000"/>
              <a:gd name="connsiteX410" fmla="*/ 0 w 2675642"/>
              <a:gd name="connsiteY410" fmla="*/ 4303065 h 6858000"/>
              <a:gd name="connsiteX411" fmla="*/ 2046540 w 2675642"/>
              <a:gd name="connsiteY411" fmla="*/ 3534681 h 6858000"/>
              <a:gd name="connsiteX412" fmla="*/ 2380303 w 2675642"/>
              <a:gd name="connsiteY412" fmla="*/ 3727831 h 6858000"/>
              <a:gd name="connsiteX413" fmla="*/ 2380303 w 2675642"/>
              <a:gd name="connsiteY413" fmla="*/ 4114138 h 6858000"/>
              <a:gd name="connsiteX414" fmla="*/ 2046670 w 2675642"/>
              <a:gd name="connsiteY414" fmla="*/ 4307278 h 6858000"/>
              <a:gd name="connsiteX415" fmla="*/ 1973861 w 2675642"/>
              <a:gd name="connsiteY415" fmla="*/ 4265143 h 6858000"/>
              <a:gd name="connsiteX416" fmla="*/ 1712907 w 2675642"/>
              <a:gd name="connsiteY416" fmla="*/ 4114138 h 6858000"/>
              <a:gd name="connsiteX417" fmla="*/ 1712907 w 2675642"/>
              <a:gd name="connsiteY417" fmla="*/ 3727833 h 6858000"/>
              <a:gd name="connsiteX418" fmla="*/ 677631 w 2675642"/>
              <a:gd name="connsiteY418" fmla="*/ 3534287 h 6858000"/>
              <a:gd name="connsiteX419" fmla="*/ 1011395 w 2675642"/>
              <a:gd name="connsiteY419" fmla="*/ 3727441 h 6858000"/>
              <a:gd name="connsiteX420" fmla="*/ 1011395 w 2675642"/>
              <a:gd name="connsiteY420" fmla="*/ 4113620 h 6858000"/>
              <a:gd name="connsiteX421" fmla="*/ 677631 w 2675642"/>
              <a:gd name="connsiteY421" fmla="*/ 4306761 h 6858000"/>
              <a:gd name="connsiteX422" fmla="*/ 343867 w 2675642"/>
              <a:gd name="connsiteY422" fmla="*/ 4113620 h 6858000"/>
              <a:gd name="connsiteX423" fmla="*/ 343867 w 2675642"/>
              <a:gd name="connsiteY423" fmla="*/ 3727441 h 6858000"/>
              <a:gd name="connsiteX424" fmla="*/ 2389645 w 2675642"/>
              <a:gd name="connsiteY424" fmla="*/ 3336497 h 6858000"/>
              <a:gd name="connsiteX425" fmla="*/ 2669420 w 2675642"/>
              <a:gd name="connsiteY425" fmla="*/ 3498382 h 6858000"/>
              <a:gd name="connsiteX426" fmla="*/ 2675642 w 2675642"/>
              <a:gd name="connsiteY426" fmla="*/ 3501984 h 6858000"/>
              <a:gd name="connsiteX427" fmla="*/ 2675642 w 2675642"/>
              <a:gd name="connsiteY427" fmla="*/ 3547650 h 6858000"/>
              <a:gd name="connsiteX428" fmla="*/ 2389515 w 2675642"/>
              <a:gd name="connsiteY428" fmla="*/ 3713173 h 6858000"/>
              <a:gd name="connsiteX429" fmla="*/ 2064052 w 2675642"/>
              <a:gd name="connsiteY429" fmla="*/ 3524820 h 6858000"/>
              <a:gd name="connsiteX430" fmla="*/ 335824 w 2675642"/>
              <a:gd name="connsiteY430" fmla="*/ 3336489 h 6858000"/>
              <a:gd name="connsiteX431" fmla="*/ 661287 w 2675642"/>
              <a:gd name="connsiteY431" fmla="*/ 3524818 h 6858000"/>
              <a:gd name="connsiteX432" fmla="*/ 335694 w 2675642"/>
              <a:gd name="connsiteY432" fmla="*/ 3713171 h 6858000"/>
              <a:gd name="connsiteX433" fmla="*/ 10233 w 2675642"/>
              <a:gd name="connsiteY433" fmla="*/ 3524818 h 6858000"/>
              <a:gd name="connsiteX434" fmla="*/ 1600831 w 2675642"/>
              <a:gd name="connsiteY434" fmla="*/ 3172539 h 6858000"/>
              <a:gd name="connsiteX435" fmla="*/ 1628591 w 2675642"/>
              <a:gd name="connsiteY435" fmla="*/ 3184087 h 6858000"/>
              <a:gd name="connsiteX436" fmla="*/ 1693190 w 2675642"/>
              <a:gd name="connsiteY436" fmla="*/ 3248805 h 6858000"/>
              <a:gd name="connsiteX437" fmla="*/ 1704735 w 2675642"/>
              <a:gd name="connsiteY437" fmla="*/ 3260492 h 6858000"/>
              <a:gd name="connsiteX438" fmla="*/ 1716280 w 2675642"/>
              <a:gd name="connsiteY438" fmla="*/ 3248805 h 6858000"/>
              <a:gd name="connsiteX439" fmla="*/ 1780749 w 2675642"/>
              <a:gd name="connsiteY439" fmla="*/ 3184087 h 6858000"/>
              <a:gd name="connsiteX440" fmla="*/ 1808508 w 2675642"/>
              <a:gd name="connsiteY440" fmla="*/ 3172539 h 6858000"/>
              <a:gd name="connsiteX441" fmla="*/ 1836138 w 2675642"/>
              <a:gd name="connsiteY441" fmla="*/ 3184087 h 6858000"/>
              <a:gd name="connsiteX442" fmla="*/ 1914618 w 2675642"/>
              <a:gd name="connsiteY442" fmla="*/ 3262689 h 6858000"/>
              <a:gd name="connsiteX443" fmla="*/ 1926161 w 2675642"/>
              <a:gd name="connsiteY443" fmla="*/ 3290444 h 6858000"/>
              <a:gd name="connsiteX444" fmla="*/ 1914748 w 2675642"/>
              <a:gd name="connsiteY444" fmla="*/ 3318199 h 6858000"/>
              <a:gd name="connsiteX445" fmla="*/ 1704735 w 2675642"/>
              <a:gd name="connsiteY445" fmla="*/ 3528579 h 6858000"/>
              <a:gd name="connsiteX446" fmla="*/ 1494722 w 2675642"/>
              <a:gd name="connsiteY446" fmla="*/ 3318199 h 6858000"/>
              <a:gd name="connsiteX447" fmla="*/ 1483244 w 2675642"/>
              <a:gd name="connsiteY447" fmla="*/ 3290463 h 6858000"/>
              <a:gd name="connsiteX448" fmla="*/ 1494722 w 2675642"/>
              <a:gd name="connsiteY448" fmla="*/ 3262819 h 6858000"/>
              <a:gd name="connsiteX449" fmla="*/ 1573201 w 2675642"/>
              <a:gd name="connsiteY449" fmla="*/ 3184087 h 6858000"/>
              <a:gd name="connsiteX450" fmla="*/ 1600831 w 2675642"/>
              <a:gd name="connsiteY450" fmla="*/ 3172539 h 6858000"/>
              <a:gd name="connsiteX451" fmla="*/ 1600831 w 2675642"/>
              <a:gd name="connsiteY451" fmla="*/ 3156060 h 6858000"/>
              <a:gd name="connsiteX452" fmla="*/ 1561656 w 2675642"/>
              <a:gd name="connsiteY452" fmla="*/ 3172394 h 6858000"/>
              <a:gd name="connsiteX453" fmla="*/ 1483177 w 2675642"/>
              <a:gd name="connsiteY453" fmla="*/ 3251138 h 6858000"/>
              <a:gd name="connsiteX454" fmla="*/ 1466930 w 2675642"/>
              <a:gd name="connsiteY454" fmla="*/ 3290444 h 6858000"/>
              <a:gd name="connsiteX455" fmla="*/ 1466932 w 2675642"/>
              <a:gd name="connsiteY455" fmla="*/ 3290444 h 6858000"/>
              <a:gd name="connsiteX456" fmla="*/ 1466930 w 2675642"/>
              <a:gd name="connsiteY456" fmla="*/ 3290449 h 6858000"/>
              <a:gd name="connsiteX457" fmla="*/ 1483177 w 2675642"/>
              <a:gd name="connsiteY457" fmla="*/ 3329751 h 6858000"/>
              <a:gd name="connsiteX458" fmla="*/ 1704735 w 2675642"/>
              <a:gd name="connsiteY458" fmla="*/ 3551803 h 6858000"/>
              <a:gd name="connsiteX459" fmla="*/ 1926292 w 2675642"/>
              <a:gd name="connsiteY459" fmla="*/ 3329751 h 6858000"/>
              <a:gd name="connsiteX460" fmla="*/ 1942539 w 2675642"/>
              <a:gd name="connsiteY460" fmla="*/ 3290449 h 6858000"/>
              <a:gd name="connsiteX461" fmla="*/ 1942537 w 2675642"/>
              <a:gd name="connsiteY461" fmla="*/ 3290444 h 6858000"/>
              <a:gd name="connsiteX462" fmla="*/ 1942539 w 2675642"/>
              <a:gd name="connsiteY462" fmla="*/ 3290444 h 6858000"/>
              <a:gd name="connsiteX463" fmla="*/ 1926292 w 2675642"/>
              <a:gd name="connsiteY463" fmla="*/ 3251138 h 6858000"/>
              <a:gd name="connsiteX464" fmla="*/ 1847813 w 2675642"/>
              <a:gd name="connsiteY464" fmla="*/ 3172530 h 6858000"/>
              <a:gd name="connsiteX465" fmla="*/ 1808638 w 2675642"/>
              <a:gd name="connsiteY465" fmla="*/ 3156189 h 6858000"/>
              <a:gd name="connsiteX466" fmla="*/ 1808508 w 2675642"/>
              <a:gd name="connsiteY466" fmla="*/ 3156060 h 6858000"/>
              <a:gd name="connsiteX467" fmla="*/ 1769204 w 2675642"/>
              <a:gd name="connsiteY467" fmla="*/ 3172530 h 6858000"/>
              <a:gd name="connsiteX468" fmla="*/ 1704735 w 2675642"/>
              <a:gd name="connsiteY468" fmla="*/ 3237129 h 6858000"/>
              <a:gd name="connsiteX469" fmla="*/ 1640136 w 2675642"/>
              <a:gd name="connsiteY469" fmla="*/ 3172394 h 6858000"/>
              <a:gd name="connsiteX470" fmla="*/ 1600831 w 2675642"/>
              <a:gd name="connsiteY470" fmla="*/ 3156060 h 6858000"/>
              <a:gd name="connsiteX471" fmla="*/ 2397817 w 2675642"/>
              <a:gd name="connsiteY471" fmla="*/ 2945539 h 6858000"/>
              <a:gd name="connsiteX472" fmla="*/ 2675642 w 2675642"/>
              <a:gd name="connsiteY472" fmla="*/ 3106326 h 6858000"/>
              <a:gd name="connsiteX473" fmla="*/ 2675642 w 2675642"/>
              <a:gd name="connsiteY473" fmla="*/ 3483113 h 6858000"/>
              <a:gd name="connsiteX474" fmla="*/ 2666660 w 2675642"/>
              <a:gd name="connsiteY474" fmla="*/ 3477916 h 6858000"/>
              <a:gd name="connsiteX475" fmla="*/ 2397817 w 2675642"/>
              <a:gd name="connsiteY475" fmla="*/ 3322357 h 6858000"/>
              <a:gd name="connsiteX476" fmla="*/ 2381472 w 2675642"/>
              <a:gd name="connsiteY476" fmla="*/ 2945539 h 6858000"/>
              <a:gd name="connsiteX477" fmla="*/ 2381472 w 2675642"/>
              <a:gd name="connsiteY477" fmla="*/ 3322357 h 6858000"/>
              <a:gd name="connsiteX478" fmla="*/ 2055881 w 2675642"/>
              <a:gd name="connsiteY478" fmla="*/ 3510681 h 6858000"/>
              <a:gd name="connsiteX479" fmla="*/ 2055881 w 2675642"/>
              <a:gd name="connsiteY479" fmla="*/ 3133883 h 6858000"/>
              <a:gd name="connsiteX480" fmla="*/ 343997 w 2675642"/>
              <a:gd name="connsiteY480" fmla="*/ 2945522 h 6858000"/>
              <a:gd name="connsiteX481" fmla="*/ 669459 w 2675642"/>
              <a:gd name="connsiteY481" fmla="*/ 3133881 h 6858000"/>
              <a:gd name="connsiteX482" fmla="*/ 669459 w 2675642"/>
              <a:gd name="connsiteY482" fmla="*/ 3510676 h 6858000"/>
              <a:gd name="connsiteX483" fmla="*/ 343997 w 2675642"/>
              <a:gd name="connsiteY483" fmla="*/ 3322348 h 6858000"/>
              <a:gd name="connsiteX484" fmla="*/ 327652 w 2675642"/>
              <a:gd name="connsiteY484" fmla="*/ 2945522 h 6858000"/>
              <a:gd name="connsiteX485" fmla="*/ 327652 w 2675642"/>
              <a:gd name="connsiteY485" fmla="*/ 3322348 h 6858000"/>
              <a:gd name="connsiteX486" fmla="*/ 2061 w 2675642"/>
              <a:gd name="connsiteY486" fmla="*/ 3510676 h 6858000"/>
              <a:gd name="connsiteX487" fmla="*/ 2061 w 2675642"/>
              <a:gd name="connsiteY487" fmla="*/ 3133881 h 6858000"/>
              <a:gd name="connsiteX488" fmla="*/ 1019567 w 2675642"/>
              <a:gd name="connsiteY488" fmla="*/ 2940724 h 6858000"/>
              <a:gd name="connsiteX489" fmla="*/ 1353330 w 2675642"/>
              <a:gd name="connsiteY489" fmla="*/ 3133881 h 6858000"/>
              <a:gd name="connsiteX490" fmla="*/ 1353330 w 2675642"/>
              <a:gd name="connsiteY490" fmla="*/ 3520144 h 6858000"/>
              <a:gd name="connsiteX491" fmla="*/ 1019697 w 2675642"/>
              <a:gd name="connsiteY491" fmla="*/ 3713300 h 6858000"/>
              <a:gd name="connsiteX492" fmla="*/ 685932 w 2675642"/>
              <a:gd name="connsiteY492" fmla="*/ 3520144 h 6858000"/>
              <a:gd name="connsiteX493" fmla="*/ 685932 w 2675642"/>
              <a:gd name="connsiteY493" fmla="*/ 3133881 h 6858000"/>
              <a:gd name="connsiteX494" fmla="*/ 1704605 w 2675642"/>
              <a:gd name="connsiteY494" fmla="*/ 2940473 h 6858000"/>
              <a:gd name="connsiteX495" fmla="*/ 2038368 w 2675642"/>
              <a:gd name="connsiteY495" fmla="*/ 3133625 h 6858000"/>
              <a:gd name="connsiteX496" fmla="*/ 2038368 w 2675642"/>
              <a:gd name="connsiteY496" fmla="*/ 3519758 h 6858000"/>
              <a:gd name="connsiteX497" fmla="*/ 1704605 w 2675642"/>
              <a:gd name="connsiteY497" fmla="*/ 3712908 h 6858000"/>
              <a:gd name="connsiteX498" fmla="*/ 1370842 w 2675642"/>
              <a:gd name="connsiteY498" fmla="*/ 3519758 h 6858000"/>
              <a:gd name="connsiteX499" fmla="*/ 1370842 w 2675642"/>
              <a:gd name="connsiteY499" fmla="*/ 3133625 h 6858000"/>
              <a:gd name="connsiteX500" fmla="*/ 1362800 w 2675642"/>
              <a:gd name="connsiteY500" fmla="*/ 2742645 h 6858000"/>
              <a:gd name="connsiteX501" fmla="*/ 1688249 w 2675642"/>
              <a:gd name="connsiteY501" fmla="*/ 2930995 h 6858000"/>
              <a:gd name="connsiteX502" fmla="*/ 1362669 w 2675642"/>
              <a:gd name="connsiteY502" fmla="*/ 3119343 h 6858000"/>
              <a:gd name="connsiteX503" fmla="*/ 1037220 w 2675642"/>
              <a:gd name="connsiteY503" fmla="*/ 2930995 h 6858000"/>
              <a:gd name="connsiteX504" fmla="*/ 2627676 w 2675642"/>
              <a:gd name="connsiteY504" fmla="*/ 2578699 h 6858000"/>
              <a:gd name="connsiteX505" fmla="*/ 2655436 w 2675642"/>
              <a:gd name="connsiteY505" fmla="*/ 2590244 h 6858000"/>
              <a:gd name="connsiteX506" fmla="*/ 2675642 w 2675642"/>
              <a:gd name="connsiteY506" fmla="*/ 2610494 h 6858000"/>
              <a:gd name="connsiteX507" fmla="*/ 2675642 w 2675642"/>
              <a:gd name="connsiteY507" fmla="*/ 2878728 h 6858000"/>
              <a:gd name="connsiteX508" fmla="*/ 2521567 w 2675642"/>
              <a:gd name="connsiteY508" fmla="*/ 2724359 h 6858000"/>
              <a:gd name="connsiteX509" fmla="*/ 2521567 w 2675642"/>
              <a:gd name="connsiteY509" fmla="*/ 2668969 h 6858000"/>
              <a:gd name="connsiteX510" fmla="*/ 2600047 w 2675642"/>
              <a:gd name="connsiteY510" fmla="*/ 2590244 h 6858000"/>
              <a:gd name="connsiteX511" fmla="*/ 2627676 w 2675642"/>
              <a:gd name="connsiteY511" fmla="*/ 2578699 h 6858000"/>
              <a:gd name="connsiteX512" fmla="*/ 573858 w 2675642"/>
              <a:gd name="connsiteY512" fmla="*/ 2578676 h 6858000"/>
              <a:gd name="connsiteX513" fmla="*/ 601617 w 2675642"/>
              <a:gd name="connsiteY513" fmla="*/ 2590227 h 6858000"/>
              <a:gd name="connsiteX514" fmla="*/ 666217 w 2675642"/>
              <a:gd name="connsiteY514" fmla="*/ 2654952 h 6858000"/>
              <a:gd name="connsiteX515" fmla="*/ 677761 w 2675642"/>
              <a:gd name="connsiteY515" fmla="*/ 2666628 h 6858000"/>
              <a:gd name="connsiteX516" fmla="*/ 689306 w 2675642"/>
              <a:gd name="connsiteY516" fmla="*/ 2654952 h 6858000"/>
              <a:gd name="connsiteX517" fmla="*/ 753777 w 2675642"/>
              <a:gd name="connsiteY517" fmla="*/ 2590227 h 6858000"/>
              <a:gd name="connsiteX518" fmla="*/ 781534 w 2675642"/>
              <a:gd name="connsiteY518" fmla="*/ 2578676 h 6858000"/>
              <a:gd name="connsiteX519" fmla="*/ 809164 w 2675642"/>
              <a:gd name="connsiteY519" fmla="*/ 2590227 h 6858000"/>
              <a:gd name="connsiteX520" fmla="*/ 887644 w 2675642"/>
              <a:gd name="connsiteY520" fmla="*/ 2668833 h 6858000"/>
              <a:gd name="connsiteX521" fmla="*/ 899189 w 2675642"/>
              <a:gd name="connsiteY521" fmla="*/ 2696581 h 6858000"/>
              <a:gd name="connsiteX522" fmla="*/ 887774 w 2675642"/>
              <a:gd name="connsiteY522" fmla="*/ 2724349 h 6858000"/>
              <a:gd name="connsiteX523" fmla="*/ 677761 w 2675642"/>
              <a:gd name="connsiteY523" fmla="*/ 2934758 h 6858000"/>
              <a:gd name="connsiteX524" fmla="*/ 467748 w 2675642"/>
              <a:gd name="connsiteY524" fmla="*/ 2724349 h 6858000"/>
              <a:gd name="connsiteX525" fmla="*/ 467748 w 2675642"/>
              <a:gd name="connsiteY525" fmla="*/ 2668961 h 6858000"/>
              <a:gd name="connsiteX526" fmla="*/ 546228 w 2675642"/>
              <a:gd name="connsiteY526" fmla="*/ 2590227 h 6858000"/>
              <a:gd name="connsiteX527" fmla="*/ 573858 w 2675642"/>
              <a:gd name="connsiteY527" fmla="*/ 2578676 h 6858000"/>
              <a:gd name="connsiteX528" fmla="*/ 573858 w 2675642"/>
              <a:gd name="connsiteY528" fmla="*/ 2562208 h 6858000"/>
              <a:gd name="connsiteX529" fmla="*/ 534683 w 2675642"/>
              <a:gd name="connsiteY529" fmla="*/ 2578552 h 6858000"/>
              <a:gd name="connsiteX530" fmla="*/ 456203 w 2675642"/>
              <a:gd name="connsiteY530" fmla="*/ 2657288 h 6858000"/>
              <a:gd name="connsiteX531" fmla="*/ 456203 w 2675642"/>
              <a:gd name="connsiteY531" fmla="*/ 2735893 h 6858000"/>
              <a:gd name="connsiteX532" fmla="*/ 677761 w 2675642"/>
              <a:gd name="connsiteY532" fmla="*/ 2957977 h 6858000"/>
              <a:gd name="connsiteX533" fmla="*/ 899319 w 2675642"/>
              <a:gd name="connsiteY533" fmla="*/ 2735893 h 6858000"/>
              <a:gd name="connsiteX534" fmla="*/ 899319 w 2675642"/>
              <a:gd name="connsiteY534" fmla="*/ 2657288 h 6858000"/>
              <a:gd name="connsiteX535" fmla="*/ 820839 w 2675642"/>
              <a:gd name="connsiteY535" fmla="*/ 2578676 h 6858000"/>
              <a:gd name="connsiteX536" fmla="*/ 781664 w 2675642"/>
              <a:gd name="connsiteY536" fmla="*/ 2562337 h 6858000"/>
              <a:gd name="connsiteX537" fmla="*/ 781534 w 2675642"/>
              <a:gd name="connsiteY537" fmla="*/ 2562208 h 6858000"/>
              <a:gd name="connsiteX538" fmla="*/ 742232 w 2675642"/>
              <a:gd name="connsiteY538" fmla="*/ 2578676 h 6858000"/>
              <a:gd name="connsiteX539" fmla="*/ 677761 w 2675642"/>
              <a:gd name="connsiteY539" fmla="*/ 2643284 h 6858000"/>
              <a:gd name="connsiteX540" fmla="*/ 613162 w 2675642"/>
              <a:gd name="connsiteY540" fmla="*/ 2578552 h 6858000"/>
              <a:gd name="connsiteX541" fmla="*/ 573858 w 2675642"/>
              <a:gd name="connsiteY541" fmla="*/ 2562208 h 6858000"/>
              <a:gd name="connsiteX542" fmla="*/ 2675642 w 2675642"/>
              <a:gd name="connsiteY542" fmla="*/ 2378785 h 6858000"/>
              <a:gd name="connsiteX543" fmla="*/ 2675642 w 2675642"/>
              <a:gd name="connsiteY543" fmla="*/ 2587244 h 6858000"/>
              <a:gd name="connsiteX544" fmla="*/ 2666981 w 2675642"/>
              <a:gd name="connsiteY544" fmla="*/ 2578566 h 6858000"/>
              <a:gd name="connsiteX545" fmla="*/ 2627676 w 2675642"/>
              <a:gd name="connsiteY545" fmla="*/ 2562222 h 6858000"/>
              <a:gd name="connsiteX546" fmla="*/ 2588501 w 2675642"/>
              <a:gd name="connsiteY546" fmla="*/ 2578566 h 6858000"/>
              <a:gd name="connsiteX547" fmla="*/ 2510022 w 2675642"/>
              <a:gd name="connsiteY547" fmla="*/ 2657304 h 6858000"/>
              <a:gd name="connsiteX548" fmla="*/ 2510022 w 2675642"/>
              <a:gd name="connsiteY548" fmla="*/ 2735903 h 6858000"/>
              <a:gd name="connsiteX549" fmla="*/ 2675642 w 2675642"/>
              <a:gd name="connsiteY549" fmla="*/ 2901917 h 6858000"/>
              <a:gd name="connsiteX550" fmla="*/ 2675642 w 2675642"/>
              <a:gd name="connsiteY550" fmla="*/ 3086666 h 6858000"/>
              <a:gd name="connsiteX551" fmla="*/ 2397687 w 2675642"/>
              <a:gd name="connsiteY551" fmla="*/ 2925817 h 6858000"/>
              <a:gd name="connsiteX552" fmla="*/ 2397687 w 2675642"/>
              <a:gd name="connsiteY552" fmla="*/ 2539653 h 6858000"/>
              <a:gd name="connsiteX553" fmla="*/ 1370972 w 2675642"/>
              <a:gd name="connsiteY553" fmla="*/ 2351688 h 6858000"/>
              <a:gd name="connsiteX554" fmla="*/ 1696432 w 2675642"/>
              <a:gd name="connsiteY554" fmla="*/ 2540032 h 6858000"/>
              <a:gd name="connsiteX555" fmla="*/ 1696432 w 2675642"/>
              <a:gd name="connsiteY555" fmla="*/ 2916853 h 6858000"/>
              <a:gd name="connsiteX556" fmla="*/ 1370972 w 2675642"/>
              <a:gd name="connsiteY556" fmla="*/ 2728491 h 6858000"/>
              <a:gd name="connsiteX557" fmla="*/ 1354627 w 2675642"/>
              <a:gd name="connsiteY557" fmla="*/ 2351688 h 6858000"/>
              <a:gd name="connsiteX558" fmla="*/ 1354627 w 2675642"/>
              <a:gd name="connsiteY558" fmla="*/ 2728491 h 6858000"/>
              <a:gd name="connsiteX559" fmla="*/ 1029036 w 2675642"/>
              <a:gd name="connsiteY559" fmla="*/ 2916853 h 6858000"/>
              <a:gd name="connsiteX560" fmla="*/ 1029036 w 2675642"/>
              <a:gd name="connsiteY560" fmla="*/ 2540032 h 6858000"/>
              <a:gd name="connsiteX561" fmla="*/ 0 w 2675642"/>
              <a:gd name="connsiteY561" fmla="*/ 2351157 h 6858000"/>
              <a:gd name="connsiteX562" fmla="*/ 326355 w 2675642"/>
              <a:gd name="connsiteY562" fmla="*/ 2540021 h 6858000"/>
              <a:gd name="connsiteX563" fmla="*/ 326355 w 2675642"/>
              <a:gd name="connsiteY563" fmla="*/ 2926315 h 6858000"/>
              <a:gd name="connsiteX564" fmla="*/ 0 w 2675642"/>
              <a:gd name="connsiteY564" fmla="*/ 3115251 h 6858000"/>
              <a:gd name="connsiteX565" fmla="*/ 2046540 w 2675642"/>
              <a:gd name="connsiteY565" fmla="*/ 2346879 h 6858000"/>
              <a:gd name="connsiteX566" fmla="*/ 2380303 w 2675642"/>
              <a:gd name="connsiteY566" fmla="*/ 2540032 h 6858000"/>
              <a:gd name="connsiteX567" fmla="*/ 2380303 w 2675642"/>
              <a:gd name="connsiteY567" fmla="*/ 2926321 h 6858000"/>
              <a:gd name="connsiteX568" fmla="*/ 2046670 w 2675642"/>
              <a:gd name="connsiteY568" fmla="*/ 3119473 h 6858000"/>
              <a:gd name="connsiteX569" fmla="*/ 1712907 w 2675642"/>
              <a:gd name="connsiteY569" fmla="*/ 2926321 h 6858000"/>
              <a:gd name="connsiteX570" fmla="*/ 1712907 w 2675642"/>
              <a:gd name="connsiteY570" fmla="*/ 2540032 h 6858000"/>
              <a:gd name="connsiteX571" fmla="*/ 677631 w 2675642"/>
              <a:gd name="connsiteY571" fmla="*/ 2346481 h 6858000"/>
              <a:gd name="connsiteX572" fmla="*/ 1011395 w 2675642"/>
              <a:gd name="connsiteY572" fmla="*/ 2539629 h 6858000"/>
              <a:gd name="connsiteX573" fmla="*/ 1011395 w 2675642"/>
              <a:gd name="connsiteY573" fmla="*/ 2925801 h 6858000"/>
              <a:gd name="connsiteX574" fmla="*/ 677631 w 2675642"/>
              <a:gd name="connsiteY574" fmla="*/ 3118955 h 6858000"/>
              <a:gd name="connsiteX575" fmla="*/ 343867 w 2675642"/>
              <a:gd name="connsiteY575" fmla="*/ 2925801 h 6858000"/>
              <a:gd name="connsiteX576" fmla="*/ 343867 w 2675642"/>
              <a:gd name="connsiteY576" fmla="*/ 2539629 h 6858000"/>
              <a:gd name="connsiteX577" fmla="*/ 2389645 w 2675642"/>
              <a:gd name="connsiteY577" fmla="*/ 2148664 h 6858000"/>
              <a:gd name="connsiteX578" fmla="*/ 2675642 w 2675642"/>
              <a:gd name="connsiteY578" fmla="*/ 2314149 h 6858000"/>
              <a:gd name="connsiteX579" fmla="*/ 2675642 w 2675642"/>
              <a:gd name="connsiteY579" fmla="*/ 2359849 h 6858000"/>
              <a:gd name="connsiteX580" fmla="*/ 2389515 w 2675642"/>
              <a:gd name="connsiteY580" fmla="*/ 2525372 h 6858000"/>
              <a:gd name="connsiteX581" fmla="*/ 2064056 w 2675642"/>
              <a:gd name="connsiteY581" fmla="*/ 2337021 h 6858000"/>
              <a:gd name="connsiteX582" fmla="*/ 335824 w 2675642"/>
              <a:gd name="connsiteY582" fmla="*/ 2148651 h 6858000"/>
              <a:gd name="connsiteX583" fmla="*/ 661283 w 2675642"/>
              <a:gd name="connsiteY583" fmla="*/ 2337004 h 6858000"/>
              <a:gd name="connsiteX584" fmla="*/ 335694 w 2675642"/>
              <a:gd name="connsiteY584" fmla="*/ 2525360 h 6858000"/>
              <a:gd name="connsiteX585" fmla="*/ 10237 w 2675642"/>
              <a:gd name="connsiteY585" fmla="*/ 2337004 h 6858000"/>
              <a:gd name="connsiteX586" fmla="*/ 1600831 w 2675642"/>
              <a:gd name="connsiteY586" fmla="*/ 1984709 h 6858000"/>
              <a:gd name="connsiteX587" fmla="*/ 1628591 w 2675642"/>
              <a:gd name="connsiteY587" fmla="*/ 1996254 h 6858000"/>
              <a:gd name="connsiteX588" fmla="*/ 1693190 w 2675642"/>
              <a:gd name="connsiteY588" fmla="*/ 2060984 h 6858000"/>
              <a:gd name="connsiteX589" fmla="*/ 1704735 w 2675642"/>
              <a:gd name="connsiteY589" fmla="*/ 2072657 h 6858000"/>
              <a:gd name="connsiteX590" fmla="*/ 1716280 w 2675642"/>
              <a:gd name="connsiteY590" fmla="*/ 2060984 h 6858000"/>
              <a:gd name="connsiteX591" fmla="*/ 1780749 w 2675642"/>
              <a:gd name="connsiteY591" fmla="*/ 1996254 h 6858000"/>
              <a:gd name="connsiteX592" fmla="*/ 1808508 w 2675642"/>
              <a:gd name="connsiteY592" fmla="*/ 1984709 h 6858000"/>
              <a:gd name="connsiteX593" fmla="*/ 1836138 w 2675642"/>
              <a:gd name="connsiteY593" fmla="*/ 1996254 h 6858000"/>
              <a:gd name="connsiteX594" fmla="*/ 1914618 w 2675642"/>
              <a:gd name="connsiteY594" fmla="*/ 2074862 h 6858000"/>
              <a:gd name="connsiteX595" fmla="*/ 1926160 w 2675642"/>
              <a:gd name="connsiteY595" fmla="*/ 2102615 h 6858000"/>
              <a:gd name="connsiteX596" fmla="*/ 1914748 w 2675642"/>
              <a:gd name="connsiteY596" fmla="*/ 2130362 h 6858000"/>
              <a:gd name="connsiteX597" fmla="*/ 1704735 w 2675642"/>
              <a:gd name="connsiteY597" fmla="*/ 2340772 h 6858000"/>
              <a:gd name="connsiteX598" fmla="*/ 1494722 w 2675642"/>
              <a:gd name="connsiteY598" fmla="*/ 2130362 h 6858000"/>
              <a:gd name="connsiteX599" fmla="*/ 1483245 w 2675642"/>
              <a:gd name="connsiteY599" fmla="*/ 2102632 h 6858000"/>
              <a:gd name="connsiteX600" fmla="*/ 1494722 w 2675642"/>
              <a:gd name="connsiteY600" fmla="*/ 2074992 h 6858000"/>
              <a:gd name="connsiteX601" fmla="*/ 1573201 w 2675642"/>
              <a:gd name="connsiteY601" fmla="*/ 1996254 h 6858000"/>
              <a:gd name="connsiteX602" fmla="*/ 1600831 w 2675642"/>
              <a:gd name="connsiteY602" fmla="*/ 1984709 h 6858000"/>
              <a:gd name="connsiteX603" fmla="*/ 1600831 w 2675642"/>
              <a:gd name="connsiteY603" fmla="*/ 1968219 h 6858000"/>
              <a:gd name="connsiteX604" fmla="*/ 1561656 w 2675642"/>
              <a:gd name="connsiteY604" fmla="*/ 1984563 h 6858000"/>
              <a:gd name="connsiteX605" fmla="*/ 1483177 w 2675642"/>
              <a:gd name="connsiteY605" fmla="*/ 2063301 h 6858000"/>
              <a:gd name="connsiteX606" fmla="*/ 1466930 w 2675642"/>
              <a:gd name="connsiteY606" fmla="*/ 2102607 h 6858000"/>
              <a:gd name="connsiteX607" fmla="*/ 1466933 w 2675642"/>
              <a:gd name="connsiteY607" fmla="*/ 2102615 h 6858000"/>
              <a:gd name="connsiteX608" fmla="*/ 1466930 w 2675642"/>
              <a:gd name="connsiteY608" fmla="*/ 2102624 h 6858000"/>
              <a:gd name="connsiteX609" fmla="*/ 1483177 w 2675642"/>
              <a:gd name="connsiteY609" fmla="*/ 2141923 h 6858000"/>
              <a:gd name="connsiteX610" fmla="*/ 1704735 w 2675642"/>
              <a:gd name="connsiteY610" fmla="*/ 2364005 h 6858000"/>
              <a:gd name="connsiteX611" fmla="*/ 1926292 w 2675642"/>
              <a:gd name="connsiteY611" fmla="*/ 2141923 h 6858000"/>
              <a:gd name="connsiteX612" fmla="*/ 1942539 w 2675642"/>
              <a:gd name="connsiteY612" fmla="*/ 2102624 h 6858000"/>
              <a:gd name="connsiteX613" fmla="*/ 1942536 w 2675642"/>
              <a:gd name="connsiteY613" fmla="*/ 2102615 h 6858000"/>
              <a:gd name="connsiteX614" fmla="*/ 1942539 w 2675642"/>
              <a:gd name="connsiteY614" fmla="*/ 2102607 h 6858000"/>
              <a:gd name="connsiteX615" fmla="*/ 1926292 w 2675642"/>
              <a:gd name="connsiteY615" fmla="*/ 2063301 h 6858000"/>
              <a:gd name="connsiteX616" fmla="*/ 1847813 w 2675642"/>
              <a:gd name="connsiteY616" fmla="*/ 1984693 h 6858000"/>
              <a:gd name="connsiteX617" fmla="*/ 1808638 w 2675642"/>
              <a:gd name="connsiteY617" fmla="*/ 1968348 h 6858000"/>
              <a:gd name="connsiteX618" fmla="*/ 1808508 w 2675642"/>
              <a:gd name="connsiteY618" fmla="*/ 1968219 h 6858000"/>
              <a:gd name="connsiteX619" fmla="*/ 1769204 w 2675642"/>
              <a:gd name="connsiteY619" fmla="*/ 1984693 h 6858000"/>
              <a:gd name="connsiteX620" fmla="*/ 1704735 w 2675642"/>
              <a:gd name="connsiteY620" fmla="*/ 2049294 h 6858000"/>
              <a:gd name="connsiteX621" fmla="*/ 1640136 w 2675642"/>
              <a:gd name="connsiteY621" fmla="*/ 1984563 h 6858000"/>
              <a:gd name="connsiteX622" fmla="*/ 1600831 w 2675642"/>
              <a:gd name="connsiteY622" fmla="*/ 1968219 h 6858000"/>
              <a:gd name="connsiteX623" fmla="*/ 2397817 w 2675642"/>
              <a:gd name="connsiteY623" fmla="*/ 1757693 h 6858000"/>
              <a:gd name="connsiteX624" fmla="*/ 2675642 w 2675642"/>
              <a:gd name="connsiteY624" fmla="*/ 1918485 h 6858000"/>
              <a:gd name="connsiteX625" fmla="*/ 2675642 w 2675642"/>
              <a:gd name="connsiteY625" fmla="*/ 2295294 h 6858000"/>
              <a:gd name="connsiteX626" fmla="*/ 2397817 w 2675642"/>
              <a:gd name="connsiteY626" fmla="*/ 2134524 h 6858000"/>
              <a:gd name="connsiteX627" fmla="*/ 2381472 w 2675642"/>
              <a:gd name="connsiteY627" fmla="*/ 1757693 h 6858000"/>
              <a:gd name="connsiteX628" fmla="*/ 2381472 w 2675642"/>
              <a:gd name="connsiteY628" fmla="*/ 2134524 h 6858000"/>
              <a:gd name="connsiteX629" fmla="*/ 2055881 w 2675642"/>
              <a:gd name="connsiteY629" fmla="*/ 2322864 h 6858000"/>
              <a:gd name="connsiteX630" fmla="*/ 2055881 w 2675642"/>
              <a:gd name="connsiteY630" fmla="*/ 1946054 h 6858000"/>
              <a:gd name="connsiteX631" fmla="*/ 343997 w 2675642"/>
              <a:gd name="connsiteY631" fmla="*/ 1757678 h 6858000"/>
              <a:gd name="connsiteX632" fmla="*/ 669459 w 2675642"/>
              <a:gd name="connsiteY632" fmla="*/ 1946038 h 6858000"/>
              <a:gd name="connsiteX633" fmla="*/ 669459 w 2675642"/>
              <a:gd name="connsiteY633" fmla="*/ 2322844 h 6858000"/>
              <a:gd name="connsiteX634" fmla="*/ 343997 w 2675642"/>
              <a:gd name="connsiteY634" fmla="*/ 2134505 h 6858000"/>
              <a:gd name="connsiteX635" fmla="*/ 327652 w 2675642"/>
              <a:gd name="connsiteY635" fmla="*/ 1757678 h 6858000"/>
              <a:gd name="connsiteX636" fmla="*/ 327652 w 2675642"/>
              <a:gd name="connsiteY636" fmla="*/ 2134505 h 6858000"/>
              <a:gd name="connsiteX637" fmla="*/ 2061 w 2675642"/>
              <a:gd name="connsiteY637" fmla="*/ 2322844 h 6858000"/>
              <a:gd name="connsiteX638" fmla="*/ 2061 w 2675642"/>
              <a:gd name="connsiteY638" fmla="*/ 1946038 h 6858000"/>
              <a:gd name="connsiteX639" fmla="*/ 1019567 w 2675642"/>
              <a:gd name="connsiteY639" fmla="*/ 1752878 h 6858000"/>
              <a:gd name="connsiteX640" fmla="*/ 1353330 w 2675642"/>
              <a:gd name="connsiteY640" fmla="*/ 1946038 h 6858000"/>
              <a:gd name="connsiteX641" fmla="*/ 1353330 w 2675642"/>
              <a:gd name="connsiteY641" fmla="*/ 2332330 h 6858000"/>
              <a:gd name="connsiteX642" fmla="*/ 1019697 w 2675642"/>
              <a:gd name="connsiteY642" fmla="*/ 2525485 h 6858000"/>
              <a:gd name="connsiteX643" fmla="*/ 685932 w 2675642"/>
              <a:gd name="connsiteY643" fmla="*/ 2332330 h 6858000"/>
              <a:gd name="connsiteX644" fmla="*/ 685932 w 2675642"/>
              <a:gd name="connsiteY644" fmla="*/ 1946038 h 6858000"/>
              <a:gd name="connsiteX645" fmla="*/ 1704605 w 2675642"/>
              <a:gd name="connsiteY645" fmla="*/ 1752635 h 6858000"/>
              <a:gd name="connsiteX646" fmla="*/ 2038368 w 2675642"/>
              <a:gd name="connsiteY646" fmla="*/ 1945795 h 6858000"/>
              <a:gd name="connsiteX647" fmla="*/ 2038368 w 2675642"/>
              <a:gd name="connsiteY647" fmla="*/ 2331944 h 6858000"/>
              <a:gd name="connsiteX648" fmla="*/ 1704605 w 2675642"/>
              <a:gd name="connsiteY648" fmla="*/ 2525105 h 6858000"/>
              <a:gd name="connsiteX649" fmla="*/ 1370842 w 2675642"/>
              <a:gd name="connsiteY649" fmla="*/ 2331944 h 6858000"/>
              <a:gd name="connsiteX650" fmla="*/ 1370842 w 2675642"/>
              <a:gd name="connsiteY650" fmla="*/ 1945795 h 6858000"/>
              <a:gd name="connsiteX651" fmla="*/ 1362800 w 2675642"/>
              <a:gd name="connsiteY651" fmla="*/ 1554804 h 6858000"/>
              <a:gd name="connsiteX652" fmla="*/ 1688246 w 2675642"/>
              <a:gd name="connsiteY652" fmla="*/ 1743155 h 6858000"/>
              <a:gd name="connsiteX653" fmla="*/ 1362669 w 2675642"/>
              <a:gd name="connsiteY653" fmla="*/ 1931508 h 6858000"/>
              <a:gd name="connsiteX654" fmla="*/ 1037222 w 2675642"/>
              <a:gd name="connsiteY654" fmla="*/ 1743155 h 6858000"/>
              <a:gd name="connsiteX655" fmla="*/ 2627676 w 2675642"/>
              <a:gd name="connsiteY655" fmla="*/ 1390835 h 6858000"/>
              <a:gd name="connsiteX656" fmla="*/ 2655436 w 2675642"/>
              <a:gd name="connsiteY656" fmla="*/ 1402380 h 6858000"/>
              <a:gd name="connsiteX657" fmla="*/ 2675642 w 2675642"/>
              <a:gd name="connsiteY657" fmla="*/ 1422630 h 6858000"/>
              <a:gd name="connsiteX658" fmla="*/ 2675642 w 2675642"/>
              <a:gd name="connsiteY658" fmla="*/ 1690880 h 6858000"/>
              <a:gd name="connsiteX659" fmla="*/ 2521567 w 2675642"/>
              <a:gd name="connsiteY659" fmla="*/ 1536513 h 6858000"/>
              <a:gd name="connsiteX660" fmla="*/ 2521567 w 2675642"/>
              <a:gd name="connsiteY660" fmla="*/ 1481120 h 6858000"/>
              <a:gd name="connsiteX661" fmla="*/ 2600047 w 2675642"/>
              <a:gd name="connsiteY661" fmla="*/ 1402380 h 6858000"/>
              <a:gd name="connsiteX662" fmla="*/ 2627676 w 2675642"/>
              <a:gd name="connsiteY662" fmla="*/ 1390835 h 6858000"/>
              <a:gd name="connsiteX663" fmla="*/ 573858 w 2675642"/>
              <a:gd name="connsiteY663" fmla="*/ 1390817 h 6858000"/>
              <a:gd name="connsiteX664" fmla="*/ 601617 w 2675642"/>
              <a:gd name="connsiteY664" fmla="*/ 1402365 h 6858000"/>
              <a:gd name="connsiteX665" fmla="*/ 666217 w 2675642"/>
              <a:gd name="connsiteY665" fmla="*/ 1467099 h 6858000"/>
              <a:gd name="connsiteX666" fmla="*/ 677761 w 2675642"/>
              <a:gd name="connsiteY666" fmla="*/ 1478768 h 6858000"/>
              <a:gd name="connsiteX667" fmla="*/ 689306 w 2675642"/>
              <a:gd name="connsiteY667" fmla="*/ 1467099 h 6858000"/>
              <a:gd name="connsiteX668" fmla="*/ 753777 w 2675642"/>
              <a:gd name="connsiteY668" fmla="*/ 1402365 h 6858000"/>
              <a:gd name="connsiteX669" fmla="*/ 781534 w 2675642"/>
              <a:gd name="connsiteY669" fmla="*/ 1390817 h 6858000"/>
              <a:gd name="connsiteX670" fmla="*/ 809164 w 2675642"/>
              <a:gd name="connsiteY670" fmla="*/ 1402365 h 6858000"/>
              <a:gd name="connsiteX671" fmla="*/ 887644 w 2675642"/>
              <a:gd name="connsiteY671" fmla="*/ 1480975 h 6858000"/>
              <a:gd name="connsiteX672" fmla="*/ 899189 w 2675642"/>
              <a:gd name="connsiteY672" fmla="*/ 1508734 h 6858000"/>
              <a:gd name="connsiteX673" fmla="*/ 887774 w 2675642"/>
              <a:gd name="connsiteY673" fmla="*/ 1536497 h 6858000"/>
              <a:gd name="connsiteX674" fmla="*/ 677761 w 2675642"/>
              <a:gd name="connsiteY674" fmla="*/ 1746909 h 6858000"/>
              <a:gd name="connsiteX675" fmla="*/ 467748 w 2675642"/>
              <a:gd name="connsiteY675" fmla="*/ 1536497 h 6858000"/>
              <a:gd name="connsiteX676" fmla="*/ 467748 w 2675642"/>
              <a:gd name="connsiteY676" fmla="*/ 1481104 h 6858000"/>
              <a:gd name="connsiteX677" fmla="*/ 546228 w 2675642"/>
              <a:gd name="connsiteY677" fmla="*/ 1402365 h 6858000"/>
              <a:gd name="connsiteX678" fmla="*/ 573858 w 2675642"/>
              <a:gd name="connsiteY678" fmla="*/ 1390817 h 6858000"/>
              <a:gd name="connsiteX679" fmla="*/ 573858 w 2675642"/>
              <a:gd name="connsiteY679" fmla="*/ 1374341 h 6858000"/>
              <a:gd name="connsiteX680" fmla="*/ 534683 w 2675642"/>
              <a:gd name="connsiteY680" fmla="*/ 1390688 h 6858000"/>
              <a:gd name="connsiteX681" fmla="*/ 456203 w 2675642"/>
              <a:gd name="connsiteY681" fmla="*/ 1469432 h 6858000"/>
              <a:gd name="connsiteX682" fmla="*/ 456203 w 2675642"/>
              <a:gd name="connsiteY682" fmla="*/ 1548042 h 6858000"/>
              <a:gd name="connsiteX683" fmla="*/ 677761 w 2675642"/>
              <a:gd name="connsiteY683" fmla="*/ 1770130 h 6858000"/>
              <a:gd name="connsiteX684" fmla="*/ 899319 w 2675642"/>
              <a:gd name="connsiteY684" fmla="*/ 1548042 h 6858000"/>
              <a:gd name="connsiteX685" fmla="*/ 899319 w 2675642"/>
              <a:gd name="connsiteY685" fmla="*/ 1469432 h 6858000"/>
              <a:gd name="connsiteX686" fmla="*/ 820839 w 2675642"/>
              <a:gd name="connsiteY686" fmla="*/ 1390817 h 6858000"/>
              <a:gd name="connsiteX687" fmla="*/ 781664 w 2675642"/>
              <a:gd name="connsiteY687" fmla="*/ 1374473 h 6858000"/>
              <a:gd name="connsiteX688" fmla="*/ 781534 w 2675642"/>
              <a:gd name="connsiteY688" fmla="*/ 1374341 h 6858000"/>
              <a:gd name="connsiteX689" fmla="*/ 742232 w 2675642"/>
              <a:gd name="connsiteY689" fmla="*/ 1390817 h 6858000"/>
              <a:gd name="connsiteX690" fmla="*/ 677761 w 2675642"/>
              <a:gd name="connsiteY690" fmla="*/ 1455423 h 6858000"/>
              <a:gd name="connsiteX691" fmla="*/ 613162 w 2675642"/>
              <a:gd name="connsiteY691" fmla="*/ 1390688 h 6858000"/>
              <a:gd name="connsiteX692" fmla="*/ 573858 w 2675642"/>
              <a:gd name="connsiteY692" fmla="*/ 1374341 h 6858000"/>
              <a:gd name="connsiteX693" fmla="*/ 2675642 w 2675642"/>
              <a:gd name="connsiteY693" fmla="*/ 1190935 h 6858000"/>
              <a:gd name="connsiteX694" fmla="*/ 2675642 w 2675642"/>
              <a:gd name="connsiteY694" fmla="*/ 1399384 h 6858000"/>
              <a:gd name="connsiteX695" fmla="*/ 2666981 w 2675642"/>
              <a:gd name="connsiteY695" fmla="*/ 1390703 h 6858000"/>
              <a:gd name="connsiteX696" fmla="*/ 2627676 w 2675642"/>
              <a:gd name="connsiteY696" fmla="*/ 1374358 h 6858000"/>
              <a:gd name="connsiteX697" fmla="*/ 2588501 w 2675642"/>
              <a:gd name="connsiteY697" fmla="*/ 1390703 h 6858000"/>
              <a:gd name="connsiteX698" fmla="*/ 2510022 w 2675642"/>
              <a:gd name="connsiteY698" fmla="*/ 1469451 h 6858000"/>
              <a:gd name="connsiteX699" fmla="*/ 2510022 w 2675642"/>
              <a:gd name="connsiteY699" fmla="*/ 1548057 h 6858000"/>
              <a:gd name="connsiteX700" fmla="*/ 2675642 w 2675642"/>
              <a:gd name="connsiteY700" fmla="*/ 1714074 h 6858000"/>
              <a:gd name="connsiteX701" fmla="*/ 2675642 w 2675642"/>
              <a:gd name="connsiteY701" fmla="*/ 1898836 h 6858000"/>
              <a:gd name="connsiteX702" fmla="*/ 2397687 w 2675642"/>
              <a:gd name="connsiteY702" fmla="*/ 1737973 h 6858000"/>
              <a:gd name="connsiteX703" fmla="*/ 2397687 w 2675642"/>
              <a:gd name="connsiteY703" fmla="*/ 1351792 h 6858000"/>
              <a:gd name="connsiteX704" fmla="*/ 1370972 w 2675642"/>
              <a:gd name="connsiteY704" fmla="*/ 1163824 h 6858000"/>
              <a:gd name="connsiteX705" fmla="*/ 1696432 w 2675642"/>
              <a:gd name="connsiteY705" fmla="*/ 1352175 h 6858000"/>
              <a:gd name="connsiteX706" fmla="*/ 1696432 w 2675642"/>
              <a:gd name="connsiteY706" fmla="*/ 1729007 h 6858000"/>
              <a:gd name="connsiteX707" fmla="*/ 1370972 w 2675642"/>
              <a:gd name="connsiteY707" fmla="*/ 1540647 h 6858000"/>
              <a:gd name="connsiteX708" fmla="*/ 1354627 w 2675642"/>
              <a:gd name="connsiteY708" fmla="*/ 1163824 h 6858000"/>
              <a:gd name="connsiteX709" fmla="*/ 1354627 w 2675642"/>
              <a:gd name="connsiteY709" fmla="*/ 1540647 h 6858000"/>
              <a:gd name="connsiteX710" fmla="*/ 1029036 w 2675642"/>
              <a:gd name="connsiteY710" fmla="*/ 1729007 h 6858000"/>
              <a:gd name="connsiteX711" fmla="*/ 1029036 w 2675642"/>
              <a:gd name="connsiteY711" fmla="*/ 1352175 h 6858000"/>
              <a:gd name="connsiteX712" fmla="*/ 0 w 2675642"/>
              <a:gd name="connsiteY712" fmla="*/ 1163295 h 6858000"/>
              <a:gd name="connsiteX713" fmla="*/ 326355 w 2675642"/>
              <a:gd name="connsiteY713" fmla="*/ 1352160 h 6858000"/>
              <a:gd name="connsiteX714" fmla="*/ 326355 w 2675642"/>
              <a:gd name="connsiteY714" fmla="*/ 1738464 h 6858000"/>
              <a:gd name="connsiteX715" fmla="*/ 0 w 2675642"/>
              <a:gd name="connsiteY715" fmla="*/ 1927407 h 6858000"/>
              <a:gd name="connsiteX716" fmla="*/ 2046540 w 2675642"/>
              <a:gd name="connsiteY716" fmla="*/ 1159023 h 6858000"/>
              <a:gd name="connsiteX717" fmla="*/ 2380303 w 2675642"/>
              <a:gd name="connsiteY717" fmla="*/ 1352175 h 6858000"/>
              <a:gd name="connsiteX718" fmla="*/ 2380303 w 2675642"/>
              <a:gd name="connsiteY718" fmla="*/ 1738478 h 6858000"/>
              <a:gd name="connsiteX719" fmla="*/ 2046670 w 2675642"/>
              <a:gd name="connsiteY719" fmla="*/ 1931637 h 6858000"/>
              <a:gd name="connsiteX720" fmla="*/ 1712907 w 2675642"/>
              <a:gd name="connsiteY720" fmla="*/ 1738478 h 6858000"/>
              <a:gd name="connsiteX721" fmla="*/ 1712907 w 2675642"/>
              <a:gd name="connsiteY721" fmla="*/ 1352175 h 6858000"/>
              <a:gd name="connsiteX722" fmla="*/ 677631 w 2675642"/>
              <a:gd name="connsiteY722" fmla="*/ 1158620 h 6858000"/>
              <a:gd name="connsiteX723" fmla="*/ 1011395 w 2675642"/>
              <a:gd name="connsiteY723" fmla="*/ 1351774 h 6858000"/>
              <a:gd name="connsiteX724" fmla="*/ 1011395 w 2675642"/>
              <a:gd name="connsiteY724" fmla="*/ 1737958 h 6858000"/>
              <a:gd name="connsiteX725" fmla="*/ 677631 w 2675642"/>
              <a:gd name="connsiteY725" fmla="*/ 1931118 h 6858000"/>
              <a:gd name="connsiteX726" fmla="*/ 343867 w 2675642"/>
              <a:gd name="connsiteY726" fmla="*/ 1737958 h 6858000"/>
              <a:gd name="connsiteX727" fmla="*/ 343867 w 2675642"/>
              <a:gd name="connsiteY727" fmla="*/ 1351774 h 6858000"/>
              <a:gd name="connsiteX728" fmla="*/ 2389645 w 2675642"/>
              <a:gd name="connsiteY728" fmla="*/ 960799 h 6858000"/>
              <a:gd name="connsiteX729" fmla="*/ 2675642 w 2675642"/>
              <a:gd name="connsiteY729" fmla="*/ 1126327 h 6858000"/>
              <a:gd name="connsiteX730" fmla="*/ 2675642 w 2675642"/>
              <a:gd name="connsiteY730" fmla="*/ 1171992 h 6858000"/>
              <a:gd name="connsiteX731" fmla="*/ 2389515 w 2675642"/>
              <a:gd name="connsiteY731" fmla="*/ 1337516 h 6858000"/>
              <a:gd name="connsiteX732" fmla="*/ 2064056 w 2675642"/>
              <a:gd name="connsiteY732" fmla="*/ 1149161 h 6858000"/>
              <a:gd name="connsiteX733" fmla="*/ 335824 w 2675642"/>
              <a:gd name="connsiteY733" fmla="*/ 960784 h 6858000"/>
              <a:gd name="connsiteX734" fmla="*/ 661283 w 2675642"/>
              <a:gd name="connsiteY734" fmla="*/ 1149145 h 6858000"/>
              <a:gd name="connsiteX735" fmla="*/ 335694 w 2675642"/>
              <a:gd name="connsiteY735" fmla="*/ 1337499 h 6858000"/>
              <a:gd name="connsiteX736" fmla="*/ 10237 w 2675642"/>
              <a:gd name="connsiteY736" fmla="*/ 1149145 h 6858000"/>
              <a:gd name="connsiteX737" fmla="*/ 1600831 w 2675642"/>
              <a:gd name="connsiteY737" fmla="*/ 796828 h 6858000"/>
              <a:gd name="connsiteX738" fmla="*/ 1628591 w 2675642"/>
              <a:gd name="connsiteY738" fmla="*/ 808373 h 6858000"/>
              <a:gd name="connsiteX739" fmla="*/ 1693190 w 2675642"/>
              <a:gd name="connsiteY739" fmla="*/ 873104 h 6858000"/>
              <a:gd name="connsiteX740" fmla="*/ 1704735 w 2675642"/>
              <a:gd name="connsiteY740" fmla="*/ 884778 h 6858000"/>
              <a:gd name="connsiteX741" fmla="*/ 1716280 w 2675642"/>
              <a:gd name="connsiteY741" fmla="*/ 873104 h 6858000"/>
              <a:gd name="connsiteX742" fmla="*/ 1780749 w 2675642"/>
              <a:gd name="connsiteY742" fmla="*/ 808373 h 6858000"/>
              <a:gd name="connsiteX743" fmla="*/ 1808508 w 2675642"/>
              <a:gd name="connsiteY743" fmla="*/ 796828 h 6858000"/>
              <a:gd name="connsiteX744" fmla="*/ 1836138 w 2675642"/>
              <a:gd name="connsiteY744" fmla="*/ 808373 h 6858000"/>
              <a:gd name="connsiteX745" fmla="*/ 1914618 w 2675642"/>
              <a:gd name="connsiteY745" fmla="*/ 886983 h 6858000"/>
              <a:gd name="connsiteX746" fmla="*/ 1926160 w 2675642"/>
              <a:gd name="connsiteY746" fmla="*/ 914736 h 6858000"/>
              <a:gd name="connsiteX747" fmla="*/ 1914748 w 2675642"/>
              <a:gd name="connsiteY747" fmla="*/ 942490 h 6858000"/>
              <a:gd name="connsiteX748" fmla="*/ 1704735 w 2675642"/>
              <a:gd name="connsiteY748" fmla="*/ 1152909 h 6858000"/>
              <a:gd name="connsiteX749" fmla="*/ 1494722 w 2675642"/>
              <a:gd name="connsiteY749" fmla="*/ 942490 h 6858000"/>
              <a:gd name="connsiteX750" fmla="*/ 1483244 w 2675642"/>
              <a:gd name="connsiteY750" fmla="*/ 914754 h 6858000"/>
              <a:gd name="connsiteX751" fmla="*/ 1494722 w 2675642"/>
              <a:gd name="connsiteY751" fmla="*/ 887113 h 6858000"/>
              <a:gd name="connsiteX752" fmla="*/ 1573201 w 2675642"/>
              <a:gd name="connsiteY752" fmla="*/ 808373 h 6858000"/>
              <a:gd name="connsiteX753" fmla="*/ 1600831 w 2675642"/>
              <a:gd name="connsiteY753" fmla="*/ 796828 h 6858000"/>
              <a:gd name="connsiteX754" fmla="*/ 1600831 w 2675642"/>
              <a:gd name="connsiteY754" fmla="*/ 780338 h 6858000"/>
              <a:gd name="connsiteX755" fmla="*/ 1561656 w 2675642"/>
              <a:gd name="connsiteY755" fmla="*/ 796683 h 6858000"/>
              <a:gd name="connsiteX756" fmla="*/ 1483177 w 2675642"/>
              <a:gd name="connsiteY756" fmla="*/ 875425 h 6858000"/>
              <a:gd name="connsiteX757" fmla="*/ 1466930 w 2675642"/>
              <a:gd name="connsiteY757" fmla="*/ 914730 h 6858000"/>
              <a:gd name="connsiteX758" fmla="*/ 1466933 w 2675642"/>
              <a:gd name="connsiteY758" fmla="*/ 914736 h 6858000"/>
              <a:gd name="connsiteX759" fmla="*/ 1466930 w 2675642"/>
              <a:gd name="connsiteY759" fmla="*/ 914744 h 6858000"/>
              <a:gd name="connsiteX760" fmla="*/ 1483177 w 2675642"/>
              <a:gd name="connsiteY760" fmla="*/ 954050 h 6858000"/>
              <a:gd name="connsiteX761" fmla="*/ 1704735 w 2675642"/>
              <a:gd name="connsiteY761" fmla="*/ 1176145 h 6858000"/>
              <a:gd name="connsiteX762" fmla="*/ 1926292 w 2675642"/>
              <a:gd name="connsiteY762" fmla="*/ 954050 h 6858000"/>
              <a:gd name="connsiteX763" fmla="*/ 1942539 w 2675642"/>
              <a:gd name="connsiteY763" fmla="*/ 914744 h 6858000"/>
              <a:gd name="connsiteX764" fmla="*/ 1942536 w 2675642"/>
              <a:gd name="connsiteY764" fmla="*/ 914736 h 6858000"/>
              <a:gd name="connsiteX765" fmla="*/ 1942539 w 2675642"/>
              <a:gd name="connsiteY765" fmla="*/ 914730 h 6858000"/>
              <a:gd name="connsiteX766" fmla="*/ 1926292 w 2675642"/>
              <a:gd name="connsiteY766" fmla="*/ 875425 h 6858000"/>
              <a:gd name="connsiteX767" fmla="*/ 1847813 w 2675642"/>
              <a:gd name="connsiteY767" fmla="*/ 796812 h 6858000"/>
              <a:gd name="connsiteX768" fmla="*/ 1808638 w 2675642"/>
              <a:gd name="connsiteY768" fmla="*/ 780468 h 6858000"/>
              <a:gd name="connsiteX769" fmla="*/ 1808508 w 2675642"/>
              <a:gd name="connsiteY769" fmla="*/ 780338 h 6858000"/>
              <a:gd name="connsiteX770" fmla="*/ 1769204 w 2675642"/>
              <a:gd name="connsiteY770" fmla="*/ 796812 h 6858000"/>
              <a:gd name="connsiteX771" fmla="*/ 1704735 w 2675642"/>
              <a:gd name="connsiteY771" fmla="*/ 861415 h 6858000"/>
              <a:gd name="connsiteX772" fmla="*/ 1640136 w 2675642"/>
              <a:gd name="connsiteY772" fmla="*/ 796683 h 6858000"/>
              <a:gd name="connsiteX773" fmla="*/ 1600831 w 2675642"/>
              <a:gd name="connsiteY773" fmla="*/ 780338 h 6858000"/>
              <a:gd name="connsiteX774" fmla="*/ 2397817 w 2675642"/>
              <a:gd name="connsiteY774" fmla="*/ 569816 h 6858000"/>
              <a:gd name="connsiteX775" fmla="*/ 2675642 w 2675642"/>
              <a:gd name="connsiteY775" fmla="*/ 730603 h 6858000"/>
              <a:gd name="connsiteX776" fmla="*/ 2675642 w 2675642"/>
              <a:gd name="connsiteY776" fmla="*/ 1107455 h 6858000"/>
              <a:gd name="connsiteX777" fmla="*/ 2397817 w 2675642"/>
              <a:gd name="connsiteY777" fmla="*/ 946654 h 6858000"/>
              <a:gd name="connsiteX778" fmla="*/ 2381472 w 2675642"/>
              <a:gd name="connsiteY778" fmla="*/ 569816 h 6858000"/>
              <a:gd name="connsiteX779" fmla="*/ 2381472 w 2675642"/>
              <a:gd name="connsiteY779" fmla="*/ 946654 h 6858000"/>
              <a:gd name="connsiteX780" fmla="*/ 2055881 w 2675642"/>
              <a:gd name="connsiteY780" fmla="*/ 1135023 h 6858000"/>
              <a:gd name="connsiteX781" fmla="*/ 2055881 w 2675642"/>
              <a:gd name="connsiteY781" fmla="*/ 758171 h 6858000"/>
              <a:gd name="connsiteX782" fmla="*/ 343997 w 2675642"/>
              <a:gd name="connsiteY782" fmla="*/ 569803 h 6858000"/>
              <a:gd name="connsiteX783" fmla="*/ 669459 w 2675642"/>
              <a:gd name="connsiteY783" fmla="*/ 758157 h 6858000"/>
              <a:gd name="connsiteX784" fmla="*/ 669459 w 2675642"/>
              <a:gd name="connsiteY784" fmla="*/ 1135005 h 6858000"/>
              <a:gd name="connsiteX785" fmla="*/ 343997 w 2675642"/>
              <a:gd name="connsiteY785" fmla="*/ 946640 h 6858000"/>
              <a:gd name="connsiteX786" fmla="*/ 327652 w 2675642"/>
              <a:gd name="connsiteY786" fmla="*/ 569803 h 6858000"/>
              <a:gd name="connsiteX787" fmla="*/ 327652 w 2675642"/>
              <a:gd name="connsiteY787" fmla="*/ 946640 h 6858000"/>
              <a:gd name="connsiteX788" fmla="*/ 2061 w 2675642"/>
              <a:gd name="connsiteY788" fmla="*/ 1135005 h 6858000"/>
              <a:gd name="connsiteX789" fmla="*/ 2061 w 2675642"/>
              <a:gd name="connsiteY789" fmla="*/ 758157 h 6858000"/>
              <a:gd name="connsiteX790" fmla="*/ 1019567 w 2675642"/>
              <a:gd name="connsiteY790" fmla="*/ 565003 h 6858000"/>
              <a:gd name="connsiteX791" fmla="*/ 1353330 w 2675642"/>
              <a:gd name="connsiteY791" fmla="*/ 758157 h 6858000"/>
              <a:gd name="connsiteX792" fmla="*/ 1353330 w 2675642"/>
              <a:gd name="connsiteY792" fmla="*/ 1144474 h 6858000"/>
              <a:gd name="connsiteX793" fmla="*/ 1019697 w 2675642"/>
              <a:gd name="connsiteY793" fmla="*/ 1337629 h 6858000"/>
              <a:gd name="connsiteX794" fmla="*/ 685932 w 2675642"/>
              <a:gd name="connsiteY794" fmla="*/ 1144474 h 6858000"/>
              <a:gd name="connsiteX795" fmla="*/ 685932 w 2675642"/>
              <a:gd name="connsiteY795" fmla="*/ 758157 h 6858000"/>
              <a:gd name="connsiteX796" fmla="*/ 1704605 w 2675642"/>
              <a:gd name="connsiteY796" fmla="*/ 564628 h 6858000"/>
              <a:gd name="connsiteX797" fmla="*/ 2038368 w 2675642"/>
              <a:gd name="connsiteY797" fmla="*/ 757782 h 6858000"/>
              <a:gd name="connsiteX798" fmla="*/ 2038368 w 2675642"/>
              <a:gd name="connsiteY798" fmla="*/ 1143957 h 6858000"/>
              <a:gd name="connsiteX799" fmla="*/ 1704605 w 2675642"/>
              <a:gd name="connsiteY799" fmla="*/ 1337111 h 6858000"/>
              <a:gd name="connsiteX800" fmla="*/ 1370842 w 2675642"/>
              <a:gd name="connsiteY800" fmla="*/ 1143959 h 6858000"/>
              <a:gd name="connsiteX801" fmla="*/ 1370842 w 2675642"/>
              <a:gd name="connsiteY801" fmla="*/ 757782 h 6858000"/>
              <a:gd name="connsiteX802" fmla="*/ 1362800 w 2675642"/>
              <a:gd name="connsiteY802" fmla="*/ 366803 h 6858000"/>
              <a:gd name="connsiteX803" fmla="*/ 1688247 w 2675642"/>
              <a:gd name="connsiteY803" fmla="*/ 555149 h 6858000"/>
              <a:gd name="connsiteX804" fmla="*/ 1362669 w 2675642"/>
              <a:gd name="connsiteY804" fmla="*/ 743498 h 6858000"/>
              <a:gd name="connsiteX805" fmla="*/ 1037222 w 2675642"/>
              <a:gd name="connsiteY805" fmla="*/ 555149 h 6858000"/>
              <a:gd name="connsiteX806" fmla="*/ 2627676 w 2675642"/>
              <a:gd name="connsiteY806" fmla="*/ 202966 h 6858000"/>
              <a:gd name="connsiteX807" fmla="*/ 2655436 w 2675642"/>
              <a:gd name="connsiteY807" fmla="*/ 214509 h 6858000"/>
              <a:gd name="connsiteX808" fmla="*/ 2675642 w 2675642"/>
              <a:gd name="connsiteY808" fmla="*/ 234757 h 6858000"/>
              <a:gd name="connsiteX809" fmla="*/ 2675642 w 2675642"/>
              <a:gd name="connsiteY809" fmla="*/ 503007 h 6858000"/>
              <a:gd name="connsiteX810" fmla="*/ 2521567 w 2675642"/>
              <a:gd name="connsiteY810" fmla="*/ 348641 h 6858000"/>
              <a:gd name="connsiteX811" fmla="*/ 2521567 w 2675642"/>
              <a:gd name="connsiteY811" fmla="*/ 293253 h 6858000"/>
              <a:gd name="connsiteX812" fmla="*/ 2600047 w 2675642"/>
              <a:gd name="connsiteY812" fmla="*/ 214509 h 6858000"/>
              <a:gd name="connsiteX813" fmla="*/ 2627676 w 2675642"/>
              <a:gd name="connsiteY813" fmla="*/ 202966 h 6858000"/>
              <a:gd name="connsiteX814" fmla="*/ 573858 w 2675642"/>
              <a:gd name="connsiteY814" fmla="*/ 202950 h 6858000"/>
              <a:gd name="connsiteX815" fmla="*/ 601617 w 2675642"/>
              <a:gd name="connsiteY815" fmla="*/ 214495 h 6858000"/>
              <a:gd name="connsiteX816" fmla="*/ 666217 w 2675642"/>
              <a:gd name="connsiteY816" fmla="*/ 279226 h 6858000"/>
              <a:gd name="connsiteX817" fmla="*/ 677761 w 2675642"/>
              <a:gd name="connsiteY817" fmla="*/ 290903 h 6858000"/>
              <a:gd name="connsiteX818" fmla="*/ 689306 w 2675642"/>
              <a:gd name="connsiteY818" fmla="*/ 279226 h 6858000"/>
              <a:gd name="connsiteX819" fmla="*/ 753777 w 2675642"/>
              <a:gd name="connsiteY819" fmla="*/ 214495 h 6858000"/>
              <a:gd name="connsiteX820" fmla="*/ 781534 w 2675642"/>
              <a:gd name="connsiteY820" fmla="*/ 202950 h 6858000"/>
              <a:gd name="connsiteX821" fmla="*/ 809164 w 2675642"/>
              <a:gd name="connsiteY821" fmla="*/ 214495 h 6858000"/>
              <a:gd name="connsiteX822" fmla="*/ 887644 w 2675642"/>
              <a:gd name="connsiteY822" fmla="*/ 293106 h 6858000"/>
              <a:gd name="connsiteX823" fmla="*/ 899189 w 2675642"/>
              <a:gd name="connsiteY823" fmla="*/ 320867 h 6858000"/>
              <a:gd name="connsiteX824" fmla="*/ 887774 w 2675642"/>
              <a:gd name="connsiteY824" fmla="*/ 348627 h 6858000"/>
              <a:gd name="connsiteX825" fmla="*/ 677761 w 2675642"/>
              <a:gd name="connsiteY825" fmla="*/ 559036 h 6858000"/>
              <a:gd name="connsiteX826" fmla="*/ 467748 w 2675642"/>
              <a:gd name="connsiteY826" fmla="*/ 348627 h 6858000"/>
              <a:gd name="connsiteX827" fmla="*/ 467748 w 2675642"/>
              <a:gd name="connsiteY827" fmla="*/ 293236 h 6858000"/>
              <a:gd name="connsiteX828" fmla="*/ 546228 w 2675642"/>
              <a:gd name="connsiteY828" fmla="*/ 214495 h 6858000"/>
              <a:gd name="connsiteX829" fmla="*/ 573858 w 2675642"/>
              <a:gd name="connsiteY829" fmla="*/ 202950 h 6858000"/>
              <a:gd name="connsiteX830" fmla="*/ 573858 w 2675642"/>
              <a:gd name="connsiteY830" fmla="*/ 186475 h 6858000"/>
              <a:gd name="connsiteX831" fmla="*/ 534683 w 2675642"/>
              <a:gd name="connsiteY831" fmla="*/ 202821 h 6858000"/>
              <a:gd name="connsiteX832" fmla="*/ 456203 w 2675642"/>
              <a:gd name="connsiteY832" fmla="*/ 281561 h 6858000"/>
              <a:gd name="connsiteX833" fmla="*/ 456203 w 2675642"/>
              <a:gd name="connsiteY833" fmla="*/ 360173 h 6858000"/>
              <a:gd name="connsiteX834" fmla="*/ 677761 w 2675642"/>
              <a:gd name="connsiteY834" fmla="*/ 582255 h 6858000"/>
              <a:gd name="connsiteX835" fmla="*/ 899319 w 2675642"/>
              <a:gd name="connsiteY835" fmla="*/ 360173 h 6858000"/>
              <a:gd name="connsiteX836" fmla="*/ 899319 w 2675642"/>
              <a:gd name="connsiteY836" fmla="*/ 281561 h 6858000"/>
              <a:gd name="connsiteX837" fmla="*/ 820839 w 2675642"/>
              <a:gd name="connsiteY837" fmla="*/ 202950 h 6858000"/>
              <a:gd name="connsiteX838" fmla="*/ 781664 w 2675642"/>
              <a:gd name="connsiteY838" fmla="*/ 186606 h 6858000"/>
              <a:gd name="connsiteX839" fmla="*/ 781534 w 2675642"/>
              <a:gd name="connsiteY839" fmla="*/ 186475 h 6858000"/>
              <a:gd name="connsiteX840" fmla="*/ 742232 w 2675642"/>
              <a:gd name="connsiteY840" fmla="*/ 202950 h 6858000"/>
              <a:gd name="connsiteX841" fmla="*/ 677761 w 2675642"/>
              <a:gd name="connsiteY841" fmla="*/ 267553 h 6858000"/>
              <a:gd name="connsiteX842" fmla="*/ 613162 w 2675642"/>
              <a:gd name="connsiteY842" fmla="*/ 202821 h 6858000"/>
              <a:gd name="connsiteX843" fmla="*/ 573858 w 2675642"/>
              <a:gd name="connsiteY843" fmla="*/ 186475 h 6858000"/>
              <a:gd name="connsiteX844" fmla="*/ 2675642 w 2675642"/>
              <a:gd name="connsiteY844" fmla="*/ 3063 h 6858000"/>
              <a:gd name="connsiteX845" fmla="*/ 2675642 w 2675642"/>
              <a:gd name="connsiteY845" fmla="*/ 211515 h 6858000"/>
              <a:gd name="connsiteX846" fmla="*/ 2666981 w 2675642"/>
              <a:gd name="connsiteY846" fmla="*/ 202835 h 6858000"/>
              <a:gd name="connsiteX847" fmla="*/ 2627676 w 2675642"/>
              <a:gd name="connsiteY847" fmla="*/ 186490 h 6858000"/>
              <a:gd name="connsiteX848" fmla="*/ 2588501 w 2675642"/>
              <a:gd name="connsiteY848" fmla="*/ 202835 h 6858000"/>
              <a:gd name="connsiteX849" fmla="*/ 2510022 w 2675642"/>
              <a:gd name="connsiteY849" fmla="*/ 281576 h 6858000"/>
              <a:gd name="connsiteX850" fmla="*/ 2510022 w 2675642"/>
              <a:gd name="connsiteY850" fmla="*/ 360188 h 6858000"/>
              <a:gd name="connsiteX851" fmla="*/ 2675642 w 2675642"/>
              <a:gd name="connsiteY851" fmla="*/ 526200 h 6858000"/>
              <a:gd name="connsiteX852" fmla="*/ 2675642 w 2675642"/>
              <a:gd name="connsiteY852" fmla="*/ 710954 h 6858000"/>
              <a:gd name="connsiteX853" fmla="*/ 2397687 w 2675642"/>
              <a:gd name="connsiteY853" fmla="*/ 550094 h 6858000"/>
              <a:gd name="connsiteX854" fmla="*/ 2397687 w 2675642"/>
              <a:gd name="connsiteY854" fmla="*/ 163920 h 6858000"/>
              <a:gd name="connsiteX855" fmla="*/ 2130941 w 2675642"/>
              <a:gd name="connsiteY855" fmla="*/ 0 h 6858000"/>
              <a:gd name="connsiteX856" fmla="*/ 2648192 w 2675642"/>
              <a:gd name="connsiteY856" fmla="*/ 0 h 6858000"/>
              <a:gd name="connsiteX857" fmla="*/ 2389515 w 2675642"/>
              <a:gd name="connsiteY857" fmla="*/ 149646 h 6858000"/>
              <a:gd name="connsiteX858" fmla="*/ 1996487 w 2675642"/>
              <a:gd name="connsiteY858" fmla="*/ 0 h 6858000"/>
              <a:gd name="connsiteX859" fmla="*/ 2096613 w 2675642"/>
              <a:gd name="connsiteY859" fmla="*/ 0 h 6858000"/>
              <a:gd name="connsiteX860" fmla="*/ 2380303 w 2675642"/>
              <a:gd name="connsiteY860" fmla="*/ 164177 h 6858000"/>
              <a:gd name="connsiteX861" fmla="*/ 2380303 w 2675642"/>
              <a:gd name="connsiteY861" fmla="*/ 550471 h 6858000"/>
              <a:gd name="connsiteX862" fmla="*/ 2046670 w 2675642"/>
              <a:gd name="connsiteY862" fmla="*/ 743626 h 6858000"/>
              <a:gd name="connsiteX863" fmla="*/ 1712907 w 2675642"/>
              <a:gd name="connsiteY863" fmla="*/ 550471 h 6858000"/>
              <a:gd name="connsiteX864" fmla="*/ 1712907 w 2675642"/>
              <a:gd name="connsiteY864" fmla="*/ 164178 h 6858000"/>
              <a:gd name="connsiteX865" fmla="*/ 1446716 w 2675642"/>
              <a:gd name="connsiteY865" fmla="*/ 0 h 6858000"/>
              <a:gd name="connsiteX866" fmla="*/ 1962493 w 2675642"/>
              <a:gd name="connsiteY866" fmla="*/ 0 h 6858000"/>
              <a:gd name="connsiteX867" fmla="*/ 1704605 w 2675642"/>
              <a:gd name="connsiteY867" fmla="*/ 149246 h 6858000"/>
              <a:gd name="connsiteX868" fmla="*/ 1370972 w 2675642"/>
              <a:gd name="connsiteY868" fmla="*/ 0 h 6858000"/>
              <a:gd name="connsiteX869" fmla="*/ 1412751 w 2675642"/>
              <a:gd name="connsiteY869" fmla="*/ 0 h 6858000"/>
              <a:gd name="connsiteX870" fmla="*/ 1696432 w 2675642"/>
              <a:gd name="connsiteY870" fmla="*/ 164177 h 6858000"/>
              <a:gd name="connsiteX871" fmla="*/ 1696432 w 2675642"/>
              <a:gd name="connsiteY871" fmla="*/ 541003 h 6858000"/>
              <a:gd name="connsiteX872" fmla="*/ 1370972 w 2675642"/>
              <a:gd name="connsiteY872" fmla="*/ 352647 h 6858000"/>
              <a:gd name="connsiteX873" fmla="*/ 1312832 w 2675642"/>
              <a:gd name="connsiteY873" fmla="*/ 0 h 6858000"/>
              <a:gd name="connsiteX874" fmla="*/ 1354627 w 2675642"/>
              <a:gd name="connsiteY874" fmla="*/ 0 h 6858000"/>
              <a:gd name="connsiteX875" fmla="*/ 1354627 w 2675642"/>
              <a:gd name="connsiteY875" fmla="*/ 352647 h 6858000"/>
              <a:gd name="connsiteX876" fmla="*/ 1029036 w 2675642"/>
              <a:gd name="connsiteY876" fmla="*/ 541003 h 6858000"/>
              <a:gd name="connsiteX877" fmla="*/ 1029036 w 2675642"/>
              <a:gd name="connsiteY877" fmla="*/ 164178 h 6858000"/>
              <a:gd name="connsiteX878" fmla="*/ 760918 w 2675642"/>
              <a:gd name="connsiteY878" fmla="*/ 0 h 6858000"/>
              <a:gd name="connsiteX879" fmla="*/ 1278374 w 2675642"/>
              <a:gd name="connsiteY879" fmla="*/ 0 h 6858000"/>
              <a:gd name="connsiteX880" fmla="*/ 1019697 w 2675642"/>
              <a:gd name="connsiteY880" fmla="*/ 149760 h 6858000"/>
              <a:gd name="connsiteX881" fmla="*/ 627086 w 2675642"/>
              <a:gd name="connsiteY881" fmla="*/ 0 h 6858000"/>
              <a:gd name="connsiteX882" fmla="*/ 728176 w 2675642"/>
              <a:gd name="connsiteY882" fmla="*/ 0 h 6858000"/>
              <a:gd name="connsiteX883" fmla="*/ 1011395 w 2675642"/>
              <a:gd name="connsiteY883" fmla="*/ 163905 h 6858000"/>
              <a:gd name="connsiteX884" fmla="*/ 1011395 w 2675642"/>
              <a:gd name="connsiteY884" fmla="*/ 550081 h 6858000"/>
              <a:gd name="connsiteX885" fmla="*/ 677631 w 2675642"/>
              <a:gd name="connsiteY885" fmla="*/ 743237 h 6858000"/>
              <a:gd name="connsiteX886" fmla="*/ 343867 w 2675642"/>
              <a:gd name="connsiteY886" fmla="*/ 550081 h 6858000"/>
              <a:gd name="connsiteX887" fmla="*/ 343867 w 2675642"/>
              <a:gd name="connsiteY887" fmla="*/ 163905 h 6858000"/>
              <a:gd name="connsiteX888" fmla="*/ 77147 w 2675642"/>
              <a:gd name="connsiteY888" fmla="*/ 0 h 6858000"/>
              <a:gd name="connsiteX889" fmla="*/ 594346 w 2675642"/>
              <a:gd name="connsiteY889" fmla="*/ 0 h 6858000"/>
              <a:gd name="connsiteX890" fmla="*/ 335694 w 2675642"/>
              <a:gd name="connsiteY890" fmla="*/ 149632 h 6858000"/>
              <a:gd name="connsiteX891" fmla="*/ 0 w 2675642"/>
              <a:gd name="connsiteY891" fmla="*/ 0 h 6858000"/>
              <a:gd name="connsiteX892" fmla="*/ 42690 w 2675642"/>
              <a:gd name="connsiteY892" fmla="*/ 0 h 6858000"/>
              <a:gd name="connsiteX893" fmla="*/ 326355 w 2675642"/>
              <a:gd name="connsiteY893" fmla="*/ 164163 h 6858000"/>
              <a:gd name="connsiteX894" fmla="*/ 326355 w 2675642"/>
              <a:gd name="connsiteY894" fmla="*/ 550457 h 6858000"/>
              <a:gd name="connsiteX895" fmla="*/ 0 w 2675642"/>
              <a:gd name="connsiteY895" fmla="*/ 73939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Lst>
            <a:rect l="l" t="t" r="r" b="b"/>
            <a:pathLst>
              <a:path w="2675642" h="6858000">
                <a:moveTo>
                  <a:pt x="1600831" y="6736202"/>
                </a:moveTo>
                <a:cubicBezTo>
                  <a:pt x="1611339" y="6736202"/>
                  <a:pt x="1621197" y="6740354"/>
                  <a:pt x="1628591" y="6747747"/>
                </a:cubicBezTo>
                <a:lnTo>
                  <a:pt x="1693190" y="6812479"/>
                </a:lnTo>
                <a:lnTo>
                  <a:pt x="1704735" y="6824154"/>
                </a:lnTo>
                <a:lnTo>
                  <a:pt x="1716280" y="6812479"/>
                </a:lnTo>
                <a:lnTo>
                  <a:pt x="1780749" y="6747747"/>
                </a:lnTo>
                <a:cubicBezTo>
                  <a:pt x="1788143" y="6740224"/>
                  <a:pt x="1798002" y="6736202"/>
                  <a:pt x="1808508" y="6736202"/>
                </a:cubicBezTo>
                <a:cubicBezTo>
                  <a:pt x="1818887" y="6736202"/>
                  <a:pt x="1828746" y="6740354"/>
                  <a:pt x="1836138" y="6747747"/>
                </a:cubicBezTo>
                <a:lnTo>
                  <a:pt x="1914618" y="6826359"/>
                </a:lnTo>
                <a:cubicBezTo>
                  <a:pt x="1922012" y="6833753"/>
                  <a:pt x="1926033" y="6843613"/>
                  <a:pt x="1926163" y="6854120"/>
                </a:cubicBezTo>
                <a:lnTo>
                  <a:pt x="1924568" y="6858000"/>
                </a:lnTo>
                <a:lnTo>
                  <a:pt x="1484841" y="6858000"/>
                </a:lnTo>
                <a:lnTo>
                  <a:pt x="1483242" y="6854136"/>
                </a:lnTo>
                <a:cubicBezTo>
                  <a:pt x="1483242" y="6844099"/>
                  <a:pt x="1487068" y="6834078"/>
                  <a:pt x="1494722" y="6826489"/>
                </a:cubicBezTo>
                <a:lnTo>
                  <a:pt x="1573201" y="6747747"/>
                </a:lnTo>
                <a:cubicBezTo>
                  <a:pt x="1580596" y="6740354"/>
                  <a:pt x="1590324" y="6736202"/>
                  <a:pt x="1600831" y="6736202"/>
                </a:cubicBezTo>
                <a:close/>
                <a:moveTo>
                  <a:pt x="2397817" y="6509058"/>
                </a:moveTo>
                <a:lnTo>
                  <a:pt x="2675642" y="6669846"/>
                </a:lnTo>
                <a:lnTo>
                  <a:pt x="2675642" y="6858000"/>
                </a:lnTo>
                <a:lnTo>
                  <a:pt x="2397817" y="6858000"/>
                </a:lnTo>
                <a:close/>
                <a:moveTo>
                  <a:pt x="2381472" y="6509058"/>
                </a:moveTo>
                <a:lnTo>
                  <a:pt x="2381472" y="6858000"/>
                </a:lnTo>
                <a:lnTo>
                  <a:pt x="2055881" y="6858000"/>
                </a:lnTo>
                <a:lnTo>
                  <a:pt x="2055881" y="6697415"/>
                </a:lnTo>
                <a:close/>
                <a:moveTo>
                  <a:pt x="343997" y="6509058"/>
                </a:moveTo>
                <a:lnTo>
                  <a:pt x="669459" y="6697415"/>
                </a:lnTo>
                <a:lnTo>
                  <a:pt x="669459" y="6858000"/>
                </a:lnTo>
                <a:lnTo>
                  <a:pt x="343997" y="6858000"/>
                </a:lnTo>
                <a:close/>
                <a:moveTo>
                  <a:pt x="327652" y="6509058"/>
                </a:moveTo>
                <a:lnTo>
                  <a:pt x="327652" y="6858000"/>
                </a:lnTo>
                <a:lnTo>
                  <a:pt x="2061" y="6858000"/>
                </a:lnTo>
                <a:lnTo>
                  <a:pt x="2061" y="6697415"/>
                </a:lnTo>
                <a:close/>
                <a:moveTo>
                  <a:pt x="1019567" y="6504258"/>
                </a:moveTo>
                <a:lnTo>
                  <a:pt x="1353330" y="6697415"/>
                </a:lnTo>
                <a:lnTo>
                  <a:pt x="1353330" y="6858000"/>
                </a:lnTo>
                <a:lnTo>
                  <a:pt x="685932" y="6858000"/>
                </a:lnTo>
                <a:lnTo>
                  <a:pt x="685932" y="6697415"/>
                </a:lnTo>
                <a:close/>
                <a:moveTo>
                  <a:pt x="1704605" y="6503998"/>
                </a:moveTo>
                <a:lnTo>
                  <a:pt x="2038368" y="6697155"/>
                </a:lnTo>
                <a:lnTo>
                  <a:pt x="2038368" y="6858000"/>
                </a:lnTo>
                <a:lnTo>
                  <a:pt x="1940935" y="6858000"/>
                </a:lnTo>
                <a:lnTo>
                  <a:pt x="1942539" y="6854120"/>
                </a:lnTo>
                <a:cubicBezTo>
                  <a:pt x="1942539" y="6839883"/>
                  <a:pt x="1937124" y="6825646"/>
                  <a:pt x="1926292" y="6814814"/>
                </a:cubicBezTo>
                <a:lnTo>
                  <a:pt x="1847813" y="6736202"/>
                </a:lnTo>
                <a:cubicBezTo>
                  <a:pt x="1836918" y="6725305"/>
                  <a:pt x="1822778" y="6719857"/>
                  <a:pt x="1808638" y="6719857"/>
                </a:cubicBezTo>
                <a:lnTo>
                  <a:pt x="1808508" y="6719727"/>
                </a:lnTo>
                <a:cubicBezTo>
                  <a:pt x="1794240" y="6719727"/>
                  <a:pt x="1780101" y="6725176"/>
                  <a:pt x="1769204" y="6736202"/>
                </a:cubicBezTo>
                <a:lnTo>
                  <a:pt x="1704735" y="6800804"/>
                </a:lnTo>
                <a:lnTo>
                  <a:pt x="1640136" y="6736072"/>
                </a:lnTo>
                <a:cubicBezTo>
                  <a:pt x="1629239" y="6725176"/>
                  <a:pt x="1615099" y="6719727"/>
                  <a:pt x="1600831" y="6719727"/>
                </a:cubicBezTo>
                <a:cubicBezTo>
                  <a:pt x="1586562" y="6719727"/>
                  <a:pt x="1572423" y="6725176"/>
                  <a:pt x="1561656" y="6736072"/>
                </a:cubicBezTo>
                <a:lnTo>
                  <a:pt x="1483177" y="6814814"/>
                </a:lnTo>
                <a:cubicBezTo>
                  <a:pt x="1472345" y="6825646"/>
                  <a:pt x="1466930" y="6839883"/>
                  <a:pt x="1466930" y="6854120"/>
                </a:cubicBezTo>
                <a:lnTo>
                  <a:pt x="1468534" y="6858000"/>
                </a:lnTo>
                <a:lnTo>
                  <a:pt x="1370842" y="6858000"/>
                </a:lnTo>
                <a:lnTo>
                  <a:pt x="1370842" y="6697155"/>
                </a:lnTo>
                <a:close/>
                <a:moveTo>
                  <a:pt x="1362799" y="6306171"/>
                </a:moveTo>
                <a:lnTo>
                  <a:pt x="1688260" y="6494528"/>
                </a:lnTo>
                <a:lnTo>
                  <a:pt x="1362670" y="6682885"/>
                </a:lnTo>
                <a:lnTo>
                  <a:pt x="1037208" y="6494528"/>
                </a:lnTo>
                <a:close/>
                <a:moveTo>
                  <a:pt x="2627676" y="6142204"/>
                </a:moveTo>
                <a:cubicBezTo>
                  <a:pt x="2638182" y="6142204"/>
                  <a:pt x="2648041" y="6146356"/>
                  <a:pt x="2655436" y="6153749"/>
                </a:cubicBezTo>
                <a:lnTo>
                  <a:pt x="2675642" y="6173997"/>
                </a:lnTo>
                <a:lnTo>
                  <a:pt x="2675642" y="6442248"/>
                </a:lnTo>
                <a:lnTo>
                  <a:pt x="2521567" y="6287882"/>
                </a:lnTo>
                <a:cubicBezTo>
                  <a:pt x="2506261" y="6272575"/>
                  <a:pt x="2506261" y="6247668"/>
                  <a:pt x="2521567" y="6232490"/>
                </a:cubicBezTo>
                <a:lnTo>
                  <a:pt x="2600047" y="6153749"/>
                </a:lnTo>
                <a:cubicBezTo>
                  <a:pt x="2607439" y="6146356"/>
                  <a:pt x="2617169" y="6142204"/>
                  <a:pt x="2627676" y="6142204"/>
                </a:cubicBezTo>
                <a:close/>
                <a:moveTo>
                  <a:pt x="573858" y="6142204"/>
                </a:moveTo>
                <a:cubicBezTo>
                  <a:pt x="584365" y="6142204"/>
                  <a:pt x="594223" y="6146356"/>
                  <a:pt x="601617" y="6153749"/>
                </a:cubicBezTo>
                <a:lnTo>
                  <a:pt x="666217" y="6218481"/>
                </a:lnTo>
                <a:lnTo>
                  <a:pt x="677761" y="6230155"/>
                </a:lnTo>
                <a:lnTo>
                  <a:pt x="689306" y="6218481"/>
                </a:lnTo>
                <a:lnTo>
                  <a:pt x="753777" y="6153749"/>
                </a:lnTo>
                <a:cubicBezTo>
                  <a:pt x="761169" y="6146226"/>
                  <a:pt x="771028" y="6142204"/>
                  <a:pt x="781534" y="6142204"/>
                </a:cubicBezTo>
                <a:cubicBezTo>
                  <a:pt x="791913" y="6142204"/>
                  <a:pt x="801772" y="6146356"/>
                  <a:pt x="809164" y="6153749"/>
                </a:cubicBezTo>
                <a:lnTo>
                  <a:pt x="887644" y="6232360"/>
                </a:lnTo>
                <a:cubicBezTo>
                  <a:pt x="895038" y="6239755"/>
                  <a:pt x="899059" y="6249614"/>
                  <a:pt x="899189" y="6260121"/>
                </a:cubicBezTo>
                <a:cubicBezTo>
                  <a:pt x="899189" y="6270629"/>
                  <a:pt x="895167" y="6280488"/>
                  <a:pt x="887774" y="6287882"/>
                </a:cubicBezTo>
                <a:lnTo>
                  <a:pt x="677761" y="6498291"/>
                </a:lnTo>
                <a:lnTo>
                  <a:pt x="467748" y="6287882"/>
                </a:lnTo>
                <a:cubicBezTo>
                  <a:pt x="452441" y="6272575"/>
                  <a:pt x="452441" y="6247668"/>
                  <a:pt x="467748" y="6232490"/>
                </a:cubicBezTo>
                <a:lnTo>
                  <a:pt x="546228" y="6153749"/>
                </a:lnTo>
                <a:cubicBezTo>
                  <a:pt x="553622" y="6146356"/>
                  <a:pt x="563350" y="6142204"/>
                  <a:pt x="573858" y="6142204"/>
                </a:cubicBezTo>
                <a:close/>
                <a:moveTo>
                  <a:pt x="573858" y="6125729"/>
                </a:moveTo>
                <a:cubicBezTo>
                  <a:pt x="559588" y="6125729"/>
                  <a:pt x="545449" y="6131177"/>
                  <a:pt x="534683" y="6142074"/>
                </a:cubicBezTo>
                <a:lnTo>
                  <a:pt x="456203" y="6220816"/>
                </a:lnTo>
                <a:cubicBezTo>
                  <a:pt x="434540" y="6242480"/>
                  <a:pt x="434540" y="6277763"/>
                  <a:pt x="456203" y="6299428"/>
                </a:cubicBezTo>
                <a:lnTo>
                  <a:pt x="677761" y="6521512"/>
                </a:lnTo>
                <a:lnTo>
                  <a:pt x="899319" y="6299428"/>
                </a:lnTo>
                <a:cubicBezTo>
                  <a:pt x="920981" y="6277763"/>
                  <a:pt x="920981" y="6242480"/>
                  <a:pt x="899319" y="6220816"/>
                </a:cubicBezTo>
                <a:lnTo>
                  <a:pt x="820839" y="6142204"/>
                </a:lnTo>
                <a:cubicBezTo>
                  <a:pt x="809944" y="6131307"/>
                  <a:pt x="795804" y="6125859"/>
                  <a:pt x="781664" y="6125859"/>
                </a:cubicBezTo>
                <a:lnTo>
                  <a:pt x="781534" y="6125729"/>
                </a:lnTo>
                <a:cubicBezTo>
                  <a:pt x="767266" y="6125729"/>
                  <a:pt x="753127" y="6131177"/>
                  <a:pt x="742232" y="6142204"/>
                </a:cubicBezTo>
                <a:lnTo>
                  <a:pt x="677761" y="6206806"/>
                </a:lnTo>
                <a:lnTo>
                  <a:pt x="613162" y="6142074"/>
                </a:lnTo>
                <a:cubicBezTo>
                  <a:pt x="602265" y="6131177"/>
                  <a:pt x="588127" y="6125729"/>
                  <a:pt x="573858" y="6125729"/>
                </a:cubicBezTo>
                <a:close/>
                <a:moveTo>
                  <a:pt x="2675642" y="5942299"/>
                </a:moveTo>
                <a:lnTo>
                  <a:pt x="2675642" y="6150753"/>
                </a:lnTo>
                <a:lnTo>
                  <a:pt x="2666981" y="6142074"/>
                </a:lnTo>
                <a:cubicBezTo>
                  <a:pt x="2656083" y="6131177"/>
                  <a:pt x="2641945" y="6125729"/>
                  <a:pt x="2627676" y="6125729"/>
                </a:cubicBezTo>
                <a:cubicBezTo>
                  <a:pt x="2613407" y="6125729"/>
                  <a:pt x="2599267" y="6131177"/>
                  <a:pt x="2588501" y="6142074"/>
                </a:cubicBezTo>
                <a:lnTo>
                  <a:pt x="2510022" y="6220816"/>
                </a:lnTo>
                <a:cubicBezTo>
                  <a:pt x="2488359" y="6242480"/>
                  <a:pt x="2488359" y="6277763"/>
                  <a:pt x="2510022" y="6299428"/>
                </a:cubicBezTo>
                <a:lnTo>
                  <a:pt x="2675642" y="6465441"/>
                </a:lnTo>
                <a:lnTo>
                  <a:pt x="2675642" y="6650199"/>
                </a:lnTo>
                <a:lnTo>
                  <a:pt x="2397687" y="6489340"/>
                </a:lnTo>
                <a:lnTo>
                  <a:pt x="2397687" y="6103158"/>
                </a:lnTo>
                <a:close/>
                <a:moveTo>
                  <a:pt x="1370972" y="5915189"/>
                </a:moveTo>
                <a:lnTo>
                  <a:pt x="1696432" y="6103545"/>
                </a:lnTo>
                <a:lnTo>
                  <a:pt x="1696432" y="6480388"/>
                </a:lnTo>
                <a:lnTo>
                  <a:pt x="1370972" y="6292032"/>
                </a:lnTo>
                <a:close/>
                <a:moveTo>
                  <a:pt x="1354627" y="5915189"/>
                </a:moveTo>
                <a:lnTo>
                  <a:pt x="1354627" y="6292032"/>
                </a:lnTo>
                <a:lnTo>
                  <a:pt x="1029036" y="6480389"/>
                </a:lnTo>
                <a:lnTo>
                  <a:pt x="1029036" y="6103545"/>
                </a:lnTo>
                <a:close/>
                <a:moveTo>
                  <a:pt x="0" y="5914676"/>
                </a:moveTo>
                <a:lnTo>
                  <a:pt x="326355" y="6103545"/>
                </a:lnTo>
                <a:lnTo>
                  <a:pt x="326355" y="6489859"/>
                </a:lnTo>
                <a:lnTo>
                  <a:pt x="0" y="6678802"/>
                </a:lnTo>
                <a:close/>
                <a:moveTo>
                  <a:pt x="2046540" y="5910389"/>
                </a:moveTo>
                <a:lnTo>
                  <a:pt x="2380303" y="6103545"/>
                </a:lnTo>
                <a:lnTo>
                  <a:pt x="2380303" y="6489859"/>
                </a:lnTo>
                <a:lnTo>
                  <a:pt x="2046670" y="6683015"/>
                </a:lnTo>
                <a:lnTo>
                  <a:pt x="1712907" y="6489859"/>
                </a:lnTo>
                <a:lnTo>
                  <a:pt x="1712907" y="6103545"/>
                </a:lnTo>
                <a:close/>
                <a:moveTo>
                  <a:pt x="677631" y="5910001"/>
                </a:moveTo>
                <a:lnTo>
                  <a:pt x="1011395" y="6103158"/>
                </a:lnTo>
                <a:lnTo>
                  <a:pt x="1011395" y="6489340"/>
                </a:lnTo>
                <a:lnTo>
                  <a:pt x="677631" y="6682497"/>
                </a:lnTo>
                <a:lnTo>
                  <a:pt x="343867" y="6489340"/>
                </a:lnTo>
                <a:lnTo>
                  <a:pt x="343867" y="6103158"/>
                </a:lnTo>
                <a:close/>
                <a:moveTo>
                  <a:pt x="2389645" y="5712174"/>
                </a:moveTo>
                <a:lnTo>
                  <a:pt x="2675642" y="5877692"/>
                </a:lnTo>
                <a:lnTo>
                  <a:pt x="2675642" y="5923360"/>
                </a:lnTo>
                <a:lnTo>
                  <a:pt x="2389515" y="6088886"/>
                </a:lnTo>
                <a:lnTo>
                  <a:pt x="2064053" y="5900531"/>
                </a:lnTo>
                <a:close/>
                <a:moveTo>
                  <a:pt x="335824" y="5712174"/>
                </a:moveTo>
                <a:lnTo>
                  <a:pt x="661286" y="5900531"/>
                </a:lnTo>
                <a:lnTo>
                  <a:pt x="335694" y="6088886"/>
                </a:lnTo>
                <a:lnTo>
                  <a:pt x="10234" y="5900531"/>
                </a:lnTo>
                <a:close/>
                <a:moveTo>
                  <a:pt x="1600831" y="5548334"/>
                </a:moveTo>
                <a:cubicBezTo>
                  <a:pt x="1611339" y="5548334"/>
                  <a:pt x="1621197" y="5552486"/>
                  <a:pt x="1628591" y="5559879"/>
                </a:cubicBezTo>
                <a:lnTo>
                  <a:pt x="1693190" y="5624611"/>
                </a:lnTo>
                <a:lnTo>
                  <a:pt x="1704735" y="5636286"/>
                </a:lnTo>
                <a:lnTo>
                  <a:pt x="1716280" y="5624611"/>
                </a:lnTo>
                <a:lnTo>
                  <a:pt x="1780749" y="5559879"/>
                </a:lnTo>
                <a:cubicBezTo>
                  <a:pt x="1788143" y="5552356"/>
                  <a:pt x="1798002" y="5548334"/>
                  <a:pt x="1808508" y="5548334"/>
                </a:cubicBezTo>
                <a:cubicBezTo>
                  <a:pt x="1818887" y="5548334"/>
                  <a:pt x="1828746" y="5552486"/>
                  <a:pt x="1836138" y="5559879"/>
                </a:cubicBezTo>
                <a:lnTo>
                  <a:pt x="1914618" y="5638491"/>
                </a:lnTo>
                <a:cubicBezTo>
                  <a:pt x="1922012" y="5645885"/>
                  <a:pt x="1926033" y="5655745"/>
                  <a:pt x="1926163" y="5666252"/>
                </a:cubicBezTo>
                <a:cubicBezTo>
                  <a:pt x="1926163" y="5676760"/>
                  <a:pt x="1922141" y="5686618"/>
                  <a:pt x="1914748" y="5694012"/>
                </a:cubicBezTo>
                <a:lnTo>
                  <a:pt x="1704735" y="5904422"/>
                </a:lnTo>
                <a:lnTo>
                  <a:pt x="1494722" y="5694012"/>
                </a:lnTo>
                <a:cubicBezTo>
                  <a:pt x="1479415" y="5678705"/>
                  <a:pt x="1479415" y="5653798"/>
                  <a:pt x="1494722" y="5638621"/>
                </a:cubicBezTo>
                <a:lnTo>
                  <a:pt x="1573201" y="5559879"/>
                </a:lnTo>
                <a:cubicBezTo>
                  <a:pt x="1580596" y="5552486"/>
                  <a:pt x="1590324" y="5548334"/>
                  <a:pt x="1600831" y="5548334"/>
                </a:cubicBezTo>
                <a:close/>
                <a:moveTo>
                  <a:pt x="1600831" y="5531859"/>
                </a:moveTo>
                <a:cubicBezTo>
                  <a:pt x="1586562" y="5531859"/>
                  <a:pt x="1572423" y="5537308"/>
                  <a:pt x="1561656" y="5548204"/>
                </a:cubicBezTo>
                <a:lnTo>
                  <a:pt x="1483177" y="5626946"/>
                </a:lnTo>
                <a:cubicBezTo>
                  <a:pt x="1461514" y="5648610"/>
                  <a:pt x="1461514" y="5683894"/>
                  <a:pt x="1483177" y="5705558"/>
                </a:cubicBezTo>
                <a:lnTo>
                  <a:pt x="1704735" y="5927642"/>
                </a:lnTo>
                <a:lnTo>
                  <a:pt x="1926292" y="5705558"/>
                </a:lnTo>
                <a:cubicBezTo>
                  <a:pt x="1947955" y="5683894"/>
                  <a:pt x="1947955" y="5648610"/>
                  <a:pt x="1926292" y="5626946"/>
                </a:cubicBezTo>
                <a:lnTo>
                  <a:pt x="1847813" y="5548334"/>
                </a:lnTo>
                <a:cubicBezTo>
                  <a:pt x="1836918" y="5537438"/>
                  <a:pt x="1822778" y="5531989"/>
                  <a:pt x="1808638" y="5531989"/>
                </a:cubicBezTo>
                <a:lnTo>
                  <a:pt x="1808508" y="5531859"/>
                </a:lnTo>
                <a:cubicBezTo>
                  <a:pt x="1794240" y="5531859"/>
                  <a:pt x="1780101" y="5537308"/>
                  <a:pt x="1769204" y="5548334"/>
                </a:cubicBezTo>
                <a:lnTo>
                  <a:pt x="1704735" y="5612936"/>
                </a:lnTo>
                <a:lnTo>
                  <a:pt x="1640136" y="5548204"/>
                </a:lnTo>
                <a:cubicBezTo>
                  <a:pt x="1629239" y="5537308"/>
                  <a:pt x="1615099" y="5531859"/>
                  <a:pt x="1600831" y="5531859"/>
                </a:cubicBezTo>
                <a:close/>
                <a:moveTo>
                  <a:pt x="2397817" y="5321191"/>
                </a:moveTo>
                <a:lnTo>
                  <a:pt x="2675642" y="5481979"/>
                </a:lnTo>
                <a:lnTo>
                  <a:pt x="2675642" y="5858821"/>
                </a:lnTo>
                <a:lnTo>
                  <a:pt x="2397817" y="5698034"/>
                </a:lnTo>
                <a:close/>
                <a:moveTo>
                  <a:pt x="2381472" y="5321191"/>
                </a:moveTo>
                <a:lnTo>
                  <a:pt x="2381472" y="5698034"/>
                </a:lnTo>
                <a:lnTo>
                  <a:pt x="2055881" y="5886390"/>
                </a:lnTo>
                <a:lnTo>
                  <a:pt x="2055881" y="5509548"/>
                </a:lnTo>
                <a:close/>
                <a:moveTo>
                  <a:pt x="343997" y="5321191"/>
                </a:moveTo>
                <a:lnTo>
                  <a:pt x="669459" y="5509548"/>
                </a:lnTo>
                <a:lnTo>
                  <a:pt x="669459" y="5886390"/>
                </a:lnTo>
                <a:lnTo>
                  <a:pt x="343997" y="5698034"/>
                </a:lnTo>
                <a:close/>
                <a:moveTo>
                  <a:pt x="327652" y="5321191"/>
                </a:moveTo>
                <a:lnTo>
                  <a:pt x="327652" y="5698034"/>
                </a:lnTo>
                <a:lnTo>
                  <a:pt x="2061" y="5886390"/>
                </a:lnTo>
                <a:lnTo>
                  <a:pt x="2061" y="5509548"/>
                </a:lnTo>
                <a:close/>
                <a:moveTo>
                  <a:pt x="1019567" y="5316391"/>
                </a:moveTo>
                <a:lnTo>
                  <a:pt x="1353330" y="5509548"/>
                </a:lnTo>
                <a:lnTo>
                  <a:pt x="1353330" y="5895861"/>
                </a:lnTo>
                <a:lnTo>
                  <a:pt x="1019697" y="6089016"/>
                </a:lnTo>
                <a:lnTo>
                  <a:pt x="685932" y="5895861"/>
                </a:lnTo>
                <a:lnTo>
                  <a:pt x="685932" y="5509548"/>
                </a:lnTo>
                <a:close/>
                <a:moveTo>
                  <a:pt x="1704605" y="5316132"/>
                </a:moveTo>
                <a:lnTo>
                  <a:pt x="2038368" y="5509288"/>
                </a:lnTo>
                <a:lnTo>
                  <a:pt x="2038368" y="5895470"/>
                </a:lnTo>
                <a:lnTo>
                  <a:pt x="1704605" y="6088627"/>
                </a:lnTo>
                <a:lnTo>
                  <a:pt x="1370842" y="5895470"/>
                </a:lnTo>
                <a:lnTo>
                  <a:pt x="1370842" y="5509288"/>
                </a:lnTo>
                <a:close/>
                <a:moveTo>
                  <a:pt x="1362799" y="5118305"/>
                </a:moveTo>
                <a:lnTo>
                  <a:pt x="1688259" y="5306661"/>
                </a:lnTo>
                <a:lnTo>
                  <a:pt x="1362670" y="5495017"/>
                </a:lnTo>
                <a:lnTo>
                  <a:pt x="1037209" y="5306661"/>
                </a:lnTo>
                <a:close/>
                <a:moveTo>
                  <a:pt x="2627676" y="4954335"/>
                </a:moveTo>
                <a:cubicBezTo>
                  <a:pt x="2638182" y="4954335"/>
                  <a:pt x="2648041" y="4958487"/>
                  <a:pt x="2655436" y="4965880"/>
                </a:cubicBezTo>
                <a:lnTo>
                  <a:pt x="2675642" y="4986128"/>
                </a:lnTo>
                <a:lnTo>
                  <a:pt x="2675642" y="5254379"/>
                </a:lnTo>
                <a:lnTo>
                  <a:pt x="2521567" y="5100013"/>
                </a:lnTo>
                <a:cubicBezTo>
                  <a:pt x="2506261" y="5084706"/>
                  <a:pt x="2506261" y="5059799"/>
                  <a:pt x="2521567" y="5044621"/>
                </a:cubicBezTo>
                <a:lnTo>
                  <a:pt x="2600047" y="4965880"/>
                </a:lnTo>
                <a:cubicBezTo>
                  <a:pt x="2607439" y="4958487"/>
                  <a:pt x="2617169" y="4954335"/>
                  <a:pt x="2627676" y="4954335"/>
                </a:cubicBezTo>
                <a:close/>
                <a:moveTo>
                  <a:pt x="573858" y="4954335"/>
                </a:moveTo>
                <a:cubicBezTo>
                  <a:pt x="584365" y="4954335"/>
                  <a:pt x="594223" y="4958487"/>
                  <a:pt x="601617" y="4965880"/>
                </a:cubicBezTo>
                <a:lnTo>
                  <a:pt x="666217" y="5030612"/>
                </a:lnTo>
                <a:lnTo>
                  <a:pt x="677761" y="5042286"/>
                </a:lnTo>
                <a:lnTo>
                  <a:pt x="689306" y="5030612"/>
                </a:lnTo>
                <a:lnTo>
                  <a:pt x="753777" y="4965880"/>
                </a:lnTo>
                <a:cubicBezTo>
                  <a:pt x="761169" y="4958357"/>
                  <a:pt x="771028" y="4954335"/>
                  <a:pt x="781534" y="4954335"/>
                </a:cubicBezTo>
                <a:cubicBezTo>
                  <a:pt x="791913" y="4954335"/>
                  <a:pt x="801772" y="4958487"/>
                  <a:pt x="809164" y="4965880"/>
                </a:cubicBezTo>
                <a:lnTo>
                  <a:pt x="887644" y="5044492"/>
                </a:lnTo>
                <a:cubicBezTo>
                  <a:pt x="895038" y="5051886"/>
                  <a:pt x="899059" y="5061745"/>
                  <a:pt x="899189" y="5072252"/>
                </a:cubicBezTo>
                <a:cubicBezTo>
                  <a:pt x="899189" y="5082760"/>
                  <a:pt x="895167" y="5092619"/>
                  <a:pt x="887774" y="5100013"/>
                </a:cubicBezTo>
                <a:lnTo>
                  <a:pt x="677761" y="5310423"/>
                </a:lnTo>
                <a:lnTo>
                  <a:pt x="467748" y="5100013"/>
                </a:lnTo>
                <a:cubicBezTo>
                  <a:pt x="452441" y="5084706"/>
                  <a:pt x="452441" y="5059799"/>
                  <a:pt x="467748" y="5044621"/>
                </a:cubicBezTo>
                <a:lnTo>
                  <a:pt x="546228" y="4965880"/>
                </a:lnTo>
                <a:cubicBezTo>
                  <a:pt x="553622" y="4958487"/>
                  <a:pt x="563350" y="4954335"/>
                  <a:pt x="573858" y="4954335"/>
                </a:cubicBezTo>
                <a:close/>
                <a:moveTo>
                  <a:pt x="573858" y="4937860"/>
                </a:moveTo>
                <a:cubicBezTo>
                  <a:pt x="559588" y="4937860"/>
                  <a:pt x="545449" y="4943308"/>
                  <a:pt x="534683" y="4954205"/>
                </a:cubicBezTo>
                <a:lnTo>
                  <a:pt x="456203" y="5032947"/>
                </a:lnTo>
                <a:cubicBezTo>
                  <a:pt x="434540" y="5054611"/>
                  <a:pt x="434540" y="5089895"/>
                  <a:pt x="456203" y="5111559"/>
                </a:cubicBezTo>
                <a:lnTo>
                  <a:pt x="677761" y="5333643"/>
                </a:lnTo>
                <a:lnTo>
                  <a:pt x="899319" y="5111559"/>
                </a:lnTo>
                <a:cubicBezTo>
                  <a:pt x="920981" y="5089895"/>
                  <a:pt x="920981" y="5054611"/>
                  <a:pt x="899319" y="5032947"/>
                </a:cubicBezTo>
                <a:lnTo>
                  <a:pt x="820839" y="4954335"/>
                </a:lnTo>
                <a:cubicBezTo>
                  <a:pt x="809944" y="4943438"/>
                  <a:pt x="795804" y="4937990"/>
                  <a:pt x="781664" y="4937990"/>
                </a:cubicBezTo>
                <a:lnTo>
                  <a:pt x="781534" y="4937860"/>
                </a:lnTo>
                <a:cubicBezTo>
                  <a:pt x="767266" y="4937860"/>
                  <a:pt x="753127" y="4943308"/>
                  <a:pt x="742232" y="4954335"/>
                </a:cubicBezTo>
                <a:lnTo>
                  <a:pt x="677761" y="5018937"/>
                </a:lnTo>
                <a:lnTo>
                  <a:pt x="613162" y="4954205"/>
                </a:lnTo>
                <a:cubicBezTo>
                  <a:pt x="602265" y="4943308"/>
                  <a:pt x="588127" y="4937860"/>
                  <a:pt x="573858" y="4937860"/>
                </a:cubicBezTo>
                <a:close/>
                <a:moveTo>
                  <a:pt x="2675642" y="4754431"/>
                </a:moveTo>
                <a:lnTo>
                  <a:pt x="2675642" y="4962884"/>
                </a:lnTo>
                <a:lnTo>
                  <a:pt x="2666981" y="4954205"/>
                </a:lnTo>
                <a:cubicBezTo>
                  <a:pt x="2656083" y="4943308"/>
                  <a:pt x="2641945" y="4937860"/>
                  <a:pt x="2627676" y="4937860"/>
                </a:cubicBezTo>
                <a:cubicBezTo>
                  <a:pt x="2613407" y="4937860"/>
                  <a:pt x="2599267" y="4943308"/>
                  <a:pt x="2588501" y="4954205"/>
                </a:cubicBezTo>
                <a:lnTo>
                  <a:pt x="2510022" y="5032947"/>
                </a:lnTo>
                <a:cubicBezTo>
                  <a:pt x="2488359" y="5054611"/>
                  <a:pt x="2488359" y="5089895"/>
                  <a:pt x="2510022" y="5111559"/>
                </a:cubicBezTo>
                <a:lnTo>
                  <a:pt x="2675642" y="5277572"/>
                </a:lnTo>
                <a:lnTo>
                  <a:pt x="2675642" y="5462331"/>
                </a:lnTo>
                <a:lnTo>
                  <a:pt x="2397687" y="5301472"/>
                </a:lnTo>
                <a:lnTo>
                  <a:pt x="2397687" y="4915290"/>
                </a:lnTo>
                <a:close/>
                <a:moveTo>
                  <a:pt x="1370972" y="4727322"/>
                </a:moveTo>
                <a:lnTo>
                  <a:pt x="1696432" y="4915678"/>
                </a:lnTo>
                <a:lnTo>
                  <a:pt x="1696432" y="5292520"/>
                </a:lnTo>
                <a:lnTo>
                  <a:pt x="1370972" y="5104164"/>
                </a:lnTo>
                <a:close/>
                <a:moveTo>
                  <a:pt x="1354627" y="4727322"/>
                </a:moveTo>
                <a:lnTo>
                  <a:pt x="1354627" y="5104164"/>
                </a:lnTo>
                <a:lnTo>
                  <a:pt x="1029036" y="5292521"/>
                </a:lnTo>
                <a:lnTo>
                  <a:pt x="1029036" y="4915678"/>
                </a:lnTo>
                <a:close/>
                <a:moveTo>
                  <a:pt x="0" y="4726809"/>
                </a:moveTo>
                <a:lnTo>
                  <a:pt x="326355" y="4915678"/>
                </a:lnTo>
                <a:lnTo>
                  <a:pt x="326355" y="5301991"/>
                </a:lnTo>
                <a:lnTo>
                  <a:pt x="0" y="5490934"/>
                </a:lnTo>
                <a:close/>
                <a:moveTo>
                  <a:pt x="2046540" y="4722522"/>
                </a:moveTo>
                <a:lnTo>
                  <a:pt x="2380303" y="4915678"/>
                </a:lnTo>
                <a:lnTo>
                  <a:pt x="2380303" y="5301991"/>
                </a:lnTo>
                <a:lnTo>
                  <a:pt x="2046671" y="5495147"/>
                </a:lnTo>
                <a:lnTo>
                  <a:pt x="1712907" y="5301991"/>
                </a:lnTo>
                <a:lnTo>
                  <a:pt x="1712907" y="4915678"/>
                </a:lnTo>
                <a:close/>
                <a:moveTo>
                  <a:pt x="677631" y="4722133"/>
                </a:moveTo>
                <a:lnTo>
                  <a:pt x="1011395" y="4915290"/>
                </a:lnTo>
                <a:lnTo>
                  <a:pt x="1011395" y="5301472"/>
                </a:lnTo>
                <a:lnTo>
                  <a:pt x="677631" y="5494629"/>
                </a:lnTo>
                <a:lnTo>
                  <a:pt x="343867" y="5301472"/>
                </a:lnTo>
                <a:lnTo>
                  <a:pt x="343867" y="4915290"/>
                </a:lnTo>
                <a:close/>
                <a:moveTo>
                  <a:pt x="2389645" y="4524306"/>
                </a:moveTo>
                <a:lnTo>
                  <a:pt x="2675642" y="4689824"/>
                </a:lnTo>
                <a:lnTo>
                  <a:pt x="2675642" y="4735492"/>
                </a:lnTo>
                <a:lnTo>
                  <a:pt x="2389515" y="4901019"/>
                </a:lnTo>
                <a:lnTo>
                  <a:pt x="2064053" y="4712663"/>
                </a:lnTo>
                <a:close/>
                <a:moveTo>
                  <a:pt x="335824" y="4524306"/>
                </a:moveTo>
                <a:lnTo>
                  <a:pt x="661286" y="4712663"/>
                </a:lnTo>
                <a:lnTo>
                  <a:pt x="335694" y="4901019"/>
                </a:lnTo>
                <a:lnTo>
                  <a:pt x="10234" y="4712663"/>
                </a:lnTo>
                <a:close/>
                <a:moveTo>
                  <a:pt x="1600831" y="4360467"/>
                </a:moveTo>
                <a:cubicBezTo>
                  <a:pt x="1611339" y="4360467"/>
                  <a:pt x="1621197" y="4364618"/>
                  <a:pt x="1628591" y="4372012"/>
                </a:cubicBezTo>
                <a:lnTo>
                  <a:pt x="1693190" y="4436743"/>
                </a:lnTo>
                <a:lnTo>
                  <a:pt x="1704735" y="4448418"/>
                </a:lnTo>
                <a:lnTo>
                  <a:pt x="1716280" y="4436743"/>
                </a:lnTo>
                <a:lnTo>
                  <a:pt x="1780749" y="4372012"/>
                </a:lnTo>
                <a:cubicBezTo>
                  <a:pt x="1788143" y="4364488"/>
                  <a:pt x="1798002" y="4360467"/>
                  <a:pt x="1808508" y="4360467"/>
                </a:cubicBezTo>
                <a:cubicBezTo>
                  <a:pt x="1818887" y="4360467"/>
                  <a:pt x="1828746" y="4364618"/>
                  <a:pt x="1836138" y="4372012"/>
                </a:cubicBezTo>
                <a:lnTo>
                  <a:pt x="1914618" y="4450623"/>
                </a:lnTo>
                <a:cubicBezTo>
                  <a:pt x="1922012" y="4458018"/>
                  <a:pt x="1926033" y="4467877"/>
                  <a:pt x="1926163" y="4478384"/>
                </a:cubicBezTo>
                <a:cubicBezTo>
                  <a:pt x="1926163" y="4488892"/>
                  <a:pt x="1922141" y="4498751"/>
                  <a:pt x="1914748" y="4506145"/>
                </a:cubicBezTo>
                <a:lnTo>
                  <a:pt x="1704735" y="4716554"/>
                </a:lnTo>
                <a:lnTo>
                  <a:pt x="1494722" y="4506145"/>
                </a:lnTo>
                <a:cubicBezTo>
                  <a:pt x="1479415" y="4490837"/>
                  <a:pt x="1479415" y="4465930"/>
                  <a:pt x="1494722" y="4450753"/>
                </a:cubicBezTo>
                <a:lnTo>
                  <a:pt x="1573201" y="4372012"/>
                </a:lnTo>
                <a:cubicBezTo>
                  <a:pt x="1580596" y="4364618"/>
                  <a:pt x="1590324" y="4360467"/>
                  <a:pt x="1600831" y="4360467"/>
                </a:cubicBezTo>
                <a:close/>
                <a:moveTo>
                  <a:pt x="1600831" y="4343992"/>
                </a:moveTo>
                <a:cubicBezTo>
                  <a:pt x="1586562" y="4343992"/>
                  <a:pt x="1572423" y="4349440"/>
                  <a:pt x="1561656" y="4360336"/>
                </a:cubicBezTo>
                <a:lnTo>
                  <a:pt x="1483177" y="4439078"/>
                </a:lnTo>
                <a:cubicBezTo>
                  <a:pt x="1461514" y="4460743"/>
                  <a:pt x="1461514" y="4496026"/>
                  <a:pt x="1483177" y="4517690"/>
                </a:cubicBezTo>
                <a:lnTo>
                  <a:pt x="1704735" y="4739774"/>
                </a:lnTo>
                <a:lnTo>
                  <a:pt x="1926292" y="4517690"/>
                </a:lnTo>
                <a:cubicBezTo>
                  <a:pt x="1947955" y="4496026"/>
                  <a:pt x="1947955" y="4460743"/>
                  <a:pt x="1926292" y="4439078"/>
                </a:cubicBezTo>
                <a:lnTo>
                  <a:pt x="1847813" y="4360467"/>
                </a:lnTo>
                <a:cubicBezTo>
                  <a:pt x="1836918" y="4349570"/>
                  <a:pt x="1822778" y="4344121"/>
                  <a:pt x="1808638" y="4344121"/>
                </a:cubicBezTo>
                <a:lnTo>
                  <a:pt x="1808508" y="4343992"/>
                </a:lnTo>
                <a:cubicBezTo>
                  <a:pt x="1794240" y="4343992"/>
                  <a:pt x="1780101" y="4349440"/>
                  <a:pt x="1769204" y="4360467"/>
                </a:cubicBezTo>
                <a:lnTo>
                  <a:pt x="1704735" y="4425069"/>
                </a:lnTo>
                <a:lnTo>
                  <a:pt x="1640136" y="4360336"/>
                </a:lnTo>
                <a:cubicBezTo>
                  <a:pt x="1629239" y="4349440"/>
                  <a:pt x="1615099" y="4343992"/>
                  <a:pt x="1600831" y="4343992"/>
                </a:cubicBezTo>
                <a:close/>
                <a:moveTo>
                  <a:pt x="2397817" y="4133337"/>
                </a:moveTo>
                <a:lnTo>
                  <a:pt x="2675642" y="4294111"/>
                </a:lnTo>
                <a:lnTo>
                  <a:pt x="2675642" y="4670953"/>
                </a:lnTo>
                <a:lnTo>
                  <a:pt x="2397817" y="4510166"/>
                </a:lnTo>
                <a:close/>
                <a:moveTo>
                  <a:pt x="2381472" y="4133337"/>
                </a:moveTo>
                <a:lnTo>
                  <a:pt x="2381472" y="4510166"/>
                </a:lnTo>
                <a:lnTo>
                  <a:pt x="2055881" y="4698522"/>
                </a:lnTo>
                <a:lnTo>
                  <a:pt x="2055881" y="4321680"/>
                </a:lnTo>
                <a:close/>
                <a:moveTo>
                  <a:pt x="343997" y="4133335"/>
                </a:moveTo>
                <a:lnTo>
                  <a:pt x="669459" y="4321680"/>
                </a:lnTo>
                <a:lnTo>
                  <a:pt x="669459" y="4698522"/>
                </a:lnTo>
                <a:lnTo>
                  <a:pt x="343997" y="4510166"/>
                </a:lnTo>
                <a:close/>
                <a:moveTo>
                  <a:pt x="327652" y="4133335"/>
                </a:moveTo>
                <a:lnTo>
                  <a:pt x="327652" y="4510166"/>
                </a:lnTo>
                <a:lnTo>
                  <a:pt x="2061" y="4698522"/>
                </a:lnTo>
                <a:lnTo>
                  <a:pt x="2061" y="4321680"/>
                </a:lnTo>
                <a:close/>
                <a:moveTo>
                  <a:pt x="1019567" y="4128536"/>
                </a:moveTo>
                <a:lnTo>
                  <a:pt x="1353330" y="4321680"/>
                </a:lnTo>
                <a:lnTo>
                  <a:pt x="1353330" y="4707993"/>
                </a:lnTo>
                <a:lnTo>
                  <a:pt x="1019697" y="4901148"/>
                </a:lnTo>
                <a:lnTo>
                  <a:pt x="685932" y="4707993"/>
                </a:lnTo>
                <a:lnTo>
                  <a:pt x="685932" y="4321680"/>
                </a:lnTo>
                <a:close/>
                <a:moveTo>
                  <a:pt x="1704605" y="4128280"/>
                </a:moveTo>
                <a:lnTo>
                  <a:pt x="2038368" y="4321420"/>
                </a:lnTo>
                <a:lnTo>
                  <a:pt x="2038368" y="4707602"/>
                </a:lnTo>
                <a:lnTo>
                  <a:pt x="1704605" y="4900759"/>
                </a:lnTo>
                <a:lnTo>
                  <a:pt x="1370842" y="4707602"/>
                </a:lnTo>
                <a:lnTo>
                  <a:pt x="1370842" y="4321420"/>
                </a:lnTo>
                <a:close/>
                <a:moveTo>
                  <a:pt x="1362800" y="3930457"/>
                </a:moveTo>
                <a:lnTo>
                  <a:pt x="1688258" y="4118806"/>
                </a:lnTo>
                <a:lnTo>
                  <a:pt x="1362669" y="4307149"/>
                </a:lnTo>
                <a:lnTo>
                  <a:pt x="1296076" y="4268609"/>
                </a:lnTo>
                <a:lnTo>
                  <a:pt x="1037211" y="4118806"/>
                </a:lnTo>
                <a:close/>
                <a:moveTo>
                  <a:pt x="2627676" y="3766489"/>
                </a:moveTo>
                <a:cubicBezTo>
                  <a:pt x="2638182" y="3766489"/>
                  <a:pt x="2648041" y="3770638"/>
                  <a:pt x="2655436" y="3778033"/>
                </a:cubicBezTo>
                <a:lnTo>
                  <a:pt x="2675642" y="3798281"/>
                </a:lnTo>
                <a:lnTo>
                  <a:pt x="2675642" y="4066527"/>
                </a:lnTo>
                <a:lnTo>
                  <a:pt x="2521567" y="3912164"/>
                </a:lnTo>
                <a:cubicBezTo>
                  <a:pt x="2506261" y="3896857"/>
                  <a:pt x="2506261" y="3871952"/>
                  <a:pt x="2521567" y="3856776"/>
                </a:cubicBezTo>
                <a:lnTo>
                  <a:pt x="2600047" y="3778033"/>
                </a:lnTo>
                <a:cubicBezTo>
                  <a:pt x="2607439" y="3770638"/>
                  <a:pt x="2617169" y="3766489"/>
                  <a:pt x="2627676" y="3766489"/>
                </a:cubicBezTo>
                <a:close/>
                <a:moveTo>
                  <a:pt x="573858" y="3766487"/>
                </a:moveTo>
                <a:cubicBezTo>
                  <a:pt x="584365" y="3766487"/>
                  <a:pt x="594223" y="3770636"/>
                  <a:pt x="601617" y="3778031"/>
                </a:cubicBezTo>
                <a:lnTo>
                  <a:pt x="666217" y="3842759"/>
                </a:lnTo>
                <a:lnTo>
                  <a:pt x="677761" y="3854435"/>
                </a:lnTo>
                <a:lnTo>
                  <a:pt x="689306" y="3842759"/>
                </a:lnTo>
                <a:lnTo>
                  <a:pt x="753777" y="3778031"/>
                </a:lnTo>
                <a:cubicBezTo>
                  <a:pt x="761169" y="3770507"/>
                  <a:pt x="771028" y="3766487"/>
                  <a:pt x="781534" y="3766487"/>
                </a:cubicBezTo>
                <a:cubicBezTo>
                  <a:pt x="791913" y="3766487"/>
                  <a:pt x="801772" y="3770636"/>
                  <a:pt x="809164" y="3778031"/>
                </a:cubicBezTo>
                <a:lnTo>
                  <a:pt x="887644" y="3856639"/>
                </a:lnTo>
                <a:cubicBezTo>
                  <a:pt x="895038" y="3864034"/>
                  <a:pt x="899059" y="3873896"/>
                  <a:pt x="899189" y="3884401"/>
                </a:cubicBezTo>
                <a:cubicBezTo>
                  <a:pt x="899189" y="3894908"/>
                  <a:pt x="895167" y="3904767"/>
                  <a:pt x="887774" y="3912160"/>
                </a:cubicBezTo>
                <a:lnTo>
                  <a:pt x="677761" y="4122570"/>
                </a:lnTo>
                <a:lnTo>
                  <a:pt x="467748" y="3912160"/>
                </a:lnTo>
                <a:cubicBezTo>
                  <a:pt x="452441" y="3896853"/>
                  <a:pt x="452441" y="3871944"/>
                  <a:pt x="467748" y="3856768"/>
                </a:cubicBezTo>
                <a:lnTo>
                  <a:pt x="546228" y="3778031"/>
                </a:lnTo>
                <a:cubicBezTo>
                  <a:pt x="553622" y="3770636"/>
                  <a:pt x="563350" y="3766487"/>
                  <a:pt x="573858" y="3766487"/>
                </a:cubicBezTo>
                <a:close/>
                <a:moveTo>
                  <a:pt x="573858" y="3750008"/>
                </a:moveTo>
                <a:cubicBezTo>
                  <a:pt x="559588" y="3750008"/>
                  <a:pt x="545449" y="3755458"/>
                  <a:pt x="534683" y="3766357"/>
                </a:cubicBezTo>
                <a:lnTo>
                  <a:pt x="456203" y="3845095"/>
                </a:lnTo>
                <a:cubicBezTo>
                  <a:pt x="434540" y="3866759"/>
                  <a:pt x="434540" y="3902043"/>
                  <a:pt x="456203" y="3923707"/>
                </a:cubicBezTo>
                <a:lnTo>
                  <a:pt x="677761" y="4145787"/>
                </a:lnTo>
                <a:lnTo>
                  <a:pt x="899319" y="3923707"/>
                </a:lnTo>
                <a:cubicBezTo>
                  <a:pt x="920981" y="3902043"/>
                  <a:pt x="920981" y="3866759"/>
                  <a:pt x="899319" y="3845095"/>
                </a:cubicBezTo>
                <a:lnTo>
                  <a:pt x="820839" y="3766487"/>
                </a:lnTo>
                <a:cubicBezTo>
                  <a:pt x="809944" y="3755589"/>
                  <a:pt x="795804" y="3750141"/>
                  <a:pt x="781664" y="3750141"/>
                </a:cubicBezTo>
                <a:lnTo>
                  <a:pt x="781534" y="3750008"/>
                </a:lnTo>
                <a:cubicBezTo>
                  <a:pt x="767266" y="3750008"/>
                  <a:pt x="753127" y="3755458"/>
                  <a:pt x="742232" y="3766487"/>
                </a:cubicBezTo>
                <a:lnTo>
                  <a:pt x="677761" y="3831087"/>
                </a:lnTo>
                <a:lnTo>
                  <a:pt x="613162" y="3766357"/>
                </a:lnTo>
                <a:cubicBezTo>
                  <a:pt x="602265" y="3755458"/>
                  <a:pt x="588127" y="3750008"/>
                  <a:pt x="573858" y="3750008"/>
                </a:cubicBezTo>
                <a:close/>
                <a:moveTo>
                  <a:pt x="2675642" y="3566587"/>
                </a:moveTo>
                <a:lnTo>
                  <a:pt x="2675642" y="3775035"/>
                </a:lnTo>
                <a:lnTo>
                  <a:pt x="2666981" y="3766359"/>
                </a:lnTo>
                <a:cubicBezTo>
                  <a:pt x="2656083" y="3755462"/>
                  <a:pt x="2641945" y="3750016"/>
                  <a:pt x="2627676" y="3750016"/>
                </a:cubicBezTo>
                <a:cubicBezTo>
                  <a:pt x="2613407" y="3750016"/>
                  <a:pt x="2599267" y="3755462"/>
                  <a:pt x="2588501" y="3766359"/>
                </a:cubicBezTo>
                <a:lnTo>
                  <a:pt x="2510022" y="3845097"/>
                </a:lnTo>
                <a:cubicBezTo>
                  <a:pt x="2488359" y="3866762"/>
                  <a:pt x="2488359" y="3902046"/>
                  <a:pt x="2510022" y="3923710"/>
                </a:cubicBezTo>
                <a:lnTo>
                  <a:pt x="2675642" y="4089721"/>
                </a:lnTo>
                <a:lnTo>
                  <a:pt x="2675642" y="4274463"/>
                </a:lnTo>
                <a:lnTo>
                  <a:pt x="2397687" y="4113620"/>
                </a:lnTo>
                <a:lnTo>
                  <a:pt x="2397687" y="3727442"/>
                </a:lnTo>
                <a:close/>
                <a:moveTo>
                  <a:pt x="1370972" y="3539477"/>
                </a:moveTo>
                <a:lnTo>
                  <a:pt x="1696432" y="3727831"/>
                </a:lnTo>
                <a:lnTo>
                  <a:pt x="1696432" y="4104668"/>
                </a:lnTo>
                <a:lnTo>
                  <a:pt x="1370972" y="3916314"/>
                </a:lnTo>
                <a:close/>
                <a:moveTo>
                  <a:pt x="1354627" y="3539477"/>
                </a:moveTo>
                <a:lnTo>
                  <a:pt x="1354627" y="3916314"/>
                </a:lnTo>
                <a:lnTo>
                  <a:pt x="1029036" y="4104668"/>
                </a:lnTo>
                <a:lnTo>
                  <a:pt x="1029036" y="3727833"/>
                </a:lnTo>
                <a:close/>
                <a:moveTo>
                  <a:pt x="0" y="3538964"/>
                </a:moveTo>
                <a:lnTo>
                  <a:pt x="326355" y="3727828"/>
                </a:lnTo>
                <a:lnTo>
                  <a:pt x="326355" y="4114135"/>
                </a:lnTo>
                <a:lnTo>
                  <a:pt x="65830" y="4264954"/>
                </a:lnTo>
                <a:lnTo>
                  <a:pt x="0" y="4303065"/>
                </a:lnTo>
                <a:close/>
                <a:moveTo>
                  <a:pt x="2046540" y="3534681"/>
                </a:moveTo>
                <a:lnTo>
                  <a:pt x="2380303" y="3727831"/>
                </a:lnTo>
                <a:lnTo>
                  <a:pt x="2380303" y="4114138"/>
                </a:lnTo>
                <a:lnTo>
                  <a:pt x="2046670" y="4307278"/>
                </a:lnTo>
                <a:lnTo>
                  <a:pt x="1973861" y="4265143"/>
                </a:lnTo>
                <a:lnTo>
                  <a:pt x="1712907" y="4114138"/>
                </a:lnTo>
                <a:lnTo>
                  <a:pt x="1712907" y="3727833"/>
                </a:lnTo>
                <a:close/>
                <a:moveTo>
                  <a:pt x="677631" y="3534287"/>
                </a:moveTo>
                <a:lnTo>
                  <a:pt x="1011395" y="3727441"/>
                </a:lnTo>
                <a:lnTo>
                  <a:pt x="1011395" y="4113620"/>
                </a:lnTo>
                <a:lnTo>
                  <a:pt x="677631" y="4306761"/>
                </a:lnTo>
                <a:lnTo>
                  <a:pt x="343867" y="4113620"/>
                </a:lnTo>
                <a:lnTo>
                  <a:pt x="343867" y="3727441"/>
                </a:lnTo>
                <a:close/>
                <a:moveTo>
                  <a:pt x="2389645" y="3336497"/>
                </a:moveTo>
                <a:lnTo>
                  <a:pt x="2669420" y="3498382"/>
                </a:lnTo>
                <a:lnTo>
                  <a:pt x="2675642" y="3501984"/>
                </a:lnTo>
                <a:lnTo>
                  <a:pt x="2675642" y="3547650"/>
                </a:lnTo>
                <a:lnTo>
                  <a:pt x="2389515" y="3713173"/>
                </a:lnTo>
                <a:lnTo>
                  <a:pt x="2064052" y="3524820"/>
                </a:lnTo>
                <a:close/>
                <a:moveTo>
                  <a:pt x="335824" y="3336489"/>
                </a:moveTo>
                <a:lnTo>
                  <a:pt x="661287" y="3524818"/>
                </a:lnTo>
                <a:lnTo>
                  <a:pt x="335694" y="3713171"/>
                </a:lnTo>
                <a:lnTo>
                  <a:pt x="10233" y="3524818"/>
                </a:lnTo>
                <a:close/>
                <a:moveTo>
                  <a:pt x="1600831" y="3172539"/>
                </a:moveTo>
                <a:cubicBezTo>
                  <a:pt x="1611339" y="3172539"/>
                  <a:pt x="1621197" y="3176691"/>
                  <a:pt x="1628591" y="3184087"/>
                </a:cubicBezTo>
                <a:lnTo>
                  <a:pt x="1693190" y="3248805"/>
                </a:lnTo>
                <a:lnTo>
                  <a:pt x="1704735" y="3260492"/>
                </a:lnTo>
                <a:lnTo>
                  <a:pt x="1716280" y="3248805"/>
                </a:lnTo>
                <a:lnTo>
                  <a:pt x="1780749" y="3184087"/>
                </a:lnTo>
                <a:cubicBezTo>
                  <a:pt x="1788143" y="3176564"/>
                  <a:pt x="1798002" y="3172539"/>
                  <a:pt x="1808508" y="3172539"/>
                </a:cubicBezTo>
                <a:cubicBezTo>
                  <a:pt x="1818887" y="3172539"/>
                  <a:pt x="1828746" y="3176691"/>
                  <a:pt x="1836138" y="3184087"/>
                </a:cubicBezTo>
                <a:lnTo>
                  <a:pt x="1914618" y="3262689"/>
                </a:lnTo>
                <a:lnTo>
                  <a:pt x="1926161" y="3290444"/>
                </a:lnTo>
                <a:lnTo>
                  <a:pt x="1914748" y="3318199"/>
                </a:lnTo>
                <a:lnTo>
                  <a:pt x="1704735" y="3528579"/>
                </a:lnTo>
                <a:lnTo>
                  <a:pt x="1494722" y="3318199"/>
                </a:lnTo>
                <a:lnTo>
                  <a:pt x="1483244" y="3290463"/>
                </a:lnTo>
                <a:lnTo>
                  <a:pt x="1494722" y="3262819"/>
                </a:lnTo>
                <a:lnTo>
                  <a:pt x="1573201" y="3184087"/>
                </a:lnTo>
                <a:cubicBezTo>
                  <a:pt x="1580596" y="3176691"/>
                  <a:pt x="1590324" y="3172539"/>
                  <a:pt x="1600831" y="3172539"/>
                </a:cubicBezTo>
                <a:close/>
                <a:moveTo>
                  <a:pt x="1600831" y="3156060"/>
                </a:moveTo>
                <a:cubicBezTo>
                  <a:pt x="1586562" y="3156060"/>
                  <a:pt x="1572423" y="3161498"/>
                  <a:pt x="1561656" y="3172394"/>
                </a:cubicBezTo>
                <a:lnTo>
                  <a:pt x="1483177" y="3251138"/>
                </a:lnTo>
                <a:cubicBezTo>
                  <a:pt x="1472346" y="3261969"/>
                  <a:pt x="1466930" y="3276205"/>
                  <a:pt x="1466930" y="3290444"/>
                </a:cubicBezTo>
                <a:lnTo>
                  <a:pt x="1466932" y="3290444"/>
                </a:lnTo>
                <a:lnTo>
                  <a:pt x="1466930" y="3290449"/>
                </a:lnTo>
                <a:cubicBezTo>
                  <a:pt x="1466930" y="3304690"/>
                  <a:pt x="1472346" y="3318921"/>
                  <a:pt x="1483177" y="3329751"/>
                </a:cubicBezTo>
                <a:lnTo>
                  <a:pt x="1704735" y="3551803"/>
                </a:lnTo>
                <a:lnTo>
                  <a:pt x="1926292" y="3329751"/>
                </a:lnTo>
                <a:cubicBezTo>
                  <a:pt x="1937123" y="3318921"/>
                  <a:pt x="1942539" y="3304690"/>
                  <a:pt x="1942539" y="3290449"/>
                </a:cubicBezTo>
                <a:lnTo>
                  <a:pt x="1942537" y="3290444"/>
                </a:lnTo>
                <a:lnTo>
                  <a:pt x="1942539" y="3290444"/>
                </a:lnTo>
                <a:cubicBezTo>
                  <a:pt x="1942539" y="3276205"/>
                  <a:pt x="1937123" y="3261969"/>
                  <a:pt x="1926292" y="3251138"/>
                </a:cubicBezTo>
                <a:lnTo>
                  <a:pt x="1847813" y="3172530"/>
                </a:lnTo>
                <a:cubicBezTo>
                  <a:pt x="1836918" y="3161632"/>
                  <a:pt x="1822778" y="3156189"/>
                  <a:pt x="1808638" y="3156189"/>
                </a:cubicBezTo>
                <a:lnTo>
                  <a:pt x="1808508" y="3156060"/>
                </a:lnTo>
                <a:cubicBezTo>
                  <a:pt x="1794240" y="3156060"/>
                  <a:pt x="1780101" y="3161498"/>
                  <a:pt x="1769204" y="3172530"/>
                </a:cubicBezTo>
                <a:lnTo>
                  <a:pt x="1704735" y="3237129"/>
                </a:lnTo>
                <a:lnTo>
                  <a:pt x="1640136" y="3172394"/>
                </a:lnTo>
                <a:cubicBezTo>
                  <a:pt x="1629239" y="3161498"/>
                  <a:pt x="1615099" y="3156060"/>
                  <a:pt x="1600831" y="3156060"/>
                </a:cubicBezTo>
                <a:close/>
                <a:moveTo>
                  <a:pt x="2397817" y="2945539"/>
                </a:moveTo>
                <a:lnTo>
                  <a:pt x="2675642" y="3106326"/>
                </a:lnTo>
                <a:lnTo>
                  <a:pt x="2675642" y="3483113"/>
                </a:lnTo>
                <a:lnTo>
                  <a:pt x="2666660" y="3477916"/>
                </a:lnTo>
                <a:lnTo>
                  <a:pt x="2397817" y="3322357"/>
                </a:lnTo>
                <a:close/>
                <a:moveTo>
                  <a:pt x="2381472" y="2945539"/>
                </a:moveTo>
                <a:lnTo>
                  <a:pt x="2381472" y="3322357"/>
                </a:lnTo>
                <a:lnTo>
                  <a:pt x="2055881" y="3510681"/>
                </a:lnTo>
                <a:lnTo>
                  <a:pt x="2055881" y="3133883"/>
                </a:lnTo>
                <a:close/>
                <a:moveTo>
                  <a:pt x="343997" y="2945522"/>
                </a:moveTo>
                <a:lnTo>
                  <a:pt x="669459" y="3133881"/>
                </a:lnTo>
                <a:lnTo>
                  <a:pt x="669459" y="3510676"/>
                </a:lnTo>
                <a:lnTo>
                  <a:pt x="343997" y="3322348"/>
                </a:lnTo>
                <a:close/>
                <a:moveTo>
                  <a:pt x="327652" y="2945522"/>
                </a:moveTo>
                <a:lnTo>
                  <a:pt x="327652" y="3322348"/>
                </a:lnTo>
                <a:lnTo>
                  <a:pt x="2061" y="3510676"/>
                </a:lnTo>
                <a:lnTo>
                  <a:pt x="2061" y="3133881"/>
                </a:lnTo>
                <a:close/>
                <a:moveTo>
                  <a:pt x="1019567" y="2940724"/>
                </a:moveTo>
                <a:lnTo>
                  <a:pt x="1353330" y="3133881"/>
                </a:lnTo>
                <a:lnTo>
                  <a:pt x="1353330" y="3520144"/>
                </a:lnTo>
                <a:lnTo>
                  <a:pt x="1019697" y="3713300"/>
                </a:lnTo>
                <a:lnTo>
                  <a:pt x="685932" y="3520144"/>
                </a:lnTo>
                <a:lnTo>
                  <a:pt x="685932" y="3133881"/>
                </a:lnTo>
                <a:close/>
                <a:moveTo>
                  <a:pt x="1704605" y="2940473"/>
                </a:moveTo>
                <a:lnTo>
                  <a:pt x="2038368" y="3133625"/>
                </a:lnTo>
                <a:lnTo>
                  <a:pt x="2038368" y="3519758"/>
                </a:lnTo>
                <a:lnTo>
                  <a:pt x="1704605" y="3712908"/>
                </a:lnTo>
                <a:lnTo>
                  <a:pt x="1370842" y="3519758"/>
                </a:lnTo>
                <a:lnTo>
                  <a:pt x="1370842" y="3133625"/>
                </a:lnTo>
                <a:close/>
                <a:moveTo>
                  <a:pt x="1362800" y="2742645"/>
                </a:moveTo>
                <a:lnTo>
                  <a:pt x="1688249" y="2930995"/>
                </a:lnTo>
                <a:lnTo>
                  <a:pt x="1362669" y="3119343"/>
                </a:lnTo>
                <a:lnTo>
                  <a:pt x="1037220" y="2930995"/>
                </a:lnTo>
                <a:close/>
                <a:moveTo>
                  <a:pt x="2627676" y="2578699"/>
                </a:moveTo>
                <a:cubicBezTo>
                  <a:pt x="2638182" y="2578699"/>
                  <a:pt x="2648041" y="2582850"/>
                  <a:pt x="2655436" y="2590244"/>
                </a:cubicBezTo>
                <a:lnTo>
                  <a:pt x="2675642" y="2610494"/>
                </a:lnTo>
                <a:lnTo>
                  <a:pt x="2675642" y="2878728"/>
                </a:lnTo>
                <a:lnTo>
                  <a:pt x="2521567" y="2724359"/>
                </a:lnTo>
                <a:cubicBezTo>
                  <a:pt x="2506261" y="2709048"/>
                  <a:pt x="2506261" y="2684139"/>
                  <a:pt x="2521567" y="2668969"/>
                </a:cubicBezTo>
                <a:lnTo>
                  <a:pt x="2600047" y="2590244"/>
                </a:lnTo>
                <a:cubicBezTo>
                  <a:pt x="2607439" y="2582850"/>
                  <a:pt x="2617169" y="2578699"/>
                  <a:pt x="2627676" y="2578699"/>
                </a:cubicBezTo>
                <a:close/>
                <a:moveTo>
                  <a:pt x="573858" y="2578676"/>
                </a:moveTo>
                <a:cubicBezTo>
                  <a:pt x="584365" y="2578676"/>
                  <a:pt x="594223" y="2582834"/>
                  <a:pt x="601617" y="2590227"/>
                </a:cubicBezTo>
                <a:lnTo>
                  <a:pt x="666217" y="2654952"/>
                </a:lnTo>
                <a:lnTo>
                  <a:pt x="677761" y="2666628"/>
                </a:lnTo>
                <a:lnTo>
                  <a:pt x="689306" y="2654952"/>
                </a:lnTo>
                <a:lnTo>
                  <a:pt x="753777" y="2590227"/>
                </a:lnTo>
                <a:cubicBezTo>
                  <a:pt x="761169" y="2582702"/>
                  <a:pt x="771028" y="2578676"/>
                  <a:pt x="781534" y="2578676"/>
                </a:cubicBezTo>
                <a:cubicBezTo>
                  <a:pt x="791913" y="2578676"/>
                  <a:pt x="801772" y="2582834"/>
                  <a:pt x="809164" y="2590227"/>
                </a:cubicBezTo>
                <a:lnTo>
                  <a:pt x="887644" y="2668833"/>
                </a:lnTo>
                <a:cubicBezTo>
                  <a:pt x="895038" y="2676224"/>
                  <a:pt x="899059" y="2686069"/>
                  <a:pt x="899189" y="2696581"/>
                </a:cubicBezTo>
                <a:cubicBezTo>
                  <a:pt x="899189" y="2707087"/>
                  <a:pt x="895167" y="2716950"/>
                  <a:pt x="887774" y="2724349"/>
                </a:cubicBezTo>
                <a:lnTo>
                  <a:pt x="677761" y="2934758"/>
                </a:lnTo>
                <a:lnTo>
                  <a:pt x="467748" y="2724349"/>
                </a:lnTo>
                <a:cubicBezTo>
                  <a:pt x="452441" y="2709025"/>
                  <a:pt x="452441" y="2684132"/>
                  <a:pt x="467748" y="2668961"/>
                </a:cubicBezTo>
                <a:lnTo>
                  <a:pt x="546228" y="2590227"/>
                </a:lnTo>
                <a:cubicBezTo>
                  <a:pt x="553622" y="2582834"/>
                  <a:pt x="563350" y="2578676"/>
                  <a:pt x="573858" y="2578676"/>
                </a:cubicBezTo>
                <a:close/>
                <a:moveTo>
                  <a:pt x="573858" y="2562208"/>
                </a:moveTo>
                <a:cubicBezTo>
                  <a:pt x="559588" y="2562208"/>
                  <a:pt x="545449" y="2567658"/>
                  <a:pt x="534683" y="2578552"/>
                </a:cubicBezTo>
                <a:lnTo>
                  <a:pt x="456203" y="2657288"/>
                </a:lnTo>
                <a:cubicBezTo>
                  <a:pt x="434540" y="2678945"/>
                  <a:pt x="434540" y="2714223"/>
                  <a:pt x="456203" y="2735893"/>
                </a:cubicBezTo>
                <a:lnTo>
                  <a:pt x="677761" y="2957977"/>
                </a:lnTo>
                <a:lnTo>
                  <a:pt x="899319" y="2735893"/>
                </a:lnTo>
                <a:cubicBezTo>
                  <a:pt x="920981" y="2714223"/>
                  <a:pt x="920981" y="2678945"/>
                  <a:pt x="899319" y="2657288"/>
                </a:cubicBezTo>
                <a:lnTo>
                  <a:pt x="820839" y="2578676"/>
                </a:lnTo>
                <a:cubicBezTo>
                  <a:pt x="809944" y="2567788"/>
                  <a:pt x="795804" y="2562337"/>
                  <a:pt x="781664" y="2562337"/>
                </a:cubicBezTo>
                <a:lnTo>
                  <a:pt x="781534" y="2562208"/>
                </a:lnTo>
                <a:cubicBezTo>
                  <a:pt x="767266" y="2562208"/>
                  <a:pt x="753127" y="2567658"/>
                  <a:pt x="742232" y="2578676"/>
                </a:cubicBezTo>
                <a:lnTo>
                  <a:pt x="677761" y="2643284"/>
                </a:lnTo>
                <a:lnTo>
                  <a:pt x="613162" y="2578552"/>
                </a:lnTo>
                <a:cubicBezTo>
                  <a:pt x="602265" y="2567658"/>
                  <a:pt x="588127" y="2562208"/>
                  <a:pt x="573858" y="2562208"/>
                </a:cubicBezTo>
                <a:close/>
                <a:moveTo>
                  <a:pt x="2675642" y="2378785"/>
                </a:moveTo>
                <a:lnTo>
                  <a:pt x="2675642" y="2587244"/>
                </a:lnTo>
                <a:lnTo>
                  <a:pt x="2666981" y="2578566"/>
                </a:lnTo>
                <a:cubicBezTo>
                  <a:pt x="2656083" y="2567669"/>
                  <a:pt x="2641945" y="2562222"/>
                  <a:pt x="2627676" y="2562222"/>
                </a:cubicBezTo>
                <a:cubicBezTo>
                  <a:pt x="2613407" y="2562222"/>
                  <a:pt x="2599267" y="2567669"/>
                  <a:pt x="2588501" y="2578566"/>
                </a:cubicBezTo>
                <a:lnTo>
                  <a:pt x="2510022" y="2657304"/>
                </a:lnTo>
                <a:cubicBezTo>
                  <a:pt x="2488359" y="2678954"/>
                  <a:pt x="2488359" y="2714236"/>
                  <a:pt x="2510022" y="2735903"/>
                </a:cubicBezTo>
                <a:lnTo>
                  <a:pt x="2675642" y="2901917"/>
                </a:lnTo>
                <a:lnTo>
                  <a:pt x="2675642" y="3086666"/>
                </a:lnTo>
                <a:lnTo>
                  <a:pt x="2397687" y="2925817"/>
                </a:lnTo>
                <a:lnTo>
                  <a:pt x="2397687" y="2539653"/>
                </a:lnTo>
                <a:close/>
                <a:moveTo>
                  <a:pt x="1370972" y="2351688"/>
                </a:moveTo>
                <a:lnTo>
                  <a:pt x="1696432" y="2540032"/>
                </a:lnTo>
                <a:lnTo>
                  <a:pt x="1696432" y="2916853"/>
                </a:lnTo>
                <a:lnTo>
                  <a:pt x="1370972" y="2728491"/>
                </a:lnTo>
                <a:close/>
                <a:moveTo>
                  <a:pt x="1354627" y="2351688"/>
                </a:moveTo>
                <a:lnTo>
                  <a:pt x="1354627" y="2728491"/>
                </a:lnTo>
                <a:lnTo>
                  <a:pt x="1029036" y="2916853"/>
                </a:lnTo>
                <a:lnTo>
                  <a:pt x="1029036" y="2540032"/>
                </a:lnTo>
                <a:close/>
                <a:moveTo>
                  <a:pt x="0" y="2351157"/>
                </a:moveTo>
                <a:lnTo>
                  <a:pt x="326355" y="2540021"/>
                </a:lnTo>
                <a:lnTo>
                  <a:pt x="326355" y="2926315"/>
                </a:lnTo>
                <a:lnTo>
                  <a:pt x="0" y="3115251"/>
                </a:lnTo>
                <a:close/>
                <a:moveTo>
                  <a:pt x="2046540" y="2346879"/>
                </a:moveTo>
                <a:lnTo>
                  <a:pt x="2380303" y="2540032"/>
                </a:lnTo>
                <a:lnTo>
                  <a:pt x="2380303" y="2926321"/>
                </a:lnTo>
                <a:lnTo>
                  <a:pt x="2046670" y="3119473"/>
                </a:lnTo>
                <a:lnTo>
                  <a:pt x="1712907" y="2926321"/>
                </a:lnTo>
                <a:lnTo>
                  <a:pt x="1712907" y="2540032"/>
                </a:lnTo>
                <a:close/>
                <a:moveTo>
                  <a:pt x="677631" y="2346481"/>
                </a:moveTo>
                <a:lnTo>
                  <a:pt x="1011395" y="2539629"/>
                </a:lnTo>
                <a:lnTo>
                  <a:pt x="1011395" y="2925801"/>
                </a:lnTo>
                <a:lnTo>
                  <a:pt x="677631" y="3118955"/>
                </a:lnTo>
                <a:lnTo>
                  <a:pt x="343867" y="2925801"/>
                </a:lnTo>
                <a:lnTo>
                  <a:pt x="343867" y="2539629"/>
                </a:lnTo>
                <a:close/>
                <a:moveTo>
                  <a:pt x="2389645" y="2148664"/>
                </a:moveTo>
                <a:lnTo>
                  <a:pt x="2675642" y="2314149"/>
                </a:lnTo>
                <a:lnTo>
                  <a:pt x="2675642" y="2359849"/>
                </a:lnTo>
                <a:lnTo>
                  <a:pt x="2389515" y="2525372"/>
                </a:lnTo>
                <a:lnTo>
                  <a:pt x="2064056" y="2337021"/>
                </a:lnTo>
                <a:close/>
                <a:moveTo>
                  <a:pt x="335824" y="2148651"/>
                </a:moveTo>
                <a:lnTo>
                  <a:pt x="661283" y="2337004"/>
                </a:lnTo>
                <a:lnTo>
                  <a:pt x="335694" y="2525360"/>
                </a:lnTo>
                <a:lnTo>
                  <a:pt x="10237" y="2337004"/>
                </a:lnTo>
                <a:close/>
                <a:moveTo>
                  <a:pt x="1600831" y="1984709"/>
                </a:moveTo>
                <a:cubicBezTo>
                  <a:pt x="1611339" y="1984709"/>
                  <a:pt x="1621197" y="1988860"/>
                  <a:pt x="1628591" y="1996254"/>
                </a:cubicBezTo>
                <a:lnTo>
                  <a:pt x="1693190" y="2060984"/>
                </a:lnTo>
                <a:lnTo>
                  <a:pt x="1704735" y="2072657"/>
                </a:lnTo>
                <a:lnTo>
                  <a:pt x="1716280" y="2060984"/>
                </a:lnTo>
                <a:lnTo>
                  <a:pt x="1780749" y="1996254"/>
                </a:lnTo>
                <a:cubicBezTo>
                  <a:pt x="1788143" y="1988728"/>
                  <a:pt x="1798002" y="1984709"/>
                  <a:pt x="1808508" y="1984709"/>
                </a:cubicBezTo>
                <a:cubicBezTo>
                  <a:pt x="1818887" y="1984709"/>
                  <a:pt x="1828746" y="1988860"/>
                  <a:pt x="1836138" y="1996254"/>
                </a:cubicBezTo>
                <a:lnTo>
                  <a:pt x="1914618" y="2074862"/>
                </a:lnTo>
                <a:lnTo>
                  <a:pt x="1926160" y="2102615"/>
                </a:lnTo>
                <a:lnTo>
                  <a:pt x="1914748" y="2130362"/>
                </a:lnTo>
                <a:lnTo>
                  <a:pt x="1704735" y="2340772"/>
                </a:lnTo>
                <a:lnTo>
                  <a:pt x="1494722" y="2130362"/>
                </a:lnTo>
                <a:lnTo>
                  <a:pt x="1483245" y="2102632"/>
                </a:lnTo>
                <a:lnTo>
                  <a:pt x="1494722" y="2074992"/>
                </a:lnTo>
                <a:lnTo>
                  <a:pt x="1573201" y="1996254"/>
                </a:lnTo>
                <a:cubicBezTo>
                  <a:pt x="1580596" y="1988860"/>
                  <a:pt x="1590324" y="1984709"/>
                  <a:pt x="1600831" y="1984709"/>
                </a:cubicBezTo>
                <a:close/>
                <a:moveTo>
                  <a:pt x="1600831" y="1968219"/>
                </a:moveTo>
                <a:cubicBezTo>
                  <a:pt x="1586562" y="1968219"/>
                  <a:pt x="1572423" y="1973667"/>
                  <a:pt x="1561656" y="1984563"/>
                </a:cubicBezTo>
                <a:lnTo>
                  <a:pt x="1483177" y="2063301"/>
                </a:lnTo>
                <a:cubicBezTo>
                  <a:pt x="1472345" y="2074134"/>
                  <a:pt x="1466930" y="2088370"/>
                  <a:pt x="1466930" y="2102607"/>
                </a:cubicBezTo>
                <a:lnTo>
                  <a:pt x="1466933" y="2102615"/>
                </a:lnTo>
                <a:lnTo>
                  <a:pt x="1466930" y="2102624"/>
                </a:lnTo>
                <a:cubicBezTo>
                  <a:pt x="1466930" y="2116849"/>
                  <a:pt x="1472345" y="2131085"/>
                  <a:pt x="1483177" y="2141923"/>
                </a:cubicBezTo>
                <a:lnTo>
                  <a:pt x="1704735" y="2364005"/>
                </a:lnTo>
                <a:lnTo>
                  <a:pt x="1926292" y="2141923"/>
                </a:lnTo>
                <a:cubicBezTo>
                  <a:pt x="1937123" y="2131085"/>
                  <a:pt x="1942539" y="2116849"/>
                  <a:pt x="1942539" y="2102624"/>
                </a:cubicBezTo>
                <a:lnTo>
                  <a:pt x="1942536" y="2102615"/>
                </a:lnTo>
                <a:lnTo>
                  <a:pt x="1942539" y="2102607"/>
                </a:lnTo>
                <a:cubicBezTo>
                  <a:pt x="1942539" y="2088370"/>
                  <a:pt x="1937123" y="2074134"/>
                  <a:pt x="1926292" y="2063301"/>
                </a:cubicBezTo>
                <a:lnTo>
                  <a:pt x="1847813" y="1984693"/>
                </a:lnTo>
                <a:cubicBezTo>
                  <a:pt x="1836918" y="1973797"/>
                  <a:pt x="1822778" y="1968348"/>
                  <a:pt x="1808638" y="1968348"/>
                </a:cubicBezTo>
                <a:lnTo>
                  <a:pt x="1808508" y="1968219"/>
                </a:lnTo>
                <a:cubicBezTo>
                  <a:pt x="1794240" y="1968219"/>
                  <a:pt x="1780101" y="1973667"/>
                  <a:pt x="1769204" y="1984693"/>
                </a:cubicBezTo>
                <a:lnTo>
                  <a:pt x="1704735" y="2049294"/>
                </a:lnTo>
                <a:lnTo>
                  <a:pt x="1640136" y="1984563"/>
                </a:lnTo>
                <a:cubicBezTo>
                  <a:pt x="1629239" y="1973667"/>
                  <a:pt x="1615099" y="1968219"/>
                  <a:pt x="1600831" y="1968219"/>
                </a:cubicBezTo>
                <a:close/>
                <a:moveTo>
                  <a:pt x="2397817" y="1757693"/>
                </a:moveTo>
                <a:lnTo>
                  <a:pt x="2675642" y="1918485"/>
                </a:lnTo>
                <a:lnTo>
                  <a:pt x="2675642" y="2295294"/>
                </a:lnTo>
                <a:lnTo>
                  <a:pt x="2397817" y="2134524"/>
                </a:lnTo>
                <a:close/>
                <a:moveTo>
                  <a:pt x="2381472" y="1757693"/>
                </a:moveTo>
                <a:lnTo>
                  <a:pt x="2381472" y="2134524"/>
                </a:lnTo>
                <a:lnTo>
                  <a:pt x="2055881" y="2322864"/>
                </a:lnTo>
                <a:lnTo>
                  <a:pt x="2055881" y="1946054"/>
                </a:lnTo>
                <a:close/>
                <a:moveTo>
                  <a:pt x="343997" y="1757678"/>
                </a:moveTo>
                <a:lnTo>
                  <a:pt x="669459" y="1946038"/>
                </a:lnTo>
                <a:lnTo>
                  <a:pt x="669459" y="2322844"/>
                </a:lnTo>
                <a:lnTo>
                  <a:pt x="343997" y="2134505"/>
                </a:lnTo>
                <a:close/>
                <a:moveTo>
                  <a:pt x="327652" y="1757678"/>
                </a:moveTo>
                <a:lnTo>
                  <a:pt x="327652" y="2134505"/>
                </a:lnTo>
                <a:lnTo>
                  <a:pt x="2061" y="2322844"/>
                </a:lnTo>
                <a:lnTo>
                  <a:pt x="2061" y="1946038"/>
                </a:lnTo>
                <a:close/>
                <a:moveTo>
                  <a:pt x="1019567" y="1752878"/>
                </a:moveTo>
                <a:lnTo>
                  <a:pt x="1353330" y="1946038"/>
                </a:lnTo>
                <a:lnTo>
                  <a:pt x="1353330" y="2332330"/>
                </a:lnTo>
                <a:lnTo>
                  <a:pt x="1019697" y="2525485"/>
                </a:lnTo>
                <a:lnTo>
                  <a:pt x="685932" y="2332330"/>
                </a:lnTo>
                <a:lnTo>
                  <a:pt x="685932" y="1946038"/>
                </a:lnTo>
                <a:close/>
                <a:moveTo>
                  <a:pt x="1704605" y="1752635"/>
                </a:moveTo>
                <a:lnTo>
                  <a:pt x="2038368" y="1945795"/>
                </a:lnTo>
                <a:lnTo>
                  <a:pt x="2038368" y="2331944"/>
                </a:lnTo>
                <a:lnTo>
                  <a:pt x="1704605" y="2525105"/>
                </a:lnTo>
                <a:lnTo>
                  <a:pt x="1370842" y="2331944"/>
                </a:lnTo>
                <a:lnTo>
                  <a:pt x="1370842" y="1945795"/>
                </a:lnTo>
                <a:close/>
                <a:moveTo>
                  <a:pt x="1362800" y="1554804"/>
                </a:moveTo>
                <a:lnTo>
                  <a:pt x="1688246" y="1743155"/>
                </a:lnTo>
                <a:lnTo>
                  <a:pt x="1362669" y="1931508"/>
                </a:lnTo>
                <a:lnTo>
                  <a:pt x="1037222" y="1743155"/>
                </a:lnTo>
                <a:close/>
                <a:moveTo>
                  <a:pt x="2627676" y="1390835"/>
                </a:moveTo>
                <a:cubicBezTo>
                  <a:pt x="2638182" y="1390835"/>
                  <a:pt x="2648041" y="1394985"/>
                  <a:pt x="2655436" y="1402380"/>
                </a:cubicBezTo>
                <a:lnTo>
                  <a:pt x="2675642" y="1422630"/>
                </a:lnTo>
                <a:lnTo>
                  <a:pt x="2675642" y="1690880"/>
                </a:lnTo>
                <a:lnTo>
                  <a:pt x="2521567" y="1536513"/>
                </a:lnTo>
                <a:cubicBezTo>
                  <a:pt x="2506261" y="1521207"/>
                  <a:pt x="2506261" y="1496299"/>
                  <a:pt x="2521567" y="1481120"/>
                </a:cubicBezTo>
                <a:lnTo>
                  <a:pt x="2600047" y="1402380"/>
                </a:lnTo>
                <a:cubicBezTo>
                  <a:pt x="2607439" y="1394985"/>
                  <a:pt x="2617169" y="1390835"/>
                  <a:pt x="2627676" y="1390835"/>
                </a:cubicBezTo>
                <a:close/>
                <a:moveTo>
                  <a:pt x="573858" y="1390817"/>
                </a:moveTo>
                <a:cubicBezTo>
                  <a:pt x="584365" y="1390817"/>
                  <a:pt x="594223" y="1394971"/>
                  <a:pt x="601617" y="1402365"/>
                </a:cubicBezTo>
                <a:lnTo>
                  <a:pt x="666217" y="1467099"/>
                </a:lnTo>
                <a:lnTo>
                  <a:pt x="677761" y="1478768"/>
                </a:lnTo>
                <a:lnTo>
                  <a:pt x="689306" y="1467099"/>
                </a:lnTo>
                <a:lnTo>
                  <a:pt x="753777" y="1402365"/>
                </a:lnTo>
                <a:cubicBezTo>
                  <a:pt x="761169" y="1394840"/>
                  <a:pt x="771028" y="1390817"/>
                  <a:pt x="781534" y="1390817"/>
                </a:cubicBezTo>
                <a:cubicBezTo>
                  <a:pt x="791913" y="1390817"/>
                  <a:pt x="801772" y="1394971"/>
                  <a:pt x="809164" y="1402365"/>
                </a:cubicBezTo>
                <a:lnTo>
                  <a:pt x="887644" y="1480975"/>
                </a:lnTo>
                <a:cubicBezTo>
                  <a:pt x="895038" y="1488369"/>
                  <a:pt x="899059" y="1498230"/>
                  <a:pt x="899189" y="1508734"/>
                </a:cubicBezTo>
                <a:cubicBezTo>
                  <a:pt x="899189" y="1519244"/>
                  <a:pt x="895167" y="1529101"/>
                  <a:pt x="887774" y="1536497"/>
                </a:cubicBezTo>
                <a:lnTo>
                  <a:pt x="677761" y="1746909"/>
                </a:lnTo>
                <a:lnTo>
                  <a:pt x="467748" y="1536497"/>
                </a:lnTo>
                <a:cubicBezTo>
                  <a:pt x="452441" y="1521189"/>
                  <a:pt x="452441" y="1496283"/>
                  <a:pt x="467748" y="1481104"/>
                </a:cubicBezTo>
                <a:lnTo>
                  <a:pt x="546228" y="1402365"/>
                </a:lnTo>
                <a:cubicBezTo>
                  <a:pt x="553622" y="1394971"/>
                  <a:pt x="563350" y="1390817"/>
                  <a:pt x="573858" y="1390817"/>
                </a:cubicBezTo>
                <a:close/>
                <a:moveTo>
                  <a:pt x="573858" y="1374341"/>
                </a:moveTo>
                <a:cubicBezTo>
                  <a:pt x="559588" y="1374341"/>
                  <a:pt x="545449" y="1379791"/>
                  <a:pt x="534683" y="1390688"/>
                </a:cubicBezTo>
                <a:lnTo>
                  <a:pt x="456203" y="1469432"/>
                </a:lnTo>
                <a:cubicBezTo>
                  <a:pt x="434540" y="1491094"/>
                  <a:pt x="434540" y="1526379"/>
                  <a:pt x="456203" y="1548042"/>
                </a:cubicBezTo>
                <a:lnTo>
                  <a:pt x="677761" y="1770130"/>
                </a:lnTo>
                <a:lnTo>
                  <a:pt x="899319" y="1548042"/>
                </a:lnTo>
                <a:cubicBezTo>
                  <a:pt x="920981" y="1526379"/>
                  <a:pt x="920981" y="1491094"/>
                  <a:pt x="899319" y="1469432"/>
                </a:cubicBezTo>
                <a:lnTo>
                  <a:pt x="820839" y="1390817"/>
                </a:lnTo>
                <a:cubicBezTo>
                  <a:pt x="809944" y="1379920"/>
                  <a:pt x="795804" y="1374473"/>
                  <a:pt x="781664" y="1374473"/>
                </a:cubicBezTo>
                <a:lnTo>
                  <a:pt x="781534" y="1374341"/>
                </a:lnTo>
                <a:cubicBezTo>
                  <a:pt x="767266" y="1374341"/>
                  <a:pt x="753127" y="1379791"/>
                  <a:pt x="742232" y="1390817"/>
                </a:cubicBezTo>
                <a:lnTo>
                  <a:pt x="677761" y="1455423"/>
                </a:lnTo>
                <a:lnTo>
                  <a:pt x="613162" y="1390688"/>
                </a:lnTo>
                <a:cubicBezTo>
                  <a:pt x="602265" y="1379791"/>
                  <a:pt x="588127" y="1374341"/>
                  <a:pt x="573858" y="1374341"/>
                </a:cubicBezTo>
                <a:close/>
                <a:moveTo>
                  <a:pt x="2675642" y="1190935"/>
                </a:moveTo>
                <a:lnTo>
                  <a:pt x="2675642" y="1399384"/>
                </a:lnTo>
                <a:lnTo>
                  <a:pt x="2666981" y="1390703"/>
                </a:lnTo>
                <a:cubicBezTo>
                  <a:pt x="2656083" y="1379806"/>
                  <a:pt x="2641945" y="1374358"/>
                  <a:pt x="2627676" y="1374358"/>
                </a:cubicBezTo>
                <a:cubicBezTo>
                  <a:pt x="2613407" y="1374358"/>
                  <a:pt x="2599267" y="1379806"/>
                  <a:pt x="2588501" y="1390703"/>
                </a:cubicBezTo>
                <a:lnTo>
                  <a:pt x="2510022" y="1469451"/>
                </a:lnTo>
                <a:cubicBezTo>
                  <a:pt x="2488359" y="1491111"/>
                  <a:pt x="2488359" y="1526394"/>
                  <a:pt x="2510022" y="1548057"/>
                </a:cubicBezTo>
                <a:lnTo>
                  <a:pt x="2675642" y="1714074"/>
                </a:lnTo>
                <a:lnTo>
                  <a:pt x="2675642" y="1898836"/>
                </a:lnTo>
                <a:lnTo>
                  <a:pt x="2397687" y="1737973"/>
                </a:lnTo>
                <a:lnTo>
                  <a:pt x="2397687" y="1351792"/>
                </a:lnTo>
                <a:close/>
                <a:moveTo>
                  <a:pt x="1370972" y="1163824"/>
                </a:moveTo>
                <a:lnTo>
                  <a:pt x="1696432" y="1352175"/>
                </a:lnTo>
                <a:lnTo>
                  <a:pt x="1696432" y="1729007"/>
                </a:lnTo>
                <a:lnTo>
                  <a:pt x="1370972" y="1540647"/>
                </a:lnTo>
                <a:close/>
                <a:moveTo>
                  <a:pt x="1354627" y="1163824"/>
                </a:moveTo>
                <a:lnTo>
                  <a:pt x="1354627" y="1540647"/>
                </a:lnTo>
                <a:lnTo>
                  <a:pt x="1029036" y="1729007"/>
                </a:lnTo>
                <a:lnTo>
                  <a:pt x="1029036" y="1352175"/>
                </a:lnTo>
                <a:close/>
                <a:moveTo>
                  <a:pt x="0" y="1163295"/>
                </a:moveTo>
                <a:lnTo>
                  <a:pt x="326355" y="1352160"/>
                </a:lnTo>
                <a:lnTo>
                  <a:pt x="326355" y="1738464"/>
                </a:lnTo>
                <a:lnTo>
                  <a:pt x="0" y="1927407"/>
                </a:lnTo>
                <a:close/>
                <a:moveTo>
                  <a:pt x="2046540" y="1159023"/>
                </a:moveTo>
                <a:lnTo>
                  <a:pt x="2380303" y="1352175"/>
                </a:lnTo>
                <a:lnTo>
                  <a:pt x="2380303" y="1738478"/>
                </a:lnTo>
                <a:lnTo>
                  <a:pt x="2046670" y="1931637"/>
                </a:lnTo>
                <a:lnTo>
                  <a:pt x="1712907" y="1738478"/>
                </a:lnTo>
                <a:lnTo>
                  <a:pt x="1712907" y="1352175"/>
                </a:lnTo>
                <a:close/>
                <a:moveTo>
                  <a:pt x="677631" y="1158620"/>
                </a:moveTo>
                <a:lnTo>
                  <a:pt x="1011395" y="1351774"/>
                </a:lnTo>
                <a:lnTo>
                  <a:pt x="1011395" y="1737958"/>
                </a:lnTo>
                <a:lnTo>
                  <a:pt x="677631" y="1931118"/>
                </a:lnTo>
                <a:lnTo>
                  <a:pt x="343867" y="1737958"/>
                </a:lnTo>
                <a:lnTo>
                  <a:pt x="343867" y="1351774"/>
                </a:lnTo>
                <a:close/>
                <a:moveTo>
                  <a:pt x="2389645" y="960799"/>
                </a:moveTo>
                <a:lnTo>
                  <a:pt x="2675642" y="1126327"/>
                </a:lnTo>
                <a:lnTo>
                  <a:pt x="2675642" y="1171992"/>
                </a:lnTo>
                <a:lnTo>
                  <a:pt x="2389515" y="1337516"/>
                </a:lnTo>
                <a:lnTo>
                  <a:pt x="2064056" y="1149161"/>
                </a:lnTo>
                <a:close/>
                <a:moveTo>
                  <a:pt x="335824" y="960784"/>
                </a:moveTo>
                <a:lnTo>
                  <a:pt x="661283" y="1149145"/>
                </a:lnTo>
                <a:lnTo>
                  <a:pt x="335694" y="1337499"/>
                </a:lnTo>
                <a:lnTo>
                  <a:pt x="10237" y="1149145"/>
                </a:lnTo>
                <a:close/>
                <a:moveTo>
                  <a:pt x="1600831" y="796828"/>
                </a:moveTo>
                <a:cubicBezTo>
                  <a:pt x="1611339" y="796828"/>
                  <a:pt x="1621197" y="800978"/>
                  <a:pt x="1628591" y="808373"/>
                </a:cubicBezTo>
                <a:lnTo>
                  <a:pt x="1693190" y="873104"/>
                </a:lnTo>
                <a:lnTo>
                  <a:pt x="1704735" y="884778"/>
                </a:lnTo>
                <a:lnTo>
                  <a:pt x="1716280" y="873104"/>
                </a:lnTo>
                <a:lnTo>
                  <a:pt x="1780749" y="808373"/>
                </a:lnTo>
                <a:cubicBezTo>
                  <a:pt x="1788143" y="800848"/>
                  <a:pt x="1798002" y="796828"/>
                  <a:pt x="1808508" y="796828"/>
                </a:cubicBezTo>
                <a:cubicBezTo>
                  <a:pt x="1818887" y="796828"/>
                  <a:pt x="1828746" y="800978"/>
                  <a:pt x="1836138" y="808373"/>
                </a:cubicBezTo>
                <a:lnTo>
                  <a:pt x="1914618" y="886983"/>
                </a:lnTo>
                <a:lnTo>
                  <a:pt x="1926160" y="914736"/>
                </a:lnTo>
                <a:lnTo>
                  <a:pt x="1914748" y="942490"/>
                </a:lnTo>
                <a:lnTo>
                  <a:pt x="1704735" y="1152909"/>
                </a:lnTo>
                <a:lnTo>
                  <a:pt x="1494722" y="942490"/>
                </a:lnTo>
                <a:lnTo>
                  <a:pt x="1483244" y="914754"/>
                </a:lnTo>
                <a:lnTo>
                  <a:pt x="1494722" y="887113"/>
                </a:lnTo>
                <a:lnTo>
                  <a:pt x="1573201" y="808373"/>
                </a:lnTo>
                <a:cubicBezTo>
                  <a:pt x="1580596" y="800978"/>
                  <a:pt x="1590324" y="796828"/>
                  <a:pt x="1600831" y="796828"/>
                </a:cubicBezTo>
                <a:close/>
                <a:moveTo>
                  <a:pt x="1600831" y="780338"/>
                </a:moveTo>
                <a:cubicBezTo>
                  <a:pt x="1586562" y="780338"/>
                  <a:pt x="1572423" y="785787"/>
                  <a:pt x="1561656" y="796683"/>
                </a:cubicBezTo>
                <a:lnTo>
                  <a:pt x="1483177" y="875425"/>
                </a:lnTo>
                <a:cubicBezTo>
                  <a:pt x="1472346" y="886258"/>
                  <a:pt x="1466930" y="900495"/>
                  <a:pt x="1466930" y="914730"/>
                </a:cubicBezTo>
                <a:lnTo>
                  <a:pt x="1466933" y="914736"/>
                </a:lnTo>
                <a:lnTo>
                  <a:pt x="1466930" y="914744"/>
                </a:lnTo>
                <a:cubicBezTo>
                  <a:pt x="1466930" y="928981"/>
                  <a:pt x="1472346" y="943218"/>
                  <a:pt x="1483177" y="954050"/>
                </a:cubicBezTo>
                <a:lnTo>
                  <a:pt x="1704735" y="1176145"/>
                </a:lnTo>
                <a:lnTo>
                  <a:pt x="1926292" y="954050"/>
                </a:lnTo>
                <a:cubicBezTo>
                  <a:pt x="1937123" y="943218"/>
                  <a:pt x="1942539" y="928981"/>
                  <a:pt x="1942539" y="914744"/>
                </a:cubicBezTo>
                <a:lnTo>
                  <a:pt x="1942536" y="914736"/>
                </a:lnTo>
                <a:lnTo>
                  <a:pt x="1942539" y="914730"/>
                </a:lnTo>
                <a:cubicBezTo>
                  <a:pt x="1942539" y="900495"/>
                  <a:pt x="1937123" y="886258"/>
                  <a:pt x="1926292" y="875425"/>
                </a:cubicBezTo>
                <a:lnTo>
                  <a:pt x="1847813" y="796812"/>
                </a:lnTo>
                <a:cubicBezTo>
                  <a:pt x="1836918" y="785916"/>
                  <a:pt x="1822778" y="780468"/>
                  <a:pt x="1808638" y="780468"/>
                </a:cubicBezTo>
                <a:lnTo>
                  <a:pt x="1808508" y="780338"/>
                </a:lnTo>
                <a:cubicBezTo>
                  <a:pt x="1794240" y="780338"/>
                  <a:pt x="1780101" y="785787"/>
                  <a:pt x="1769204" y="796812"/>
                </a:cubicBezTo>
                <a:lnTo>
                  <a:pt x="1704735" y="861415"/>
                </a:lnTo>
                <a:lnTo>
                  <a:pt x="1640136" y="796683"/>
                </a:lnTo>
                <a:cubicBezTo>
                  <a:pt x="1629239" y="785787"/>
                  <a:pt x="1615099" y="780338"/>
                  <a:pt x="1600831" y="780338"/>
                </a:cubicBezTo>
                <a:close/>
                <a:moveTo>
                  <a:pt x="2397817" y="569816"/>
                </a:moveTo>
                <a:lnTo>
                  <a:pt x="2675642" y="730603"/>
                </a:lnTo>
                <a:lnTo>
                  <a:pt x="2675642" y="1107455"/>
                </a:lnTo>
                <a:lnTo>
                  <a:pt x="2397817" y="946654"/>
                </a:lnTo>
                <a:close/>
                <a:moveTo>
                  <a:pt x="2381472" y="569816"/>
                </a:moveTo>
                <a:lnTo>
                  <a:pt x="2381472" y="946654"/>
                </a:lnTo>
                <a:lnTo>
                  <a:pt x="2055881" y="1135023"/>
                </a:lnTo>
                <a:lnTo>
                  <a:pt x="2055881" y="758171"/>
                </a:lnTo>
                <a:close/>
                <a:moveTo>
                  <a:pt x="343997" y="569803"/>
                </a:moveTo>
                <a:lnTo>
                  <a:pt x="669459" y="758157"/>
                </a:lnTo>
                <a:lnTo>
                  <a:pt x="669459" y="1135005"/>
                </a:lnTo>
                <a:lnTo>
                  <a:pt x="343997" y="946640"/>
                </a:lnTo>
                <a:close/>
                <a:moveTo>
                  <a:pt x="327652" y="569803"/>
                </a:moveTo>
                <a:lnTo>
                  <a:pt x="327652" y="946640"/>
                </a:lnTo>
                <a:lnTo>
                  <a:pt x="2061" y="1135005"/>
                </a:lnTo>
                <a:lnTo>
                  <a:pt x="2061" y="758157"/>
                </a:lnTo>
                <a:close/>
                <a:moveTo>
                  <a:pt x="1019567" y="565003"/>
                </a:moveTo>
                <a:lnTo>
                  <a:pt x="1353330" y="758157"/>
                </a:lnTo>
                <a:lnTo>
                  <a:pt x="1353330" y="1144474"/>
                </a:lnTo>
                <a:lnTo>
                  <a:pt x="1019697" y="1337629"/>
                </a:lnTo>
                <a:lnTo>
                  <a:pt x="685932" y="1144474"/>
                </a:lnTo>
                <a:lnTo>
                  <a:pt x="685932" y="758157"/>
                </a:lnTo>
                <a:close/>
                <a:moveTo>
                  <a:pt x="1704605" y="564628"/>
                </a:moveTo>
                <a:lnTo>
                  <a:pt x="2038368" y="757782"/>
                </a:lnTo>
                <a:lnTo>
                  <a:pt x="2038368" y="1143957"/>
                </a:lnTo>
                <a:lnTo>
                  <a:pt x="1704605" y="1337111"/>
                </a:lnTo>
                <a:lnTo>
                  <a:pt x="1370842" y="1143959"/>
                </a:lnTo>
                <a:lnTo>
                  <a:pt x="1370842" y="757782"/>
                </a:lnTo>
                <a:close/>
                <a:moveTo>
                  <a:pt x="1362800" y="366803"/>
                </a:moveTo>
                <a:lnTo>
                  <a:pt x="1688247" y="555149"/>
                </a:lnTo>
                <a:lnTo>
                  <a:pt x="1362669" y="743498"/>
                </a:lnTo>
                <a:lnTo>
                  <a:pt x="1037222" y="555149"/>
                </a:lnTo>
                <a:close/>
                <a:moveTo>
                  <a:pt x="2627676" y="202966"/>
                </a:moveTo>
                <a:cubicBezTo>
                  <a:pt x="2638182" y="202966"/>
                  <a:pt x="2648041" y="207115"/>
                  <a:pt x="2655436" y="214509"/>
                </a:cubicBezTo>
                <a:lnTo>
                  <a:pt x="2675642" y="234757"/>
                </a:lnTo>
                <a:lnTo>
                  <a:pt x="2675642" y="503007"/>
                </a:lnTo>
                <a:lnTo>
                  <a:pt x="2521567" y="348641"/>
                </a:lnTo>
                <a:cubicBezTo>
                  <a:pt x="2506261" y="333336"/>
                  <a:pt x="2506261" y="308429"/>
                  <a:pt x="2521567" y="293253"/>
                </a:cubicBezTo>
                <a:lnTo>
                  <a:pt x="2600047" y="214509"/>
                </a:lnTo>
                <a:cubicBezTo>
                  <a:pt x="2607439" y="207115"/>
                  <a:pt x="2617169" y="202966"/>
                  <a:pt x="2627676" y="202966"/>
                </a:cubicBezTo>
                <a:close/>
                <a:moveTo>
                  <a:pt x="573858" y="202950"/>
                </a:moveTo>
                <a:cubicBezTo>
                  <a:pt x="584365" y="202950"/>
                  <a:pt x="594223" y="207102"/>
                  <a:pt x="601617" y="214495"/>
                </a:cubicBezTo>
                <a:lnTo>
                  <a:pt x="666217" y="279226"/>
                </a:lnTo>
                <a:lnTo>
                  <a:pt x="677761" y="290903"/>
                </a:lnTo>
                <a:lnTo>
                  <a:pt x="689306" y="279226"/>
                </a:lnTo>
                <a:lnTo>
                  <a:pt x="753777" y="214495"/>
                </a:lnTo>
                <a:cubicBezTo>
                  <a:pt x="761169" y="206971"/>
                  <a:pt x="771028" y="202950"/>
                  <a:pt x="781534" y="202950"/>
                </a:cubicBezTo>
                <a:cubicBezTo>
                  <a:pt x="791913" y="202950"/>
                  <a:pt x="801772" y="207102"/>
                  <a:pt x="809164" y="214495"/>
                </a:cubicBezTo>
                <a:lnTo>
                  <a:pt x="887644" y="293106"/>
                </a:lnTo>
                <a:cubicBezTo>
                  <a:pt x="895038" y="300500"/>
                  <a:pt x="899059" y="310360"/>
                  <a:pt x="899189" y="320867"/>
                </a:cubicBezTo>
                <a:cubicBezTo>
                  <a:pt x="899189" y="331375"/>
                  <a:pt x="895167" y="341234"/>
                  <a:pt x="887774" y="348627"/>
                </a:cubicBezTo>
                <a:lnTo>
                  <a:pt x="677761" y="559036"/>
                </a:lnTo>
                <a:lnTo>
                  <a:pt x="467748" y="348627"/>
                </a:lnTo>
                <a:cubicBezTo>
                  <a:pt x="452441" y="333321"/>
                  <a:pt x="452441" y="308414"/>
                  <a:pt x="467748" y="293236"/>
                </a:cubicBezTo>
                <a:lnTo>
                  <a:pt x="546228" y="214495"/>
                </a:lnTo>
                <a:cubicBezTo>
                  <a:pt x="553622" y="207102"/>
                  <a:pt x="563350" y="202950"/>
                  <a:pt x="573858" y="202950"/>
                </a:cubicBezTo>
                <a:close/>
                <a:moveTo>
                  <a:pt x="573858" y="186475"/>
                </a:moveTo>
                <a:cubicBezTo>
                  <a:pt x="559588" y="186475"/>
                  <a:pt x="545449" y="191923"/>
                  <a:pt x="534683" y="202821"/>
                </a:cubicBezTo>
                <a:lnTo>
                  <a:pt x="456203" y="281561"/>
                </a:lnTo>
                <a:cubicBezTo>
                  <a:pt x="434540" y="303225"/>
                  <a:pt x="434540" y="338510"/>
                  <a:pt x="456203" y="360173"/>
                </a:cubicBezTo>
                <a:lnTo>
                  <a:pt x="677761" y="582255"/>
                </a:lnTo>
                <a:lnTo>
                  <a:pt x="899319" y="360173"/>
                </a:lnTo>
                <a:cubicBezTo>
                  <a:pt x="920981" y="338510"/>
                  <a:pt x="920981" y="303225"/>
                  <a:pt x="899319" y="281561"/>
                </a:cubicBezTo>
                <a:lnTo>
                  <a:pt x="820839" y="202950"/>
                </a:lnTo>
                <a:cubicBezTo>
                  <a:pt x="809944" y="192053"/>
                  <a:pt x="795804" y="186606"/>
                  <a:pt x="781664" y="186606"/>
                </a:cubicBezTo>
                <a:lnTo>
                  <a:pt x="781534" y="186475"/>
                </a:lnTo>
                <a:cubicBezTo>
                  <a:pt x="767266" y="186475"/>
                  <a:pt x="753127" y="191923"/>
                  <a:pt x="742232" y="202950"/>
                </a:cubicBezTo>
                <a:lnTo>
                  <a:pt x="677761" y="267553"/>
                </a:lnTo>
                <a:lnTo>
                  <a:pt x="613162" y="202821"/>
                </a:lnTo>
                <a:cubicBezTo>
                  <a:pt x="602265" y="191923"/>
                  <a:pt x="588127" y="186475"/>
                  <a:pt x="573858" y="186475"/>
                </a:cubicBezTo>
                <a:close/>
                <a:moveTo>
                  <a:pt x="2675642" y="3063"/>
                </a:moveTo>
                <a:lnTo>
                  <a:pt x="2675642" y="211515"/>
                </a:lnTo>
                <a:lnTo>
                  <a:pt x="2666981" y="202835"/>
                </a:lnTo>
                <a:cubicBezTo>
                  <a:pt x="2656083" y="191938"/>
                  <a:pt x="2641945" y="186490"/>
                  <a:pt x="2627676" y="186490"/>
                </a:cubicBezTo>
                <a:cubicBezTo>
                  <a:pt x="2613407" y="186490"/>
                  <a:pt x="2599267" y="191938"/>
                  <a:pt x="2588501" y="202835"/>
                </a:cubicBezTo>
                <a:lnTo>
                  <a:pt x="2510022" y="281576"/>
                </a:lnTo>
                <a:cubicBezTo>
                  <a:pt x="2488359" y="303240"/>
                  <a:pt x="2488359" y="338524"/>
                  <a:pt x="2510022" y="360188"/>
                </a:cubicBezTo>
                <a:lnTo>
                  <a:pt x="2675642" y="526200"/>
                </a:lnTo>
                <a:lnTo>
                  <a:pt x="2675642" y="710954"/>
                </a:lnTo>
                <a:lnTo>
                  <a:pt x="2397687" y="550094"/>
                </a:lnTo>
                <a:lnTo>
                  <a:pt x="2397687" y="163920"/>
                </a:lnTo>
                <a:close/>
                <a:moveTo>
                  <a:pt x="2130941" y="0"/>
                </a:moveTo>
                <a:lnTo>
                  <a:pt x="2648192" y="0"/>
                </a:lnTo>
                <a:lnTo>
                  <a:pt x="2389515" y="149646"/>
                </a:lnTo>
                <a:close/>
                <a:moveTo>
                  <a:pt x="1996487" y="0"/>
                </a:moveTo>
                <a:lnTo>
                  <a:pt x="2096613" y="0"/>
                </a:lnTo>
                <a:lnTo>
                  <a:pt x="2380303" y="164177"/>
                </a:lnTo>
                <a:lnTo>
                  <a:pt x="2380303" y="550471"/>
                </a:lnTo>
                <a:lnTo>
                  <a:pt x="2046670" y="743626"/>
                </a:lnTo>
                <a:lnTo>
                  <a:pt x="1712907" y="550471"/>
                </a:lnTo>
                <a:lnTo>
                  <a:pt x="1712907" y="164178"/>
                </a:lnTo>
                <a:close/>
                <a:moveTo>
                  <a:pt x="1446716" y="0"/>
                </a:moveTo>
                <a:lnTo>
                  <a:pt x="1962493" y="0"/>
                </a:lnTo>
                <a:lnTo>
                  <a:pt x="1704605" y="149246"/>
                </a:lnTo>
                <a:close/>
                <a:moveTo>
                  <a:pt x="1370972" y="0"/>
                </a:moveTo>
                <a:lnTo>
                  <a:pt x="1412751" y="0"/>
                </a:lnTo>
                <a:lnTo>
                  <a:pt x="1696432" y="164177"/>
                </a:lnTo>
                <a:lnTo>
                  <a:pt x="1696432" y="541003"/>
                </a:lnTo>
                <a:lnTo>
                  <a:pt x="1370972" y="352647"/>
                </a:lnTo>
                <a:close/>
                <a:moveTo>
                  <a:pt x="1312832" y="0"/>
                </a:moveTo>
                <a:lnTo>
                  <a:pt x="1354627" y="0"/>
                </a:lnTo>
                <a:lnTo>
                  <a:pt x="1354627" y="352647"/>
                </a:lnTo>
                <a:lnTo>
                  <a:pt x="1029036" y="541003"/>
                </a:lnTo>
                <a:lnTo>
                  <a:pt x="1029036" y="164178"/>
                </a:lnTo>
                <a:close/>
                <a:moveTo>
                  <a:pt x="760918" y="0"/>
                </a:moveTo>
                <a:lnTo>
                  <a:pt x="1278374" y="0"/>
                </a:lnTo>
                <a:lnTo>
                  <a:pt x="1019697" y="149760"/>
                </a:lnTo>
                <a:close/>
                <a:moveTo>
                  <a:pt x="627086" y="0"/>
                </a:moveTo>
                <a:lnTo>
                  <a:pt x="728176" y="0"/>
                </a:lnTo>
                <a:lnTo>
                  <a:pt x="1011395" y="163905"/>
                </a:lnTo>
                <a:lnTo>
                  <a:pt x="1011395" y="550081"/>
                </a:lnTo>
                <a:lnTo>
                  <a:pt x="677631" y="743237"/>
                </a:lnTo>
                <a:lnTo>
                  <a:pt x="343867" y="550081"/>
                </a:lnTo>
                <a:lnTo>
                  <a:pt x="343867" y="163905"/>
                </a:lnTo>
                <a:close/>
                <a:moveTo>
                  <a:pt x="77147" y="0"/>
                </a:moveTo>
                <a:lnTo>
                  <a:pt x="594346" y="0"/>
                </a:lnTo>
                <a:lnTo>
                  <a:pt x="335694" y="149632"/>
                </a:lnTo>
                <a:close/>
                <a:moveTo>
                  <a:pt x="0" y="0"/>
                </a:moveTo>
                <a:lnTo>
                  <a:pt x="42690" y="0"/>
                </a:lnTo>
                <a:lnTo>
                  <a:pt x="326355" y="164163"/>
                </a:lnTo>
                <a:lnTo>
                  <a:pt x="326355" y="550457"/>
                </a:lnTo>
                <a:lnTo>
                  <a:pt x="0" y="739399"/>
                </a:lnTo>
                <a:close/>
              </a:path>
            </a:pathLst>
          </a:cu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11" name="Rectangle 10">
            <a:extLst>
              <a:ext uri="{FF2B5EF4-FFF2-40B4-BE49-F238E27FC236}">
                <a16:creationId xmlns:a16="http://schemas.microsoft.com/office/drawing/2014/main" id="{8E1DF974-AC3D-5879-CEC1-89CCD977A417}"/>
              </a:ext>
            </a:extLst>
          </p:cNvPr>
          <p:cNvSpPr/>
          <p:nvPr userDrawn="1"/>
        </p:nvSpPr>
        <p:spPr bwMode="gray">
          <a:xfrm>
            <a:off x="9515661" y="0"/>
            <a:ext cx="2698183" cy="6858000"/>
          </a:xfrm>
          <a:prstGeom prst="rect">
            <a:avLst/>
          </a:prstGeom>
          <a:solidFill>
            <a:srgbClr val="0A4B8C">
              <a:alpha val="87059"/>
            </a:srgb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3" name="Freeform: Shape 2">
            <a:extLst>
              <a:ext uri="{FF2B5EF4-FFF2-40B4-BE49-F238E27FC236}">
                <a16:creationId xmlns:a16="http://schemas.microsoft.com/office/drawing/2014/main" id="{EF7707D3-6C40-7575-AD8B-84786049659B}"/>
              </a:ext>
            </a:extLst>
          </p:cNvPr>
          <p:cNvSpPr/>
          <p:nvPr userDrawn="1"/>
        </p:nvSpPr>
        <p:spPr bwMode="gray">
          <a:xfrm>
            <a:off x="2857699" y="1"/>
            <a:ext cx="6657962" cy="6841946"/>
          </a:xfrm>
          <a:custGeom>
            <a:avLst/>
            <a:gdLst>
              <a:gd name="connsiteX0" fmla="*/ 6319868 w 6656228"/>
              <a:gd name="connsiteY0" fmla="*/ 6511613 h 6841946"/>
              <a:gd name="connsiteX1" fmla="*/ 6640474 w 6656228"/>
              <a:gd name="connsiteY1" fmla="*/ 6697155 h 6841946"/>
              <a:gd name="connsiteX2" fmla="*/ 6640474 w 6656228"/>
              <a:gd name="connsiteY2" fmla="*/ 6841946 h 6841946"/>
              <a:gd name="connsiteX3" fmla="*/ 5973078 w 6656228"/>
              <a:gd name="connsiteY3" fmla="*/ 5915189 h 6841946"/>
              <a:gd name="connsiteX4" fmla="*/ 6298538 w 6656228"/>
              <a:gd name="connsiteY4" fmla="*/ 6103545 h 6841946"/>
              <a:gd name="connsiteX5" fmla="*/ 6298538 w 6656228"/>
              <a:gd name="connsiteY5" fmla="*/ 6480388 h 6841946"/>
              <a:gd name="connsiteX6" fmla="*/ 6278062 w 6656228"/>
              <a:gd name="connsiteY6" fmla="*/ 6468538 h 6841946"/>
              <a:gd name="connsiteX7" fmla="*/ 5973078 w 6656228"/>
              <a:gd name="connsiteY7" fmla="*/ 6154301 h 6841946"/>
              <a:gd name="connsiteX8" fmla="*/ 5956733 w 6656228"/>
              <a:gd name="connsiteY8" fmla="*/ 5915189 h 6841946"/>
              <a:gd name="connsiteX9" fmla="*/ 5956733 w 6656228"/>
              <a:gd name="connsiteY9" fmla="*/ 6137460 h 6841946"/>
              <a:gd name="connsiteX10" fmla="*/ 5818577 w 6656228"/>
              <a:gd name="connsiteY10" fmla="*/ 5995113 h 6841946"/>
              <a:gd name="connsiteX11" fmla="*/ 6648646 w 6656228"/>
              <a:gd name="connsiteY11" fmla="*/ 5910389 h 6841946"/>
              <a:gd name="connsiteX12" fmla="*/ 6656228 w 6656228"/>
              <a:gd name="connsiteY12" fmla="*/ 5914777 h 6841946"/>
              <a:gd name="connsiteX13" fmla="*/ 6656228 w 6656228"/>
              <a:gd name="connsiteY13" fmla="*/ 6678702 h 6841946"/>
              <a:gd name="connsiteX14" fmla="*/ 6648777 w 6656228"/>
              <a:gd name="connsiteY14" fmla="*/ 6683015 h 6841946"/>
              <a:gd name="connsiteX15" fmla="*/ 6315014 w 6656228"/>
              <a:gd name="connsiteY15" fmla="*/ 6489859 h 6841946"/>
              <a:gd name="connsiteX16" fmla="*/ 6315014 w 6656228"/>
              <a:gd name="connsiteY16" fmla="*/ 6103545 h 6841946"/>
              <a:gd name="connsiteX17" fmla="*/ 6202937 w 6656228"/>
              <a:gd name="connsiteY17" fmla="*/ 5548334 h 6841946"/>
              <a:gd name="connsiteX18" fmla="*/ 6230697 w 6656228"/>
              <a:gd name="connsiteY18" fmla="*/ 5559879 h 6841946"/>
              <a:gd name="connsiteX19" fmla="*/ 6295296 w 6656228"/>
              <a:gd name="connsiteY19" fmla="*/ 5624611 h 6841946"/>
              <a:gd name="connsiteX20" fmla="*/ 6306841 w 6656228"/>
              <a:gd name="connsiteY20" fmla="*/ 5636286 h 6841946"/>
              <a:gd name="connsiteX21" fmla="*/ 6306842 w 6656228"/>
              <a:gd name="connsiteY21" fmla="*/ 5636286 h 6841946"/>
              <a:gd name="connsiteX22" fmla="*/ 6318387 w 6656228"/>
              <a:gd name="connsiteY22" fmla="*/ 5624611 h 6841946"/>
              <a:gd name="connsiteX23" fmla="*/ 6382856 w 6656228"/>
              <a:gd name="connsiteY23" fmla="*/ 5559879 h 6841946"/>
              <a:gd name="connsiteX24" fmla="*/ 6410615 w 6656228"/>
              <a:gd name="connsiteY24" fmla="*/ 5548334 h 6841946"/>
              <a:gd name="connsiteX25" fmla="*/ 6438245 w 6656228"/>
              <a:gd name="connsiteY25" fmla="*/ 5559879 h 6841946"/>
              <a:gd name="connsiteX26" fmla="*/ 6516723 w 6656228"/>
              <a:gd name="connsiteY26" fmla="*/ 5638491 h 6841946"/>
              <a:gd name="connsiteX27" fmla="*/ 6528268 w 6656228"/>
              <a:gd name="connsiteY27" fmla="*/ 5666252 h 6841946"/>
              <a:gd name="connsiteX28" fmla="*/ 6516853 w 6656228"/>
              <a:gd name="connsiteY28" fmla="*/ 5694012 h 6841946"/>
              <a:gd name="connsiteX29" fmla="*/ 6306842 w 6656228"/>
              <a:gd name="connsiteY29" fmla="*/ 5904422 h 6841946"/>
              <a:gd name="connsiteX30" fmla="*/ 6096829 w 6656228"/>
              <a:gd name="connsiteY30" fmla="*/ 5694012 h 6841946"/>
              <a:gd name="connsiteX31" fmla="*/ 6096829 w 6656228"/>
              <a:gd name="connsiteY31" fmla="*/ 5638621 h 6841946"/>
              <a:gd name="connsiteX32" fmla="*/ 6175309 w 6656228"/>
              <a:gd name="connsiteY32" fmla="*/ 5559879 h 6841946"/>
              <a:gd name="connsiteX33" fmla="*/ 6202937 w 6656228"/>
              <a:gd name="connsiteY33" fmla="*/ 5531859 h 6841946"/>
              <a:gd name="connsiteX34" fmla="*/ 6163762 w 6656228"/>
              <a:gd name="connsiteY34" fmla="*/ 5548204 h 6841946"/>
              <a:gd name="connsiteX35" fmla="*/ 6085283 w 6656228"/>
              <a:gd name="connsiteY35" fmla="*/ 5626946 h 6841946"/>
              <a:gd name="connsiteX36" fmla="*/ 6085283 w 6656228"/>
              <a:gd name="connsiteY36" fmla="*/ 5705558 h 6841946"/>
              <a:gd name="connsiteX37" fmla="*/ 6306841 w 6656228"/>
              <a:gd name="connsiteY37" fmla="*/ 5927642 h 6841946"/>
              <a:gd name="connsiteX38" fmla="*/ 6306842 w 6656228"/>
              <a:gd name="connsiteY38" fmla="*/ 5927642 h 6841946"/>
              <a:gd name="connsiteX39" fmla="*/ 6528399 w 6656228"/>
              <a:gd name="connsiteY39" fmla="*/ 5705558 h 6841946"/>
              <a:gd name="connsiteX40" fmla="*/ 6528399 w 6656228"/>
              <a:gd name="connsiteY40" fmla="*/ 5626946 h 6841946"/>
              <a:gd name="connsiteX41" fmla="*/ 6449921 w 6656228"/>
              <a:gd name="connsiteY41" fmla="*/ 5548334 h 6841946"/>
              <a:gd name="connsiteX42" fmla="*/ 6410746 w 6656228"/>
              <a:gd name="connsiteY42" fmla="*/ 5531989 h 6841946"/>
              <a:gd name="connsiteX43" fmla="*/ 6410616 w 6656228"/>
              <a:gd name="connsiteY43" fmla="*/ 5531859 h 6841946"/>
              <a:gd name="connsiteX44" fmla="*/ 6410615 w 6656228"/>
              <a:gd name="connsiteY44" fmla="*/ 5531859 h 6841946"/>
              <a:gd name="connsiteX45" fmla="*/ 6371310 w 6656228"/>
              <a:gd name="connsiteY45" fmla="*/ 5548334 h 6841946"/>
              <a:gd name="connsiteX46" fmla="*/ 6306842 w 6656228"/>
              <a:gd name="connsiteY46" fmla="*/ 5612936 h 6841946"/>
              <a:gd name="connsiteX47" fmla="*/ 6242243 w 6656228"/>
              <a:gd name="connsiteY47" fmla="*/ 5548204 h 6841946"/>
              <a:gd name="connsiteX48" fmla="*/ 6202938 w 6656228"/>
              <a:gd name="connsiteY48" fmla="*/ 5531859 h 6841946"/>
              <a:gd name="connsiteX49" fmla="*/ 5621673 w 6656228"/>
              <a:gd name="connsiteY49" fmla="*/ 5316391 h 6841946"/>
              <a:gd name="connsiteX50" fmla="*/ 5955437 w 6656228"/>
              <a:gd name="connsiteY50" fmla="*/ 5509548 h 6841946"/>
              <a:gd name="connsiteX51" fmla="*/ 5955437 w 6656228"/>
              <a:gd name="connsiteY51" fmla="*/ 5895861 h 6841946"/>
              <a:gd name="connsiteX52" fmla="*/ 5806139 w 6656228"/>
              <a:gd name="connsiteY52" fmla="*/ 5982296 h 6841946"/>
              <a:gd name="connsiteX53" fmla="*/ 5325989 w 6656228"/>
              <a:gd name="connsiteY53" fmla="*/ 5487579 h 6841946"/>
              <a:gd name="connsiteX54" fmla="*/ 6306711 w 6656228"/>
              <a:gd name="connsiteY54" fmla="*/ 5316132 h 6841946"/>
              <a:gd name="connsiteX55" fmla="*/ 6640474 w 6656228"/>
              <a:gd name="connsiteY55" fmla="*/ 5509288 h 6841946"/>
              <a:gd name="connsiteX56" fmla="*/ 6640474 w 6656228"/>
              <a:gd name="connsiteY56" fmla="*/ 5895470 h 6841946"/>
              <a:gd name="connsiteX57" fmla="*/ 6306711 w 6656228"/>
              <a:gd name="connsiteY57" fmla="*/ 6088627 h 6841946"/>
              <a:gd name="connsiteX58" fmla="*/ 5972948 w 6656228"/>
              <a:gd name="connsiteY58" fmla="*/ 5895470 h 6841946"/>
              <a:gd name="connsiteX59" fmla="*/ 5972948 w 6656228"/>
              <a:gd name="connsiteY59" fmla="*/ 5509288 h 6841946"/>
              <a:gd name="connsiteX60" fmla="*/ 5964905 w 6656228"/>
              <a:gd name="connsiteY60" fmla="*/ 5118305 h 6841946"/>
              <a:gd name="connsiteX61" fmla="*/ 6290365 w 6656228"/>
              <a:gd name="connsiteY61" fmla="*/ 5306661 h 6841946"/>
              <a:gd name="connsiteX62" fmla="*/ 5964775 w 6656228"/>
              <a:gd name="connsiteY62" fmla="*/ 5495017 h 6841946"/>
              <a:gd name="connsiteX63" fmla="*/ 5639315 w 6656228"/>
              <a:gd name="connsiteY63" fmla="*/ 5306661 h 6841946"/>
              <a:gd name="connsiteX64" fmla="*/ 5175964 w 6656228"/>
              <a:gd name="connsiteY64" fmla="*/ 4954335 h 6841946"/>
              <a:gd name="connsiteX65" fmla="*/ 5203724 w 6656228"/>
              <a:gd name="connsiteY65" fmla="*/ 4965880 h 6841946"/>
              <a:gd name="connsiteX66" fmla="*/ 5268323 w 6656228"/>
              <a:gd name="connsiteY66" fmla="*/ 5030612 h 6841946"/>
              <a:gd name="connsiteX67" fmla="*/ 5279868 w 6656228"/>
              <a:gd name="connsiteY67" fmla="*/ 5042286 h 6841946"/>
              <a:gd name="connsiteX68" fmla="*/ 5291413 w 6656228"/>
              <a:gd name="connsiteY68" fmla="*/ 5030612 h 6841946"/>
              <a:gd name="connsiteX69" fmla="*/ 5355882 w 6656228"/>
              <a:gd name="connsiteY69" fmla="*/ 4965880 h 6841946"/>
              <a:gd name="connsiteX70" fmla="*/ 5383641 w 6656228"/>
              <a:gd name="connsiteY70" fmla="*/ 4954335 h 6841946"/>
              <a:gd name="connsiteX71" fmla="*/ 5411271 w 6656228"/>
              <a:gd name="connsiteY71" fmla="*/ 4965880 h 6841946"/>
              <a:gd name="connsiteX72" fmla="*/ 5489752 w 6656228"/>
              <a:gd name="connsiteY72" fmla="*/ 5044492 h 6841946"/>
              <a:gd name="connsiteX73" fmla="*/ 5501297 w 6656228"/>
              <a:gd name="connsiteY73" fmla="*/ 5072252 h 6841946"/>
              <a:gd name="connsiteX74" fmla="*/ 5489882 w 6656228"/>
              <a:gd name="connsiteY74" fmla="*/ 5100013 h 6841946"/>
              <a:gd name="connsiteX75" fmla="*/ 5279868 w 6656228"/>
              <a:gd name="connsiteY75" fmla="*/ 5310423 h 6841946"/>
              <a:gd name="connsiteX76" fmla="*/ 5069856 w 6656228"/>
              <a:gd name="connsiteY76" fmla="*/ 5100013 h 6841946"/>
              <a:gd name="connsiteX77" fmla="*/ 5069856 w 6656228"/>
              <a:gd name="connsiteY77" fmla="*/ 5044621 h 6841946"/>
              <a:gd name="connsiteX78" fmla="*/ 5148334 w 6656228"/>
              <a:gd name="connsiteY78" fmla="*/ 4965880 h 6841946"/>
              <a:gd name="connsiteX79" fmla="*/ 5175964 w 6656228"/>
              <a:gd name="connsiteY79" fmla="*/ 4954335 h 6841946"/>
              <a:gd name="connsiteX80" fmla="*/ 5175964 w 6656228"/>
              <a:gd name="connsiteY80" fmla="*/ 4937860 h 6841946"/>
              <a:gd name="connsiteX81" fmla="*/ 5136789 w 6656228"/>
              <a:gd name="connsiteY81" fmla="*/ 4954205 h 6841946"/>
              <a:gd name="connsiteX82" fmla="*/ 5058311 w 6656228"/>
              <a:gd name="connsiteY82" fmla="*/ 5032947 h 6841946"/>
              <a:gd name="connsiteX83" fmla="*/ 5058311 w 6656228"/>
              <a:gd name="connsiteY83" fmla="*/ 5111559 h 6841946"/>
              <a:gd name="connsiteX84" fmla="*/ 5279868 w 6656228"/>
              <a:gd name="connsiteY84" fmla="*/ 5333643 h 6841946"/>
              <a:gd name="connsiteX85" fmla="*/ 5501427 w 6656228"/>
              <a:gd name="connsiteY85" fmla="*/ 5111559 h 6841946"/>
              <a:gd name="connsiteX86" fmla="*/ 5501427 w 6656228"/>
              <a:gd name="connsiteY86" fmla="*/ 5032947 h 6841946"/>
              <a:gd name="connsiteX87" fmla="*/ 5422947 w 6656228"/>
              <a:gd name="connsiteY87" fmla="*/ 4954335 h 6841946"/>
              <a:gd name="connsiteX88" fmla="*/ 5383772 w 6656228"/>
              <a:gd name="connsiteY88" fmla="*/ 4937990 h 6841946"/>
              <a:gd name="connsiteX89" fmla="*/ 5383641 w 6656228"/>
              <a:gd name="connsiteY89" fmla="*/ 4937860 h 6841946"/>
              <a:gd name="connsiteX90" fmla="*/ 5344337 w 6656228"/>
              <a:gd name="connsiteY90" fmla="*/ 4954335 h 6841946"/>
              <a:gd name="connsiteX91" fmla="*/ 5279868 w 6656228"/>
              <a:gd name="connsiteY91" fmla="*/ 5018937 h 6841946"/>
              <a:gd name="connsiteX92" fmla="*/ 5215269 w 6656228"/>
              <a:gd name="connsiteY92" fmla="*/ 4954205 h 6841946"/>
              <a:gd name="connsiteX93" fmla="*/ 5175964 w 6656228"/>
              <a:gd name="connsiteY93" fmla="*/ 4937860 h 6841946"/>
              <a:gd name="connsiteX94" fmla="*/ 5973078 w 6656228"/>
              <a:gd name="connsiteY94" fmla="*/ 4727322 h 6841946"/>
              <a:gd name="connsiteX95" fmla="*/ 6298538 w 6656228"/>
              <a:gd name="connsiteY95" fmla="*/ 4915678 h 6841946"/>
              <a:gd name="connsiteX96" fmla="*/ 6298538 w 6656228"/>
              <a:gd name="connsiteY96" fmla="*/ 5292520 h 6841946"/>
              <a:gd name="connsiteX97" fmla="*/ 5973078 w 6656228"/>
              <a:gd name="connsiteY97" fmla="*/ 5104164 h 6841946"/>
              <a:gd name="connsiteX98" fmla="*/ 5956733 w 6656228"/>
              <a:gd name="connsiteY98" fmla="*/ 4727322 h 6841946"/>
              <a:gd name="connsiteX99" fmla="*/ 5956733 w 6656228"/>
              <a:gd name="connsiteY99" fmla="*/ 5104164 h 6841946"/>
              <a:gd name="connsiteX100" fmla="*/ 5631143 w 6656228"/>
              <a:gd name="connsiteY100" fmla="*/ 5292520 h 6841946"/>
              <a:gd name="connsiteX101" fmla="*/ 5631143 w 6656228"/>
              <a:gd name="connsiteY101" fmla="*/ 4915678 h 6841946"/>
              <a:gd name="connsiteX102" fmla="*/ 6648646 w 6656228"/>
              <a:gd name="connsiteY102" fmla="*/ 4722522 h 6841946"/>
              <a:gd name="connsiteX103" fmla="*/ 6656228 w 6656228"/>
              <a:gd name="connsiteY103" fmla="*/ 4726910 h 6841946"/>
              <a:gd name="connsiteX104" fmla="*/ 6656228 w 6656228"/>
              <a:gd name="connsiteY104" fmla="*/ 5490833 h 6841946"/>
              <a:gd name="connsiteX105" fmla="*/ 6648776 w 6656228"/>
              <a:gd name="connsiteY105" fmla="*/ 5495147 h 6841946"/>
              <a:gd name="connsiteX106" fmla="*/ 6315014 w 6656228"/>
              <a:gd name="connsiteY106" fmla="*/ 5301991 h 6841946"/>
              <a:gd name="connsiteX107" fmla="*/ 6315014 w 6656228"/>
              <a:gd name="connsiteY107" fmla="*/ 4915678 h 6841946"/>
              <a:gd name="connsiteX108" fmla="*/ 4594830 w 6656228"/>
              <a:gd name="connsiteY108" fmla="*/ 4722522 h 6841946"/>
              <a:gd name="connsiteX109" fmla="*/ 4928593 w 6656228"/>
              <a:gd name="connsiteY109" fmla="*/ 4915678 h 6841946"/>
              <a:gd name="connsiteX110" fmla="*/ 4928593 w 6656228"/>
              <a:gd name="connsiteY110" fmla="*/ 5078126 h 6841946"/>
              <a:gd name="connsiteX111" fmla="*/ 4587551 w 6656228"/>
              <a:gd name="connsiteY111" fmla="*/ 4726737 h 6841946"/>
              <a:gd name="connsiteX112" fmla="*/ 5279738 w 6656228"/>
              <a:gd name="connsiteY112" fmla="*/ 4722133 h 6841946"/>
              <a:gd name="connsiteX113" fmla="*/ 5613501 w 6656228"/>
              <a:gd name="connsiteY113" fmla="*/ 4915290 h 6841946"/>
              <a:gd name="connsiteX114" fmla="*/ 5613501 w 6656228"/>
              <a:gd name="connsiteY114" fmla="*/ 5301472 h 6841946"/>
              <a:gd name="connsiteX115" fmla="*/ 5313736 w 6656228"/>
              <a:gd name="connsiteY115" fmla="*/ 5474955 h 6841946"/>
              <a:gd name="connsiteX116" fmla="*/ 4945975 w 6656228"/>
              <a:gd name="connsiteY116" fmla="*/ 5096036 h 6841946"/>
              <a:gd name="connsiteX117" fmla="*/ 4945975 w 6656228"/>
              <a:gd name="connsiteY117" fmla="*/ 4915290 h 6841946"/>
              <a:gd name="connsiteX118" fmla="*/ 4937933 w 6656228"/>
              <a:gd name="connsiteY118" fmla="*/ 4524306 h 6841946"/>
              <a:gd name="connsiteX119" fmla="*/ 5263392 w 6656228"/>
              <a:gd name="connsiteY119" fmla="*/ 4712663 h 6841946"/>
              <a:gd name="connsiteX120" fmla="*/ 4937803 w 6656228"/>
              <a:gd name="connsiteY120" fmla="*/ 4901019 h 6841946"/>
              <a:gd name="connsiteX121" fmla="*/ 4612343 w 6656228"/>
              <a:gd name="connsiteY121" fmla="*/ 4712663 h 6841946"/>
              <a:gd name="connsiteX122" fmla="*/ 6202938 w 6656228"/>
              <a:gd name="connsiteY122" fmla="*/ 4360467 h 6841946"/>
              <a:gd name="connsiteX123" fmla="*/ 6230697 w 6656228"/>
              <a:gd name="connsiteY123" fmla="*/ 4372012 h 6841946"/>
              <a:gd name="connsiteX124" fmla="*/ 6295296 w 6656228"/>
              <a:gd name="connsiteY124" fmla="*/ 4436743 h 6841946"/>
              <a:gd name="connsiteX125" fmla="*/ 6306841 w 6656228"/>
              <a:gd name="connsiteY125" fmla="*/ 4448418 h 6841946"/>
              <a:gd name="connsiteX126" fmla="*/ 6306842 w 6656228"/>
              <a:gd name="connsiteY126" fmla="*/ 4448418 h 6841946"/>
              <a:gd name="connsiteX127" fmla="*/ 6318387 w 6656228"/>
              <a:gd name="connsiteY127" fmla="*/ 4436743 h 6841946"/>
              <a:gd name="connsiteX128" fmla="*/ 6382856 w 6656228"/>
              <a:gd name="connsiteY128" fmla="*/ 4372012 h 6841946"/>
              <a:gd name="connsiteX129" fmla="*/ 6410616 w 6656228"/>
              <a:gd name="connsiteY129" fmla="*/ 4360467 h 6841946"/>
              <a:gd name="connsiteX130" fmla="*/ 6438245 w 6656228"/>
              <a:gd name="connsiteY130" fmla="*/ 4372012 h 6841946"/>
              <a:gd name="connsiteX131" fmla="*/ 6516723 w 6656228"/>
              <a:gd name="connsiteY131" fmla="*/ 4450623 h 6841946"/>
              <a:gd name="connsiteX132" fmla="*/ 6528268 w 6656228"/>
              <a:gd name="connsiteY132" fmla="*/ 4478384 h 6841946"/>
              <a:gd name="connsiteX133" fmla="*/ 6516853 w 6656228"/>
              <a:gd name="connsiteY133" fmla="*/ 4506145 h 6841946"/>
              <a:gd name="connsiteX134" fmla="*/ 6306841 w 6656228"/>
              <a:gd name="connsiteY134" fmla="*/ 4716554 h 6841946"/>
              <a:gd name="connsiteX135" fmla="*/ 6096829 w 6656228"/>
              <a:gd name="connsiteY135" fmla="*/ 4506145 h 6841946"/>
              <a:gd name="connsiteX136" fmla="*/ 6096829 w 6656228"/>
              <a:gd name="connsiteY136" fmla="*/ 4450753 h 6841946"/>
              <a:gd name="connsiteX137" fmla="*/ 6175309 w 6656228"/>
              <a:gd name="connsiteY137" fmla="*/ 4372012 h 6841946"/>
              <a:gd name="connsiteX138" fmla="*/ 4356796 w 6656228"/>
              <a:gd name="connsiteY138" fmla="*/ 4360467 h 6841946"/>
              <a:gd name="connsiteX139" fmla="*/ 4384426 w 6656228"/>
              <a:gd name="connsiteY139" fmla="*/ 4372012 h 6841946"/>
              <a:gd name="connsiteX140" fmla="*/ 4462907 w 6656228"/>
              <a:gd name="connsiteY140" fmla="*/ 4450623 h 6841946"/>
              <a:gd name="connsiteX141" fmla="*/ 4474452 w 6656228"/>
              <a:gd name="connsiteY141" fmla="*/ 4478384 h 6841946"/>
              <a:gd name="connsiteX142" fmla="*/ 4463037 w 6656228"/>
              <a:gd name="connsiteY142" fmla="*/ 4506145 h 6841946"/>
              <a:gd name="connsiteX143" fmla="*/ 4417619 w 6656228"/>
              <a:gd name="connsiteY143" fmla="*/ 4551649 h 6841946"/>
              <a:gd name="connsiteX144" fmla="*/ 4285601 w 6656228"/>
              <a:gd name="connsiteY144" fmla="*/ 4415626 h 6841946"/>
              <a:gd name="connsiteX145" fmla="*/ 4329039 w 6656228"/>
              <a:gd name="connsiteY145" fmla="*/ 4372012 h 6841946"/>
              <a:gd name="connsiteX146" fmla="*/ 4356796 w 6656228"/>
              <a:gd name="connsiteY146" fmla="*/ 4360467 h 6841946"/>
              <a:gd name="connsiteX147" fmla="*/ 6202937 w 6656228"/>
              <a:gd name="connsiteY147" fmla="*/ 4343992 h 6841946"/>
              <a:gd name="connsiteX148" fmla="*/ 6163762 w 6656228"/>
              <a:gd name="connsiteY148" fmla="*/ 4360336 h 6841946"/>
              <a:gd name="connsiteX149" fmla="*/ 6085283 w 6656228"/>
              <a:gd name="connsiteY149" fmla="*/ 4439078 h 6841946"/>
              <a:gd name="connsiteX150" fmla="*/ 6085283 w 6656228"/>
              <a:gd name="connsiteY150" fmla="*/ 4517690 h 6841946"/>
              <a:gd name="connsiteX151" fmla="*/ 6306841 w 6656228"/>
              <a:gd name="connsiteY151" fmla="*/ 4739774 h 6841946"/>
              <a:gd name="connsiteX152" fmla="*/ 6306842 w 6656228"/>
              <a:gd name="connsiteY152" fmla="*/ 4739774 h 6841946"/>
              <a:gd name="connsiteX153" fmla="*/ 6528399 w 6656228"/>
              <a:gd name="connsiteY153" fmla="*/ 4517690 h 6841946"/>
              <a:gd name="connsiteX154" fmla="*/ 6528399 w 6656228"/>
              <a:gd name="connsiteY154" fmla="*/ 4439078 h 6841946"/>
              <a:gd name="connsiteX155" fmla="*/ 6449921 w 6656228"/>
              <a:gd name="connsiteY155" fmla="*/ 4360467 h 6841946"/>
              <a:gd name="connsiteX156" fmla="*/ 6410746 w 6656228"/>
              <a:gd name="connsiteY156" fmla="*/ 4344121 h 6841946"/>
              <a:gd name="connsiteX157" fmla="*/ 6410616 w 6656228"/>
              <a:gd name="connsiteY157" fmla="*/ 4343992 h 6841946"/>
              <a:gd name="connsiteX158" fmla="*/ 6410615 w 6656228"/>
              <a:gd name="connsiteY158" fmla="*/ 4343992 h 6841946"/>
              <a:gd name="connsiteX159" fmla="*/ 6371310 w 6656228"/>
              <a:gd name="connsiteY159" fmla="*/ 4360467 h 6841946"/>
              <a:gd name="connsiteX160" fmla="*/ 6306841 w 6656228"/>
              <a:gd name="connsiteY160" fmla="*/ 4425069 h 6841946"/>
              <a:gd name="connsiteX161" fmla="*/ 6242243 w 6656228"/>
              <a:gd name="connsiteY161" fmla="*/ 4360336 h 6841946"/>
              <a:gd name="connsiteX162" fmla="*/ 6202938 w 6656228"/>
              <a:gd name="connsiteY162" fmla="*/ 4343992 h 6841946"/>
              <a:gd name="connsiteX163" fmla="*/ 4946105 w 6656228"/>
              <a:gd name="connsiteY163" fmla="*/ 4133332 h 6841946"/>
              <a:gd name="connsiteX164" fmla="*/ 5271566 w 6656228"/>
              <a:gd name="connsiteY164" fmla="*/ 4321680 h 6841946"/>
              <a:gd name="connsiteX165" fmla="*/ 5271566 w 6656228"/>
              <a:gd name="connsiteY165" fmla="*/ 4698522 h 6841946"/>
              <a:gd name="connsiteX166" fmla="*/ 4946105 w 6656228"/>
              <a:gd name="connsiteY166" fmla="*/ 4510166 h 6841946"/>
              <a:gd name="connsiteX167" fmla="*/ 4929760 w 6656228"/>
              <a:gd name="connsiteY167" fmla="*/ 4133332 h 6841946"/>
              <a:gd name="connsiteX168" fmla="*/ 4929760 w 6656228"/>
              <a:gd name="connsiteY168" fmla="*/ 4510166 h 6841946"/>
              <a:gd name="connsiteX169" fmla="*/ 4604170 w 6656228"/>
              <a:gd name="connsiteY169" fmla="*/ 4698522 h 6841946"/>
              <a:gd name="connsiteX170" fmla="*/ 4604170 w 6656228"/>
              <a:gd name="connsiteY170" fmla="*/ 4321680 h 6841946"/>
              <a:gd name="connsiteX171" fmla="*/ 5621673 w 6656228"/>
              <a:gd name="connsiteY171" fmla="*/ 4128533 h 6841946"/>
              <a:gd name="connsiteX172" fmla="*/ 5955437 w 6656228"/>
              <a:gd name="connsiteY172" fmla="*/ 4321680 h 6841946"/>
              <a:gd name="connsiteX173" fmla="*/ 5955437 w 6656228"/>
              <a:gd name="connsiteY173" fmla="*/ 4707993 h 6841946"/>
              <a:gd name="connsiteX174" fmla="*/ 5621803 w 6656228"/>
              <a:gd name="connsiteY174" fmla="*/ 4901148 h 6841946"/>
              <a:gd name="connsiteX175" fmla="*/ 5288040 w 6656228"/>
              <a:gd name="connsiteY175" fmla="*/ 4707993 h 6841946"/>
              <a:gd name="connsiteX176" fmla="*/ 5288040 w 6656228"/>
              <a:gd name="connsiteY176" fmla="*/ 4321680 h 6841946"/>
              <a:gd name="connsiteX177" fmla="*/ 6306711 w 6656228"/>
              <a:gd name="connsiteY177" fmla="*/ 4128278 h 6841946"/>
              <a:gd name="connsiteX178" fmla="*/ 6640474 w 6656228"/>
              <a:gd name="connsiteY178" fmla="*/ 4321420 h 6841946"/>
              <a:gd name="connsiteX179" fmla="*/ 6640474 w 6656228"/>
              <a:gd name="connsiteY179" fmla="*/ 4707602 h 6841946"/>
              <a:gd name="connsiteX180" fmla="*/ 6306711 w 6656228"/>
              <a:gd name="connsiteY180" fmla="*/ 4900759 h 6841946"/>
              <a:gd name="connsiteX181" fmla="*/ 5972948 w 6656228"/>
              <a:gd name="connsiteY181" fmla="*/ 4707602 h 6841946"/>
              <a:gd name="connsiteX182" fmla="*/ 5972948 w 6656228"/>
              <a:gd name="connsiteY182" fmla="*/ 4321420 h 6841946"/>
              <a:gd name="connsiteX183" fmla="*/ 6025099 w 6656228"/>
              <a:gd name="connsiteY183" fmla="*/ 4291239 h 6841946"/>
              <a:gd name="connsiteX184" fmla="*/ 4252895 w 6656228"/>
              <a:gd name="connsiteY184" fmla="*/ 4128277 h 6841946"/>
              <a:gd name="connsiteX185" fmla="*/ 4586658 w 6656228"/>
              <a:gd name="connsiteY185" fmla="*/ 4321420 h 6841946"/>
              <a:gd name="connsiteX186" fmla="*/ 4586658 w 6656228"/>
              <a:gd name="connsiteY186" fmla="*/ 4707602 h 6841946"/>
              <a:gd name="connsiteX187" fmla="*/ 4575338 w 6656228"/>
              <a:gd name="connsiteY187" fmla="*/ 4714154 h 6841946"/>
              <a:gd name="connsiteX188" fmla="*/ 4429003 w 6656228"/>
              <a:gd name="connsiteY188" fmla="*/ 4563378 h 6841946"/>
              <a:gd name="connsiteX189" fmla="*/ 4474582 w 6656228"/>
              <a:gd name="connsiteY189" fmla="*/ 4517690 h 6841946"/>
              <a:gd name="connsiteX190" fmla="*/ 4474582 w 6656228"/>
              <a:gd name="connsiteY190" fmla="*/ 4439078 h 6841946"/>
              <a:gd name="connsiteX191" fmla="*/ 4396102 w 6656228"/>
              <a:gd name="connsiteY191" fmla="*/ 4360467 h 6841946"/>
              <a:gd name="connsiteX192" fmla="*/ 4356927 w 6656228"/>
              <a:gd name="connsiteY192" fmla="*/ 4344121 h 6841946"/>
              <a:gd name="connsiteX193" fmla="*/ 4356796 w 6656228"/>
              <a:gd name="connsiteY193" fmla="*/ 4343992 h 6841946"/>
              <a:gd name="connsiteX194" fmla="*/ 4317494 w 6656228"/>
              <a:gd name="connsiteY194" fmla="*/ 4360467 h 6841946"/>
              <a:gd name="connsiteX195" fmla="*/ 4274186 w 6656228"/>
              <a:gd name="connsiteY195" fmla="*/ 4403864 h 6841946"/>
              <a:gd name="connsiteX196" fmla="*/ 4095252 w 6656228"/>
              <a:gd name="connsiteY196" fmla="*/ 4219502 h 6841946"/>
              <a:gd name="connsiteX197" fmla="*/ 5964905 w 6656228"/>
              <a:gd name="connsiteY197" fmla="*/ 3930452 h 6841946"/>
              <a:gd name="connsiteX198" fmla="*/ 6290364 w 6656228"/>
              <a:gd name="connsiteY198" fmla="*/ 4118806 h 6841946"/>
              <a:gd name="connsiteX199" fmla="*/ 6056055 w 6656228"/>
              <a:gd name="connsiteY199" fmla="*/ 4254344 h 6841946"/>
              <a:gd name="connsiteX200" fmla="*/ 5964776 w 6656228"/>
              <a:gd name="connsiteY200" fmla="*/ 4307149 h 6841946"/>
              <a:gd name="connsiteX201" fmla="*/ 5639316 w 6656228"/>
              <a:gd name="connsiteY201" fmla="*/ 4118806 h 6841946"/>
              <a:gd name="connsiteX202" fmla="*/ 3911088 w 6656228"/>
              <a:gd name="connsiteY202" fmla="*/ 3930449 h 6841946"/>
              <a:gd name="connsiteX203" fmla="*/ 4236548 w 6656228"/>
              <a:gd name="connsiteY203" fmla="*/ 4118805 h 6841946"/>
              <a:gd name="connsiteX204" fmla="*/ 4083466 w 6656228"/>
              <a:gd name="connsiteY204" fmla="*/ 4207359 h 6841946"/>
              <a:gd name="connsiteX205" fmla="*/ 3849367 w 6656228"/>
              <a:gd name="connsiteY205" fmla="*/ 3966156 h 6841946"/>
              <a:gd name="connsiteX206" fmla="*/ 5175964 w 6656228"/>
              <a:gd name="connsiteY206" fmla="*/ 3766483 h 6841946"/>
              <a:gd name="connsiteX207" fmla="*/ 5203724 w 6656228"/>
              <a:gd name="connsiteY207" fmla="*/ 3778026 h 6841946"/>
              <a:gd name="connsiteX208" fmla="*/ 5268323 w 6656228"/>
              <a:gd name="connsiteY208" fmla="*/ 3842759 h 6841946"/>
              <a:gd name="connsiteX209" fmla="*/ 5279868 w 6656228"/>
              <a:gd name="connsiteY209" fmla="*/ 3854433 h 6841946"/>
              <a:gd name="connsiteX210" fmla="*/ 5291413 w 6656228"/>
              <a:gd name="connsiteY210" fmla="*/ 3842759 h 6841946"/>
              <a:gd name="connsiteX211" fmla="*/ 5355882 w 6656228"/>
              <a:gd name="connsiteY211" fmla="*/ 3778026 h 6841946"/>
              <a:gd name="connsiteX212" fmla="*/ 5383641 w 6656228"/>
              <a:gd name="connsiteY212" fmla="*/ 3766483 h 6841946"/>
              <a:gd name="connsiteX213" fmla="*/ 5411271 w 6656228"/>
              <a:gd name="connsiteY213" fmla="*/ 3778026 h 6841946"/>
              <a:gd name="connsiteX214" fmla="*/ 5489752 w 6656228"/>
              <a:gd name="connsiteY214" fmla="*/ 3856636 h 6841946"/>
              <a:gd name="connsiteX215" fmla="*/ 5501297 w 6656228"/>
              <a:gd name="connsiteY215" fmla="*/ 3884401 h 6841946"/>
              <a:gd name="connsiteX216" fmla="*/ 5489882 w 6656228"/>
              <a:gd name="connsiteY216" fmla="*/ 3912157 h 6841946"/>
              <a:gd name="connsiteX217" fmla="*/ 5279868 w 6656228"/>
              <a:gd name="connsiteY217" fmla="*/ 4122566 h 6841946"/>
              <a:gd name="connsiteX218" fmla="*/ 5069856 w 6656228"/>
              <a:gd name="connsiteY218" fmla="*/ 3912157 h 6841946"/>
              <a:gd name="connsiteX219" fmla="*/ 5069856 w 6656228"/>
              <a:gd name="connsiteY219" fmla="*/ 3856768 h 6841946"/>
              <a:gd name="connsiteX220" fmla="*/ 5148334 w 6656228"/>
              <a:gd name="connsiteY220" fmla="*/ 3778026 h 6841946"/>
              <a:gd name="connsiteX221" fmla="*/ 5175964 w 6656228"/>
              <a:gd name="connsiteY221" fmla="*/ 3766483 h 6841946"/>
              <a:gd name="connsiteX222" fmla="*/ 5175964 w 6656228"/>
              <a:gd name="connsiteY222" fmla="*/ 3750008 h 6841946"/>
              <a:gd name="connsiteX223" fmla="*/ 5136789 w 6656228"/>
              <a:gd name="connsiteY223" fmla="*/ 3766352 h 6841946"/>
              <a:gd name="connsiteX224" fmla="*/ 5058311 w 6656228"/>
              <a:gd name="connsiteY224" fmla="*/ 3845089 h 6841946"/>
              <a:gd name="connsiteX225" fmla="*/ 5058311 w 6656228"/>
              <a:gd name="connsiteY225" fmla="*/ 3923705 h 6841946"/>
              <a:gd name="connsiteX226" fmla="*/ 5279868 w 6656228"/>
              <a:gd name="connsiteY226" fmla="*/ 4145784 h 6841946"/>
              <a:gd name="connsiteX227" fmla="*/ 5501427 w 6656228"/>
              <a:gd name="connsiteY227" fmla="*/ 3923705 h 6841946"/>
              <a:gd name="connsiteX228" fmla="*/ 5501427 w 6656228"/>
              <a:gd name="connsiteY228" fmla="*/ 3845089 h 6841946"/>
              <a:gd name="connsiteX229" fmla="*/ 5422947 w 6656228"/>
              <a:gd name="connsiteY229" fmla="*/ 3766483 h 6841946"/>
              <a:gd name="connsiteX230" fmla="*/ 5383772 w 6656228"/>
              <a:gd name="connsiteY230" fmla="*/ 3750137 h 6841946"/>
              <a:gd name="connsiteX231" fmla="*/ 5383641 w 6656228"/>
              <a:gd name="connsiteY231" fmla="*/ 3750008 h 6841946"/>
              <a:gd name="connsiteX232" fmla="*/ 5344337 w 6656228"/>
              <a:gd name="connsiteY232" fmla="*/ 3766483 h 6841946"/>
              <a:gd name="connsiteX233" fmla="*/ 5279868 w 6656228"/>
              <a:gd name="connsiteY233" fmla="*/ 3831082 h 6841946"/>
              <a:gd name="connsiteX234" fmla="*/ 5215269 w 6656228"/>
              <a:gd name="connsiteY234" fmla="*/ 3766352 h 6841946"/>
              <a:gd name="connsiteX235" fmla="*/ 5175964 w 6656228"/>
              <a:gd name="connsiteY235" fmla="*/ 3750008 h 6841946"/>
              <a:gd name="connsiteX236" fmla="*/ 5973078 w 6656228"/>
              <a:gd name="connsiteY236" fmla="*/ 3539477 h 6841946"/>
              <a:gd name="connsiteX237" fmla="*/ 6298538 w 6656228"/>
              <a:gd name="connsiteY237" fmla="*/ 3727828 h 6841946"/>
              <a:gd name="connsiteX238" fmla="*/ 6298538 w 6656228"/>
              <a:gd name="connsiteY238" fmla="*/ 4104664 h 6841946"/>
              <a:gd name="connsiteX239" fmla="*/ 5973078 w 6656228"/>
              <a:gd name="connsiteY239" fmla="*/ 3916306 h 6841946"/>
              <a:gd name="connsiteX240" fmla="*/ 5956733 w 6656228"/>
              <a:gd name="connsiteY240" fmla="*/ 3539477 h 6841946"/>
              <a:gd name="connsiteX241" fmla="*/ 5956733 w 6656228"/>
              <a:gd name="connsiteY241" fmla="*/ 3916308 h 6841946"/>
              <a:gd name="connsiteX242" fmla="*/ 5631143 w 6656228"/>
              <a:gd name="connsiteY242" fmla="*/ 4104664 h 6841946"/>
              <a:gd name="connsiteX243" fmla="*/ 5631143 w 6656228"/>
              <a:gd name="connsiteY243" fmla="*/ 3727827 h 6841946"/>
              <a:gd name="connsiteX244" fmla="*/ 3919260 w 6656228"/>
              <a:gd name="connsiteY244" fmla="*/ 3539471 h 6841946"/>
              <a:gd name="connsiteX245" fmla="*/ 4244722 w 6656228"/>
              <a:gd name="connsiteY245" fmla="*/ 3727826 h 6841946"/>
              <a:gd name="connsiteX246" fmla="*/ 4244722 w 6656228"/>
              <a:gd name="connsiteY246" fmla="*/ 4104661 h 6841946"/>
              <a:gd name="connsiteX247" fmla="*/ 3919260 w 6656228"/>
              <a:gd name="connsiteY247" fmla="*/ 3916305 h 6841946"/>
              <a:gd name="connsiteX248" fmla="*/ 3902916 w 6656228"/>
              <a:gd name="connsiteY248" fmla="*/ 3539471 h 6841946"/>
              <a:gd name="connsiteX249" fmla="*/ 3902916 w 6656228"/>
              <a:gd name="connsiteY249" fmla="*/ 3916305 h 6841946"/>
              <a:gd name="connsiteX250" fmla="*/ 3837636 w 6656228"/>
              <a:gd name="connsiteY250" fmla="*/ 3954070 h 6841946"/>
              <a:gd name="connsiteX251" fmla="*/ 3603410 w 6656228"/>
              <a:gd name="connsiteY251" fmla="*/ 3712737 h 6841946"/>
              <a:gd name="connsiteX252" fmla="*/ 6648646 w 6656228"/>
              <a:gd name="connsiteY252" fmla="*/ 3534677 h 6841946"/>
              <a:gd name="connsiteX253" fmla="*/ 6656228 w 6656228"/>
              <a:gd name="connsiteY253" fmla="*/ 3539065 h 6841946"/>
              <a:gd name="connsiteX254" fmla="*/ 6656228 w 6656228"/>
              <a:gd name="connsiteY254" fmla="*/ 4302965 h 6841946"/>
              <a:gd name="connsiteX255" fmla="*/ 6648777 w 6656228"/>
              <a:gd name="connsiteY255" fmla="*/ 4307278 h 6841946"/>
              <a:gd name="connsiteX256" fmla="*/ 6315014 w 6656228"/>
              <a:gd name="connsiteY256" fmla="*/ 4114135 h 6841946"/>
              <a:gd name="connsiteX257" fmla="*/ 6315014 w 6656228"/>
              <a:gd name="connsiteY257" fmla="*/ 3727827 h 6841946"/>
              <a:gd name="connsiteX258" fmla="*/ 4594830 w 6656228"/>
              <a:gd name="connsiteY258" fmla="*/ 3534670 h 6841946"/>
              <a:gd name="connsiteX259" fmla="*/ 4928593 w 6656228"/>
              <a:gd name="connsiteY259" fmla="*/ 3727826 h 6841946"/>
              <a:gd name="connsiteX260" fmla="*/ 4928593 w 6656228"/>
              <a:gd name="connsiteY260" fmla="*/ 4114131 h 6841946"/>
              <a:gd name="connsiteX261" fmla="*/ 4594960 w 6656228"/>
              <a:gd name="connsiteY261" fmla="*/ 4307279 h 6841946"/>
              <a:gd name="connsiteX262" fmla="*/ 4261195 w 6656228"/>
              <a:gd name="connsiteY262" fmla="*/ 4114131 h 6841946"/>
              <a:gd name="connsiteX263" fmla="*/ 4261195 w 6656228"/>
              <a:gd name="connsiteY263" fmla="*/ 3727826 h 6841946"/>
              <a:gd name="connsiteX264" fmla="*/ 5279738 w 6656228"/>
              <a:gd name="connsiteY264" fmla="*/ 3534283 h 6841946"/>
              <a:gd name="connsiteX265" fmla="*/ 5613501 w 6656228"/>
              <a:gd name="connsiteY265" fmla="*/ 3727435 h 6841946"/>
              <a:gd name="connsiteX266" fmla="*/ 5613501 w 6656228"/>
              <a:gd name="connsiteY266" fmla="*/ 4113615 h 6841946"/>
              <a:gd name="connsiteX267" fmla="*/ 5279738 w 6656228"/>
              <a:gd name="connsiteY267" fmla="*/ 4306761 h 6841946"/>
              <a:gd name="connsiteX268" fmla="*/ 4945975 w 6656228"/>
              <a:gd name="connsiteY268" fmla="*/ 4113615 h 6841946"/>
              <a:gd name="connsiteX269" fmla="*/ 4945975 w 6656228"/>
              <a:gd name="connsiteY269" fmla="*/ 3727435 h 6841946"/>
              <a:gd name="connsiteX270" fmla="*/ 4937933 w 6656228"/>
              <a:gd name="connsiteY270" fmla="*/ 3336477 h 6841946"/>
              <a:gd name="connsiteX271" fmla="*/ 5263393 w 6656228"/>
              <a:gd name="connsiteY271" fmla="*/ 3524813 h 6841946"/>
              <a:gd name="connsiteX272" fmla="*/ 4937803 w 6656228"/>
              <a:gd name="connsiteY272" fmla="*/ 3713167 h 6841946"/>
              <a:gd name="connsiteX273" fmla="*/ 4612342 w 6656228"/>
              <a:gd name="connsiteY273" fmla="*/ 3524813 h 6841946"/>
              <a:gd name="connsiteX274" fmla="*/ 6202937 w 6656228"/>
              <a:gd name="connsiteY274" fmla="*/ 3172530 h 6841946"/>
              <a:gd name="connsiteX275" fmla="*/ 6230697 w 6656228"/>
              <a:gd name="connsiteY275" fmla="*/ 3184077 h 6841946"/>
              <a:gd name="connsiteX276" fmla="*/ 6295296 w 6656228"/>
              <a:gd name="connsiteY276" fmla="*/ 3248800 h 6841946"/>
              <a:gd name="connsiteX277" fmla="*/ 6306841 w 6656228"/>
              <a:gd name="connsiteY277" fmla="*/ 3260473 h 6841946"/>
              <a:gd name="connsiteX278" fmla="*/ 6318386 w 6656228"/>
              <a:gd name="connsiteY278" fmla="*/ 3248800 h 6841946"/>
              <a:gd name="connsiteX279" fmla="*/ 6382855 w 6656228"/>
              <a:gd name="connsiteY279" fmla="*/ 3184077 h 6841946"/>
              <a:gd name="connsiteX280" fmla="*/ 6410615 w 6656228"/>
              <a:gd name="connsiteY280" fmla="*/ 3172530 h 6841946"/>
              <a:gd name="connsiteX281" fmla="*/ 6438245 w 6656228"/>
              <a:gd name="connsiteY281" fmla="*/ 3184077 h 6841946"/>
              <a:gd name="connsiteX282" fmla="*/ 6516723 w 6656228"/>
              <a:gd name="connsiteY282" fmla="*/ 3262679 h 6841946"/>
              <a:gd name="connsiteX283" fmla="*/ 6528267 w 6656228"/>
              <a:gd name="connsiteY283" fmla="*/ 3290436 h 6841946"/>
              <a:gd name="connsiteX284" fmla="*/ 6516854 w 6656228"/>
              <a:gd name="connsiteY284" fmla="*/ 3318189 h 6841946"/>
              <a:gd name="connsiteX285" fmla="*/ 6306842 w 6656228"/>
              <a:gd name="connsiteY285" fmla="*/ 3528578 h 6841946"/>
              <a:gd name="connsiteX286" fmla="*/ 6096829 w 6656228"/>
              <a:gd name="connsiteY286" fmla="*/ 3318189 h 6841946"/>
              <a:gd name="connsiteX287" fmla="*/ 6085351 w 6656228"/>
              <a:gd name="connsiteY287" fmla="*/ 3290451 h 6841946"/>
              <a:gd name="connsiteX288" fmla="*/ 6096828 w 6656228"/>
              <a:gd name="connsiteY288" fmla="*/ 3262809 h 6841946"/>
              <a:gd name="connsiteX289" fmla="*/ 6175308 w 6656228"/>
              <a:gd name="connsiteY289" fmla="*/ 3184077 h 6841946"/>
              <a:gd name="connsiteX290" fmla="*/ 6202937 w 6656228"/>
              <a:gd name="connsiteY290" fmla="*/ 3172530 h 6841946"/>
              <a:gd name="connsiteX291" fmla="*/ 4149121 w 6656228"/>
              <a:gd name="connsiteY291" fmla="*/ 3172517 h 6841946"/>
              <a:gd name="connsiteX292" fmla="*/ 4176879 w 6656228"/>
              <a:gd name="connsiteY292" fmla="*/ 3184064 h 6841946"/>
              <a:gd name="connsiteX293" fmla="*/ 4241479 w 6656228"/>
              <a:gd name="connsiteY293" fmla="*/ 3248792 h 6841946"/>
              <a:gd name="connsiteX294" fmla="*/ 4253023 w 6656228"/>
              <a:gd name="connsiteY294" fmla="*/ 3260467 h 6841946"/>
              <a:gd name="connsiteX295" fmla="*/ 4264568 w 6656228"/>
              <a:gd name="connsiteY295" fmla="*/ 3248792 h 6841946"/>
              <a:gd name="connsiteX296" fmla="*/ 4329039 w 6656228"/>
              <a:gd name="connsiteY296" fmla="*/ 3184064 h 6841946"/>
              <a:gd name="connsiteX297" fmla="*/ 4356796 w 6656228"/>
              <a:gd name="connsiteY297" fmla="*/ 3172517 h 6841946"/>
              <a:gd name="connsiteX298" fmla="*/ 4384426 w 6656228"/>
              <a:gd name="connsiteY298" fmla="*/ 3184064 h 6841946"/>
              <a:gd name="connsiteX299" fmla="*/ 4462907 w 6656228"/>
              <a:gd name="connsiteY299" fmla="*/ 3262673 h 6841946"/>
              <a:gd name="connsiteX300" fmla="*/ 4474450 w 6656228"/>
              <a:gd name="connsiteY300" fmla="*/ 3290428 h 6841946"/>
              <a:gd name="connsiteX301" fmla="*/ 4463037 w 6656228"/>
              <a:gd name="connsiteY301" fmla="*/ 3318178 h 6841946"/>
              <a:gd name="connsiteX302" fmla="*/ 4253023 w 6656228"/>
              <a:gd name="connsiteY302" fmla="*/ 3528572 h 6841946"/>
              <a:gd name="connsiteX303" fmla="*/ 4043011 w 6656228"/>
              <a:gd name="connsiteY303" fmla="*/ 3318178 h 6841946"/>
              <a:gd name="connsiteX304" fmla="*/ 4031532 w 6656228"/>
              <a:gd name="connsiteY304" fmla="*/ 3290444 h 6841946"/>
              <a:gd name="connsiteX305" fmla="*/ 4043011 w 6656228"/>
              <a:gd name="connsiteY305" fmla="*/ 3262798 h 6841946"/>
              <a:gd name="connsiteX306" fmla="*/ 4121491 w 6656228"/>
              <a:gd name="connsiteY306" fmla="*/ 3184064 h 6841946"/>
              <a:gd name="connsiteX307" fmla="*/ 4149121 w 6656228"/>
              <a:gd name="connsiteY307" fmla="*/ 3172517 h 6841946"/>
              <a:gd name="connsiteX308" fmla="*/ 6202938 w 6656228"/>
              <a:gd name="connsiteY308" fmla="*/ 3156047 h 6841946"/>
              <a:gd name="connsiteX309" fmla="*/ 6163763 w 6656228"/>
              <a:gd name="connsiteY309" fmla="*/ 3172391 h 6841946"/>
              <a:gd name="connsiteX310" fmla="*/ 6085284 w 6656228"/>
              <a:gd name="connsiteY310" fmla="*/ 3251125 h 6841946"/>
              <a:gd name="connsiteX311" fmla="*/ 6069037 w 6656228"/>
              <a:gd name="connsiteY311" fmla="*/ 3290430 h 6841946"/>
              <a:gd name="connsiteX312" fmla="*/ 6069038 w 6656228"/>
              <a:gd name="connsiteY312" fmla="*/ 3290435 h 6841946"/>
              <a:gd name="connsiteX313" fmla="*/ 6069036 w 6656228"/>
              <a:gd name="connsiteY313" fmla="*/ 3290444 h 6841946"/>
              <a:gd name="connsiteX314" fmla="*/ 6085283 w 6656228"/>
              <a:gd name="connsiteY314" fmla="*/ 3329746 h 6841946"/>
              <a:gd name="connsiteX315" fmla="*/ 6306841 w 6656228"/>
              <a:gd name="connsiteY315" fmla="*/ 3551798 h 6841946"/>
              <a:gd name="connsiteX316" fmla="*/ 6528398 w 6656228"/>
              <a:gd name="connsiteY316" fmla="*/ 3329746 h 6841946"/>
              <a:gd name="connsiteX317" fmla="*/ 6544645 w 6656228"/>
              <a:gd name="connsiteY317" fmla="*/ 3290444 h 6841946"/>
              <a:gd name="connsiteX318" fmla="*/ 6544644 w 6656228"/>
              <a:gd name="connsiteY318" fmla="*/ 3290436 h 6841946"/>
              <a:gd name="connsiteX319" fmla="*/ 6544646 w 6656228"/>
              <a:gd name="connsiteY319" fmla="*/ 3290430 h 6841946"/>
              <a:gd name="connsiteX320" fmla="*/ 6528399 w 6656228"/>
              <a:gd name="connsiteY320" fmla="*/ 3251125 h 6841946"/>
              <a:gd name="connsiteX321" fmla="*/ 6449921 w 6656228"/>
              <a:gd name="connsiteY321" fmla="*/ 3172523 h 6841946"/>
              <a:gd name="connsiteX322" fmla="*/ 6410746 w 6656228"/>
              <a:gd name="connsiteY322" fmla="*/ 3156175 h 6841946"/>
              <a:gd name="connsiteX323" fmla="*/ 6410616 w 6656228"/>
              <a:gd name="connsiteY323" fmla="*/ 3156047 h 6841946"/>
              <a:gd name="connsiteX324" fmla="*/ 6371311 w 6656228"/>
              <a:gd name="connsiteY324" fmla="*/ 3172523 h 6841946"/>
              <a:gd name="connsiteX325" fmla="*/ 6306842 w 6656228"/>
              <a:gd name="connsiteY325" fmla="*/ 3237116 h 6841946"/>
              <a:gd name="connsiteX326" fmla="*/ 6242243 w 6656228"/>
              <a:gd name="connsiteY326" fmla="*/ 3172391 h 6841946"/>
              <a:gd name="connsiteX327" fmla="*/ 6202938 w 6656228"/>
              <a:gd name="connsiteY327" fmla="*/ 3156047 h 6841946"/>
              <a:gd name="connsiteX328" fmla="*/ 4149121 w 6656228"/>
              <a:gd name="connsiteY328" fmla="*/ 3156035 h 6841946"/>
              <a:gd name="connsiteX329" fmla="*/ 4109946 w 6656228"/>
              <a:gd name="connsiteY329" fmla="*/ 3172384 h 6841946"/>
              <a:gd name="connsiteX330" fmla="*/ 4031466 w 6656228"/>
              <a:gd name="connsiteY330" fmla="*/ 3251119 h 6841946"/>
              <a:gd name="connsiteX331" fmla="*/ 4015219 w 6656228"/>
              <a:gd name="connsiteY331" fmla="*/ 3290423 h 6841946"/>
              <a:gd name="connsiteX332" fmla="*/ 4015220 w 6656228"/>
              <a:gd name="connsiteY332" fmla="*/ 3290428 h 6841946"/>
              <a:gd name="connsiteX333" fmla="*/ 4015219 w 6656228"/>
              <a:gd name="connsiteY333" fmla="*/ 3290430 h 6841946"/>
              <a:gd name="connsiteX334" fmla="*/ 4031466 w 6656228"/>
              <a:gd name="connsiteY334" fmla="*/ 3329734 h 6841946"/>
              <a:gd name="connsiteX335" fmla="*/ 4253023 w 6656228"/>
              <a:gd name="connsiteY335" fmla="*/ 3551795 h 6841946"/>
              <a:gd name="connsiteX336" fmla="*/ 4474582 w 6656228"/>
              <a:gd name="connsiteY336" fmla="*/ 3329734 h 6841946"/>
              <a:gd name="connsiteX337" fmla="*/ 4490828 w 6656228"/>
              <a:gd name="connsiteY337" fmla="*/ 3290430 h 6841946"/>
              <a:gd name="connsiteX338" fmla="*/ 4490827 w 6656228"/>
              <a:gd name="connsiteY338" fmla="*/ 3290428 h 6841946"/>
              <a:gd name="connsiteX339" fmla="*/ 4490828 w 6656228"/>
              <a:gd name="connsiteY339" fmla="*/ 3290423 h 6841946"/>
              <a:gd name="connsiteX340" fmla="*/ 4474582 w 6656228"/>
              <a:gd name="connsiteY340" fmla="*/ 3251119 h 6841946"/>
              <a:gd name="connsiteX341" fmla="*/ 4396102 w 6656228"/>
              <a:gd name="connsiteY341" fmla="*/ 3172509 h 6841946"/>
              <a:gd name="connsiteX342" fmla="*/ 4356927 w 6656228"/>
              <a:gd name="connsiteY342" fmla="*/ 3156164 h 6841946"/>
              <a:gd name="connsiteX343" fmla="*/ 4356796 w 6656228"/>
              <a:gd name="connsiteY343" fmla="*/ 3156035 h 6841946"/>
              <a:gd name="connsiteX344" fmla="*/ 4317494 w 6656228"/>
              <a:gd name="connsiteY344" fmla="*/ 3172509 h 6841946"/>
              <a:gd name="connsiteX345" fmla="*/ 4253023 w 6656228"/>
              <a:gd name="connsiteY345" fmla="*/ 3237109 h 6841946"/>
              <a:gd name="connsiteX346" fmla="*/ 4188424 w 6656228"/>
              <a:gd name="connsiteY346" fmla="*/ 3172384 h 6841946"/>
              <a:gd name="connsiteX347" fmla="*/ 4149121 w 6656228"/>
              <a:gd name="connsiteY347" fmla="*/ 3156035 h 6841946"/>
              <a:gd name="connsiteX348" fmla="*/ 4946105 w 6656228"/>
              <a:gd name="connsiteY348" fmla="*/ 2945507 h 6841946"/>
              <a:gd name="connsiteX349" fmla="*/ 5271566 w 6656228"/>
              <a:gd name="connsiteY349" fmla="*/ 3133865 h 6841946"/>
              <a:gd name="connsiteX350" fmla="*/ 5271566 w 6656228"/>
              <a:gd name="connsiteY350" fmla="*/ 3510673 h 6841946"/>
              <a:gd name="connsiteX351" fmla="*/ 4946105 w 6656228"/>
              <a:gd name="connsiteY351" fmla="*/ 3322337 h 6841946"/>
              <a:gd name="connsiteX352" fmla="*/ 4929760 w 6656228"/>
              <a:gd name="connsiteY352" fmla="*/ 2945507 h 6841946"/>
              <a:gd name="connsiteX353" fmla="*/ 4929760 w 6656228"/>
              <a:gd name="connsiteY353" fmla="*/ 3322337 h 6841946"/>
              <a:gd name="connsiteX354" fmla="*/ 4604170 w 6656228"/>
              <a:gd name="connsiteY354" fmla="*/ 3510673 h 6841946"/>
              <a:gd name="connsiteX355" fmla="*/ 4604170 w 6656228"/>
              <a:gd name="connsiteY355" fmla="*/ 3133865 h 6841946"/>
              <a:gd name="connsiteX356" fmla="*/ 2875968 w 6656228"/>
              <a:gd name="connsiteY356" fmla="*/ 2945499 h 6841946"/>
              <a:gd name="connsiteX357" fmla="*/ 2875968 w 6656228"/>
              <a:gd name="connsiteY357" fmla="*/ 2963225 h 6841946"/>
              <a:gd name="connsiteX358" fmla="*/ 2864951 w 6656228"/>
              <a:gd name="connsiteY358" fmla="*/ 2951874 h 6841946"/>
              <a:gd name="connsiteX359" fmla="*/ 2892309 w 6656228"/>
              <a:gd name="connsiteY359" fmla="*/ 2945497 h 6841946"/>
              <a:gd name="connsiteX360" fmla="*/ 3217751 w 6656228"/>
              <a:gd name="connsiteY360" fmla="*/ 3133857 h 6841946"/>
              <a:gd name="connsiteX361" fmla="*/ 3217751 w 6656228"/>
              <a:gd name="connsiteY361" fmla="*/ 3315377 h 6841946"/>
              <a:gd name="connsiteX362" fmla="*/ 2892309 w 6656228"/>
              <a:gd name="connsiteY362" fmla="*/ 2980062 h 6841946"/>
              <a:gd name="connsiteX363" fmla="*/ 5621673 w 6656228"/>
              <a:gd name="connsiteY363" fmla="*/ 2940707 h 6841946"/>
              <a:gd name="connsiteX364" fmla="*/ 5955437 w 6656228"/>
              <a:gd name="connsiteY364" fmla="*/ 3133865 h 6841946"/>
              <a:gd name="connsiteX365" fmla="*/ 5955437 w 6656228"/>
              <a:gd name="connsiteY365" fmla="*/ 3520144 h 6841946"/>
              <a:gd name="connsiteX366" fmla="*/ 5621803 w 6656228"/>
              <a:gd name="connsiteY366" fmla="*/ 3713296 h 6841946"/>
              <a:gd name="connsiteX367" fmla="*/ 5288040 w 6656228"/>
              <a:gd name="connsiteY367" fmla="*/ 3520144 h 6841946"/>
              <a:gd name="connsiteX368" fmla="*/ 5288040 w 6656228"/>
              <a:gd name="connsiteY368" fmla="*/ 3133865 h 6841946"/>
              <a:gd name="connsiteX369" fmla="*/ 3567855 w 6656228"/>
              <a:gd name="connsiteY369" fmla="*/ 2940696 h 6841946"/>
              <a:gd name="connsiteX370" fmla="*/ 3901618 w 6656228"/>
              <a:gd name="connsiteY370" fmla="*/ 3133857 h 6841946"/>
              <a:gd name="connsiteX371" fmla="*/ 3901618 w 6656228"/>
              <a:gd name="connsiteY371" fmla="*/ 3520138 h 6841946"/>
              <a:gd name="connsiteX372" fmla="*/ 3591012 w 6656228"/>
              <a:gd name="connsiteY372" fmla="*/ 3699963 h 6841946"/>
              <a:gd name="connsiteX373" fmla="*/ 3234224 w 6656228"/>
              <a:gd name="connsiteY373" fmla="*/ 3332350 h 6841946"/>
              <a:gd name="connsiteX374" fmla="*/ 3234224 w 6656228"/>
              <a:gd name="connsiteY374" fmla="*/ 3133857 h 6841946"/>
              <a:gd name="connsiteX375" fmla="*/ 6306711 w 6656228"/>
              <a:gd name="connsiteY375" fmla="*/ 2940462 h 6841946"/>
              <a:gd name="connsiteX376" fmla="*/ 6640474 w 6656228"/>
              <a:gd name="connsiteY376" fmla="*/ 3133615 h 6841946"/>
              <a:gd name="connsiteX377" fmla="*/ 6640474 w 6656228"/>
              <a:gd name="connsiteY377" fmla="*/ 3519754 h 6841946"/>
              <a:gd name="connsiteX378" fmla="*/ 6306711 w 6656228"/>
              <a:gd name="connsiteY378" fmla="*/ 3712908 h 6841946"/>
              <a:gd name="connsiteX379" fmla="*/ 5972948 w 6656228"/>
              <a:gd name="connsiteY379" fmla="*/ 3519753 h 6841946"/>
              <a:gd name="connsiteX380" fmla="*/ 5972948 w 6656228"/>
              <a:gd name="connsiteY380" fmla="*/ 3133615 h 6841946"/>
              <a:gd name="connsiteX381" fmla="*/ 4252895 w 6656228"/>
              <a:gd name="connsiteY381" fmla="*/ 2940450 h 6841946"/>
              <a:gd name="connsiteX382" fmla="*/ 4586658 w 6656228"/>
              <a:gd name="connsiteY382" fmla="*/ 3133605 h 6841946"/>
              <a:gd name="connsiteX383" fmla="*/ 4586658 w 6656228"/>
              <a:gd name="connsiteY383" fmla="*/ 3519749 h 6841946"/>
              <a:gd name="connsiteX384" fmla="*/ 4252895 w 6656228"/>
              <a:gd name="connsiteY384" fmla="*/ 3712903 h 6841946"/>
              <a:gd name="connsiteX385" fmla="*/ 3919130 w 6656228"/>
              <a:gd name="connsiteY385" fmla="*/ 3519749 h 6841946"/>
              <a:gd name="connsiteX386" fmla="*/ 3919130 w 6656228"/>
              <a:gd name="connsiteY386" fmla="*/ 3133605 h 6841946"/>
              <a:gd name="connsiteX387" fmla="*/ 5964905 w 6656228"/>
              <a:gd name="connsiteY387" fmla="*/ 2742638 h 6841946"/>
              <a:gd name="connsiteX388" fmla="*/ 6290355 w 6656228"/>
              <a:gd name="connsiteY388" fmla="*/ 2930991 h 6841946"/>
              <a:gd name="connsiteX389" fmla="*/ 5964776 w 6656228"/>
              <a:gd name="connsiteY389" fmla="*/ 3119333 h 6841946"/>
              <a:gd name="connsiteX390" fmla="*/ 5639325 w 6656228"/>
              <a:gd name="connsiteY390" fmla="*/ 2930985 h 6841946"/>
              <a:gd name="connsiteX391" fmla="*/ 3911088 w 6656228"/>
              <a:gd name="connsiteY391" fmla="*/ 2742623 h 6841946"/>
              <a:gd name="connsiteX392" fmla="*/ 4236538 w 6656228"/>
              <a:gd name="connsiteY392" fmla="*/ 2930975 h 6841946"/>
              <a:gd name="connsiteX393" fmla="*/ 3910958 w 6656228"/>
              <a:gd name="connsiteY393" fmla="*/ 3119325 h 6841946"/>
              <a:gd name="connsiteX394" fmla="*/ 3585509 w 6656228"/>
              <a:gd name="connsiteY394" fmla="*/ 2930975 h 6841946"/>
              <a:gd name="connsiteX395" fmla="*/ 5175964 w 6656228"/>
              <a:gd name="connsiteY395" fmla="*/ 2578668 h 6841946"/>
              <a:gd name="connsiteX396" fmla="*/ 5203724 w 6656228"/>
              <a:gd name="connsiteY396" fmla="*/ 2590216 h 6841946"/>
              <a:gd name="connsiteX397" fmla="*/ 5268323 w 6656228"/>
              <a:gd name="connsiteY397" fmla="*/ 2654936 h 6841946"/>
              <a:gd name="connsiteX398" fmla="*/ 5279868 w 6656228"/>
              <a:gd name="connsiteY398" fmla="*/ 2666615 h 6841946"/>
              <a:gd name="connsiteX399" fmla="*/ 5291413 w 6656228"/>
              <a:gd name="connsiteY399" fmla="*/ 2654936 h 6841946"/>
              <a:gd name="connsiteX400" fmla="*/ 5355882 w 6656228"/>
              <a:gd name="connsiteY400" fmla="*/ 2590216 h 6841946"/>
              <a:gd name="connsiteX401" fmla="*/ 5383641 w 6656228"/>
              <a:gd name="connsiteY401" fmla="*/ 2578668 h 6841946"/>
              <a:gd name="connsiteX402" fmla="*/ 5411271 w 6656228"/>
              <a:gd name="connsiteY402" fmla="*/ 2590216 h 6841946"/>
              <a:gd name="connsiteX403" fmla="*/ 5489752 w 6656228"/>
              <a:gd name="connsiteY403" fmla="*/ 2668813 h 6841946"/>
              <a:gd name="connsiteX404" fmla="*/ 5501297 w 6656228"/>
              <a:gd name="connsiteY404" fmla="*/ 2696569 h 6841946"/>
              <a:gd name="connsiteX405" fmla="*/ 5489882 w 6656228"/>
              <a:gd name="connsiteY405" fmla="*/ 2724335 h 6841946"/>
              <a:gd name="connsiteX406" fmla="*/ 5279868 w 6656228"/>
              <a:gd name="connsiteY406" fmla="*/ 2934740 h 6841946"/>
              <a:gd name="connsiteX407" fmla="*/ 5069856 w 6656228"/>
              <a:gd name="connsiteY407" fmla="*/ 2724335 h 6841946"/>
              <a:gd name="connsiteX408" fmla="*/ 5069856 w 6656228"/>
              <a:gd name="connsiteY408" fmla="*/ 2668949 h 6841946"/>
              <a:gd name="connsiteX409" fmla="*/ 5148334 w 6656228"/>
              <a:gd name="connsiteY409" fmla="*/ 2590216 h 6841946"/>
              <a:gd name="connsiteX410" fmla="*/ 5175964 w 6656228"/>
              <a:gd name="connsiteY410" fmla="*/ 2578668 h 6841946"/>
              <a:gd name="connsiteX411" fmla="*/ 3122155 w 6656228"/>
              <a:gd name="connsiteY411" fmla="*/ 2578647 h 6841946"/>
              <a:gd name="connsiteX412" fmla="*/ 3149912 w 6656228"/>
              <a:gd name="connsiteY412" fmla="*/ 2590201 h 6841946"/>
              <a:gd name="connsiteX413" fmla="*/ 3214509 w 6656228"/>
              <a:gd name="connsiteY413" fmla="*/ 2654925 h 6841946"/>
              <a:gd name="connsiteX414" fmla="*/ 3226054 w 6656228"/>
              <a:gd name="connsiteY414" fmla="*/ 2666599 h 6841946"/>
              <a:gd name="connsiteX415" fmla="*/ 3237595 w 6656228"/>
              <a:gd name="connsiteY415" fmla="*/ 2654925 h 6841946"/>
              <a:gd name="connsiteX416" fmla="*/ 3302064 w 6656228"/>
              <a:gd name="connsiteY416" fmla="*/ 2590201 h 6841946"/>
              <a:gd name="connsiteX417" fmla="*/ 3329824 w 6656228"/>
              <a:gd name="connsiteY417" fmla="*/ 2578647 h 6841946"/>
              <a:gd name="connsiteX418" fmla="*/ 3357454 w 6656228"/>
              <a:gd name="connsiteY418" fmla="*/ 2590201 h 6841946"/>
              <a:gd name="connsiteX419" fmla="*/ 3435933 w 6656228"/>
              <a:gd name="connsiteY419" fmla="*/ 2668806 h 6841946"/>
              <a:gd name="connsiteX420" fmla="*/ 3447478 w 6656228"/>
              <a:gd name="connsiteY420" fmla="*/ 2696558 h 6841946"/>
              <a:gd name="connsiteX421" fmla="*/ 3436062 w 6656228"/>
              <a:gd name="connsiteY421" fmla="*/ 2724322 h 6841946"/>
              <a:gd name="connsiteX422" fmla="*/ 3226054 w 6656228"/>
              <a:gd name="connsiteY422" fmla="*/ 2934732 h 6841946"/>
              <a:gd name="connsiteX423" fmla="*/ 3016052 w 6656228"/>
              <a:gd name="connsiteY423" fmla="*/ 2724322 h 6841946"/>
              <a:gd name="connsiteX424" fmla="*/ 3016052 w 6656228"/>
              <a:gd name="connsiteY424" fmla="*/ 2668929 h 6841946"/>
              <a:gd name="connsiteX425" fmla="*/ 3094528 w 6656228"/>
              <a:gd name="connsiteY425" fmla="*/ 2590201 h 6841946"/>
              <a:gd name="connsiteX426" fmla="*/ 3122155 w 6656228"/>
              <a:gd name="connsiteY426" fmla="*/ 2578647 h 6841946"/>
              <a:gd name="connsiteX427" fmla="*/ 5175964 w 6656228"/>
              <a:gd name="connsiteY427" fmla="*/ 2562187 h 6841946"/>
              <a:gd name="connsiteX428" fmla="*/ 5136789 w 6656228"/>
              <a:gd name="connsiteY428" fmla="*/ 2578533 h 6841946"/>
              <a:gd name="connsiteX429" fmla="*/ 5058311 w 6656228"/>
              <a:gd name="connsiteY429" fmla="*/ 2657273 h 6841946"/>
              <a:gd name="connsiteX430" fmla="*/ 5058311 w 6656228"/>
              <a:gd name="connsiteY430" fmla="*/ 2735878 h 6841946"/>
              <a:gd name="connsiteX431" fmla="*/ 5279868 w 6656228"/>
              <a:gd name="connsiteY431" fmla="*/ 2957963 h 6841946"/>
              <a:gd name="connsiteX432" fmla="*/ 5501427 w 6656228"/>
              <a:gd name="connsiteY432" fmla="*/ 2735878 h 6841946"/>
              <a:gd name="connsiteX433" fmla="*/ 5501427 w 6656228"/>
              <a:gd name="connsiteY433" fmla="*/ 2657273 h 6841946"/>
              <a:gd name="connsiteX434" fmla="*/ 5422947 w 6656228"/>
              <a:gd name="connsiteY434" fmla="*/ 2578668 h 6841946"/>
              <a:gd name="connsiteX435" fmla="*/ 5383772 w 6656228"/>
              <a:gd name="connsiteY435" fmla="*/ 2562324 h 6841946"/>
              <a:gd name="connsiteX436" fmla="*/ 5383641 w 6656228"/>
              <a:gd name="connsiteY436" fmla="*/ 2562187 h 6841946"/>
              <a:gd name="connsiteX437" fmla="*/ 5344337 w 6656228"/>
              <a:gd name="connsiteY437" fmla="*/ 2578668 h 6841946"/>
              <a:gd name="connsiteX438" fmla="*/ 5279868 w 6656228"/>
              <a:gd name="connsiteY438" fmla="*/ 2643266 h 6841946"/>
              <a:gd name="connsiteX439" fmla="*/ 5215269 w 6656228"/>
              <a:gd name="connsiteY439" fmla="*/ 2578533 h 6841946"/>
              <a:gd name="connsiteX440" fmla="*/ 5175964 w 6656228"/>
              <a:gd name="connsiteY440" fmla="*/ 2562187 h 6841946"/>
              <a:gd name="connsiteX441" fmla="*/ 3122155 w 6656228"/>
              <a:gd name="connsiteY441" fmla="*/ 2562181 h 6841946"/>
              <a:gd name="connsiteX442" fmla="*/ 3082983 w 6656228"/>
              <a:gd name="connsiteY442" fmla="*/ 2578524 h 6841946"/>
              <a:gd name="connsiteX443" fmla="*/ 3004507 w 6656228"/>
              <a:gd name="connsiteY443" fmla="*/ 2657262 h 6841946"/>
              <a:gd name="connsiteX444" fmla="*/ 3004507 w 6656228"/>
              <a:gd name="connsiteY444" fmla="*/ 2735865 h 6841946"/>
              <a:gd name="connsiteX445" fmla="*/ 3226054 w 6656228"/>
              <a:gd name="connsiteY445" fmla="*/ 2957948 h 6841946"/>
              <a:gd name="connsiteX446" fmla="*/ 3447607 w 6656228"/>
              <a:gd name="connsiteY446" fmla="*/ 2735865 h 6841946"/>
              <a:gd name="connsiteX447" fmla="*/ 3447607 w 6656228"/>
              <a:gd name="connsiteY447" fmla="*/ 2657262 h 6841946"/>
              <a:gd name="connsiteX448" fmla="*/ 3369129 w 6656228"/>
              <a:gd name="connsiteY448" fmla="*/ 2578647 h 6841946"/>
              <a:gd name="connsiteX449" fmla="*/ 3329954 w 6656228"/>
              <a:gd name="connsiteY449" fmla="*/ 2562308 h 6841946"/>
              <a:gd name="connsiteX450" fmla="*/ 3329824 w 6656228"/>
              <a:gd name="connsiteY450" fmla="*/ 2562181 h 6841946"/>
              <a:gd name="connsiteX451" fmla="*/ 3290519 w 6656228"/>
              <a:gd name="connsiteY451" fmla="*/ 2578647 h 6841946"/>
              <a:gd name="connsiteX452" fmla="*/ 3226054 w 6656228"/>
              <a:gd name="connsiteY452" fmla="*/ 2643253 h 6841946"/>
              <a:gd name="connsiteX453" fmla="*/ 3161457 w 6656228"/>
              <a:gd name="connsiteY453" fmla="*/ 2578524 h 6841946"/>
              <a:gd name="connsiteX454" fmla="*/ 3122155 w 6656228"/>
              <a:gd name="connsiteY454" fmla="*/ 2562181 h 6841946"/>
              <a:gd name="connsiteX455" fmla="*/ 5973078 w 6656228"/>
              <a:gd name="connsiteY455" fmla="*/ 2351669 h 6841946"/>
              <a:gd name="connsiteX456" fmla="*/ 6298538 w 6656228"/>
              <a:gd name="connsiteY456" fmla="*/ 2540021 h 6841946"/>
              <a:gd name="connsiteX457" fmla="*/ 6298538 w 6656228"/>
              <a:gd name="connsiteY457" fmla="*/ 2916842 h 6841946"/>
              <a:gd name="connsiteX458" fmla="*/ 5973078 w 6656228"/>
              <a:gd name="connsiteY458" fmla="*/ 2728478 h 6841946"/>
              <a:gd name="connsiteX459" fmla="*/ 5956733 w 6656228"/>
              <a:gd name="connsiteY459" fmla="*/ 2351669 h 6841946"/>
              <a:gd name="connsiteX460" fmla="*/ 5956733 w 6656228"/>
              <a:gd name="connsiteY460" fmla="*/ 2728481 h 6841946"/>
              <a:gd name="connsiteX461" fmla="*/ 5631143 w 6656228"/>
              <a:gd name="connsiteY461" fmla="*/ 2916842 h 6841946"/>
              <a:gd name="connsiteX462" fmla="*/ 5631143 w 6656228"/>
              <a:gd name="connsiteY462" fmla="*/ 2540021 h 6841946"/>
              <a:gd name="connsiteX463" fmla="*/ 3919260 w 6656228"/>
              <a:gd name="connsiteY463" fmla="*/ 2351657 h 6841946"/>
              <a:gd name="connsiteX464" fmla="*/ 4244722 w 6656228"/>
              <a:gd name="connsiteY464" fmla="*/ 2540012 h 6841946"/>
              <a:gd name="connsiteX465" fmla="*/ 4244722 w 6656228"/>
              <a:gd name="connsiteY465" fmla="*/ 2916827 h 6841946"/>
              <a:gd name="connsiteX466" fmla="*/ 3919260 w 6656228"/>
              <a:gd name="connsiteY466" fmla="*/ 2728471 h 6841946"/>
              <a:gd name="connsiteX467" fmla="*/ 3902916 w 6656228"/>
              <a:gd name="connsiteY467" fmla="*/ 2351657 h 6841946"/>
              <a:gd name="connsiteX468" fmla="*/ 3902916 w 6656228"/>
              <a:gd name="connsiteY468" fmla="*/ 2728471 h 6841946"/>
              <a:gd name="connsiteX469" fmla="*/ 3577325 w 6656228"/>
              <a:gd name="connsiteY469" fmla="*/ 2916827 h 6841946"/>
              <a:gd name="connsiteX470" fmla="*/ 3577325 w 6656228"/>
              <a:gd name="connsiteY470" fmla="*/ 2540012 h 6841946"/>
              <a:gd name="connsiteX471" fmla="*/ 6648646 w 6656228"/>
              <a:gd name="connsiteY471" fmla="*/ 2346870 h 6841946"/>
              <a:gd name="connsiteX472" fmla="*/ 6656228 w 6656228"/>
              <a:gd name="connsiteY472" fmla="*/ 2351258 h 6841946"/>
              <a:gd name="connsiteX473" fmla="*/ 6656228 w 6656228"/>
              <a:gd name="connsiteY473" fmla="*/ 3115151 h 6841946"/>
              <a:gd name="connsiteX474" fmla="*/ 6648777 w 6656228"/>
              <a:gd name="connsiteY474" fmla="*/ 3119464 h 6841946"/>
              <a:gd name="connsiteX475" fmla="*/ 6315014 w 6656228"/>
              <a:gd name="connsiteY475" fmla="*/ 2926315 h 6841946"/>
              <a:gd name="connsiteX476" fmla="*/ 6315014 w 6656228"/>
              <a:gd name="connsiteY476" fmla="*/ 2540021 h 6841946"/>
              <a:gd name="connsiteX477" fmla="*/ 4594830 w 6656228"/>
              <a:gd name="connsiteY477" fmla="*/ 2346860 h 6841946"/>
              <a:gd name="connsiteX478" fmla="*/ 4928593 w 6656228"/>
              <a:gd name="connsiteY478" fmla="*/ 2540012 h 6841946"/>
              <a:gd name="connsiteX479" fmla="*/ 4928593 w 6656228"/>
              <a:gd name="connsiteY479" fmla="*/ 2926298 h 6841946"/>
              <a:gd name="connsiteX480" fmla="*/ 4594960 w 6656228"/>
              <a:gd name="connsiteY480" fmla="*/ 3119455 h 6841946"/>
              <a:gd name="connsiteX481" fmla="*/ 4261195 w 6656228"/>
              <a:gd name="connsiteY481" fmla="*/ 2926298 h 6841946"/>
              <a:gd name="connsiteX482" fmla="*/ 4261195 w 6656228"/>
              <a:gd name="connsiteY482" fmla="*/ 2540012 h 6841946"/>
              <a:gd name="connsiteX483" fmla="*/ 2540928 w 6656228"/>
              <a:gd name="connsiteY483" fmla="*/ 2346843 h 6841946"/>
              <a:gd name="connsiteX484" fmla="*/ 2874661 w 6656228"/>
              <a:gd name="connsiteY484" fmla="*/ 2539987 h 6841946"/>
              <a:gd name="connsiteX485" fmla="*/ 2874661 w 6656228"/>
              <a:gd name="connsiteY485" fmla="*/ 2926288 h 6841946"/>
              <a:gd name="connsiteX486" fmla="*/ 2852546 w 6656228"/>
              <a:gd name="connsiteY486" fmla="*/ 2939092 h 6841946"/>
              <a:gd name="connsiteX487" fmla="*/ 2372424 w 6656228"/>
              <a:gd name="connsiteY487" fmla="*/ 2444403 h 6841946"/>
              <a:gd name="connsiteX488" fmla="*/ 5279738 w 6656228"/>
              <a:gd name="connsiteY488" fmla="*/ 2346470 h 6841946"/>
              <a:gd name="connsiteX489" fmla="*/ 5613501 w 6656228"/>
              <a:gd name="connsiteY489" fmla="*/ 2539621 h 6841946"/>
              <a:gd name="connsiteX490" fmla="*/ 5613501 w 6656228"/>
              <a:gd name="connsiteY490" fmla="*/ 2925792 h 6841946"/>
              <a:gd name="connsiteX491" fmla="*/ 5279738 w 6656228"/>
              <a:gd name="connsiteY491" fmla="*/ 3118942 h 6841946"/>
              <a:gd name="connsiteX492" fmla="*/ 4945975 w 6656228"/>
              <a:gd name="connsiteY492" fmla="*/ 2925792 h 6841946"/>
              <a:gd name="connsiteX493" fmla="*/ 4945975 w 6656228"/>
              <a:gd name="connsiteY493" fmla="*/ 2539621 h 6841946"/>
              <a:gd name="connsiteX494" fmla="*/ 3225921 w 6656228"/>
              <a:gd name="connsiteY494" fmla="*/ 2346447 h 6841946"/>
              <a:gd name="connsiteX495" fmla="*/ 3559683 w 6656228"/>
              <a:gd name="connsiteY495" fmla="*/ 2539608 h 6841946"/>
              <a:gd name="connsiteX496" fmla="*/ 3559683 w 6656228"/>
              <a:gd name="connsiteY496" fmla="*/ 2925780 h 6841946"/>
              <a:gd name="connsiteX497" fmla="*/ 3225921 w 6656228"/>
              <a:gd name="connsiteY497" fmla="*/ 3118929 h 6841946"/>
              <a:gd name="connsiteX498" fmla="*/ 2892183 w 6656228"/>
              <a:gd name="connsiteY498" fmla="*/ 2925780 h 6841946"/>
              <a:gd name="connsiteX499" fmla="*/ 2892183 w 6656228"/>
              <a:gd name="connsiteY499" fmla="*/ 2539608 h 6841946"/>
              <a:gd name="connsiteX500" fmla="*/ 4937933 w 6656228"/>
              <a:gd name="connsiteY500" fmla="*/ 2148635 h 6841946"/>
              <a:gd name="connsiteX501" fmla="*/ 5263389 w 6656228"/>
              <a:gd name="connsiteY501" fmla="*/ 2336987 h 6841946"/>
              <a:gd name="connsiteX502" fmla="*/ 4937803 w 6656228"/>
              <a:gd name="connsiteY502" fmla="*/ 2525343 h 6841946"/>
              <a:gd name="connsiteX503" fmla="*/ 4612346 w 6656228"/>
              <a:gd name="connsiteY503" fmla="*/ 2336987 h 6841946"/>
              <a:gd name="connsiteX504" fmla="*/ 2884137 w 6656228"/>
              <a:gd name="connsiteY504" fmla="*/ 2148623 h 6841946"/>
              <a:gd name="connsiteX505" fmla="*/ 3209574 w 6656228"/>
              <a:gd name="connsiteY505" fmla="*/ 2336977 h 6841946"/>
              <a:gd name="connsiteX506" fmla="*/ 2884008 w 6656228"/>
              <a:gd name="connsiteY506" fmla="*/ 2525334 h 6841946"/>
              <a:gd name="connsiteX507" fmla="*/ 2558574 w 6656228"/>
              <a:gd name="connsiteY507" fmla="*/ 2336977 h 6841946"/>
              <a:gd name="connsiteX508" fmla="*/ 6202937 w 6656228"/>
              <a:gd name="connsiteY508" fmla="*/ 1984692 h 6841946"/>
              <a:gd name="connsiteX509" fmla="*/ 6230697 w 6656228"/>
              <a:gd name="connsiteY509" fmla="*/ 1996238 h 6841946"/>
              <a:gd name="connsiteX510" fmla="*/ 6295296 w 6656228"/>
              <a:gd name="connsiteY510" fmla="*/ 2060967 h 6841946"/>
              <a:gd name="connsiteX511" fmla="*/ 6306841 w 6656228"/>
              <a:gd name="connsiteY511" fmla="*/ 2072641 h 6841946"/>
              <a:gd name="connsiteX512" fmla="*/ 6318386 w 6656228"/>
              <a:gd name="connsiteY512" fmla="*/ 2060967 h 6841946"/>
              <a:gd name="connsiteX513" fmla="*/ 6382855 w 6656228"/>
              <a:gd name="connsiteY513" fmla="*/ 1996238 h 6841946"/>
              <a:gd name="connsiteX514" fmla="*/ 6410615 w 6656228"/>
              <a:gd name="connsiteY514" fmla="*/ 1984692 h 6841946"/>
              <a:gd name="connsiteX515" fmla="*/ 6438245 w 6656228"/>
              <a:gd name="connsiteY515" fmla="*/ 1996238 h 6841946"/>
              <a:gd name="connsiteX516" fmla="*/ 6516723 w 6656228"/>
              <a:gd name="connsiteY516" fmla="*/ 2074846 h 6841946"/>
              <a:gd name="connsiteX517" fmla="*/ 6528265 w 6656228"/>
              <a:gd name="connsiteY517" fmla="*/ 2102601 h 6841946"/>
              <a:gd name="connsiteX518" fmla="*/ 6516854 w 6656228"/>
              <a:gd name="connsiteY518" fmla="*/ 2130340 h 6841946"/>
              <a:gd name="connsiteX519" fmla="*/ 6306842 w 6656228"/>
              <a:gd name="connsiteY519" fmla="*/ 2340755 h 6841946"/>
              <a:gd name="connsiteX520" fmla="*/ 6096829 w 6656228"/>
              <a:gd name="connsiteY520" fmla="*/ 2130340 h 6841946"/>
              <a:gd name="connsiteX521" fmla="*/ 6085352 w 6656228"/>
              <a:gd name="connsiteY521" fmla="*/ 2102615 h 6841946"/>
              <a:gd name="connsiteX522" fmla="*/ 6096828 w 6656228"/>
              <a:gd name="connsiteY522" fmla="*/ 2074978 h 6841946"/>
              <a:gd name="connsiteX523" fmla="*/ 6175308 w 6656228"/>
              <a:gd name="connsiteY523" fmla="*/ 1996238 h 6841946"/>
              <a:gd name="connsiteX524" fmla="*/ 6202937 w 6656228"/>
              <a:gd name="connsiteY524" fmla="*/ 1984692 h 6841946"/>
              <a:gd name="connsiteX525" fmla="*/ 4149121 w 6656228"/>
              <a:gd name="connsiteY525" fmla="*/ 1984677 h 6841946"/>
              <a:gd name="connsiteX526" fmla="*/ 4176879 w 6656228"/>
              <a:gd name="connsiteY526" fmla="*/ 1996221 h 6841946"/>
              <a:gd name="connsiteX527" fmla="*/ 4241479 w 6656228"/>
              <a:gd name="connsiteY527" fmla="*/ 2060951 h 6841946"/>
              <a:gd name="connsiteX528" fmla="*/ 4253023 w 6656228"/>
              <a:gd name="connsiteY528" fmla="*/ 2072625 h 6841946"/>
              <a:gd name="connsiteX529" fmla="*/ 4264568 w 6656228"/>
              <a:gd name="connsiteY529" fmla="*/ 2060951 h 6841946"/>
              <a:gd name="connsiteX530" fmla="*/ 4329039 w 6656228"/>
              <a:gd name="connsiteY530" fmla="*/ 1996221 h 6841946"/>
              <a:gd name="connsiteX531" fmla="*/ 4356796 w 6656228"/>
              <a:gd name="connsiteY531" fmla="*/ 1984677 h 6841946"/>
              <a:gd name="connsiteX532" fmla="*/ 4384426 w 6656228"/>
              <a:gd name="connsiteY532" fmla="*/ 1996221 h 6841946"/>
              <a:gd name="connsiteX533" fmla="*/ 4462907 w 6656228"/>
              <a:gd name="connsiteY533" fmla="*/ 2074831 h 6841946"/>
              <a:gd name="connsiteX534" fmla="*/ 4474448 w 6656228"/>
              <a:gd name="connsiteY534" fmla="*/ 2102583 h 6841946"/>
              <a:gd name="connsiteX535" fmla="*/ 4463037 w 6656228"/>
              <a:gd name="connsiteY535" fmla="*/ 2130329 h 6841946"/>
              <a:gd name="connsiteX536" fmla="*/ 4253023 w 6656228"/>
              <a:gd name="connsiteY536" fmla="*/ 2340739 h 6841946"/>
              <a:gd name="connsiteX537" fmla="*/ 4043011 w 6656228"/>
              <a:gd name="connsiteY537" fmla="*/ 2130329 h 6841946"/>
              <a:gd name="connsiteX538" fmla="*/ 4031533 w 6656228"/>
              <a:gd name="connsiteY538" fmla="*/ 2102601 h 6841946"/>
              <a:gd name="connsiteX539" fmla="*/ 4043011 w 6656228"/>
              <a:gd name="connsiteY539" fmla="*/ 2074961 h 6841946"/>
              <a:gd name="connsiteX540" fmla="*/ 4121491 w 6656228"/>
              <a:gd name="connsiteY540" fmla="*/ 1996221 h 6841946"/>
              <a:gd name="connsiteX541" fmla="*/ 4149121 w 6656228"/>
              <a:gd name="connsiteY541" fmla="*/ 1984677 h 6841946"/>
              <a:gd name="connsiteX542" fmla="*/ 2095208 w 6656228"/>
              <a:gd name="connsiteY542" fmla="*/ 1984659 h 6841946"/>
              <a:gd name="connsiteX543" fmla="*/ 2122976 w 6656228"/>
              <a:gd name="connsiteY543" fmla="*/ 1996205 h 6841946"/>
              <a:gd name="connsiteX544" fmla="*/ 2164254 w 6656228"/>
              <a:gd name="connsiteY544" fmla="*/ 2037554 h 6841946"/>
              <a:gd name="connsiteX545" fmla="*/ 2187566 w 6656228"/>
              <a:gd name="connsiteY545" fmla="*/ 2060919 h 6841946"/>
              <a:gd name="connsiteX546" fmla="*/ 2199128 w 6656228"/>
              <a:gd name="connsiteY546" fmla="*/ 2072595 h 6841946"/>
              <a:gd name="connsiteX547" fmla="*/ 2199128 w 6656228"/>
              <a:gd name="connsiteY547" fmla="*/ 2072592 h 6841946"/>
              <a:gd name="connsiteX548" fmla="*/ 2199140 w 6656228"/>
              <a:gd name="connsiteY548" fmla="*/ 2072609 h 6841946"/>
              <a:gd name="connsiteX549" fmla="*/ 2210687 w 6656228"/>
              <a:gd name="connsiteY549" fmla="*/ 2060935 h 6841946"/>
              <a:gd name="connsiteX550" fmla="*/ 2275136 w 6656228"/>
              <a:gd name="connsiteY550" fmla="*/ 1996205 h 6841946"/>
              <a:gd name="connsiteX551" fmla="*/ 2302886 w 6656228"/>
              <a:gd name="connsiteY551" fmla="*/ 1984659 h 6841946"/>
              <a:gd name="connsiteX552" fmla="*/ 2330532 w 6656228"/>
              <a:gd name="connsiteY552" fmla="*/ 1996203 h 6841946"/>
              <a:gd name="connsiteX553" fmla="*/ 2377691 w 6656228"/>
              <a:gd name="connsiteY553" fmla="*/ 2043461 h 6841946"/>
              <a:gd name="connsiteX554" fmla="*/ 2408991 w 6656228"/>
              <a:gd name="connsiteY554" fmla="*/ 2074804 h 6841946"/>
              <a:gd name="connsiteX555" fmla="*/ 2420524 w 6656228"/>
              <a:gd name="connsiteY555" fmla="*/ 2102560 h 6841946"/>
              <a:gd name="connsiteX556" fmla="*/ 2409116 w 6656228"/>
              <a:gd name="connsiteY556" fmla="*/ 2130322 h 6841946"/>
              <a:gd name="connsiteX557" fmla="*/ 2235969 w 6656228"/>
              <a:gd name="connsiteY557" fmla="*/ 2303808 h 6841946"/>
              <a:gd name="connsiteX558" fmla="*/ 2001631 w 6656228"/>
              <a:gd name="connsiteY558" fmla="*/ 2062361 h 6841946"/>
              <a:gd name="connsiteX559" fmla="*/ 2067563 w 6656228"/>
              <a:gd name="connsiteY559" fmla="*/ 1996205 h 6841946"/>
              <a:gd name="connsiteX560" fmla="*/ 2095208 w 6656228"/>
              <a:gd name="connsiteY560" fmla="*/ 1984659 h 6841946"/>
              <a:gd name="connsiteX561" fmla="*/ 6202938 w 6656228"/>
              <a:gd name="connsiteY561" fmla="*/ 1968203 h 6841946"/>
              <a:gd name="connsiteX562" fmla="*/ 6163763 w 6656228"/>
              <a:gd name="connsiteY562" fmla="*/ 1984547 h 6841946"/>
              <a:gd name="connsiteX563" fmla="*/ 6085284 w 6656228"/>
              <a:gd name="connsiteY563" fmla="*/ 2063287 h 6841946"/>
              <a:gd name="connsiteX564" fmla="*/ 6069037 w 6656228"/>
              <a:gd name="connsiteY564" fmla="*/ 2102593 h 6841946"/>
              <a:gd name="connsiteX565" fmla="*/ 6069039 w 6656228"/>
              <a:gd name="connsiteY565" fmla="*/ 2102598 h 6841946"/>
              <a:gd name="connsiteX566" fmla="*/ 6069036 w 6656228"/>
              <a:gd name="connsiteY566" fmla="*/ 2102606 h 6841946"/>
              <a:gd name="connsiteX567" fmla="*/ 6085283 w 6656228"/>
              <a:gd name="connsiteY567" fmla="*/ 2141902 h 6841946"/>
              <a:gd name="connsiteX568" fmla="*/ 6306841 w 6656228"/>
              <a:gd name="connsiteY568" fmla="*/ 2363983 h 6841946"/>
              <a:gd name="connsiteX569" fmla="*/ 6528398 w 6656228"/>
              <a:gd name="connsiteY569" fmla="*/ 2141902 h 6841946"/>
              <a:gd name="connsiteX570" fmla="*/ 6544645 w 6656228"/>
              <a:gd name="connsiteY570" fmla="*/ 2102606 h 6841946"/>
              <a:gd name="connsiteX571" fmla="*/ 6544643 w 6656228"/>
              <a:gd name="connsiteY571" fmla="*/ 2102601 h 6841946"/>
              <a:gd name="connsiteX572" fmla="*/ 6544646 w 6656228"/>
              <a:gd name="connsiteY572" fmla="*/ 2102593 h 6841946"/>
              <a:gd name="connsiteX573" fmla="*/ 6528399 w 6656228"/>
              <a:gd name="connsiteY573" fmla="*/ 2063287 h 6841946"/>
              <a:gd name="connsiteX574" fmla="*/ 6449921 w 6656228"/>
              <a:gd name="connsiteY574" fmla="*/ 1984677 h 6841946"/>
              <a:gd name="connsiteX575" fmla="*/ 6410746 w 6656228"/>
              <a:gd name="connsiteY575" fmla="*/ 1968333 h 6841946"/>
              <a:gd name="connsiteX576" fmla="*/ 6410616 w 6656228"/>
              <a:gd name="connsiteY576" fmla="*/ 1968203 h 6841946"/>
              <a:gd name="connsiteX577" fmla="*/ 6371311 w 6656228"/>
              <a:gd name="connsiteY577" fmla="*/ 1984677 h 6841946"/>
              <a:gd name="connsiteX578" fmla="*/ 6306842 w 6656228"/>
              <a:gd name="connsiteY578" fmla="*/ 2049278 h 6841946"/>
              <a:gd name="connsiteX579" fmla="*/ 6242243 w 6656228"/>
              <a:gd name="connsiteY579" fmla="*/ 1984547 h 6841946"/>
              <a:gd name="connsiteX580" fmla="*/ 6202938 w 6656228"/>
              <a:gd name="connsiteY580" fmla="*/ 1968203 h 6841946"/>
              <a:gd name="connsiteX581" fmla="*/ 4149121 w 6656228"/>
              <a:gd name="connsiteY581" fmla="*/ 1968186 h 6841946"/>
              <a:gd name="connsiteX582" fmla="*/ 4109946 w 6656228"/>
              <a:gd name="connsiteY582" fmla="*/ 1984530 h 6841946"/>
              <a:gd name="connsiteX583" fmla="*/ 4031466 w 6656228"/>
              <a:gd name="connsiteY583" fmla="*/ 2063270 h 6841946"/>
              <a:gd name="connsiteX584" fmla="*/ 4015218 w 6656228"/>
              <a:gd name="connsiteY584" fmla="*/ 2102577 h 6841946"/>
              <a:gd name="connsiteX585" fmla="*/ 4015221 w 6656228"/>
              <a:gd name="connsiteY585" fmla="*/ 2102583 h 6841946"/>
              <a:gd name="connsiteX586" fmla="*/ 4015218 w 6656228"/>
              <a:gd name="connsiteY586" fmla="*/ 2102591 h 6841946"/>
              <a:gd name="connsiteX587" fmla="*/ 4031466 w 6656228"/>
              <a:gd name="connsiteY587" fmla="*/ 2141896 h 6841946"/>
              <a:gd name="connsiteX588" fmla="*/ 4253023 w 6656228"/>
              <a:gd name="connsiteY588" fmla="*/ 2363976 h 6841946"/>
              <a:gd name="connsiteX589" fmla="*/ 4474582 w 6656228"/>
              <a:gd name="connsiteY589" fmla="*/ 2141896 h 6841946"/>
              <a:gd name="connsiteX590" fmla="*/ 4490828 w 6656228"/>
              <a:gd name="connsiteY590" fmla="*/ 2102591 h 6841946"/>
              <a:gd name="connsiteX591" fmla="*/ 4490825 w 6656228"/>
              <a:gd name="connsiteY591" fmla="*/ 2102583 h 6841946"/>
              <a:gd name="connsiteX592" fmla="*/ 4490828 w 6656228"/>
              <a:gd name="connsiteY592" fmla="*/ 2102577 h 6841946"/>
              <a:gd name="connsiteX593" fmla="*/ 4474582 w 6656228"/>
              <a:gd name="connsiteY593" fmla="*/ 2063270 h 6841946"/>
              <a:gd name="connsiteX594" fmla="*/ 4396102 w 6656228"/>
              <a:gd name="connsiteY594" fmla="*/ 1984660 h 6841946"/>
              <a:gd name="connsiteX595" fmla="*/ 4356927 w 6656228"/>
              <a:gd name="connsiteY595" fmla="*/ 1968316 h 6841946"/>
              <a:gd name="connsiteX596" fmla="*/ 4356796 w 6656228"/>
              <a:gd name="connsiteY596" fmla="*/ 1968186 h 6841946"/>
              <a:gd name="connsiteX597" fmla="*/ 4317494 w 6656228"/>
              <a:gd name="connsiteY597" fmla="*/ 1984660 h 6841946"/>
              <a:gd name="connsiteX598" fmla="*/ 4253023 w 6656228"/>
              <a:gd name="connsiteY598" fmla="*/ 2049261 h 6841946"/>
              <a:gd name="connsiteX599" fmla="*/ 4188424 w 6656228"/>
              <a:gd name="connsiteY599" fmla="*/ 1984530 h 6841946"/>
              <a:gd name="connsiteX600" fmla="*/ 4149121 w 6656228"/>
              <a:gd name="connsiteY600" fmla="*/ 1968186 h 6841946"/>
              <a:gd name="connsiteX601" fmla="*/ 4946105 w 6656228"/>
              <a:gd name="connsiteY601" fmla="*/ 1757662 h 6841946"/>
              <a:gd name="connsiteX602" fmla="*/ 5271566 w 6656228"/>
              <a:gd name="connsiteY602" fmla="*/ 1946022 h 6841946"/>
              <a:gd name="connsiteX603" fmla="*/ 5271566 w 6656228"/>
              <a:gd name="connsiteY603" fmla="*/ 2322839 h 6841946"/>
              <a:gd name="connsiteX604" fmla="*/ 4946105 w 6656228"/>
              <a:gd name="connsiteY604" fmla="*/ 2134492 h 6841946"/>
              <a:gd name="connsiteX605" fmla="*/ 4929760 w 6656228"/>
              <a:gd name="connsiteY605" fmla="*/ 1757662 h 6841946"/>
              <a:gd name="connsiteX606" fmla="*/ 4929760 w 6656228"/>
              <a:gd name="connsiteY606" fmla="*/ 2134492 h 6841946"/>
              <a:gd name="connsiteX607" fmla="*/ 4604170 w 6656228"/>
              <a:gd name="connsiteY607" fmla="*/ 2322839 h 6841946"/>
              <a:gd name="connsiteX608" fmla="*/ 4604170 w 6656228"/>
              <a:gd name="connsiteY608" fmla="*/ 1946022 h 6841946"/>
              <a:gd name="connsiteX609" fmla="*/ 2875968 w 6656228"/>
              <a:gd name="connsiteY609" fmla="*/ 1757647 h 6841946"/>
              <a:gd name="connsiteX610" fmla="*/ 2875968 w 6656228"/>
              <a:gd name="connsiteY610" fmla="*/ 2134484 h 6841946"/>
              <a:gd name="connsiteX611" fmla="*/ 2550397 w 6656228"/>
              <a:gd name="connsiteY611" fmla="*/ 2322830 h 6841946"/>
              <a:gd name="connsiteX612" fmla="*/ 2550397 w 6656228"/>
              <a:gd name="connsiteY612" fmla="*/ 1946005 h 6841946"/>
              <a:gd name="connsiteX613" fmla="*/ 2892311 w 6656228"/>
              <a:gd name="connsiteY613" fmla="*/ 1757646 h 6841946"/>
              <a:gd name="connsiteX614" fmla="*/ 3217751 w 6656228"/>
              <a:gd name="connsiteY614" fmla="*/ 1946005 h 6841946"/>
              <a:gd name="connsiteX615" fmla="*/ 3217751 w 6656228"/>
              <a:gd name="connsiteY615" fmla="*/ 2322830 h 6841946"/>
              <a:gd name="connsiteX616" fmla="*/ 2892311 w 6656228"/>
              <a:gd name="connsiteY616" fmla="*/ 2134484 h 6841946"/>
              <a:gd name="connsiteX617" fmla="*/ 5621673 w 6656228"/>
              <a:gd name="connsiteY617" fmla="*/ 1752864 h 6841946"/>
              <a:gd name="connsiteX618" fmla="*/ 5955437 w 6656228"/>
              <a:gd name="connsiteY618" fmla="*/ 1946022 h 6841946"/>
              <a:gd name="connsiteX619" fmla="*/ 5955437 w 6656228"/>
              <a:gd name="connsiteY619" fmla="*/ 2332319 h 6841946"/>
              <a:gd name="connsiteX620" fmla="*/ 5621803 w 6656228"/>
              <a:gd name="connsiteY620" fmla="*/ 2525474 h 6841946"/>
              <a:gd name="connsiteX621" fmla="*/ 5288040 w 6656228"/>
              <a:gd name="connsiteY621" fmla="*/ 2332319 h 6841946"/>
              <a:gd name="connsiteX622" fmla="*/ 5288040 w 6656228"/>
              <a:gd name="connsiteY622" fmla="*/ 1946022 h 6841946"/>
              <a:gd name="connsiteX623" fmla="*/ 3567855 w 6656228"/>
              <a:gd name="connsiteY623" fmla="*/ 1752847 h 6841946"/>
              <a:gd name="connsiteX624" fmla="*/ 3901618 w 6656228"/>
              <a:gd name="connsiteY624" fmla="*/ 1946005 h 6841946"/>
              <a:gd name="connsiteX625" fmla="*/ 3901618 w 6656228"/>
              <a:gd name="connsiteY625" fmla="*/ 2332304 h 6841946"/>
              <a:gd name="connsiteX626" fmla="*/ 3567985 w 6656228"/>
              <a:gd name="connsiteY626" fmla="*/ 2525464 h 6841946"/>
              <a:gd name="connsiteX627" fmla="*/ 3234224 w 6656228"/>
              <a:gd name="connsiteY627" fmla="*/ 2332304 h 6841946"/>
              <a:gd name="connsiteX628" fmla="*/ 3234224 w 6656228"/>
              <a:gd name="connsiteY628" fmla="*/ 1946005 h 6841946"/>
              <a:gd name="connsiteX629" fmla="*/ 6306711 w 6656228"/>
              <a:gd name="connsiteY629" fmla="*/ 1752617 h 6841946"/>
              <a:gd name="connsiteX630" fmla="*/ 6640474 w 6656228"/>
              <a:gd name="connsiteY630" fmla="*/ 1945779 h 6841946"/>
              <a:gd name="connsiteX631" fmla="*/ 6640474 w 6656228"/>
              <a:gd name="connsiteY631" fmla="*/ 2331929 h 6841946"/>
              <a:gd name="connsiteX632" fmla="*/ 6306711 w 6656228"/>
              <a:gd name="connsiteY632" fmla="*/ 2525089 h 6841946"/>
              <a:gd name="connsiteX633" fmla="*/ 5972948 w 6656228"/>
              <a:gd name="connsiteY633" fmla="*/ 2331929 h 6841946"/>
              <a:gd name="connsiteX634" fmla="*/ 5972948 w 6656228"/>
              <a:gd name="connsiteY634" fmla="*/ 1945778 h 6841946"/>
              <a:gd name="connsiteX635" fmla="*/ 4252895 w 6656228"/>
              <a:gd name="connsiteY635" fmla="*/ 1752603 h 6841946"/>
              <a:gd name="connsiteX636" fmla="*/ 4586658 w 6656228"/>
              <a:gd name="connsiteY636" fmla="*/ 1945761 h 6841946"/>
              <a:gd name="connsiteX637" fmla="*/ 4586658 w 6656228"/>
              <a:gd name="connsiteY637" fmla="*/ 2331916 h 6841946"/>
              <a:gd name="connsiteX638" fmla="*/ 4252895 w 6656228"/>
              <a:gd name="connsiteY638" fmla="*/ 2525078 h 6841946"/>
              <a:gd name="connsiteX639" fmla="*/ 3919130 w 6656228"/>
              <a:gd name="connsiteY639" fmla="*/ 2331916 h 6841946"/>
              <a:gd name="connsiteX640" fmla="*/ 3919130 w 6656228"/>
              <a:gd name="connsiteY640" fmla="*/ 1945761 h 6841946"/>
              <a:gd name="connsiteX641" fmla="*/ 2199017 w 6656228"/>
              <a:gd name="connsiteY641" fmla="*/ 1752586 h 6841946"/>
              <a:gd name="connsiteX642" fmla="*/ 2405159 w 6656228"/>
              <a:gd name="connsiteY642" fmla="*/ 1871903 h 6841946"/>
              <a:gd name="connsiteX643" fmla="*/ 2532743 w 6656228"/>
              <a:gd name="connsiteY643" fmla="*/ 1945736 h 6841946"/>
              <a:gd name="connsiteX644" fmla="*/ 2532743 w 6656228"/>
              <a:gd name="connsiteY644" fmla="*/ 2331901 h 6841946"/>
              <a:gd name="connsiteX645" fmla="*/ 2360172 w 6656228"/>
              <a:gd name="connsiteY645" fmla="*/ 2431779 h 6841946"/>
              <a:gd name="connsiteX646" fmla="*/ 2247398 w 6656228"/>
              <a:gd name="connsiteY646" fmla="*/ 2315584 h 6841946"/>
              <a:gd name="connsiteX647" fmla="*/ 2420664 w 6656228"/>
              <a:gd name="connsiteY647" fmla="*/ 2141879 h 6841946"/>
              <a:gd name="connsiteX648" fmla="*/ 2420664 w 6656228"/>
              <a:gd name="connsiteY648" fmla="*/ 2063270 h 6841946"/>
              <a:gd name="connsiteX649" fmla="*/ 2420660 w 6656228"/>
              <a:gd name="connsiteY649" fmla="*/ 2063260 h 6841946"/>
              <a:gd name="connsiteX650" fmla="*/ 2420658 w 6656228"/>
              <a:gd name="connsiteY650" fmla="*/ 2063254 h 6841946"/>
              <a:gd name="connsiteX651" fmla="*/ 2342174 w 6656228"/>
              <a:gd name="connsiteY651" fmla="*/ 1984644 h 6841946"/>
              <a:gd name="connsiteX652" fmla="*/ 2303003 w 6656228"/>
              <a:gd name="connsiteY652" fmla="*/ 1968300 h 6841946"/>
              <a:gd name="connsiteX653" fmla="*/ 2302880 w 6656228"/>
              <a:gd name="connsiteY653" fmla="*/ 1968169 h 6841946"/>
              <a:gd name="connsiteX654" fmla="*/ 2263581 w 6656228"/>
              <a:gd name="connsiteY654" fmla="*/ 1984644 h 6841946"/>
              <a:gd name="connsiteX655" fmla="*/ 2199128 w 6656228"/>
              <a:gd name="connsiteY655" fmla="*/ 2049243 h 6841946"/>
              <a:gd name="connsiteX656" fmla="*/ 2156416 w 6656228"/>
              <a:gd name="connsiteY656" fmla="*/ 2006464 h 6841946"/>
              <a:gd name="connsiteX657" fmla="*/ 2134510 w 6656228"/>
              <a:gd name="connsiteY657" fmla="*/ 1984514 h 6841946"/>
              <a:gd name="connsiteX658" fmla="*/ 2095199 w 6656228"/>
              <a:gd name="connsiteY658" fmla="*/ 1968169 h 6841946"/>
              <a:gd name="connsiteX659" fmla="*/ 2056016 w 6656228"/>
              <a:gd name="connsiteY659" fmla="*/ 1984514 h 6841946"/>
              <a:gd name="connsiteX660" fmla="*/ 1990186 w 6656228"/>
              <a:gd name="connsiteY660" fmla="*/ 2050568 h 6841946"/>
              <a:gd name="connsiteX661" fmla="*/ 1880097 w 6656228"/>
              <a:gd name="connsiteY661" fmla="*/ 1937140 h 6841946"/>
              <a:gd name="connsiteX662" fmla="*/ 5964905 w 6656228"/>
              <a:gd name="connsiteY662" fmla="*/ 1554788 h 6841946"/>
              <a:gd name="connsiteX663" fmla="*/ 6290353 w 6656228"/>
              <a:gd name="connsiteY663" fmla="*/ 1743140 h 6841946"/>
              <a:gd name="connsiteX664" fmla="*/ 5964776 w 6656228"/>
              <a:gd name="connsiteY664" fmla="*/ 1931491 h 6841946"/>
              <a:gd name="connsiteX665" fmla="*/ 5639327 w 6656228"/>
              <a:gd name="connsiteY665" fmla="*/ 1743140 h 6841946"/>
              <a:gd name="connsiteX666" fmla="*/ 3911088 w 6656228"/>
              <a:gd name="connsiteY666" fmla="*/ 1554775 h 6841946"/>
              <a:gd name="connsiteX667" fmla="*/ 4236536 w 6656228"/>
              <a:gd name="connsiteY667" fmla="*/ 1743124 h 6841946"/>
              <a:gd name="connsiteX668" fmla="*/ 3910958 w 6656228"/>
              <a:gd name="connsiteY668" fmla="*/ 1931475 h 6841946"/>
              <a:gd name="connsiteX669" fmla="*/ 3585511 w 6656228"/>
              <a:gd name="connsiteY669" fmla="*/ 1743125 h 6841946"/>
              <a:gd name="connsiteX670" fmla="*/ 1857173 w 6656228"/>
              <a:gd name="connsiteY670" fmla="*/ 1554758 h 6841946"/>
              <a:gd name="connsiteX671" fmla="*/ 2140365 w 6656228"/>
              <a:gd name="connsiteY671" fmla="*/ 1718649 h 6841946"/>
              <a:gd name="connsiteX672" fmla="*/ 2182638 w 6656228"/>
              <a:gd name="connsiteY672" fmla="*/ 1743102 h 6841946"/>
              <a:gd name="connsiteX673" fmla="*/ 1868276 w 6656228"/>
              <a:gd name="connsiteY673" fmla="*/ 1924959 h 6841946"/>
              <a:gd name="connsiteX674" fmla="*/ 1634182 w 6656228"/>
              <a:gd name="connsiteY674" fmla="*/ 1683763 h 6841946"/>
              <a:gd name="connsiteX675" fmla="*/ 5175964 w 6656228"/>
              <a:gd name="connsiteY675" fmla="*/ 1390801 h 6841946"/>
              <a:gd name="connsiteX676" fmla="*/ 5203724 w 6656228"/>
              <a:gd name="connsiteY676" fmla="*/ 1402350 h 6841946"/>
              <a:gd name="connsiteX677" fmla="*/ 5268323 w 6656228"/>
              <a:gd name="connsiteY677" fmla="*/ 1467080 h 6841946"/>
              <a:gd name="connsiteX678" fmla="*/ 5279868 w 6656228"/>
              <a:gd name="connsiteY678" fmla="*/ 1478755 h 6841946"/>
              <a:gd name="connsiteX679" fmla="*/ 5291413 w 6656228"/>
              <a:gd name="connsiteY679" fmla="*/ 1467080 h 6841946"/>
              <a:gd name="connsiteX680" fmla="*/ 5355882 w 6656228"/>
              <a:gd name="connsiteY680" fmla="*/ 1402350 h 6841946"/>
              <a:gd name="connsiteX681" fmla="*/ 5383641 w 6656228"/>
              <a:gd name="connsiteY681" fmla="*/ 1390801 h 6841946"/>
              <a:gd name="connsiteX682" fmla="*/ 5411271 w 6656228"/>
              <a:gd name="connsiteY682" fmla="*/ 1402350 h 6841946"/>
              <a:gd name="connsiteX683" fmla="*/ 5489752 w 6656228"/>
              <a:gd name="connsiteY683" fmla="*/ 1480959 h 6841946"/>
              <a:gd name="connsiteX684" fmla="*/ 5501297 w 6656228"/>
              <a:gd name="connsiteY684" fmla="*/ 1508720 h 6841946"/>
              <a:gd name="connsiteX685" fmla="*/ 5489882 w 6656228"/>
              <a:gd name="connsiteY685" fmla="*/ 1536482 h 6841946"/>
              <a:gd name="connsiteX686" fmla="*/ 5279868 w 6656228"/>
              <a:gd name="connsiteY686" fmla="*/ 1746895 h 6841946"/>
              <a:gd name="connsiteX687" fmla="*/ 5069856 w 6656228"/>
              <a:gd name="connsiteY687" fmla="*/ 1536482 h 6841946"/>
              <a:gd name="connsiteX688" fmla="*/ 5069856 w 6656228"/>
              <a:gd name="connsiteY688" fmla="*/ 1481089 h 6841946"/>
              <a:gd name="connsiteX689" fmla="*/ 5148334 w 6656228"/>
              <a:gd name="connsiteY689" fmla="*/ 1402350 h 6841946"/>
              <a:gd name="connsiteX690" fmla="*/ 5175964 w 6656228"/>
              <a:gd name="connsiteY690" fmla="*/ 1390801 h 6841946"/>
              <a:gd name="connsiteX691" fmla="*/ 3122155 w 6656228"/>
              <a:gd name="connsiteY691" fmla="*/ 1390787 h 6841946"/>
              <a:gd name="connsiteX692" fmla="*/ 3149914 w 6656228"/>
              <a:gd name="connsiteY692" fmla="*/ 1402333 h 6841946"/>
              <a:gd name="connsiteX693" fmla="*/ 3214509 w 6656228"/>
              <a:gd name="connsiteY693" fmla="*/ 1467065 h 6841946"/>
              <a:gd name="connsiteX694" fmla="*/ 3226054 w 6656228"/>
              <a:gd name="connsiteY694" fmla="*/ 1478738 h 6841946"/>
              <a:gd name="connsiteX695" fmla="*/ 3237595 w 6656228"/>
              <a:gd name="connsiteY695" fmla="*/ 1467065 h 6841946"/>
              <a:gd name="connsiteX696" fmla="*/ 3302064 w 6656228"/>
              <a:gd name="connsiteY696" fmla="*/ 1402333 h 6841946"/>
              <a:gd name="connsiteX697" fmla="*/ 3329824 w 6656228"/>
              <a:gd name="connsiteY697" fmla="*/ 1390787 h 6841946"/>
              <a:gd name="connsiteX698" fmla="*/ 3357454 w 6656228"/>
              <a:gd name="connsiteY698" fmla="*/ 1402333 h 6841946"/>
              <a:gd name="connsiteX699" fmla="*/ 3435933 w 6656228"/>
              <a:gd name="connsiteY699" fmla="*/ 1480945 h 6841946"/>
              <a:gd name="connsiteX700" fmla="*/ 3447478 w 6656228"/>
              <a:gd name="connsiteY700" fmla="*/ 1508704 h 6841946"/>
              <a:gd name="connsiteX701" fmla="*/ 3436062 w 6656228"/>
              <a:gd name="connsiteY701" fmla="*/ 1536467 h 6841946"/>
              <a:gd name="connsiteX702" fmla="*/ 3226054 w 6656228"/>
              <a:gd name="connsiteY702" fmla="*/ 1746878 h 6841946"/>
              <a:gd name="connsiteX703" fmla="*/ 3016052 w 6656228"/>
              <a:gd name="connsiteY703" fmla="*/ 1536467 h 6841946"/>
              <a:gd name="connsiteX704" fmla="*/ 3016052 w 6656228"/>
              <a:gd name="connsiteY704" fmla="*/ 1481074 h 6841946"/>
              <a:gd name="connsiteX705" fmla="*/ 3094528 w 6656228"/>
              <a:gd name="connsiteY705" fmla="*/ 1402333 h 6841946"/>
              <a:gd name="connsiteX706" fmla="*/ 3122155 w 6656228"/>
              <a:gd name="connsiteY706" fmla="*/ 1390787 h 6841946"/>
              <a:gd name="connsiteX707" fmla="*/ 5175964 w 6656228"/>
              <a:gd name="connsiteY707" fmla="*/ 1374327 h 6841946"/>
              <a:gd name="connsiteX708" fmla="*/ 5136789 w 6656228"/>
              <a:gd name="connsiteY708" fmla="*/ 1390674 h 6841946"/>
              <a:gd name="connsiteX709" fmla="*/ 5058311 w 6656228"/>
              <a:gd name="connsiteY709" fmla="*/ 1469418 h 6841946"/>
              <a:gd name="connsiteX710" fmla="*/ 5058311 w 6656228"/>
              <a:gd name="connsiteY710" fmla="*/ 1548027 h 6841946"/>
              <a:gd name="connsiteX711" fmla="*/ 5279868 w 6656228"/>
              <a:gd name="connsiteY711" fmla="*/ 1770114 h 6841946"/>
              <a:gd name="connsiteX712" fmla="*/ 5501427 w 6656228"/>
              <a:gd name="connsiteY712" fmla="*/ 1548027 h 6841946"/>
              <a:gd name="connsiteX713" fmla="*/ 5501427 w 6656228"/>
              <a:gd name="connsiteY713" fmla="*/ 1469418 h 6841946"/>
              <a:gd name="connsiteX714" fmla="*/ 5422947 w 6656228"/>
              <a:gd name="connsiteY714" fmla="*/ 1390801 h 6841946"/>
              <a:gd name="connsiteX715" fmla="*/ 5383772 w 6656228"/>
              <a:gd name="connsiteY715" fmla="*/ 1374457 h 6841946"/>
              <a:gd name="connsiteX716" fmla="*/ 5383641 w 6656228"/>
              <a:gd name="connsiteY716" fmla="*/ 1374327 h 6841946"/>
              <a:gd name="connsiteX717" fmla="*/ 5344337 w 6656228"/>
              <a:gd name="connsiteY717" fmla="*/ 1390801 h 6841946"/>
              <a:gd name="connsiteX718" fmla="*/ 5279868 w 6656228"/>
              <a:gd name="connsiteY718" fmla="*/ 1455407 h 6841946"/>
              <a:gd name="connsiteX719" fmla="*/ 5215269 w 6656228"/>
              <a:gd name="connsiteY719" fmla="*/ 1390674 h 6841946"/>
              <a:gd name="connsiteX720" fmla="*/ 5175964 w 6656228"/>
              <a:gd name="connsiteY720" fmla="*/ 1374327 h 6841946"/>
              <a:gd name="connsiteX721" fmla="*/ 3122155 w 6656228"/>
              <a:gd name="connsiteY721" fmla="*/ 1374312 h 6841946"/>
              <a:gd name="connsiteX722" fmla="*/ 3082983 w 6656228"/>
              <a:gd name="connsiteY722" fmla="*/ 1390658 h 6841946"/>
              <a:gd name="connsiteX723" fmla="*/ 3004509 w 6656228"/>
              <a:gd name="connsiteY723" fmla="*/ 1469401 h 6841946"/>
              <a:gd name="connsiteX724" fmla="*/ 3004509 w 6656228"/>
              <a:gd name="connsiteY724" fmla="*/ 1548011 h 6841946"/>
              <a:gd name="connsiteX725" fmla="*/ 3226054 w 6656228"/>
              <a:gd name="connsiteY725" fmla="*/ 1770098 h 6841946"/>
              <a:gd name="connsiteX726" fmla="*/ 3447607 w 6656228"/>
              <a:gd name="connsiteY726" fmla="*/ 1548011 h 6841946"/>
              <a:gd name="connsiteX727" fmla="*/ 3447607 w 6656228"/>
              <a:gd name="connsiteY727" fmla="*/ 1469401 h 6841946"/>
              <a:gd name="connsiteX728" fmla="*/ 3369129 w 6656228"/>
              <a:gd name="connsiteY728" fmla="*/ 1390787 h 6841946"/>
              <a:gd name="connsiteX729" fmla="*/ 3329954 w 6656228"/>
              <a:gd name="connsiteY729" fmla="*/ 1374443 h 6841946"/>
              <a:gd name="connsiteX730" fmla="*/ 3329824 w 6656228"/>
              <a:gd name="connsiteY730" fmla="*/ 1374312 h 6841946"/>
              <a:gd name="connsiteX731" fmla="*/ 3290519 w 6656228"/>
              <a:gd name="connsiteY731" fmla="*/ 1390787 h 6841946"/>
              <a:gd name="connsiteX732" fmla="*/ 3226054 w 6656228"/>
              <a:gd name="connsiteY732" fmla="*/ 1455390 h 6841946"/>
              <a:gd name="connsiteX733" fmla="*/ 3161457 w 6656228"/>
              <a:gd name="connsiteY733" fmla="*/ 1390658 h 6841946"/>
              <a:gd name="connsiteX734" fmla="*/ 3122155 w 6656228"/>
              <a:gd name="connsiteY734" fmla="*/ 1374312 h 6841946"/>
              <a:gd name="connsiteX735" fmla="*/ 5973078 w 6656228"/>
              <a:gd name="connsiteY735" fmla="*/ 1163807 h 6841946"/>
              <a:gd name="connsiteX736" fmla="*/ 6298538 w 6656228"/>
              <a:gd name="connsiteY736" fmla="*/ 1352160 h 6841946"/>
              <a:gd name="connsiteX737" fmla="*/ 6298538 w 6656228"/>
              <a:gd name="connsiteY737" fmla="*/ 1728992 h 6841946"/>
              <a:gd name="connsiteX738" fmla="*/ 5973078 w 6656228"/>
              <a:gd name="connsiteY738" fmla="*/ 1540632 h 6841946"/>
              <a:gd name="connsiteX739" fmla="*/ 5956733 w 6656228"/>
              <a:gd name="connsiteY739" fmla="*/ 1163807 h 6841946"/>
              <a:gd name="connsiteX740" fmla="*/ 5956733 w 6656228"/>
              <a:gd name="connsiteY740" fmla="*/ 1540632 h 6841946"/>
              <a:gd name="connsiteX741" fmla="*/ 5631143 w 6656228"/>
              <a:gd name="connsiteY741" fmla="*/ 1728992 h 6841946"/>
              <a:gd name="connsiteX742" fmla="*/ 5631143 w 6656228"/>
              <a:gd name="connsiteY742" fmla="*/ 1352159 h 6841946"/>
              <a:gd name="connsiteX743" fmla="*/ 3919260 w 6656228"/>
              <a:gd name="connsiteY743" fmla="*/ 1163791 h 6841946"/>
              <a:gd name="connsiteX744" fmla="*/ 4244722 w 6656228"/>
              <a:gd name="connsiteY744" fmla="*/ 1352145 h 6841946"/>
              <a:gd name="connsiteX745" fmla="*/ 4244722 w 6656228"/>
              <a:gd name="connsiteY745" fmla="*/ 1728975 h 6841946"/>
              <a:gd name="connsiteX746" fmla="*/ 3919260 w 6656228"/>
              <a:gd name="connsiteY746" fmla="*/ 1540617 h 6841946"/>
              <a:gd name="connsiteX747" fmla="*/ 3902916 w 6656228"/>
              <a:gd name="connsiteY747" fmla="*/ 1163791 h 6841946"/>
              <a:gd name="connsiteX748" fmla="*/ 3902916 w 6656228"/>
              <a:gd name="connsiteY748" fmla="*/ 1540617 h 6841946"/>
              <a:gd name="connsiteX749" fmla="*/ 3577325 w 6656228"/>
              <a:gd name="connsiteY749" fmla="*/ 1728975 h 6841946"/>
              <a:gd name="connsiteX750" fmla="*/ 3577325 w 6656228"/>
              <a:gd name="connsiteY750" fmla="*/ 1352145 h 6841946"/>
              <a:gd name="connsiteX751" fmla="*/ 1848987 w 6656228"/>
              <a:gd name="connsiteY751" fmla="*/ 1163780 h 6841946"/>
              <a:gd name="connsiteX752" fmla="*/ 1848987 w 6656228"/>
              <a:gd name="connsiteY752" fmla="*/ 1540601 h 6841946"/>
              <a:gd name="connsiteX753" fmla="*/ 1622440 w 6656228"/>
              <a:gd name="connsiteY753" fmla="*/ 1671665 h 6841946"/>
              <a:gd name="connsiteX754" fmla="*/ 1523414 w 6656228"/>
              <a:gd name="connsiteY754" fmla="*/ 1569635 h 6841946"/>
              <a:gd name="connsiteX755" fmla="*/ 1523414 w 6656228"/>
              <a:gd name="connsiteY755" fmla="*/ 1352132 h 6841946"/>
              <a:gd name="connsiteX756" fmla="*/ 1865348 w 6656228"/>
              <a:gd name="connsiteY756" fmla="*/ 1163775 h 6841946"/>
              <a:gd name="connsiteX757" fmla="*/ 2190818 w 6656228"/>
              <a:gd name="connsiteY757" fmla="*/ 1352118 h 6841946"/>
              <a:gd name="connsiteX758" fmla="*/ 2190818 w 6656228"/>
              <a:gd name="connsiteY758" fmla="*/ 1728959 h 6841946"/>
              <a:gd name="connsiteX759" fmla="*/ 2163149 w 6656228"/>
              <a:gd name="connsiteY759" fmla="*/ 1712952 h 6841946"/>
              <a:gd name="connsiteX760" fmla="*/ 1865348 w 6656228"/>
              <a:gd name="connsiteY760" fmla="*/ 1540609 h 6841946"/>
              <a:gd name="connsiteX761" fmla="*/ 6648646 w 6656228"/>
              <a:gd name="connsiteY761" fmla="*/ 1159008 h 6841946"/>
              <a:gd name="connsiteX762" fmla="*/ 6656228 w 6656228"/>
              <a:gd name="connsiteY762" fmla="*/ 1163396 h 6841946"/>
              <a:gd name="connsiteX763" fmla="*/ 6656228 w 6656228"/>
              <a:gd name="connsiteY763" fmla="*/ 1927307 h 6841946"/>
              <a:gd name="connsiteX764" fmla="*/ 6648777 w 6656228"/>
              <a:gd name="connsiteY764" fmla="*/ 1931620 h 6841946"/>
              <a:gd name="connsiteX765" fmla="*/ 6315014 w 6656228"/>
              <a:gd name="connsiteY765" fmla="*/ 1738463 h 6841946"/>
              <a:gd name="connsiteX766" fmla="*/ 6315014 w 6656228"/>
              <a:gd name="connsiteY766" fmla="*/ 1352159 h 6841946"/>
              <a:gd name="connsiteX767" fmla="*/ 4594830 w 6656228"/>
              <a:gd name="connsiteY767" fmla="*/ 1158991 h 6841946"/>
              <a:gd name="connsiteX768" fmla="*/ 4928593 w 6656228"/>
              <a:gd name="connsiteY768" fmla="*/ 1352145 h 6841946"/>
              <a:gd name="connsiteX769" fmla="*/ 4928593 w 6656228"/>
              <a:gd name="connsiteY769" fmla="*/ 1738447 h 6841946"/>
              <a:gd name="connsiteX770" fmla="*/ 4594960 w 6656228"/>
              <a:gd name="connsiteY770" fmla="*/ 1931604 h 6841946"/>
              <a:gd name="connsiteX771" fmla="*/ 4261195 w 6656228"/>
              <a:gd name="connsiteY771" fmla="*/ 1738447 h 6841946"/>
              <a:gd name="connsiteX772" fmla="*/ 4261195 w 6656228"/>
              <a:gd name="connsiteY772" fmla="*/ 1352145 h 6841946"/>
              <a:gd name="connsiteX773" fmla="*/ 2540931 w 6656228"/>
              <a:gd name="connsiteY773" fmla="*/ 1158976 h 6841946"/>
              <a:gd name="connsiteX774" fmla="*/ 2595174 w 6656228"/>
              <a:gd name="connsiteY774" fmla="*/ 1190368 h 6841946"/>
              <a:gd name="connsiteX775" fmla="*/ 2874661 w 6656228"/>
              <a:gd name="connsiteY775" fmla="*/ 1352126 h 6841946"/>
              <a:gd name="connsiteX776" fmla="*/ 2874661 w 6656228"/>
              <a:gd name="connsiteY776" fmla="*/ 1738431 h 6841946"/>
              <a:gd name="connsiteX777" fmla="*/ 2541037 w 6656228"/>
              <a:gd name="connsiteY777" fmla="*/ 1931587 h 6841946"/>
              <a:gd name="connsiteX778" fmla="*/ 2325263 w 6656228"/>
              <a:gd name="connsiteY778" fmla="*/ 1806716 h 6841946"/>
              <a:gd name="connsiteX779" fmla="*/ 2207320 w 6656228"/>
              <a:gd name="connsiteY779" fmla="*/ 1738445 h 6841946"/>
              <a:gd name="connsiteX780" fmla="*/ 2207320 w 6656228"/>
              <a:gd name="connsiteY780" fmla="*/ 1352132 h 6841946"/>
              <a:gd name="connsiteX781" fmla="*/ 5279738 w 6656228"/>
              <a:gd name="connsiteY781" fmla="*/ 1158604 h 6841946"/>
              <a:gd name="connsiteX782" fmla="*/ 5613501 w 6656228"/>
              <a:gd name="connsiteY782" fmla="*/ 1351760 h 6841946"/>
              <a:gd name="connsiteX783" fmla="*/ 5613501 w 6656228"/>
              <a:gd name="connsiteY783" fmla="*/ 1737941 h 6841946"/>
              <a:gd name="connsiteX784" fmla="*/ 5279738 w 6656228"/>
              <a:gd name="connsiteY784" fmla="*/ 1931100 h 6841946"/>
              <a:gd name="connsiteX785" fmla="*/ 4945975 w 6656228"/>
              <a:gd name="connsiteY785" fmla="*/ 1737941 h 6841946"/>
              <a:gd name="connsiteX786" fmla="*/ 4945975 w 6656228"/>
              <a:gd name="connsiteY786" fmla="*/ 1351760 h 6841946"/>
              <a:gd name="connsiteX787" fmla="*/ 3225921 w 6656228"/>
              <a:gd name="connsiteY787" fmla="*/ 1158588 h 6841946"/>
              <a:gd name="connsiteX788" fmla="*/ 3559683 w 6656228"/>
              <a:gd name="connsiteY788" fmla="*/ 1351744 h 6841946"/>
              <a:gd name="connsiteX789" fmla="*/ 3559683 w 6656228"/>
              <a:gd name="connsiteY789" fmla="*/ 1737925 h 6841946"/>
              <a:gd name="connsiteX790" fmla="*/ 3225921 w 6656228"/>
              <a:gd name="connsiteY790" fmla="*/ 1931085 h 6841946"/>
              <a:gd name="connsiteX791" fmla="*/ 2892183 w 6656228"/>
              <a:gd name="connsiteY791" fmla="*/ 1737927 h 6841946"/>
              <a:gd name="connsiteX792" fmla="*/ 2892183 w 6656228"/>
              <a:gd name="connsiteY792" fmla="*/ 1351744 h 6841946"/>
              <a:gd name="connsiteX793" fmla="*/ 1172170 w 6656228"/>
              <a:gd name="connsiteY793" fmla="*/ 1158575 h 6841946"/>
              <a:gd name="connsiteX794" fmla="*/ 1505883 w 6656228"/>
              <a:gd name="connsiteY794" fmla="*/ 1351727 h 6841946"/>
              <a:gd name="connsiteX795" fmla="*/ 1505883 w 6656228"/>
              <a:gd name="connsiteY795" fmla="*/ 1551572 h 6841946"/>
              <a:gd name="connsiteX796" fmla="*/ 1141619 w 6656228"/>
              <a:gd name="connsiteY796" fmla="*/ 1176256 h 6841946"/>
              <a:gd name="connsiteX797" fmla="*/ 1063281 w 6656228"/>
              <a:gd name="connsiteY797" fmla="*/ 1095541 h 6841946"/>
              <a:gd name="connsiteX798" fmla="*/ 1155820 w 6656228"/>
              <a:gd name="connsiteY798" fmla="*/ 1149098 h 6841946"/>
              <a:gd name="connsiteX799" fmla="*/ 1129845 w 6656228"/>
              <a:gd name="connsiteY799" fmla="*/ 1164125 h 6841946"/>
              <a:gd name="connsiteX800" fmla="*/ 4937933 w 6656228"/>
              <a:gd name="connsiteY800" fmla="*/ 960771 h 6841946"/>
              <a:gd name="connsiteX801" fmla="*/ 5263389 w 6656228"/>
              <a:gd name="connsiteY801" fmla="*/ 1149132 h 6841946"/>
              <a:gd name="connsiteX802" fmla="*/ 4937803 w 6656228"/>
              <a:gd name="connsiteY802" fmla="*/ 1337484 h 6841946"/>
              <a:gd name="connsiteX803" fmla="*/ 4612346 w 6656228"/>
              <a:gd name="connsiteY803" fmla="*/ 1149132 h 6841946"/>
              <a:gd name="connsiteX804" fmla="*/ 2884139 w 6656228"/>
              <a:gd name="connsiteY804" fmla="*/ 960756 h 6841946"/>
              <a:gd name="connsiteX805" fmla="*/ 3209574 w 6656228"/>
              <a:gd name="connsiteY805" fmla="*/ 1149115 h 6841946"/>
              <a:gd name="connsiteX806" fmla="*/ 2884008 w 6656228"/>
              <a:gd name="connsiteY806" fmla="*/ 1337471 h 6841946"/>
              <a:gd name="connsiteX807" fmla="*/ 2647598 w 6656228"/>
              <a:gd name="connsiteY807" fmla="*/ 1200643 h 6841946"/>
              <a:gd name="connsiteX808" fmla="*/ 2558577 w 6656228"/>
              <a:gd name="connsiteY808" fmla="*/ 1149117 h 6841946"/>
              <a:gd name="connsiteX809" fmla="*/ 6202937 w 6656228"/>
              <a:gd name="connsiteY809" fmla="*/ 796812 h 6841946"/>
              <a:gd name="connsiteX810" fmla="*/ 6230697 w 6656228"/>
              <a:gd name="connsiteY810" fmla="*/ 808358 h 6841946"/>
              <a:gd name="connsiteX811" fmla="*/ 6295296 w 6656228"/>
              <a:gd name="connsiteY811" fmla="*/ 873089 h 6841946"/>
              <a:gd name="connsiteX812" fmla="*/ 6306841 w 6656228"/>
              <a:gd name="connsiteY812" fmla="*/ 884763 h 6841946"/>
              <a:gd name="connsiteX813" fmla="*/ 6318386 w 6656228"/>
              <a:gd name="connsiteY813" fmla="*/ 873089 h 6841946"/>
              <a:gd name="connsiteX814" fmla="*/ 6382855 w 6656228"/>
              <a:gd name="connsiteY814" fmla="*/ 808358 h 6841946"/>
              <a:gd name="connsiteX815" fmla="*/ 6410615 w 6656228"/>
              <a:gd name="connsiteY815" fmla="*/ 796812 h 6841946"/>
              <a:gd name="connsiteX816" fmla="*/ 6438245 w 6656228"/>
              <a:gd name="connsiteY816" fmla="*/ 808358 h 6841946"/>
              <a:gd name="connsiteX817" fmla="*/ 6516723 w 6656228"/>
              <a:gd name="connsiteY817" fmla="*/ 886967 h 6841946"/>
              <a:gd name="connsiteX818" fmla="*/ 6528266 w 6656228"/>
              <a:gd name="connsiteY818" fmla="*/ 914725 h 6841946"/>
              <a:gd name="connsiteX819" fmla="*/ 6516854 w 6656228"/>
              <a:gd name="connsiteY819" fmla="*/ 942476 h 6841946"/>
              <a:gd name="connsiteX820" fmla="*/ 6306842 w 6656228"/>
              <a:gd name="connsiteY820" fmla="*/ 1152894 h 6841946"/>
              <a:gd name="connsiteX821" fmla="*/ 6096829 w 6656228"/>
              <a:gd name="connsiteY821" fmla="*/ 942476 h 6841946"/>
              <a:gd name="connsiteX822" fmla="*/ 6085352 w 6656228"/>
              <a:gd name="connsiteY822" fmla="*/ 914737 h 6841946"/>
              <a:gd name="connsiteX823" fmla="*/ 6096828 w 6656228"/>
              <a:gd name="connsiteY823" fmla="*/ 887100 h 6841946"/>
              <a:gd name="connsiteX824" fmla="*/ 6175308 w 6656228"/>
              <a:gd name="connsiteY824" fmla="*/ 808358 h 6841946"/>
              <a:gd name="connsiteX825" fmla="*/ 6202937 w 6656228"/>
              <a:gd name="connsiteY825" fmla="*/ 796812 h 6841946"/>
              <a:gd name="connsiteX826" fmla="*/ 4149121 w 6656228"/>
              <a:gd name="connsiteY826" fmla="*/ 796800 h 6841946"/>
              <a:gd name="connsiteX827" fmla="*/ 4176879 w 6656228"/>
              <a:gd name="connsiteY827" fmla="*/ 808345 h 6841946"/>
              <a:gd name="connsiteX828" fmla="*/ 4241479 w 6656228"/>
              <a:gd name="connsiteY828" fmla="*/ 873075 h 6841946"/>
              <a:gd name="connsiteX829" fmla="*/ 4253023 w 6656228"/>
              <a:gd name="connsiteY829" fmla="*/ 884750 h 6841946"/>
              <a:gd name="connsiteX830" fmla="*/ 4264568 w 6656228"/>
              <a:gd name="connsiteY830" fmla="*/ 873075 h 6841946"/>
              <a:gd name="connsiteX831" fmla="*/ 4329039 w 6656228"/>
              <a:gd name="connsiteY831" fmla="*/ 808345 h 6841946"/>
              <a:gd name="connsiteX832" fmla="*/ 4356796 w 6656228"/>
              <a:gd name="connsiteY832" fmla="*/ 796800 h 6841946"/>
              <a:gd name="connsiteX833" fmla="*/ 4384426 w 6656228"/>
              <a:gd name="connsiteY833" fmla="*/ 808345 h 6841946"/>
              <a:gd name="connsiteX834" fmla="*/ 4462907 w 6656228"/>
              <a:gd name="connsiteY834" fmla="*/ 886956 h 6841946"/>
              <a:gd name="connsiteX835" fmla="*/ 4474449 w 6656228"/>
              <a:gd name="connsiteY835" fmla="*/ 914710 h 6841946"/>
              <a:gd name="connsiteX836" fmla="*/ 4463037 w 6656228"/>
              <a:gd name="connsiteY836" fmla="*/ 942463 h 6841946"/>
              <a:gd name="connsiteX837" fmla="*/ 4253023 w 6656228"/>
              <a:gd name="connsiteY837" fmla="*/ 1152879 h 6841946"/>
              <a:gd name="connsiteX838" fmla="*/ 4043011 w 6656228"/>
              <a:gd name="connsiteY838" fmla="*/ 942463 h 6841946"/>
              <a:gd name="connsiteX839" fmla="*/ 4031533 w 6656228"/>
              <a:gd name="connsiteY839" fmla="*/ 914725 h 6841946"/>
              <a:gd name="connsiteX840" fmla="*/ 4043011 w 6656228"/>
              <a:gd name="connsiteY840" fmla="*/ 887085 h 6841946"/>
              <a:gd name="connsiteX841" fmla="*/ 4121491 w 6656228"/>
              <a:gd name="connsiteY841" fmla="*/ 808345 h 6841946"/>
              <a:gd name="connsiteX842" fmla="*/ 4149121 w 6656228"/>
              <a:gd name="connsiteY842" fmla="*/ 796800 h 6841946"/>
              <a:gd name="connsiteX843" fmla="*/ 2095208 w 6656228"/>
              <a:gd name="connsiteY843" fmla="*/ 796785 h 6841946"/>
              <a:gd name="connsiteX844" fmla="*/ 2122976 w 6656228"/>
              <a:gd name="connsiteY844" fmla="*/ 808330 h 6841946"/>
              <a:gd name="connsiteX845" fmla="*/ 2142646 w 6656228"/>
              <a:gd name="connsiteY845" fmla="*/ 828037 h 6841946"/>
              <a:gd name="connsiteX846" fmla="*/ 2187573 w 6656228"/>
              <a:gd name="connsiteY846" fmla="*/ 873049 h 6841946"/>
              <a:gd name="connsiteX847" fmla="*/ 2199128 w 6656228"/>
              <a:gd name="connsiteY847" fmla="*/ 884723 h 6841946"/>
              <a:gd name="connsiteX848" fmla="*/ 2199128 w 6656228"/>
              <a:gd name="connsiteY848" fmla="*/ 884718 h 6841946"/>
              <a:gd name="connsiteX849" fmla="*/ 2199141 w 6656228"/>
              <a:gd name="connsiteY849" fmla="*/ 884737 h 6841946"/>
              <a:gd name="connsiteX850" fmla="*/ 2210693 w 6656228"/>
              <a:gd name="connsiteY850" fmla="*/ 873062 h 6841946"/>
              <a:gd name="connsiteX851" fmla="*/ 2275136 w 6656228"/>
              <a:gd name="connsiteY851" fmla="*/ 808330 h 6841946"/>
              <a:gd name="connsiteX852" fmla="*/ 2302886 w 6656228"/>
              <a:gd name="connsiteY852" fmla="*/ 796785 h 6841946"/>
              <a:gd name="connsiteX853" fmla="*/ 2330532 w 6656228"/>
              <a:gd name="connsiteY853" fmla="*/ 808327 h 6841946"/>
              <a:gd name="connsiteX854" fmla="*/ 2403374 w 6656228"/>
              <a:gd name="connsiteY854" fmla="*/ 881304 h 6841946"/>
              <a:gd name="connsiteX855" fmla="*/ 2408991 w 6656228"/>
              <a:gd name="connsiteY855" fmla="*/ 886927 h 6841946"/>
              <a:gd name="connsiteX856" fmla="*/ 2420524 w 6656228"/>
              <a:gd name="connsiteY856" fmla="*/ 914688 h 6841946"/>
              <a:gd name="connsiteX857" fmla="*/ 2409120 w 6656228"/>
              <a:gd name="connsiteY857" fmla="*/ 942448 h 6841946"/>
              <a:gd name="connsiteX858" fmla="*/ 2199128 w 6656228"/>
              <a:gd name="connsiteY858" fmla="*/ 1152860 h 6841946"/>
              <a:gd name="connsiteX859" fmla="*/ 2083653 w 6656228"/>
              <a:gd name="connsiteY859" fmla="*/ 1037194 h 6841946"/>
              <a:gd name="connsiteX860" fmla="*/ 1989089 w 6656228"/>
              <a:gd name="connsiteY860" fmla="*/ 942452 h 6841946"/>
              <a:gd name="connsiteX861" fmla="*/ 1977611 w 6656228"/>
              <a:gd name="connsiteY861" fmla="*/ 914718 h 6841946"/>
              <a:gd name="connsiteX862" fmla="*/ 1989089 w 6656228"/>
              <a:gd name="connsiteY862" fmla="*/ 887070 h 6841946"/>
              <a:gd name="connsiteX863" fmla="*/ 2067563 w 6656228"/>
              <a:gd name="connsiteY863" fmla="*/ 808330 h 6841946"/>
              <a:gd name="connsiteX864" fmla="*/ 2095208 w 6656228"/>
              <a:gd name="connsiteY864" fmla="*/ 796785 h 6841946"/>
              <a:gd name="connsiteX865" fmla="*/ 6202938 w 6656228"/>
              <a:gd name="connsiteY865" fmla="*/ 780324 h 6841946"/>
              <a:gd name="connsiteX866" fmla="*/ 6163763 w 6656228"/>
              <a:gd name="connsiteY866" fmla="*/ 796669 h 6841946"/>
              <a:gd name="connsiteX867" fmla="*/ 6085284 w 6656228"/>
              <a:gd name="connsiteY867" fmla="*/ 875411 h 6841946"/>
              <a:gd name="connsiteX868" fmla="*/ 6069037 w 6656228"/>
              <a:gd name="connsiteY868" fmla="*/ 914717 h 6841946"/>
              <a:gd name="connsiteX869" fmla="*/ 6069039 w 6656228"/>
              <a:gd name="connsiteY869" fmla="*/ 914722 h 6841946"/>
              <a:gd name="connsiteX870" fmla="*/ 6069036 w 6656228"/>
              <a:gd name="connsiteY870" fmla="*/ 914730 h 6841946"/>
              <a:gd name="connsiteX871" fmla="*/ 6085283 w 6656228"/>
              <a:gd name="connsiteY871" fmla="*/ 954035 h 6841946"/>
              <a:gd name="connsiteX872" fmla="*/ 6306841 w 6656228"/>
              <a:gd name="connsiteY872" fmla="*/ 1176130 h 6841946"/>
              <a:gd name="connsiteX873" fmla="*/ 6528398 w 6656228"/>
              <a:gd name="connsiteY873" fmla="*/ 954035 h 6841946"/>
              <a:gd name="connsiteX874" fmla="*/ 6544645 w 6656228"/>
              <a:gd name="connsiteY874" fmla="*/ 914730 h 6841946"/>
              <a:gd name="connsiteX875" fmla="*/ 6544643 w 6656228"/>
              <a:gd name="connsiteY875" fmla="*/ 914725 h 6841946"/>
              <a:gd name="connsiteX876" fmla="*/ 6544646 w 6656228"/>
              <a:gd name="connsiteY876" fmla="*/ 914717 h 6841946"/>
              <a:gd name="connsiteX877" fmla="*/ 6528399 w 6656228"/>
              <a:gd name="connsiteY877" fmla="*/ 875411 h 6841946"/>
              <a:gd name="connsiteX878" fmla="*/ 6449921 w 6656228"/>
              <a:gd name="connsiteY878" fmla="*/ 796800 h 6841946"/>
              <a:gd name="connsiteX879" fmla="*/ 6410746 w 6656228"/>
              <a:gd name="connsiteY879" fmla="*/ 780454 h 6841946"/>
              <a:gd name="connsiteX880" fmla="*/ 6410616 w 6656228"/>
              <a:gd name="connsiteY880" fmla="*/ 780324 h 6841946"/>
              <a:gd name="connsiteX881" fmla="*/ 6371311 w 6656228"/>
              <a:gd name="connsiteY881" fmla="*/ 796800 h 6841946"/>
              <a:gd name="connsiteX882" fmla="*/ 6306842 w 6656228"/>
              <a:gd name="connsiteY882" fmla="*/ 861401 h 6841946"/>
              <a:gd name="connsiteX883" fmla="*/ 6242243 w 6656228"/>
              <a:gd name="connsiteY883" fmla="*/ 796669 h 6841946"/>
              <a:gd name="connsiteX884" fmla="*/ 6202938 w 6656228"/>
              <a:gd name="connsiteY884" fmla="*/ 780324 h 6841946"/>
              <a:gd name="connsiteX885" fmla="*/ 4149121 w 6656228"/>
              <a:gd name="connsiteY885" fmla="*/ 780310 h 6841946"/>
              <a:gd name="connsiteX886" fmla="*/ 4109946 w 6656228"/>
              <a:gd name="connsiteY886" fmla="*/ 796656 h 6841946"/>
              <a:gd name="connsiteX887" fmla="*/ 4031466 w 6656228"/>
              <a:gd name="connsiteY887" fmla="*/ 875397 h 6841946"/>
              <a:gd name="connsiteX888" fmla="*/ 4015219 w 6656228"/>
              <a:gd name="connsiteY888" fmla="*/ 914703 h 6841946"/>
              <a:gd name="connsiteX889" fmla="*/ 4015221 w 6656228"/>
              <a:gd name="connsiteY889" fmla="*/ 914710 h 6841946"/>
              <a:gd name="connsiteX890" fmla="*/ 4015219 w 6656228"/>
              <a:gd name="connsiteY890" fmla="*/ 914717 h 6841946"/>
              <a:gd name="connsiteX891" fmla="*/ 4031466 w 6656228"/>
              <a:gd name="connsiteY891" fmla="*/ 954021 h 6841946"/>
              <a:gd name="connsiteX892" fmla="*/ 4253023 w 6656228"/>
              <a:gd name="connsiteY892" fmla="*/ 1176113 h 6841946"/>
              <a:gd name="connsiteX893" fmla="*/ 4474582 w 6656228"/>
              <a:gd name="connsiteY893" fmla="*/ 954021 h 6841946"/>
              <a:gd name="connsiteX894" fmla="*/ 4490828 w 6656228"/>
              <a:gd name="connsiteY894" fmla="*/ 914717 h 6841946"/>
              <a:gd name="connsiteX895" fmla="*/ 4490825 w 6656228"/>
              <a:gd name="connsiteY895" fmla="*/ 914710 h 6841946"/>
              <a:gd name="connsiteX896" fmla="*/ 4490828 w 6656228"/>
              <a:gd name="connsiteY896" fmla="*/ 914703 h 6841946"/>
              <a:gd name="connsiteX897" fmla="*/ 4474582 w 6656228"/>
              <a:gd name="connsiteY897" fmla="*/ 875397 h 6841946"/>
              <a:gd name="connsiteX898" fmla="*/ 4396102 w 6656228"/>
              <a:gd name="connsiteY898" fmla="*/ 796785 h 6841946"/>
              <a:gd name="connsiteX899" fmla="*/ 4356927 w 6656228"/>
              <a:gd name="connsiteY899" fmla="*/ 780440 h 6841946"/>
              <a:gd name="connsiteX900" fmla="*/ 4356796 w 6656228"/>
              <a:gd name="connsiteY900" fmla="*/ 780310 h 6841946"/>
              <a:gd name="connsiteX901" fmla="*/ 4317494 w 6656228"/>
              <a:gd name="connsiteY901" fmla="*/ 796785 h 6841946"/>
              <a:gd name="connsiteX902" fmla="*/ 4253023 w 6656228"/>
              <a:gd name="connsiteY902" fmla="*/ 861387 h 6841946"/>
              <a:gd name="connsiteX903" fmla="*/ 4188424 w 6656228"/>
              <a:gd name="connsiteY903" fmla="*/ 796656 h 6841946"/>
              <a:gd name="connsiteX904" fmla="*/ 4149121 w 6656228"/>
              <a:gd name="connsiteY904" fmla="*/ 780310 h 6841946"/>
              <a:gd name="connsiteX905" fmla="*/ 2095199 w 6656228"/>
              <a:gd name="connsiteY905" fmla="*/ 780296 h 6841946"/>
              <a:gd name="connsiteX906" fmla="*/ 2056018 w 6656228"/>
              <a:gd name="connsiteY906" fmla="*/ 796641 h 6841946"/>
              <a:gd name="connsiteX907" fmla="*/ 1977542 w 6656228"/>
              <a:gd name="connsiteY907" fmla="*/ 875382 h 6841946"/>
              <a:gd name="connsiteX908" fmla="*/ 1977542 w 6656228"/>
              <a:gd name="connsiteY908" fmla="*/ 953994 h 6841946"/>
              <a:gd name="connsiteX909" fmla="*/ 1977550 w 6656228"/>
              <a:gd name="connsiteY909" fmla="*/ 954001 h 6841946"/>
              <a:gd name="connsiteX910" fmla="*/ 1977556 w 6656228"/>
              <a:gd name="connsiteY910" fmla="*/ 954008 h 6841946"/>
              <a:gd name="connsiteX911" fmla="*/ 2068617 w 6656228"/>
              <a:gd name="connsiteY911" fmla="*/ 1045292 h 6841946"/>
              <a:gd name="connsiteX912" fmla="*/ 2199128 w 6656228"/>
              <a:gd name="connsiteY912" fmla="*/ 1176084 h 6841946"/>
              <a:gd name="connsiteX913" fmla="*/ 2199128 w 6656228"/>
              <a:gd name="connsiteY913" fmla="*/ 1176081 h 6841946"/>
              <a:gd name="connsiteX914" fmla="*/ 2199141 w 6656228"/>
              <a:gd name="connsiteY914" fmla="*/ 1176099 h 6841946"/>
              <a:gd name="connsiteX915" fmla="*/ 2420664 w 6656228"/>
              <a:gd name="connsiteY915" fmla="*/ 954008 h 6841946"/>
              <a:gd name="connsiteX916" fmla="*/ 2420664 w 6656228"/>
              <a:gd name="connsiteY916" fmla="*/ 875395 h 6841946"/>
              <a:gd name="connsiteX917" fmla="*/ 2420658 w 6656228"/>
              <a:gd name="connsiteY917" fmla="*/ 875386 h 6841946"/>
              <a:gd name="connsiteX918" fmla="*/ 2420658 w 6656228"/>
              <a:gd name="connsiteY918" fmla="*/ 875382 h 6841946"/>
              <a:gd name="connsiteX919" fmla="*/ 2342174 w 6656228"/>
              <a:gd name="connsiteY919" fmla="*/ 796772 h 6841946"/>
              <a:gd name="connsiteX920" fmla="*/ 2303003 w 6656228"/>
              <a:gd name="connsiteY920" fmla="*/ 780426 h 6841946"/>
              <a:gd name="connsiteX921" fmla="*/ 2302880 w 6656228"/>
              <a:gd name="connsiteY921" fmla="*/ 780296 h 6841946"/>
              <a:gd name="connsiteX922" fmla="*/ 2263581 w 6656228"/>
              <a:gd name="connsiteY922" fmla="*/ 796772 h 6841946"/>
              <a:gd name="connsiteX923" fmla="*/ 2199128 w 6656228"/>
              <a:gd name="connsiteY923" fmla="*/ 861369 h 6841946"/>
              <a:gd name="connsiteX924" fmla="*/ 2144185 w 6656228"/>
              <a:gd name="connsiteY924" fmla="*/ 806336 h 6841946"/>
              <a:gd name="connsiteX925" fmla="*/ 2134510 w 6656228"/>
              <a:gd name="connsiteY925" fmla="*/ 796641 h 6841946"/>
              <a:gd name="connsiteX926" fmla="*/ 2095199 w 6656228"/>
              <a:gd name="connsiteY926" fmla="*/ 780296 h 6841946"/>
              <a:gd name="connsiteX927" fmla="*/ 4946105 w 6656228"/>
              <a:gd name="connsiteY927" fmla="*/ 569788 h 6841946"/>
              <a:gd name="connsiteX928" fmla="*/ 5271566 w 6656228"/>
              <a:gd name="connsiteY928" fmla="*/ 758143 h 6841946"/>
              <a:gd name="connsiteX929" fmla="*/ 5271566 w 6656228"/>
              <a:gd name="connsiteY929" fmla="*/ 1134990 h 6841946"/>
              <a:gd name="connsiteX930" fmla="*/ 4946105 w 6656228"/>
              <a:gd name="connsiteY930" fmla="*/ 946626 h 6841946"/>
              <a:gd name="connsiteX931" fmla="*/ 4929760 w 6656228"/>
              <a:gd name="connsiteY931" fmla="*/ 569788 h 6841946"/>
              <a:gd name="connsiteX932" fmla="*/ 4929760 w 6656228"/>
              <a:gd name="connsiteY932" fmla="*/ 946626 h 6841946"/>
              <a:gd name="connsiteX933" fmla="*/ 4604170 w 6656228"/>
              <a:gd name="connsiteY933" fmla="*/ 1134990 h 6841946"/>
              <a:gd name="connsiteX934" fmla="*/ 4604170 w 6656228"/>
              <a:gd name="connsiteY934" fmla="*/ 758143 h 6841946"/>
              <a:gd name="connsiteX935" fmla="*/ 2892312 w 6656228"/>
              <a:gd name="connsiteY935" fmla="*/ 569774 h 6841946"/>
              <a:gd name="connsiteX936" fmla="*/ 3217751 w 6656228"/>
              <a:gd name="connsiteY936" fmla="*/ 758130 h 6841946"/>
              <a:gd name="connsiteX937" fmla="*/ 3217751 w 6656228"/>
              <a:gd name="connsiteY937" fmla="*/ 1134975 h 6841946"/>
              <a:gd name="connsiteX938" fmla="*/ 2892312 w 6656228"/>
              <a:gd name="connsiteY938" fmla="*/ 946613 h 6841946"/>
              <a:gd name="connsiteX939" fmla="*/ 2875968 w 6656228"/>
              <a:gd name="connsiteY939" fmla="*/ 569774 h 6841946"/>
              <a:gd name="connsiteX940" fmla="*/ 2875968 w 6656228"/>
              <a:gd name="connsiteY940" fmla="*/ 946611 h 6841946"/>
              <a:gd name="connsiteX941" fmla="*/ 2550401 w 6656228"/>
              <a:gd name="connsiteY941" fmla="*/ 1134972 h 6841946"/>
              <a:gd name="connsiteX942" fmla="*/ 2550401 w 6656228"/>
              <a:gd name="connsiteY942" fmla="*/ 758130 h 6841946"/>
              <a:gd name="connsiteX943" fmla="*/ 822191 w 6656228"/>
              <a:gd name="connsiteY943" fmla="*/ 569764 h 6841946"/>
              <a:gd name="connsiteX944" fmla="*/ 822191 w 6656228"/>
              <a:gd name="connsiteY944" fmla="*/ 847137 h 6841946"/>
              <a:gd name="connsiteX945" fmla="*/ 649788 w 6656228"/>
              <a:gd name="connsiteY945" fmla="*/ 669502 h 6841946"/>
              <a:gd name="connsiteX946" fmla="*/ 838544 w 6656228"/>
              <a:gd name="connsiteY946" fmla="*/ 569759 h 6841946"/>
              <a:gd name="connsiteX947" fmla="*/ 1163992 w 6656228"/>
              <a:gd name="connsiteY947" fmla="*/ 758112 h 6841946"/>
              <a:gd name="connsiteX948" fmla="*/ 1163992 w 6656228"/>
              <a:gd name="connsiteY948" fmla="*/ 1134957 h 6841946"/>
              <a:gd name="connsiteX949" fmla="*/ 1021492 w 6656228"/>
              <a:gd name="connsiteY949" fmla="*/ 1052484 h 6841946"/>
              <a:gd name="connsiteX950" fmla="*/ 838544 w 6656228"/>
              <a:gd name="connsiteY950" fmla="*/ 863986 h 6841946"/>
              <a:gd name="connsiteX951" fmla="*/ 5621673 w 6656228"/>
              <a:gd name="connsiteY951" fmla="*/ 564988 h 6841946"/>
              <a:gd name="connsiteX952" fmla="*/ 5955437 w 6656228"/>
              <a:gd name="connsiteY952" fmla="*/ 758143 h 6841946"/>
              <a:gd name="connsiteX953" fmla="*/ 5955437 w 6656228"/>
              <a:gd name="connsiteY953" fmla="*/ 1144459 h 6841946"/>
              <a:gd name="connsiteX954" fmla="*/ 5621803 w 6656228"/>
              <a:gd name="connsiteY954" fmla="*/ 1337616 h 6841946"/>
              <a:gd name="connsiteX955" fmla="*/ 5288040 w 6656228"/>
              <a:gd name="connsiteY955" fmla="*/ 1144459 h 6841946"/>
              <a:gd name="connsiteX956" fmla="*/ 5288040 w 6656228"/>
              <a:gd name="connsiteY956" fmla="*/ 758143 h 6841946"/>
              <a:gd name="connsiteX957" fmla="*/ 3567855 w 6656228"/>
              <a:gd name="connsiteY957" fmla="*/ 564974 h 6841946"/>
              <a:gd name="connsiteX958" fmla="*/ 3901618 w 6656228"/>
              <a:gd name="connsiteY958" fmla="*/ 758130 h 6841946"/>
              <a:gd name="connsiteX959" fmla="*/ 3901618 w 6656228"/>
              <a:gd name="connsiteY959" fmla="*/ 1144443 h 6841946"/>
              <a:gd name="connsiteX960" fmla="*/ 3567985 w 6656228"/>
              <a:gd name="connsiteY960" fmla="*/ 1337600 h 6841946"/>
              <a:gd name="connsiteX961" fmla="*/ 3234224 w 6656228"/>
              <a:gd name="connsiteY961" fmla="*/ 1144443 h 6841946"/>
              <a:gd name="connsiteX962" fmla="*/ 3234224 w 6656228"/>
              <a:gd name="connsiteY962" fmla="*/ 758130 h 6841946"/>
              <a:gd name="connsiteX963" fmla="*/ 1514065 w 6656228"/>
              <a:gd name="connsiteY963" fmla="*/ 564960 h 6841946"/>
              <a:gd name="connsiteX964" fmla="*/ 1847822 w 6656228"/>
              <a:gd name="connsiteY964" fmla="*/ 758114 h 6841946"/>
              <a:gd name="connsiteX965" fmla="*/ 1847822 w 6656228"/>
              <a:gd name="connsiteY965" fmla="*/ 1144429 h 6841946"/>
              <a:gd name="connsiteX966" fmla="*/ 1514191 w 6656228"/>
              <a:gd name="connsiteY966" fmla="*/ 1337586 h 6841946"/>
              <a:gd name="connsiteX967" fmla="*/ 1346858 w 6656228"/>
              <a:gd name="connsiteY967" fmla="*/ 1240748 h 6841946"/>
              <a:gd name="connsiteX968" fmla="*/ 1180472 w 6656228"/>
              <a:gd name="connsiteY968" fmla="*/ 1144432 h 6841946"/>
              <a:gd name="connsiteX969" fmla="*/ 1180472 w 6656228"/>
              <a:gd name="connsiteY969" fmla="*/ 758117 h 6841946"/>
              <a:gd name="connsiteX970" fmla="*/ 6306711 w 6656228"/>
              <a:gd name="connsiteY970" fmla="*/ 564614 h 6841946"/>
              <a:gd name="connsiteX971" fmla="*/ 6640474 w 6656228"/>
              <a:gd name="connsiteY971" fmla="*/ 757768 h 6841946"/>
              <a:gd name="connsiteX972" fmla="*/ 6640474 w 6656228"/>
              <a:gd name="connsiteY972" fmla="*/ 1143944 h 6841946"/>
              <a:gd name="connsiteX973" fmla="*/ 6306711 w 6656228"/>
              <a:gd name="connsiteY973" fmla="*/ 1337098 h 6841946"/>
              <a:gd name="connsiteX974" fmla="*/ 5972948 w 6656228"/>
              <a:gd name="connsiteY974" fmla="*/ 1143941 h 6841946"/>
              <a:gd name="connsiteX975" fmla="*/ 5972948 w 6656228"/>
              <a:gd name="connsiteY975" fmla="*/ 757768 h 6841946"/>
              <a:gd name="connsiteX976" fmla="*/ 4252895 w 6656228"/>
              <a:gd name="connsiteY976" fmla="*/ 564599 h 6841946"/>
              <a:gd name="connsiteX977" fmla="*/ 4586658 w 6656228"/>
              <a:gd name="connsiteY977" fmla="*/ 757755 h 6841946"/>
              <a:gd name="connsiteX978" fmla="*/ 4586658 w 6656228"/>
              <a:gd name="connsiteY978" fmla="*/ 1143928 h 6841946"/>
              <a:gd name="connsiteX979" fmla="*/ 4252895 w 6656228"/>
              <a:gd name="connsiteY979" fmla="*/ 1337082 h 6841946"/>
              <a:gd name="connsiteX980" fmla="*/ 3919130 w 6656228"/>
              <a:gd name="connsiteY980" fmla="*/ 1143928 h 6841946"/>
              <a:gd name="connsiteX981" fmla="*/ 3919130 w 6656228"/>
              <a:gd name="connsiteY981" fmla="*/ 757755 h 6841946"/>
              <a:gd name="connsiteX982" fmla="*/ 2199017 w 6656228"/>
              <a:gd name="connsiteY982" fmla="*/ 564585 h 6841946"/>
              <a:gd name="connsiteX983" fmla="*/ 2286932 w 6656228"/>
              <a:gd name="connsiteY983" fmla="*/ 615477 h 6841946"/>
              <a:gd name="connsiteX984" fmla="*/ 2532746 w 6656228"/>
              <a:gd name="connsiteY984" fmla="*/ 757730 h 6841946"/>
              <a:gd name="connsiteX985" fmla="*/ 2532746 w 6656228"/>
              <a:gd name="connsiteY985" fmla="*/ 1143911 h 6841946"/>
              <a:gd name="connsiteX986" fmla="*/ 2198994 w 6656228"/>
              <a:gd name="connsiteY986" fmla="*/ 1337066 h 6841946"/>
              <a:gd name="connsiteX987" fmla="*/ 1865228 w 6656228"/>
              <a:gd name="connsiteY987" fmla="*/ 1143920 h 6841946"/>
              <a:gd name="connsiteX988" fmla="*/ 1865228 w 6656228"/>
              <a:gd name="connsiteY988" fmla="*/ 757740 h 6841946"/>
              <a:gd name="connsiteX989" fmla="*/ 5964905 w 6656228"/>
              <a:gd name="connsiteY989" fmla="*/ 366789 h 6841946"/>
              <a:gd name="connsiteX990" fmla="*/ 6290353 w 6656228"/>
              <a:gd name="connsiteY990" fmla="*/ 555135 h 6841946"/>
              <a:gd name="connsiteX991" fmla="*/ 5964776 w 6656228"/>
              <a:gd name="connsiteY991" fmla="*/ 743485 h 6841946"/>
              <a:gd name="connsiteX992" fmla="*/ 5639327 w 6656228"/>
              <a:gd name="connsiteY992" fmla="*/ 555135 h 6841946"/>
              <a:gd name="connsiteX993" fmla="*/ 3911088 w 6656228"/>
              <a:gd name="connsiteY993" fmla="*/ 366774 h 6841946"/>
              <a:gd name="connsiteX994" fmla="*/ 4236536 w 6656228"/>
              <a:gd name="connsiteY994" fmla="*/ 555121 h 6841946"/>
              <a:gd name="connsiteX995" fmla="*/ 3910958 w 6656228"/>
              <a:gd name="connsiteY995" fmla="*/ 743469 h 6841946"/>
              <a:gd name="connsiteX996" fmla="*/ 3585511 w 6656228"/>
              <a:gd name="connsiteY996" fmla="*/ 555121 h 6841946"/>
              <a:gd name="connsiteX997" fmla="*/ 1857173 w 6656228"/>
              <a:gd name="connsiteY997" fmla="*/ 366759 h 6841946"/>
              <a:gd name="connsiteX998" fmla="*/ 2182638 w 6656228"/>
              <a:gd name="connsiteY998" fmla="*/ 555101 h 6841946"/>
              <a:gd name="connsiteX999" fmla="*/ 1857039 w 6656228"/>
              <a:gd name="connsiteY999" fmla="*/ 743455 h 6841946"/>
              <a:gd name="connsiteX1000" fmla="*/ 1531594 w 6656228"/>
              <a:gd name="connsiteY1000" fmla="*/ 555110 h 6841946"/>
              <a:gd name="connsiteX1001" fmla="*/ 5175964 w 6656228"/>
              <a:gd name="connsiteY1001" fmla="*/ 202936 h 6841946"/>
              <a:gd name="connsiteX1002" fmla="*/ 5203724 w 6656228"/>
              <a:gd name="connsiteY1002" fmla="*/ 214481 h 6841946"/>
              <a:gd name="connsiteX1003" fmla="*/ 5268323 w 6656228"/>
              <a:gd name="connsiteY1003" fmla="*/ 279212 h 6841946"/>
              <a:gd name="connsiteX1004" fmla="*/ 5279868 w 6656228"/>
              <a:gd name="connsiteY1004" fmla="*/ 290888 h 6841946"/>
              <a:gd name="connsiteX1005" fmla="*/ 5291413 w 6656228"/>
              <a:gd name="connsiteY1005" fmla="*/ 279212 h 6841946"/>
              <a:gd name="connsiteX1006" fmla="*/ 5355882 w 6656228"/>
              <a:gd name="connsiteY1006" fmla="*/ 214481 h 6841946"/>
              <a:gd name="connsiteX1007" fmla="*/ 5383641 w 6656228"/>
              <a:gd name="connsiteY1007" fmla="*/ 202936 h 6841946"/>
              <a:gd name="connsiteX1008" fmla="*/ 5411271 w 6656228"/>
              <a:gd name="connsiteY1008" fmla="*/ 214481 h 6841946"/>
              <a:gd name="connsiteX1009" fmla="*/ 5489752 w 6656228"/>
              <a:gd name="connsiteY1009" fmla="*/ 293091 h 6841946"/>
              <a:gd name="connsiteX1010" fmla="*/ 5501297 w 6656228"/>
              <a:gd name="connsiteY1010" fmla="*/ 320853 h 6841946"/>
              <a:gd name="connsiteX1011" fmla="*/ 5489882 w 6656228"/>
              <a:gd name="connsiteY1011" fmla="*/ 348613 h 6841946"/>
              <a:gd name="connsiteX1012" fmla="*/ 5279868 w 6656228"/>
              <a:gd name="connsiteY1012" fmla="*/ 559021 h 6841946"/>
              <a:gd name="connsiteX1013" fmla="*/ 5069856 w 6656228"/>
              <a:gd name="connsiteY1013" fmla="*/ 348613 h 6841946"/>
              <a:gd name="connsiteX1014" fmla="*/ 5069856 w 6656228"/>
              <a:gd name="connsiteY1014" fmla="*/ 293223 h 6841946"/>
              <a:gd name="connsiteX1015" fmla="*/ 5148334 w 6656228"/>
              <a:gd name="connsiteY1015" fmla="*/ 214481 h 6841946"/>
              <a:gd name="connsiteX1016" fmla="*/ 5175964 w 6656228"/>
              <a:gd name="connsiteY1016" fmla="*/ 202936 h 6841946"/>
              <a:gd name="connsiteX1017" fmla="*/ 3122156 w 6656228"/>
              <a:gd name="connsiteY1017" fmla="*/ 202922 h 6841946"/>
              <a:gd name="connsiteX1018" fmla="*/ 3149914 w 6656228"/>
              <a:gd name="connsiteY1018" fmla="*/ 214466 h 6841946"/>
              <a:gd name="connsiteX1019" fmla="*/ 3214509 w 6656228"/>
              <a:gd name="connsiteY1019" fmla="*/ 279197 h 6841946"/>
              <a:gd name="connsiteX1020" fmla="*/ 3226054 w 6656228"/>
              <a:gd name="connsiteY1020" fmla="*/ 290872 h 6841946"/>
              <a:gd name="connsiteX1021" fmla="*/ 3237595 w 6656228"/>
              <a:gd name="connsiteY1021" fmla="*/ 279197 h 6841946"/>
              <a:gd name="connsiteX1022" fmla="*/ 3302064 w 6656228"/>
              <a:gd name="connsiteY1022" fmla="*/ 214466 h 6841946"/>
              <a:gd name="connsiteX1023" fmla="*/ 3329824 w 6656228"/>
              <a:gd name="connsiteY1023" fmla="*/ 202922 h 6841946"/>
              <a:gd name="connsiteX1024" fmla="*/ 3357454 w 6656228"/>
              <a:gd name="connsiteY1024" fmla="*/ 214466 h 6841946"/>
              <a:gd name="connsiteX1025" fmla="*/ 3435933 w 6656228"/>
              <a:gd name="connsiteY1025" fmla="*/ 293078 h 6841946"/>
              <a:gd name="connsiteX1026" fmla="*/ 3447478 w 6656228"/>
              <a:gd name="connsiteY1026" fmla="*/ 320838 h 6841946"/>
              <a:gd name="connsiteX1027" fmla="*/ 3436062 w 6656228"/>
              <a:gd name="connsiteY1027" fmla="*/ 348599 h 6841946"/>
              <a:gd name="connsiteX1028" fmla="*/ 3226054 w 6656228"/>
              <a:gd name="connsiteY1028" fmla="*/ 559007 h 6841946"/>
              <a:gd name="connsiteX1029" fmla="*/ 3016052 w 6656228"/>
              <a:gd name="connsiteY1029" fmla="*/ 348599 h 6841946"/>
              <a:gd name="connsiteX1030" fmla="*/ 3016052 w 6656228"/>
              <a:gd name="connsiteY1030" fmla="*/ 293208 h 6841946"/>
              <a:gd name="connsiteX1031" fmla="*/ 3094530 w 6656228"/>
              <a:gd name="connsiteY1031" fmla="*/ 214466 h 6841946"/>
              <a:gd name="connsiteX1032" fmla="*/ 3122156 w 6656228"/>
              <a:gd name="connsiteY1032" fmla="*/ 202922 h 6841946"/>
              <a:gd name="connsiteX1033" fmla="*/ 1068395 w 6656228"/>
              <a:gd name="connsiteY1033" fmla="*/ 202907 h 6841946"/>
              <a:gd name="connsiteX1034" fmla="*/ 1096153 w 6656228"/>
              <a:gd name="connsiteY1034" fmla="*/ 214451 h 6841946"/>
              <a:gd name="connsiteX1035" fmla="*/ 1160756 w 6656228"/>
              <a:gd name="connsiteY1035" fmla="*/ 279184 h 6841946"/>
              <a:gd name="connsiteX1036" fmla="*/ 1172301 w 6656228"/>
              <a:gd name="connsiteY1036" fmla="*/ 290858 h 6841946"/>
              <a:gd name="connsiteX1037" fmla="*/ 1183847 w 6656228"/>
              <a:gd name="connsiteY1037" fmla="*/ 279184 h 6841946"/>
              <a:gd name="connsiteX1038" fmla="*/ 1248317 w 6656228"/>
              <a:gd name="connsiteY1038" fmla="*/ 214451 h 6841946"/>
              <a:gd name="connsiteX1039" fmla="*/ 1276079 w 6656228"/>
              <a:gd name="connsiteY1039" fmla="*/ 202907 h 6841946"/>
              <a:gd name="connsiteX1040" fmla="*/ 1303710 w 6656228"/>
              <a:gd name="connsiteY1040" fmla="*/ 214451 h 6841946"/>
              <a:gd name="connsiteX1041" fmla="*/ 1382136 w 6656228"/>
              <a:gd name="connsiteY1041" fmla="*/ 293063 h 6841946"/>
              <a:gd name="connsiteX1042" fmla="*/ 1393688 w 6656228"/>
              <a:gd name="connsiteY1042" fmla="*/ 320823 h 6841946"/>
              <a:gd name="connsiteX1043" fmla="*/ 1382263 w 6656228"/>
              <a:gd name="connsiteY1043" fmla="*/ 348583 h 6841946"/>
              <a:gd name="connsiteX1044" fmla="*/ 1172301 w 6656228"/>
              <a:gd name="connsiteY1044" fmla="*/ 558992 h 6841946"/>
              <a:gd name="connsiteX1045" fmla="*/ 962282 w 6656228"/>
              <a:gd name="connsiteY1045" fmla="*/ 348583 h 6841946"/>
              <a:gd name="connsiteX1046" fmla="*/ 962282 w 6656228"/>
              <a:gd name="connsiteY1046" fmla="*/ 293193 h 6841946"/>
              <a:gd name="connsiteX1047" fmla="*/ 1040766 w 6656228"/>
              <a:gd name="connsiteY1047" fmla="*/ 214451 h 6841946"/>
              <a:gd name="connsiteX1048" fmla="*/ 1068395 w 6656228"/>
              <a:gd name="connsiteY1048" fmla="*/ 202907 h 6841946"/>
              <a:gd name="connsiteX1049" fmla="*/ 5175964 w 6656228"/>
              <a:gd name="connsiteY1049" fmla="*/ 186461 h 6841946"/>
              <a:gd name="connsiteX1050" fmla="*/ 5136789 w 6656228"/>
              <a:gd name="connsiteY1050" fmla="*/ 202806 h 6841946"/>
              <a:gd name="connsiteX1051" fmla="*/ 5058311 w 6656228"/>
              <a:gd name="connsiteY1051" fmla="*/ 281547 h 6841946"/>
              <a:gd name="connsiteX1052" fmla="*/ 5058311 w 6656228"/>
              <a:gd name="connsiteY1052" fmla="*/ 360159 h 6841946"/>
              <a:gd name="connsiteX1053" fmla="*/ 5279868 w 6656228"/>
              <a:gd name="connsiteY1053" fmla="*/ 582242 h 6841946"/>
              <a:gd name="connsiteX1054" fmla="*/ 5501427 w 6656228"/>
              <a:gd name="connsiteY1054" fmla="*/ 360159 h 6841946"/>
              <a:gd name="connsiteX1055" fmla="*/ 5501427 w 6656228"/>
              <a:gd name="connsiteY1055" fmla="*/ 281547 h 6841946"/>
              <a:gd name="connsiteX1056" fmla="*/ 5422947 w 6656228"/>
              <a:gd name="connsiteY1056" fmla="*/ 202936 h 6841946"/>
              <a:gd name="connsiteX1057" fmla="*/ 5383772 w 6656228"/>
              <a:gd name="connsiteY1057" fmla="*/ 186591 h 6841946"/>
              <a:gd name="connsiteX1058" fmla="*/ 5383641 w 6656228"/>
              <a:gd name="connsiteY1058" fmla="*/ 186461 h 6841946"/>
              <a:gd name="connsiteX1059" fmla="*/ 5344337 w 6656228"/>
              <a:gd name="connsiteY1059" fmla="*/ 202936 h 6841946"/>
              <a:gd name="connsiteX1060" fmla="*/ 5279868 w 6656228"/>
              <a:gd name="connsiteY1060" fmla="*/ 267537 h 6841946"/>
              <a:gd name="connsiteX1061" fmla="*/ 5215269 w 6656228"/>
              <a:gd name="connsiteY1061" fmla="*/ 202806 h 6841946"/>
              <a:gd name="connsiteX1062" fmla="*/ 5175964 w 6656228"/>
              <a:gd name="connsiteY1062" fmla="*/ 186461 h 6841946"/>
              <a:gd name="connsiteX1063" fmla="*/ 3122156 w 6656228"/>
              <a:gd name="connsiteY1063" fmla="*/ 186446 h 6841946"/>
              <a:gd name="connsiteX1064" fmla="*/ 3082985 w 6656228"/>
              <a:gd name="connsiteY1064" fmla="*/ 202790 h 6841946"/>
              <a:gd name="connsiteX1065" fmla="*/ 3004509 w 6656228"/>
              <a:gd name="connsiteY1065" fmla="*/ 281532 h 6841946"/>
              <a:gd name="connsiteX1066" fmla="*/ 3004509 w 6656228"/>
              <a:gd name="connsiteY1066" fmla="*/ 360144 h 6841946"/>
              <a:gd name="connsiteX1067" fmla="*/ 3226054 w 6656228"/>
              <a:gd name="connsiteY1067" fmla="*/ 582227 h 6841946"/>
              <a:gd name="connsiteX1068" fmla="*/ 3447607 w 6656228"/>
              <a:gd name="connsiteY1068" fmla="*/ 360144 h 6841946"/>
              <a:gd name="connsiteX1069" fmla="*/ 3447607 w 6656228"/>
              <a:gd name="connsiteY1069" fmla="*/ 281532 h 6841946"/>
              <a:gd name="connsiteX1070" fmla="*/ 3369129 w 6656228"/>
              <a:gd name="connsiteY1070" fmla="*/ 202922 h 6841946"/>
              <a:gd name="connsiteX1071" fmla="*/ 3329954 w 6656228"/>
              <a:gd name="connsiteY1071" fmla="*/ 186576 h 6841946"/>
              <a:gd name="connsiteX1072" fmla="*/ 3329824 w 6656228"/>
              <a:gd name="connsiteY1072" fmla="*/ 186446 h 6841946"/>
              <a:gd name="connsiteX1073" fmla="*/ 3290519 w 6656228"/>
              <a:gd name="connsiteY1073" fmla="*/ 202922 h 6841946"/>
              <a:gd name="connsiteX1074" fmla="*/ 3226054 w 6656228"/>
              <a:gd name="connsiteY1074" fmla="*/ 267522 h 6841946"/>
              <a:gd name="connsiteX1075" fmla="*/ 3161457 w 6656228"/>
              <a:gd name="connsiteY1075" fmla="*/ 202790 h 6841946"/>
              <a:gd name="connsiteX1076" fmla="*/ 3122156 w 6656228"/>
              <a:gd name="connsiteY1076" fmla="*/ 186446 h 6841946"/>
              <a:gd name="connsiteX1077" fmla="*/ 1068395 w 6656228"/>
              <a:gd name="connsiteY1077" fmla="*/ 186431 h 6841946"/>
              <a:gd name="connsiteX1078" fmla="*/ 1029218 w 6656228"/>
              <a:gd name="connsiteY1078" fmla="*/ 202777 h 6841946"/>
              <a:gd name="connsiteX1079" fmla="*/ 950736 w 6656228"/>
              <a:gd name="connsiteY1079" fmla="*/ 281518 h 6841946"/>
              <a:gd name="connsiteX1080" fmla="*/ 950736 w 6656228"/>
              <a:gd name="connsiteY1080" fmla="*/ 360128 h 6841946"/>
              <a:gd name="connsiteX1081" fmla="*/ 1172301 w 6656228"/>
              <a:gd name="connsiteY1081" fmla="*/ 582213 h 6841946"/>
              <a:gd name="connsiteX1082" fmla="*/ 1393813 w 6656228"/>
              <a:gd name="connsiteY1082" fmla="*/ 360128 h 6841946"/>
              <a:gd name="connsiteX1083" fmla="*/ 1393813 w 6656228"/>
              <a:gd name="connsiteY1083" fmla="*/ 281518 h 6841946"/>
              <a:gd name="connsiteX1084" fmla="*/ 1315383 w 6656228"/>
              <a:gd name="connsiteY1084" fmla="*/ 202907 h 6841946"/>
              <a:gd name="connsiteX1085" fmla="*/ 1276207 w 6656228"/>
              <a:gd name="connsiteY1085" fmla="*/ 186561 h 6841946"/>
              <a:gd name="connsiteX1086" fmla="*/ 1276079 w 6656228"/>
              <a:gd name="connsiteY1086" fmla="*/ 186431 h 6841946"/>
              <a:gd name="connsiteX1087" fmla="*/ 1236774 w 6656228"/>
              <a:gd name="connsiteY1087" fmla="*/ 202907 h 6841946"/>
              <a:gd name="connsiteX1088" fmla="*/ 1172301 w 6656228"/>
              <a:gd name="connsiteY1088" fmla="*/ 267508 h 6841946"/>
              <a:gd name="connsiteX1089" fmla="*/ 1107701 w 6656228"/>
              <a:gd name="connsiteY1089" fmla="*/ 202777 h 6841946"/>
              <a:gd name="connsiteX1090" fmla="*/ 1068395 w 6656228"/>
              <a:gd name="connsiteY1090" fmla="*/ 186431 h 6841946"/>
              <a:gd name="connsiteX1091" fmla="*/ 6598568 w 6656228"/>
              <a:gd name="connsiteY1091" fmla="*/ 0 h 6841946"/>
              <a:gd name="connsiteX1092" fmla="*/ 6656228 w 6656228"/>
              <a:gd name="connsiteY1092" fmla="*/ 0 h 6841946"/>
              <a:gd name="connsiteX1093" fmla="*/ 6656228 w 6656228"/>
              <a:gd name="connsiteY1093" fmla="*/ 739299 h 6841946"/>
              <a:gd name="connsiteX1094" fmla="*/ 6648777 w 6656228"/>
              <a:gd name="connsiteY1094" fmla="*/ 743612 h 6841946"/>
              <a:gd name="connsiteX1095" fmla="*/ 6315014 w 6656228"/>
              <a:gd name="connsiteY1095" fmla="*/ 550457 h 6841946"/>
              <a:gd name="connsiteX1096" fmla="*/ 6315014 w 6656228"/>
              <a:gd name="connsiteY1096" fmla="*/ 164163 h 6841946"/>
              <a:gd name="connsiteX1097" fmla="*/ 6048848 w 6656228"/>
              <a:gd name="connsiteY1097" fmla="*/ 0 h 6841946"/>
              <a:gd name="connsiteX1098" fmla="*/ 6564575 w 6656228"/>
              <a:gd name="connsiteY1098" fmla="*/ 0 h 6841946"/>
              <a:gd name="connsiteX1099" fmla="*/ 6306711 w 6656228"/>
              <a:gd name="connsiteY1099" fmla="*/ 149231 h 6841946"/>
              <a:gd name="connsiteX1100" fmla="*/ 5973078 w 6656228"/>
              <a:gd name="connsiteY1100" fmla="*/ 0 h 6841946"/>
              <a:gd name="connsiteX1101" fmla="*/ 6014881 w 6656228"/>
              <a:gd name="connsiteY1101" fmla="*/ 0 h 6841946"/>
              <a:gd name="connsiteX1102" fmla="*/ 6298538 w 6656228"/>
              <a:gd name="connsiteY1102" fmla="*/ 164163 h 6841946"/>
              <a:gd name="connsiteX1103" fmla="*/ 6298538 w 6656228"/>
              <a:gd name="connsiteY1103" fmla="*/ 540989 h 6841946"/>
              <a:gd name="connsiteX1104" fmla="*/ 5973078 w 6656228"/>
              <a:gd name="connsiteY1104" fmla="*/ 352632 h 6841946"/>
              <a:gd name="connsiteX1105" fmla="*/ 5914913 w 6656228"/>
              <a:gd name="connsiteY1105" fmla="*/ 0 h 6841946"/>
              <a:gd name="connsiteX1106" fmla="*/ 5956733 w 6656228"/>
              <a:gd name="connsiteY1106" fmla="*/ 0 h 6841946"/>
              <a:gd name="connsiteX1107" fmla="*/ 5956733 w 6656228"/>
              <a:gd name="connsiteY1107" fmla="*/ 352633 h 6841946"/>
              <a:gd name="connsiteX1108" fmla="*/ 5631143 w 6656228"/>
              <a:gd name="connsiteY1108" fmla="*/ 540989 h 6841946"/>
              <a:gd name="connsiteX1109" fmla="*/ 5631143 w 6656228"/>
              <a:gd name="connsiteY1109" fmla="*/ 164163 h 6841946"/>
              <a:gd name="connsiteX1110" fmla="*/ 5363051 w 6656228"/>
              <a:gd name="connsiteY1110" fmla="*/ 0 h 6841946"/>
              <a:gd name="connsiteX1111" fmla="*/ 5880456 w 6656228"/>
              <a:gd name="connsiteY1111" fmla="*/ 0 h 6841946"/>
              <a:gd name="connsiteX1112" fmla="*/ 5621803 w 6656228"/>
              <a:gd name="connsiteY1112" fmla="*/ 149746 h 6841946"/>
              <a:gd name="connsiteX1113" fmla="*/ 5229168 w 6656228"/>
              <a:gd name="connsiteY1113" fmla="*/ 0 h 6841946"/>
              <a:gd name="connsiteX1114" fmla="*/ 5330308 w 6656228"/>
              <a:gd name="connsiteY1114" fmla="*/ 0 h 6841946"/>
              <a:gd name="connsiteX1115" fmla="*/ 5613501 w 6656228"/>
              <a:gd name="connsiteY1115" fmla="*/ 163890 h 6841946"/>
              <a:gd name="connsiteX1116" fmla="*/ 5613501 w 6656228"/>
              <a:gd name="connsiteY1116" fmla="*/ 550066 h 6841946"/>
              <a:gd name="connsiteX1117" fmla="*/ 5279738 w 6656228"/>
              <a:gd name="connsiteY1117" fmla="*/ 743223 h 6841946"/>
              <a:gd name="connsiteX1118" fmla="*/ 4945975 w 6656228"/>
              <a:gd name="connsiteY1118" fmla="*/ 550066 h 6841946"/>
              <a:gd name="connsiteX1119" fmla="*/ 4945975 w 6656228"/>
              <a:gd name="connsiteY1119" fmla="*/ 163890 h 6841946"/>
              <a:gd name="connsiteX1120" fmla="*/ 4679282 w 6656228"/>
              <a:gd name="connsiteY1120" fmla="*/ 0 h 6841946"/>
              <a:gd name="connsiteX1121" fmla="*/ 5196428 w 6656228"/>
              <a:gd name="connsiteY1121" fmla="*/ 0 h 6841946"/>
              <a:gd name="connsiteX1122" fmla="*/ 4937803 w 6656228"/>
              <a:gd name="connsiteY1122" fmla="*/ 149616 h 6841946"/>
              <a:gd name="connsiteX1123" fmla="*/ 4544726 w 6656228"/>
              <a:gd name="connsiteY1123" fmla="*/ 0 h 6841946"/>
              <a:gd name="connsiteX1124" fmla="*/ 4644953 w 6656228"/>
              <a:gd name="connsiteY1124" fmla="*/ 0 h 6841946"/>
              <a:gd name="connsiteX1125" fmla="*/ 4928593 w 6656228"/>
              <a:gd name="connsiteY1125" fmla="*/ 164149 h 6841946"/>
              <a:gd name="connsiteX1126" fmla="*/ 4928593 w 6656228"/>
              <a:gd name="connsiteY1126" fmla="*/ 550443 h 6841946"/>
              <a:gd name="connsiteX1127" fmla="*/ 4594960 w 6656228"/>
              <a:gd name="connsiteY1127" fmla="*/ 743599 h 6841946"/>
              <a:gd name="connsiteX1128" fmla="*/ 4261195 w 6656228"/>
              <a:gd name="connsiteY1128" fmla="*/ 550443 h 6841946"/>
              <a:gd name="connsiteX1129" fmla="*/ 4261195 w 6656228"/>
              <a:gd name="connsiteY1129" fmla="*/ 164149 h 6841946"/>
              <a:gd name="connsiteX1130" fmla="*/ 3995055 w 6656228"/>
              <a:gd name="connsiteY1130" fmla="*/ 0 h 6841946"/>
              <a:gd name="connsiteX1131" fmla="*/ 4510733 w 6656228"/>
              <a:gd name="connsiteY1131" fmla="*/ 0 h 6841946"/>
              <a:gd name="connsiteX1132" fmla="*/ 4252895 w 6656228"/>
              <a:gd name="connsiteY1132" fmla="*/ 149217 h 6841946"/>
              <a:gd name="connsiteX1133" fmla="*/ 3919260 w 6656228"/>
              <a:gd name="connsiteY1133" fmla="*/ 0 h 6841946"/>
              <a:gd name="connsiteX1134" fmla="*/ 3961089 w 6656228"/>
              <a:gd name="connsiteY1134" fmla="*/ 0 h 6841946"/>
              <a:gd name="connsiteX1135" fmla="*/ 4244722 w 6656228"/>
              <a:gd name="connsiteY1135" fmla="*/ 164149 h 6841946"/>
              <a:gd name="connsiteX1136" fmla="*/ 4244722 w 6656228"/>
              <a:gd name="connsiteY1136" fmla="*/ 540974 h 6841946"/>
              <a:gd name="connsiteX1137" fmla="*/ 3919260 w 6656228"/>
              <a:gd name="connsiteY1137" fmla="*/ 352617 h 6841946"/>
              <a:gd name="connsiteX1138" fmla="*/ 3861070 w 6656228"/>
              <a:gd name="connsiteY1138" fmla="*/ 0 h 6841946"/>
              <a:gd name="connsiteX1139" fmla="*/ 3902916 w 6656228"/>
              <a:gd name="connsiteY1139" fmla="*/ 0 h 6841946"/>
              <a:gd name="connsiteX1140" fmla="*/ 3902916 w 6656228"/>
              <a:gd name="connsiteY1140" fmla="*/ 352617 h 6841946"/>
              <a:gd name="connsiteX1141" fmla="*/ 3577325 w 6656228"/>
              <a:gd name="connsiteY1141" fmla="*/ 540974 h 6841946"/>
              <a:gd name="connsiteX1142" fmla="*/ 3577325 w 6656228"/>
              <a:gd name="connsiteY1142" fmla="*/ 164149 h 6841946"/>
              <a:gd name="connsiteX1143" fmla="*/ 3309258 w 6656228"/>
              <a:gd name="connsiteY1143" fmla="*/ 0 h 6841946"/>
              <a:gd name="connsiteX1144" fmla="*/ 3826612 w 6656228"/>
              <a:gd name="connsiteY1144" fmla="*/ 0 h 6841946"/>
              <a:gd name="connsiteX1145" fmla="*/ 3567985 w 6656228"/>
              <a:gd name="connsiteY1145" fmla="*/ 149731 h 6841946"/>
              <a:gd name="connsiteX1146" fmla="*/ 3175331 w 6656228"/>
              <a:gd name="connsiteY1146" fmla="*/ 0 h 6841946"/>
              <a:gd name="connsiteX1147" fmla="*/ 3276516 w 6656228"/>
              <a:gd name="connsiteY1147" fmla="*/ 0 h 6841946"/>
              <a:gd name="connsiteX1148" fmla="*/ 3559683 w 6656228"/>
              <a:gd name="connsiteY1148" fmla="*/ 163875 h 6841946"/>
              <a:gd name="connsiteX1149" fmla="*/ 3559683 w 6656228"/>
              <a:gd name="connsiteY1149" fmla="*/ 550053 h 6841946"/>
              <a:gd name="connsiteX1150" fmla="*/ 3225921 w 6656228"/>
              <a:gd name="connsiteY1150" fmla="*/ 743207 h 6841946"/>
              <a:gd name="connsiteX1151" fmla="*/ 2892185 w 6656228"/>
              <a:gd name="connsiteY1151" fmla="*/ 550054 h 6841946"/>
              <a:gd name="connsiteX1152" fmla="*/ 2892185 w 6656228"/>
              <a:gd name="connsiteY1152" fmla="*/ 163875 h 6841946"/>
              <a:gd name="connsiteX1153" fmla="*/ 2625530 w 6656228"/>
              <a:gd name="connsiteY1153" fmla="*/ 0 h 6841946"/>
              <a:gd name="connsiteX1154" fmla="*/ 3142591 w 6656228"/>
              <a:gd name="connsiteY1154" fmla="*/ 0 h 6841946"/>
              <a:gd name="connsiteX1155" fmla="*/ 2884008 w 6656228"/>
              <a:gd name="connsiteY1155" fmla="*/ 149601 h 6841946"/>
              <a:gd name="connsiteX1156" fmla="*/ 2490806 w 6656228"/>
              <a:gd name="connsiteY1156" fmla="*/ 0 h 6841946"/>
              <a:gd name="connsiteX1157" fmla="*/ 2591079 w 6656228"/>
              <a:gd name="connsiteY1157" fmla="*/ 0 h 6841946"/>
              <a:gd name="connsiteX1158" fmla="*/ 2874664 w 6656228"/>
              <a:gd name="connsiteY1158" fmla="*/ 164130 h 6841946"/>
              <a:gd name="connsiteX1159" fmla="*/ 2874664 w 6656228"/>
              <a:gd name="connsiteY1159" fmla="*/ 550429 h 6841946"/>
              <a:gd name="connsiteX1160" fmla="*/ 2541045 w 6656228"/>
              <a:gd name="connsiteY1160" fmla="*/ 743584 h 6841946"/>
              <a:gd name="connsiteX1161" fmla="*/ 2207320 w 6656228"/>
              <a:gd name="connsiteY1161" fmla="*/ 550443 h 6841946"/>
              <a:gd name="connsiteX1162" fmla="*/ 2207320 w 6656228"/>
              <a:gd name="connsiteY1162" fmla="*/ 164134 h 6841946"/>
              <a:gd name="connsiteX1163" fmla="*/ 1941155 w 6656228"/>
              <a:gd name="connsiteY1163" fmla="*/ 0 h 6841946"/>
              <a:gd name="connsiteX1164" fmla="*/ 2456798 w 6656228"/>
              <a:gd name="connsiteY1164" fmla="*/ 0 h 6841946"/>
              <a:gd name="connsiteX1165" fmla="*/ 2199000 w 6656228"/>
              <a:gd name="connsiteY1165" fmla="*/ 149201 h 6841946"/>
              <a:gd name="connsiteX1166" fmla="*/ 1959763 w 6656228"/>
              <a:gd name="connsiteY1166" fmla="*/ 10771 h 6841946"/>
              <a:gd name="connsiteX1167" fmla="*/ 1865358 w 6656228"/>
              <a:gd name="connsiteY1167" fmla="*/ 0 h 6841946"/>
              <a:gd name="connsiteX1168" fmla="*/ 1907218 w 6656228"/>
              <a:gd name="connsiteY1168" fmla="*/ 0 h 6841946"/>
              <a:gd name="connsiteX1169" fmla="*/ 2190820 w 6656228"/>
              <a:gd name="connsiteY1169" fmla="*/ 164120 h 6841946"/>
              <a:gd name="connsiteX1170" fmla="*/ 2190820 w 6656228"/>
              <a:gd name="connsiteY1170" fmla="*/ 540960 h 6841946"/>
              <a:gd name="connsiteX1171" fmla="*/ 1865358 w 6656228"/>
              <a:gd name="connsiteY1171" fmla="*/ 352611 h 6841946"/>
              <a:gd name="connsiteX1172" fmla="*/ 1807133 w 6656228"/>
              <a:gd name="connsiteY1172" fmla="*/ 0 h 6841946"/>
              <a:gd name="connsiteX1173" fmla="*/ 1848987 w 6656228"/>
              <a:gd name="connsiteY1173" fmla="*/ 0 h 6841946"/>
              <a:gd name="connsiteX1174" fmla="*/ 1848987 w 6656228"/>
              <a:gd name="connsiteY1174" fmla="*/ 352603 h 6841946"/>
              <a:gd name="connsiteX1175" fmla="*/ 1523414 w 6656228"/>
              <a:gd name="connsiteY1175" fmla="*/ 540954 h 6841946"/>
              <a:gd name="connsiteX1176" fmla="*/ 1523414 w 6656228"/>
              <a:gd name="connsiteY1176" fmla="*/ 164134 h 6841946"/>
              <a:gd name="connsiteX1177" fmla="*/ 1255529 w 6656228"/>
              <a:gd name="connsiteY1177" fmla="*/ 0 h 6841946"/>
              <a:gd name="connsiteX1178" fmla="*/ 1772799 w 6656228"/>
              <a:gd name="connsiteY1178" fmla="*/ 0 h 6841946"/>
              <a:gd name="connsiteX1179" fmla="*/ 1514191 w 6656228"/>
              <a:gd name="connsiteY1179" fmla="*/ 149717 h 6841946"/>
              <a:gd name="connsiteX1180" fmla="*/ 1121553 w 6656228"/>
              <a:gd name="connsiteY1180" fmla="*/ 0 h 6841946"/>
              <a:gd name="connsiteX1181" fmla="*/ 1222783 w 6656228"/>
              <a:gd name="connsiteY1181" fmla="*/ 0 h 6841946"/>
              <a:gd name="connsiteX1182" fmla="*/ 1350152 w 6656228"/>
              <a:gd name="connsiteY1182" fmla="*/ 73731 h 6841946"/>
              <a:gd name="connsiteX1183" fmla="*/ 1505883 w 6656228"/>
              <a:gd name="connsiteY1183" fmla="*/ 163859 h 6841946"/>
              <a:gd name="connsiteX1184" fmla="*/ 1505883 w 6656228"/>
              <a:gd name="connsiteY1184" fmla="*/ 550038 h 6841946"/>
              <a:gd name="connsiteX1185" fmla="*/ 1172166 w 6656228"/>
              <a:gd name="connsiteY1185" fmla="*/ 743194 h 6841946"/>
              <a:gd name="connsiteX1186" fmla="*/ 838414 w 6656228"/>
              <a:gd name="connsiteY1186" fmla="*/ 550042 h 6841946"/>
              <a:gd name="connsiteX1187" fmla="*/ 838414 w 6656228"/>
              <a:gd name="connsiteY1187" fmla="*/ 163860 h 6841946"/>
              <a:gd name="connsiteX1188" fmla="*/ 571773 w 6656228"/>
              <a:gd name="connsiteY1188" fmla="*/ 0 h 6841946"/>
              <a:gd name="connsiteX1189" fmla="*/ 1088805 w 6656228"/>
              <a:gd name="connsiteY1189" fmla="*/ 0 h 6841946"/>
              <a:gd name="connsiteX1190" fmla="*/ 830236 w 6656228"/>
              <a:gd name="connsiteY1190" fmla="*/ 149586 h 6841946"/>
              <a:gd name="connsiteX1191" fmla="*/ 436988 w 6656228"/>
              <a:gd name="connsiteY1191" fmla="*/ 0 h 6841946"/>
              <a:gd name="connsiteX1192" fmla="*/ 537312 w 6656228"/>
              <a:gd name="connsiteY1192" fmla="*/ 0 h 6841946"/>
              <a:gd name="connsiteX1193" fmla="*/ 820873 w 6656228"/>
              <a:gd name="connsiteY1193" fmla="*/ 164102 h 6841946"/>
              <a:gd name="connsiteX1194" fmla="*/ 820873 w 6656228"/>
              <a:gd name="connsiteY1194" fmla="*/ 550415 h 6841946"/>
              <a:gd name="connsiteX1195" fmla="*/ 637337 w 6656228"/>
              <a:gd name="connsiteY1195" fmla="*/ 656674 h 6841946"/>
              <a:gd name="connsiteX1196" fmla="*/ 157207 w 6656228"/>
              <a:gd name="connsiteY1196" fmla="*/ 161977 h 6841946"/>
              <a:gd name="connsiteX1197" fmla="*/ 0 w 6656228"/>
              <a:gd name="connsiteY1197" fmla="*/ 0 h 6841946"/>
              <a:gd name="connsiteX1198" fmla="*/ 402965 w 6656228"/>
              <a:gd name="connsiteY1198" fmla="*/ 0 h 6841946"/>
              <a:gd name="connsiteX1199" fmla="*/ 145179 w 6656228"/>
              <a:gd name="connsiteY1199" fmla="*/ 149187 h 6841946"/>
              <a:gd name="connsiteX1200" fmla="*/ 144300 w 6656228"/>
              <a:gd name="connsiteY1200" fmla="*/ 148678 h 684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Lst>
            <a:rect l="l" t="t" r="r" b="b"/>
            <a:pathLst>
              <a:path w="6656228" h="6841946">
                <a:moveTo>
                  <a:pt x="6319868" y="6511613"/>
                </a:moveTo>
                <a:lnTo>
                  <a:pt x="6640474" y="6697155"/>
                </a:lnTo>
                <a:lnTo>
                  <a:pt x="6640474" y="6841946"/>
                </a:lnTo>
                <a:close/>
                <a:moveTo>
                  <a:pt x="5973078" y="5915189"/>
                </a:moveTo>
                <a:lnTo>
                  <a:pt x="6298538" y="6103545"/>
                </a:lnTo>
                <a:lnTo>
                  <a:pt x="6298538" y="6480388"/>
                </a:lnTo>
                <a:lnTo>
                  <a:pt x="6278062" y="6468538"/>
                </a:lnTo>
                <a:lnTo>
                  <a:pt x="5973078" y="6154301"/>
                </a:lnTo>
                <a:close/>
                <a:moveTo>
                  <a:pt x="5956733" y="5915189"/>
                </a:moveTo>
                <a:lnTo>
                  <a:pt x="5956733" y="6137460"/>
                </a:lnTo>
                <a:lnTo>
                  <a:pt x="5818577" y="5995113"/>
                </a:lnTo>
                <a:close/>
                <a:moveTo>
                  <a:pt x="6648646" y="5910389"/>
                </a:moveTo>
                <a:lnTo>
                  <a:pt x="6656228" y="5914777"/>
                </a:lnTo>
                <a:lnTo>
                  <a:pt x="6656228" y="6678702"/>
                </a:lnTo>
                <a:lnTo>
                  <a:pt x="6648777" y="6683015"/>
                </a:lnTo>
                <a:lnTo>
                  <a:pt x="6315014" y="6489859"/>
                </a:lnTo>
                <a:lnTo>
                  <a:pt x="6315014" y="6103545"/>
                </a:lnTo>
                <a:close/>
                <a:moveTo>
                  <a:pt x="6202937" y="5548334"/>
                </a:moveTo>
                <a:lnTo>
                  <a:pt x="6230697" y="5559879"/>
                </a:lnTo>
                <a:lnTo>
                  <a:pt x="6295296" y="5624611"/>
                </a:lnTo>
                <a:lnTo>
                  <a:pt x="6306841" y="5636286"/>
                </a:lnTo>
                <a:lnTo>
                  <a:pt x="6306842" y="5636286"/>
                </a:lnTo>
                <a:lnTo>
                  <a:pt x="6318387" y="5624611"/>
                </a:lnTo>
                <a:lnTo>
                  <a:pt x="6382856" y="5559879"/>
                </a:lnTo>
                <a:lnTo>
                  <a:pt x="6410615" y="5548334"/>
                </a:lnTo>
                <a:lnTo>
                  <a:pt x="6438245" y="5559879"/>
                </a:lnTo>
                <a:lnTo>
                  <a:pt x="6516723" y="5638491"/>
                </a:lnTo>
                <a:cubicBezTo>
                  <a:pt x="6524118" y="5645885"/>
                  <a:pt x="6528138" y="5655745"/>
                  <a:pt x="6528268" y="5666252"/>
                </a:cubicBezTo>
                <a:cubicBezTo>
                  <a:pt x="6528268" y="5676760"/>
                  <a:pt x="6524248" y="5686618"/>
                  <a:pt x="6516853" y="5694012"/>
                </a:cubicBezTo>
                <a:lnTo>
                  <a:pt x="6306842" y="5904422"/>
                </a:lnTo>
                <a:lnTo>
                  <a:pt x="6096829" y="5694012"/>
                </a:lnTo>
                <a:cubicBezTo>
                  <a:pt x="6081523" y="5678705"/>
                  <a:pt x="6081523" y="5653798"/>
                  <a:pt x="6096829" y="5638621"/>
                </a:cubicBezTo>
                <a:lnTo>
                  <a:pt x="6175309" y="5559879"/>
                </a:lnTo>
                <a:close/>
                <a:moveTo>
                  <a:pt x="6202937" y="5531859"/>
                </a:moveTo>
                <a:cubicBezTo>
                  <a:pt x="6188668" y="5531859"/>
                  <a:pt x="6174528" y="5537308"/>
                  <a:pt x="6163762" y="5548204"/>
                </a:cubicBezTo>
                <a:lnTo>
                  <a:pt x="6085283" y="5626946"/>
                </a:lnTo>
                <a:cubicBezTo>
                  <a:pt x="6063620" y="5648610"/>
                  <a:pt x="6063620" y="5683894"/>
                  <a:pt x="6085283" y="5705558"/>
                </a:cubicBezTo>
                <a:lnTo>
                  <a:pt x="6306841" y="5927642"/>
                </a:lnTo>
                <a:lnTo>
                  <a:pt x="6306842" y="5927642"/>
                </a:lnTo>
                <a:lnTo>
                  <a:pt x="6528399" y="5705558"/>
                </a:lnTo>
                <a:cubicBezTo>
                  <a:pt x="6550062" y="5683894"/>
                  <a:pt x="6550062" y="5648610"/>
                  <a:pt x="6528399" y="5626946"/>
                </a:cubicBezTo>
                <a:lnTo>
                  <a:pt x="6449921" y="5548334"/>
                </a:lnTo>
                <a:cubicBezTo>
                  <a:pt x="6439023" y="5537438"/>
                  <a:pt x="6424885" y="5531989"/>
                  <a:pt x="6410746" y="5531989"/>
                </a:cubicBezTo>
                <a:lnTo>
                  <a:pt x="6410616" y="5531859"/>
                </a:lnTo>
                <a:lnTo>
                  <a:pt x="6410615" y="5531859"/>
                </a:lnTo>
                <a:cubicBezTo>
                  <a:pt x="6396347" y="5531859"/>
                  <a:pt x="6382206" y="5537308"/>
                  <a:pt x="6371310" y="5548334"/>
                </a:cubicBezTo>
                <a:lnTo>
                  <a:pt x="6306842" y="5612936"/>
                </a:lnTo>
                <a:lnTo>
                  <a:pt x="6242243" y="5548204"/>
                </a:lnTo>
                <a:cubicBezTo>
                  <a:pt x="6231345" y="5537308"/>
                  <a:pt x="6217207" y="5531859"/>
                  <a:pt x="6202938" y="5531859"/>
                </a:cubicBezTo>
                <a:close/>
                <a:moveTo>
                  <a:pt x="5621673" y="5316391"/>
                </a:moveTo>
                <a:lnTo>
                  <a:pt x="5955437" y="5509548"/>
                </a:lnTo>
                <a:lnTo>
                  <a:pt x="5955437" y="5895861"/>
                </a:lnTo>
                <a:lnTo>
                  <a:pt x="5806139" y="5982296"/>
                </a:lnTo>
                <a:lnTo>
                  <a:pt x="5325989" y="5487579"/>
                </a:lnTo>
                <a:close/>
                <a:moveTo>
                  <a:pt x="6306711" y="5316132"/>
                </a:moveTo>
                <a:lnTo>
                  <a:pt x="6640474" y="5509288"/>
                </a:lnTo>
                <a:lnTo>
                  <a:pt x="6640474" y="5895470"/>
                </a:lnTo>
                <a:lnTo>
                  <a:pt x="6306711" y="6088627"/>
                </a:lnTo>
                <a:lnTo>
                  <a:pt x="5972948" y="5895470"/>
                </a:lnTo>
                <a:lnTo>
                  <a:pt x="5972948" y="5509288"/>
                </a:lnTo>
                <a:close/>
                <a:moveTo>
                  <a:pt x="5964905" y="5118305"/>
                </a:moveTo>
                <a:lnTo>
                  <a:pt x="6290365" y="5306661"/>
                </a:lnTo>
                <a:lnTo>
                  <a:pt x="5964775" y="5495017"/>
                </a:lnTo>
                <a:lnTo>
                  <a:pt x="5639315" y="5306661"/>
                </a:lnTo>
                <a:close/>
                <a:moveTo>
                  <a:pt x="5175964" y="4954335"/>
                </a:moveTo>
                <a:cubicBezTo>
                  <a:pt x="5186472" y="4954335"/>
                  <a:pt x="5196330" y="4958487"/>
                  <a:pt x="5203724" y="4965880"/>
                </a:cubicBezTo>
                <a:lnTo>
                  <a:pt x="5268323" y="5030612"/>
                </a:lnTo>
                <a:lnTo>
                  <a:pt x="5279868" y="5042286"/>
                </a:lnTo>
                <a:lnTo>
                  <a:pt x="5291413" y="5030612"/>
                </a:lnTo>
                <a:lnTo>
                  <a:pt x="5355882" y="4965880"/>
                </a:lnTo>
                <a:cubicBezTo>
                  <a:pt x="5363277" y="4958357"/>
                  <a:pt x="5373135" y="4954335"/>
                  <a:pt x="5383641" y="4954335"/>
                </a:cubicBezTo>
                <a:cubicBezTo>
                  <a:pt x="5394020" y="4954335"/>
                  <a:pt x="5403879" y="4958487"/>
                  <a:pt x="5411271" y="4965880"/>
                </a:cubicBezTo>
                <a:lnTo>
                  <a:pt x="5489752" y="5044492"/>
                </a:lnTo>
                <a:cubicBezTo>
                  <a:pt x="5497145" y="5051886"/>
                  <a:pt x="5501166" y="5061745"/>
                  <a:pt x="5501297" y="5072252"/>
                </a:cubicBezTo>
                <a:cubicBezTo>
                  <a:pt x="5501297" y="5082760"/>
                  <a:pt x="5497274" y="5092619"/>
                  <a:pt x="5489882" y="5100013"/>
                </a:cubicBezTo>
                <a:lnTo>
                  <a:pt x="5279868" y="5310423"/>
                </a:lnTo>
                <a:lnTo>
                  <a:pt x="5069856" y="5100013"/>
                </a:lnTo>
                <a:cubicBezTo>
                  <a:pt x="5054548" y="5084706"/>
                  <a:pt x="5054548" y="5059799"/>
                  <a:pt x="5069856" y="5044621"/>
                </a:cubicBezTo>
                <a:lnTo>
                  <a:pt x="5148334" y="4965880"/>
                </a:lnTo>
                <a:cubicBezTo>
                  <a:pt x="5155729" y="4958487"/>
                  <a:pt x="5165458" y="4954335"/>
                  <a:pt x="5175964" y="4954335"/>
                </a:cubicBezTo>
                <a:close/>
                <a:moveTo>
                  <a:pt x="5175964" y="4937860"/>
                </a:moveTo>
                <a:cubicBezTo>
                  <a:pt x="5161695" y="4937860"/>
                  <a:pt x="5147556" y="4943308"/>
                  <a:pt x="5136789" y="4954205"/>
                </a:cubicBezTo>
                <a:lnTo>
                  <a:pt x="5058311" y="5032947"/>
                </a:lnTo>
                <a:cubicBezTo>
                  <a:pt x="5036648" y="5054611"/>
                  <a:pt x="5036648" y="5089895"/>
                  <a:pt x="5058311" y="5111559"/>
                </a:cubicBezTo>
                <a:lnTo>
                  <a:pt x="5279868" y="5333643"/>
                </a:lnTo>
                <a:lnTo>
                  <a:pt x="5501427" y="5111559"/>
                </a:lnTo>
                <a:cubicBezTo>
                  <a:pt x="5523089" y="5089895"/>
                  <a:pt x="5523089" y="5054611"/>
                  <a:pt x="5501427" y="5032947"/>
                </a:cubicBezTo>
                <a:lnTo>
                  <a:pt x="5422947" y="4954335"/>
                </a:lnTo>
                <a:cubicBezTo>
                  <a:pt x="5412051" y="4943438"/>
                  <a:pt x="5397911" y="4937990"/>
                  <a:pt x="5383772" y="4937990"/>
                </a:cubicBezTo>
                <a:lnTo>
                  <a:pt x="5383641" y="4937860"/>
                </a:lnTo>
                <a:cubicBezTo>
                  <a:pt x="5369373" y="4937860"/>
                  <a:pt x="5355235" y="4943308"/>
                  <a:pt x="5344337" y="4954335"/>
                </a:cubicBezTo>
                <a:lnTo>
                  <a:pt x="5279868" y="5018937"/>
                </a:lnTo>
                <a:lnTo>
                  <a:pt x="5215269" y="4954205"/>
                </a:lnTo>
                <a:cubicBezTo>
                  <a:pt x="5204373" y="4943308"/>
                  <a:pt x="5190232" y="4937860"/>
                  <a:pt x="5175964" y="4937860"/>
                </a:cubicBezTo>
                <a:close/>
                <a:moveTo>
                  <a:pt x="5973078" y="4727322"/>
                </a:moveTo>
                <a:lnTo>
                  <a:pt x="6298538" y="4915678"/>
                </a:lnTo>
                <a:lnTo>
                  <a:pt x="6298538" y="5292520"/>
                </a:lnTo>
                <a:lnTo>
                  <a:pt x="5973078" y="5104164"/>
                </a:lnTo>
                <a:close/>
                <a:moveTo>
                  <a:pt x="5956733" y="4727322"/>
                </a:moveTo>
                <a:lnTo>
                  <a:pt x="5956733" y="5104164"/>
                </a:lnTo>
                <a:lnTo>
                  <a:pt x="5631143" y="5292520"/>
                </a:lnTo>
                <a:lnTo>
                  <a:pt x="5631143" y="4915678"/>
                </a:lnTo>
                <a:close/>
                <a:moveTo>
                  <a:pt x="6648646" y="4722522"/>
                </a:moveTo>
                <a:lnTo>
                  <a:pt x="6656228" y="4726910"/>
                </a:lnTo>
                <a:lnTo>
                  <a:pt x="6656228" y="5490833"/>
                </a:lnTo>
                <a:lnTo>
                  <a:pt x="6648776" y="5495147"/>
                </a:lnTo>
                <a:lnTo>
                  <a:pt x="6315014" y="5301991"/>
                </a:lnTo>
                <a:lnTo>
                  <a:pt x="6315014" y="4915678"/>
                </a:lnTo>
                <a:close/>
                <a:moveTo>
                  <a:pt x="4594830" y="4722522"/>
                </a:moveTo>
                <a:lnTo>
                  <a:pt x="4928593" y="4915678"/>
                </a:lnTo>
                <a:lnTo>
                  <a:pt x="4928593" y="5078126"/>
                </a:lnTo>
                <a:lnTo>
                  <a:pt x="4587551" y="4726737"/>
                </a:lnTo>
                <a:close/>
                <a:moveTo>
                  <a:pt x="5279738" y="4722133"/>
                </a:moveTo>
                <a:lnTo>
                  <a:pt x="5613501" y="4915290"/>
                </a:lnTo>
                <a:lnTo>
                  <a:pt x="5613501" y="5301472"/>
                </a:lnTo>
                <a:lnTo>
                  <a:pt x="5313736" y="5474955"/>
                </a:lnTo>
                <a:lnTo>
                  <a:pt x="4945975" y="5096036"/>
                </a:lnTo>
                <a:lnTo>
                  <a:pt x="4945975" y="4915290"/>
                </a:lnTo>
                <a:close/>
                <a:moveTo>
                  <a:pt x="4937933" y="4524306"/>
                </a:moveTo>
                <a:lnTo>
                  <a:pt x="5263392" y="4712663"/>
                </a:lnTo>
                <a:lnTo>
                  <a:pt x="4937803" y="4901019"/>
                </a:lnTo>
                <a:lnTo>
                  <a:pt x="4612343" y="4712663"/>
                </a:lnTo>
                <a:close/>
                <a:moveTo>
                  <a:pt x="6202938" y="4360467"/>
                </a:moveTo>
                <a:lnTo>
                  <a:pt x="6230697" y="4372012"/>
                </a:lnTo>
                <a:lnTo>
                  <a:pt x="6295296" y="4436743"/>
                </a:lnTo>
                <a:lnTo>
                  <a:pt x="6306841" y="4448418"/>
                </a:lnTo>
                <a:lnTo>
                  <a:pt x="6306842" y="4448418"/>
                </a:lnTo>
                <a:lnTo>
                  <a:pt x="6318387" y="4436743"/>
                </a:lnTo>
                <a:lnTo>
                  <a:pt x="6382856" y="4372012"/>
                </a:lnTo>
                <a:lnTo>
                  <a:pt x="6410616" y="4360467"/>
                </a:lnTo>
                <a:lnTo>
                  <a:pt x="6438245" y="4372012"/>
                </a:lnTo>
                <a:lnTo>
                  <a:pt x="6516723" y="4450623"/>
                </a:lnTo>
                <a:cubicBezTo>
                  <a:pt x="6524118" y="4458018"/>
                  <a:pt x="6528138" y="4467877"/>
                  <a:pt x="6528268" y="4478384"/>
                </a:cubicBezTo>
                <a:cubicBezTo>
                  <a:pt x="6528268" y="4488892"/>
                  <a:pt x="6524248" y="4498751"/>
                  <a:pt x="6516853" y="4506145"/>
                </a:cubicBezTo>
                <a:lnTo>
                  <a:pt x="6306841" y="4716554"/>
                </a:lnTo>
                <a:lnTo>
                  <a:pt x="6096829" y="4506145"/>
                </a:lnTo>
                <a:cubicBezTo>
                  <a:pt x="6081523" y="4490837"/>
                  <a:pt x="6081523" y="4465930"/>
                  <a:pt x="6096829" y="4450753"/>
                </a:cubicBezTo>
                <a:lnTo>
                  <a:pt x="6175309" y="4372012"/>
                </a:lnTo>
                <a:close/>
                <a:moveTo>
                  <a:pt x="4356796" y="4360467"/>
                </a:moveTo>
                <a:cubicBezTo>
                  <a:pt x="4367175" y="4360467"/>
                  <a:pt x="4377034" y="4364618"/>
                  <a:pt x="4384426" y="4372012"/>
                </a:cubicBezTo>
                <a:lnTo>
                  <a:pt x="4462907" y="4450623"/>
                </a:lnTo>
                <a:cubicBezTo>
                  <a:pt x="4470300" y="4458018"/>
                  <a:pt x="4474321" y="4467877"/>
                  <a:pt x="4474452" y="4478384"/>
                </a:cubicBezTo>
                <a:cubicBezTo>
                  <a:pt x="4474452" y="4488892"/>
                  <a:pt x="4470429" y="4498751"/>
                  <a:pt x="4463037" y="4506145"/>
                </a:cubicBezTo>
                <a:lnTo>
                  <a:pt x="4417619" y="4551649"/>
                </a:lnTo>
                <a:lnTo>
                  <a:pt x="4285601" y="4415626"/>
                </a:lnTo>
                <a:lnTo>
                  <a:pt x="4329039" y="4372012"/>
                </a:lnTo>
                <a:cubicBezTo>
                  <a:pt x="4336432" y="4364488"/>
                  <a:pt x="4346290" y="4360467"/>
                  <a:pt x="4356796" y="4360467"/>
                </a:cubicBezTo>
                <a:close/>
                <a:moveTo>
                  <a:pt x="6202937" y="4343992"/>
                </a:moveTo>
                <a:cubicBezTo>
                  <a:pt x="6188668" y="4343992"/>
                  <a:pt x="6174528" y="4349440"/>
                  <a:pt x="6163762" y="4360336"/>
                </a:cubicBezTo>
                <a:lnTo>
                  <a:pt x="6085283" y="4439078"/>
                </a:lnTo>
                <a:cubicBezTo>
                  <a:pt x="6063620" y="4460743"/>
                  <a:pt x="6063620" y="4496026"/>
                  <a:pt x="6085283" y="4517690"/>
                </a:cubicBezTo>
                <a:lnTo>
                  <a:pt x="6306841" y="4739774"/>
                </a:lnTo>
                <a:lnTo>
                  <a:pt x="6306842" y="4739774"/>
                </a:lnTo>
                <a:lnTo>
                  <a:pt x="6528399" y="4517690"/>
                </a:lnTo>
                <a:cubicBezTo>
                  <a:pt x="6550062" y="4496026"/>
                  <a:pt x="6550062" y="4460743"/>
                  <a:pt x="6528399" y="4439078"/>
                </a:cubicBezTo>
                <a:lnTo>
                  <a:pt x="6449921" y="4360467"/>
                </a:lnTo>
                <a:cubicBezTo>
                  <a:pt x="6439023" y="4349570"/>
                  <a:pt x="6424885" y="4344121"/>
                  <a:pt x="6410746" y="4344121"/>
                </a:cubicBezTo>
                <a:lnTo>
                  <a:pt x="6410616" y="4343992"/>
                </a:lnTo>
                <a:lnTo>
                  <a:pt x="6410615" y="4343992"/>
                </a:lnTo>
                <a:cubicBezTo>
                  <a:pt x="6396347" y="4343992"/>
                  <a:pt x="6382206" y="4349440"/>
                  <a:pt x="6371310" y="4360467"/>
                </a:cubicBezTo>
                <a:lnTo>
                  <a:pt x="6306841" y="4425069"/>
                </a:lnTo>
                <a:lnTo>
                  <a:pt x="6242243" y="4360336"/>
                </a:lnTo>
                <a:cubicBezTo>
                  <a:pt x="6231345" y="4349440"/>
                  <a:pt x="6217207" y="4343992"/>
                  <a:pt x="6202938" y="4343992"/>
                </a:cubicBezTo>
                <a:close/>
                <a:moveTo>
                  <a:pt x="4946105" y="4133332"/>
                </a:moveTo>
                <a:lnTo>
                  <a:pt x="5271566" y="4321680"/>
                </a:lnTo>
                <a:lnTo>
                  <a:pt x="5271566" y="4698522"/>
                </a:lnTo>
                <a:lnTo>
                  <a:pt x="4946105" y="4510166"/>
                </a:lnTo>
                <a:close/>
                <a:moveTo>
                  <a:pt x="4929760" y="4133332"/>
                </a:moveTo>
                <a:lnTo>
                  <a:pt x="4929760" y="4510166"/>
                </a:lnTo>
                <a:lnTo>
                  <a:pt x="4604170" y="4698522"/>
                </a:lnTo>
                <a:lnTo>
                  <a:pt x="4604170" y="4321680"/>
                </a:lnTo>
                <a:close/>
                <a:moveTo>
                  <a:pt x="5621673" y="4128533"/>
                </a:moveTo>
                <a:lnTo>
                  <a:pt x="5955437" y="4321680"/>
                </a:lnTo>
                <a:lnTo>
                  <a:pt x="5955437" y="4707993"/>
                </a:lnTo>
                <a:lnTo>
                  <a:pt x="5621803" y="4901148"/>
                </a:lnTo>
                <a:lnTo>
                  <a:pt x="5288040" y="4707993"/>
                </a:lnTo>
                <a:lnTo>
                  <a:pt x="5288040" y="4321680"/>
                </a:lnTo>
                <a:close/>
                <a:moveTo>
                  <a:pt x="6306711" y="4128278"/>
                </a:moveTo>
                <a:lnTo>
                  <a:pt x="6640474" y="4321420"/>
                </a:lnTo>
                <a:lnTo>
                  <a:pt x="6640474" y="4707602"/>
                </a:lnTo>
                <a:lnTo>
                  <a:pt x="6306711" y="4900759"/>
                </a:lnTo>
                <a:lnTo>
                  <a:pt x="5972948" y="4707602"/>
                </a:lnTo>
                <a:lnTo>
                  <a:pt x="5972948" y="4321420"/>
                </a:lnTo>
                <a:lnTo>
                  <a:pt x="6025099" y="4291239"/>
                </a:lnTo>
                <a:close/>
                <a:moveTo>
                  <a:pt x="4252895" y="4128277"/>
                </a:moveTo>
                <a:lnTo>
                  <a:pt x="4586658" y="4321420"/>
                </a:lnTo>
                <a:lnTo>
                  <a:pt x="4586658" y="4707602"/>
                </a:lnTo>
                <a:lnTo>
                  <a:pt x="4575338" y="4714154"/>
                </a:lnTo>
                <a:lnTo>
                  <a:pt x="4429003" y="4563378"/>
                </a:lnTo>
                <a:lnTo>
                  <a:pt x="4474582" y="4517690"/>
                </a:lnTo>
                <a:cubicBezTo>
                  <a:pt x="4496244" y="4496026"/>
                  <a:pt x="4496244" y="4460743"/>
                  <a:pt x="4474582" y="4439078"/>
                </a:cubicBezTo>
                <a:lnTo>
                  <a:pt x="4396102" y="4360467"/>
                </a:lnTo>
                <a:cubicBezTo>
                  <a:pt x="4385206" y="4349570"/>
                  <a:pt x="4371067" y="4344121"/>
                  <a:pt x="4356927" y="4344121"/>
                </a:cubicBezTo>
                <a:lnTo>
                  <a:pt x="4356796" y="4343992"/>
                </a:lnTo>
                <a:cubicBezTo>
                  <a:pt x="4342528" y="4343992"/>
                  <a:pt x="4328390" y="4349440"/>
                  <a:pt x="4317494" y="4360467"/>
                </a:cubicBezTo>
                <a:lnTo>
                  <a:pt x="4274186" y="4403864"/>
                </a:lnTo>
                <a:lnTo>
                  <a:pt x="4095252" y="4219502"/>
                </a:lnTo>
                <a:close/>
                <a:moveTo>
                  <a:pt x="5964905" y="3930452"/>
                </a:moveTo>
                <a:lnTo>
                  <a:pt x="6290364" y="4118806"/>
                </a:lnTo>
                <a:lnTo>
                  <a:pt x="6056055" y="4254344"/>
                </a:lnTo>
                <a:lnTo>
                  <a:pt x="5964776" y="4307149"/>
                </a:lnTo>
                <a:lnTo>
                  <a:pt x="5639316" y="4118806"/>
                </a:lnTo>
                <a:close/>
                <a:moveTo>
                  <a:pt x="3911088" y="3930449"/>
                </a:moveTo>
                <a:lnTo>
                  <a:pt x="4236548" y="4118805"/>
                </a:lnTo>
                <a:lnTo>
                  <a:pt x="4083466" y="4207359"/>
                </a:lnTo>
                <a:lnTo>
                  <a:pt x="3849367" y="3966156"/>
                </a:lnTo>
                <a:close/>
                <a:moveTo>
                  <a:pt x="5175964" y="3766483"/>
                </a:moveTo>
                <a:cubicBezTo>
                  <a:pt x="5186472" y="3766483"/>
                  <a:pt x="5196330" y="3770632"/>
                  <a:pt x="5203724" y="3778026"/>
                </a:cubicBezTo>
                <a:lnTo>
                  <a:pt x="5268323" y="3842759"/>
                </a:lnTo>
                <a:lnTo>
                  <a:pt x="5279868" y="3854433"/>
                </a:lnTo>
                <a:lnTo>
                  <a:pt x="5291413" y="3842759"/>
                </a:lnTo>
                <a:lnTo>
                  <a:pt x="5355882" y="3778026"/>
                </a:lnTo>
                <a:cubicBezTo>
                  <a:pt x="5363277" y="3770507"/>
                  <a:pt x="5373135" y="3766483"/>
                  <a:pt x="5383641" y="3766483"/>
                </a:cubicBezTo>
                <a:cubicBezTo>
                  <a:pt x="5394020" y="3766483"/>
                  <a:pt x="5403879" y="3770632"/>
                  <a:pt x="5411271" y="3778026"/>
                </a:cubicBezTo>
                <a:lnTo>
                  <a:pt x="5489752" y="3856636"/>
                </a:lnTo>
                <a:cubicBezTo>
                  <a:pt x="5497145" y="3864034"/>
                  <a:pt x="5501166" y="3873889"/>
                  <a:pt x="5501297" y="3884401"/>
                </a:cubicBezTo>
                <a:cubicBezTo>
                  <a:pt x="5501297" y="3894906"/>
                  <a:pt x="5497274" y="3904764"/>
                  <a:pt x="5489882" y="3912157"/>
                </a:cubicBezTo>
                <a:lnTo>
                  <a:pt x="5279868" y="4122566"/>
                </a:lnTo>
                <a:lnTo>
                  <a:pt x="5069856" y="3912157"/>
                </a:lnTo>
                <a:cubicBezTo>
                  <a:pt x="5054548" y="3896851"/>
                  <a:pt x="5054548" y="3871944"/>
                  <a:pt x="5069856" y="3856768"/>
                </a:cubicBezTo>
                <a:lnTo>
                  <a:pt x="5148334" y="3778026"/>
                </a:lnTo>
                <a:cubicBezTo>
                  <a:pt x="5155729" y="3770632"/>
                  <a:pt x="5165458" y="3766483"/>
                  <a:pt x="5175964" y="3766483"/>
                </a:cubicBezTo>
                <a:close/>
                <a:moveTo>
                  <a:pt x="5175964" y="3750008"/>
                </a:moveTo>
                <a:cubicBezTo>
                  <a:pt x="5161695" y="3750008"/>
                  <a:pt x="5147556" y="3755457"/>
                  <a:pt x="5136789" y="3766352"/>
                </a:cubicBezTo>
                <a:lnTo>
                  <a:pt x="5058311" y="3845089"/>
                </a:lnTo>
                <a:cubicBezTo>
                  <a:pt x="5036648" y="3866755"/>
                  <a:pt x="5036648" y="3902040"/>
                  <a:pt x="5058311" y="3923705"/>
                </a:cubicBezTo>
                <a:lnTo>
                  <a:pt x="5279868" y="4145784"/>
                </a:lnTo>
                <a:lnTo>
                  <a:pt x="5501427" y="3923705"/>
                </a:lnTo>
                <a:cubicBezTo>
                  <a:pt x="5523089" y="3902040"/>
                  <a:pt x="5523089" y="3866755"/>
                  <a:pt x="5501427" y="3845089"/>
                </a:cubicBezTo>
                <a:lnTo>
                  <a:pt x="5422947" y="3766483"/>
                </a:lnTo>
                <a:cubicBezTo>
                  <a:pt x="5412051" y="3755585"/>
                  <a:pt x="5397911" y="3750137"/>
                  <a:pt x="5383772" y="3750137"/>
                </a:cubicBezTo>
                <a:lnTo>
                  <a:pt x="5383641" y="3750008"/>
                </a:lnTo>
                <a:cubicBezTo>
                  <a:pt x="5369373" y="3750008"/>
                  <a:pt x="5355235" y="3755457"/>
                  <a:pt x="5344337" y="3766483"/>
                </a:cubicBezTo>
                <a:lnTo>
                  <a:pt x="5279868" y="3831082"/>
                </a:lnTo>
                <a:lnTo>
                  <a:pt x="5215269" y="3766352"/>
                </a:lnTo>
                <a:cubicBezTo>
                  <a:pt x="5204373" y="3755457"/>
                  <a:pt x="5190232" y="3750008"/>
                  <a:pt x="5175964" y="3750008"/>
                </a:cubicBezTo>
                <a:close/>
                <a:moveTo>
                  <a:pt x="5973078" y="3539477"/>
                </a:moveTo>
                <a:lnTo>
                  <a:pt x="6298538" y="3727828"/>
                </a:lnTo>
                <a:lnTo>
                  <a:pt x="6298538" y="4104664"/>
                </a:lnTo>
                <a:lnTo>
                  <a:pt x="5973078" y="3916306"/>
                </a:lnTo>
                <a:close/>
                <a:moveTo>
                  <a:pt x="5956733" y="3539477"/>
                </a:moveTo>
                <a:lnTo>
                  <a:pt x="5956733" y="3916308"/>
                </a:lnTo>
                <a:lnTo>
                  <a:pt x="5631143" y="4104664"/>
                </a:lnTo>
                <a:lnTo>
                  <a:pt x="5631143" y="3727827"/>
                </a:lnTo>
                <a:close/>
                <a:moveTo>
                  <a:pt x="3919260" y="3539471"/>
                </a:moveTo>
                <a:lnTo>
                  <a:pt x="4244722" y="3727826"/>
                </a:lnTo>
                <a:lnTo>
                  <a:pt x="4244722" y="4104661"/>
                </a:lnTo>
                <a:lnTo>
                  <a:pt x="3919260" y="3916305"/>
                </a:lnTo>
                <a:close/>
                <a:moveTo>
                  <a:pt x="3902916" y="3539471"/>
                </a:moveTo>
                <a:lnTo>
                  <a:pt x="3902916" y="3916305"/>
                </a:lnTo>
                <a:lnTo>
                  <a:pt x="3837636" y="3954070"/>
                </a:lnTo>
                <a:lnTo>
                  <a:pt x="3603410" y="3712737"/>
                </a:lnTo>
                <a:close/>
                <a:moveTo>
                  <a:pt x="6648646" y="3534677"/>
                </a:moveTo>
                <a:lnTo>
                  <a:pt x="6656228" y="3539065"/>
                </a:lnTo>
                <a:lnTo>
                  <a:pt x="6656228" y="4302965"/>
                </a:lnTo>
                <a:lnTo>
                  <a:pt x="6648777" y="4307278"/>
                </a:lnTo>
                <a:lnTo>
                  <a:pt x="6315014" y="4114135"/>
                </a:lnTo>
                <a:lnTo>
                  <a:pt x="6315014" y="3727827"/>
                </a:lnTo>
                <a:close/>
                <a:moveTo>
                  <a:pt x="4594830" y="3534670"/>
                </a:moveTo>
                <a:lnTo>
                  <a:pt x="4928593" y="3727826"/>
                </a:lnTo>
                <a:lnTo>
                  <a:pt x="4928593" y="4114131"/>
                </a:lnTo>
                <a:lnTo>
                  <a:pt x="4594960" y="4307279"/>
                </a:lnTo>
                <a:lnTo>
                  <a:pt x="4261195" y="4114131"/>
                </a:lnTo>
                <a:lnTo>
                  <a:pt x="4261195" y="3727826"/>
                </a:lnTo>
                <a:close/>
                <a:moveTo>
                  <a:pt x="5279738" y="3534283"/>
                </a:moveTo>
                <a:lnTo>
                  <a:pt x="5613501" y="3727435"/>
                </a:lnTo>
                <a:lnTo>
                  <a:pt x="5613501" y="4113615"/>
                </a:lnTo>
                <a:lnTo>
                  <a:pt x="5279738" y="4306761"/>
                </a:lnTo>
                <a:lnTo>
                  <a:pt x="4945975" y="4113615"/>
                </a:lnTo>
                <a:lnTo>
                  <a:pt x="4945975" y="3727435"/>
                </a:lnTo>
                <a:close/>
                <a:moveTo>
                  <a:pt x="4937933" y="3336477"/>
                </a:moveTo>
                <a:lnTo>
                  <a:pt x="5263393" y="3524813"/>
                </a:lnTo>
                <a:lnTo>
                  <a:pt x="4937803" y="3713167"/>
                </a:lnTo>
                <a:lnTo>
                  <a:pt x="4612342" y="3524813"/>
                </a:lnTo>
                <a:close/>
                <a:moveTo>
                  <a:pt x="6202937" y="3172530"/>
                </a:moveTo>
                <a:cubicBezTo>
                  <a:pt x="6213443" y="3172530"/>
                  <a:pt x="6223302" y="3176675"/>
                  <a:pt x="6230697" y="3184077"/>
                </a:cubicBezTo>
                <a:lnTo>
                  <a:pt x="6295296" y="3248800"/>
                </a:lnTo>
                <a:lnTo>
                  <a:pt x="6306841" y="3260473"/>
                </a:lnTo>
                <a:lnTo>
                  <a:pt x="6318386" y="3248800"/>
                </a:lnTo>
                <a:lnTo>
                  <a:pt x="6382855" y="3184077"/>
                </a:lnTo>
                <a:cubicBezTo>
                  <a:pt x="6390249" y="3176551"/>
                  <a:pt x="6400107" y="3172530"/>
                  <a:pt x="6410615" y="3172530"/>
                </a:cubicBezTo>
                <a:cubicBezTo>
                  <a:pt x="6420991" y="3172530"/>
                  <a:pt x="6430850" y="3176675"/>
                  <a:pt x="6438245" y="3184077"/>
                </a:cubicBezTo>
                <a:lnTo>
                  <a:pt x="6516723" y="3262679"/>
                </a:lnTo>
                <a:lnTo>
                  <a:pt x="6528267" y="3290436"/>
                </a:lnTo>
                <a:lnTo>
                  <a:pt x="6516854" y="3318189"/>
                </a:lnTo>
                <a:lnTo>
                  <a:pt x="6306842" y="3528578"/>
                </a:lnTo>
                <a:lnTo>
                  <a:pt x="6096829" y="3318189"/>
                </a:lnTo>
                <a:lnTo>
                  <a:pt x="6085351" y="3290451"/>
                </a:lnTo>
                <a:lnTo>
                  <a:pt x="6096828" y="3262809"/>
                </a:lnTo>
                <a:lnTo>
                  <a:pt x="6175308" y="3184077"/>
                </a:lnTo>
                <a:cubicBezTo>
                  <a:pt x="6182700" y="3176675"/>
                  <a:pt x="6192430" y="3172530"/>
                  <a:pt x="6202937" y="3172530"/>
                </a:cubicBezTo>
                <a:close/>
                <a:moveTo>
                  <a:pt x="4149121" y="3172517"/>
                </a:moveTo>
                <a:cubicBezTo>
                  <a:pt x="4159627" y="3172517"/>
                  <a:pt x="4169485" y="3176668"/>
                  <a:pt x="4176879" y="3184064"/>
                </a:cubicBezTo>
                <a:lnTo>
                  <a:pt x="4241479" y="3248792"/>
                </a:lnTo>
                <a:lnTo>
                  <a:pt x="4253023" y="3260467"/>
                </a:lnTo>
                <a:lnTo>
                  <a:pt x="4264568" y="3248792"/>
                </a:lnTo>
                <a:lnTo>
                  <a:pt x="4329039" y="3184064"/>
                </a:lnTo>
                <a:cubicBezTo>
                  <a:pt x="4336432" y="3176541"/>
                  <a:pt x="4346290" y="3172517"/>
                  <a:pt x="4356796" y="3172517"/>
                </a:cubicBezTo>
                <a:cubicBezTo>
                  <a:pt x="4367175" y="3172517"/>
                  <a:pt x="4377034" y="3176668"/>
                  <a:pt x="4384426" y="3184064"/>
                </a:cubicBezTo>
                <a:lnTo>
                  <a:pt x="4462907" y="3262673"/>
                </a:lnTo>
                <a:lnTo>
                  <a:pt x="4474450" y="3290428"/>
                </a:lnTo>
                <a:lnTo>
                  <a:pt x="4463037" y="3318178"/>
                </a:lnTo>
                <a:lnTo>
                  <a:pt x="4253023" y="3528572"/>
                </a:lnTo>
                <a:lnTo>
                  <a:pt x="4043011" y="3318178"/>
                </a:lnTo>
                <a:lnTo>
                  <a:pt x="4031532" y="3290444"/>
                </a:lnTo>
                <a:lnTo>
                  <a:pt x="4043011" y="3262798"/>
                </a:lnTo>
                <a:lnTo>
                  <a:pt x="4121491" y="3184064"/>
                </a:lnTo>
                <a:cubicBezTo>
                  <a:pt x="4128884" y="3176668"/>
                  <a:pt x="4138613" y="3172517"/>
                  <a:pt x="4149121" y="3172517"/>
                </a:cubicBezTo>
                <a:close/>
                <a:moveTo>
                  <a:pt x="6202938" y="3156047"/>
                </a:moveTo>
                <a:cubicBezTo>
                  <a:pt x="6188669" y="3156047"/>
                  <a:pt x="6174529" y="3161489"/>
                  <a:pt x="6163763" y="3172391"/>
                </a:cubicBezTo>
                <a:lnTo>
                  <a:pt x="6085284" y="3251125"/>
                </a:lnTo>
                <a:cubicBezTo>
                  <a:pt x="6074453" y="3261956"/>
                  <a:pt x="6069037" y="3276194"/>
                  <a:pt x="6069037" y="3290430"/>
                </a:cubicBezTo>
                <a:lnTo>
                  <a:pt x="6069038" y="3290435"/>
                </a:lnTo>
                <a:lnTo>
                  <a:pt x="6069036" y="3290444"/>
                </a:lnTo>
                <a:cubicBezTo>
                  <a:pt x="6069036" y="3304677"/>
                  <a:pt x="6074451" y="3318916"/>
                  <a:pt x="6085283" y="3329746"/>
                </a:cubicBezTo>
                <a:lnTo>
                  <a:pt x="6306841" y="3551798"/>
                </a:lnTo>
                <a:lnTo>
                  <a:pt x="6528398" y="3329746"/>
                </a:lnTo>
                <a:cubicBezTo>
                  <a:pt x="6539229" y="3318916"/>
                  <a:pt x="6544645" y="3304677"/>
                  <a:pt x="6544645" y="3290444"/>
                </a:cubicBezTo>
                <a:lnTo>
                  <a:pt x="6544644" y="3290436"/>
                </a:lnTo>
                <a:lnTo>
                  <a:pt x="6544646" y="3290430"/>
                </a:lnTo>
                <a:cubicBezTo>
                  <a:pt x="6544646" y="3276194"/>
                  <a:pt x="6539231" y="3261956"/>
                  <a:pt x="6528399" y="3251125"/>
                </a:cubicBezTo>
                <a:lnTo>
                  <a:pt x="6449921" y="3172523"/>
                </a:lnTo>
                <a:cubicBezTo>
                  <a:pt x="6439023" y="3161619"/>
                  <a:pt x="6424885" y="3156175"/>
                  <a:pt x="6410746" y="3156175"/>
                </a:cubicBezTo>
                <a:lnTo>
                  <a:pt x="6410616" y="3156047"/>
                </a:lnTo>
                <a:cubicBezTo>
                  <a:pt x="6396348" y="3156047"/>
                  <a:pt x="6382207" y="3161489"/>
                  <a:pt x="6371311" y="3172523"/>
                </a:cubicBezTo>
                <a:lnTo>
                  <a:pt x="6306842" y="3237116"/>
                </a:lnTo>
                <a:lnTo>
                  <a:pt x="6242243" y="3172391"/>
                </a:lnTo>
                <a:cubicBezTo>
                  <a:pt x="6231345" y="3161489"/>
                  <a:pt x="6217207" y="3156047"/>
                  <a:pt x="6202938" y="3156047"/>
                </a:cubicBezTo>
                <a:close/>
                <a:moveTo>
                  <a:pt x="4149121" y="3156035"/>
                </a:moveTo>
                <a:cubicBezTo>
                  <a:pt x="4134850" y="3156035"/>
                  <a:pt x="4120711" y="3161479"/>
                  <a:pt x="4109946" y="3172384"/>
                </a:cubicBezTo>
                <a:lnTo>
                  <a:pt x="4031466" y="3251119"/>
                </a:lnTo>
                <a:cubicBezTo>
                  <a:pt x="4020634" y="3261948"/>
                  <a:pt x="4015219" y="3276185"/>
                  <a:pt x="4015219" y="3290423"/>
                </a:cubicBezTo>
                <a:lnTo>
                  <a:pt x="4015220" y="3290428"/>
                </a:lnTo>
                <a:lnTo>
                  <a:pt x="4015219" y="3290430"/>
                </a:lnTo>
                <a:cubicBezTo>
                  <a:pt x="4015219" y="3304668"/>
                  <a:pt x="4020634" y="3318903"/>
                  <a:pt x="4031466" y="3329734"/>
                </a:cubicBezTo>
                <a:lnTo>
                  <a:pt x="4253023" y="3551795"/>
                </a:lnTo>
                <a:lnTo>
                  <a:pt x="4474582" y="3329734"/>
                </a:lnTo>
                <a:cubicBezTo>
                  <a:pt x="4485413" y="3318903"/>
                  <a:pt x="4490828" y="3304668"/>
                  <a:pt x="4490828" y="3290430"/>
                </a:cubicBezTo>
                <a:lnTo>
                  <a:pt x="4490827" y="3290428"/>
                </a:lnTo>
                <a:lnTo>
                  <a:pt x="4490828" y="3290423"/>
                </a:lnTo>
                <a:cubicBezTo>
                  <a:pt x="4490828" y="3276185"/>
                  <a:pt x="4485413" y="3261948"/>
                  <a:pt x="4474582" y="3251119"/>
                </a:cubicBezTo>
                <a:lnTo>
                  <a:pt x="4396102" y="3172509"/>
                </a:lnTo>
                <a:cubicBezTo>
                  <a:pt x="4385206" y="3161610"/>
                  <a:pt x="4371067" y="3156164"/>
                  <a:pt x="4356927" y="3156164"/>
                </a:cubicBezTo>
                <a:lnTo>
                  <a:pt x="4356796" y="3156035"/>
                </a:lnTo>
                <a:cubicBezTo>
                  <a:pt x="4342528" y="3156035"/>
                  <a:pt x="4328390" y="3161479"/>
                  <a:pt x="4317494" y="3172509"/>
                </a:cubicBezTo>
                <a:lnTo>
                  <a:pt x="4253023" y="3237109"/>
                </a:lnTo>
                <a:lnTo>
                  <a:pt x="4188424" y="3172384"/>
                </a:lnTo>
                <a:cubicBezTo>
                  <a:pt x="4177528" y="3161479"/>
                  <a:pt x="4163389" y="3156035"/>
                  <a:pt x="4149121" y="3156035"/>
                </a:cubicBezTo>
                <a:close/>
                <a:moveTo>
                  <a:pt x="4946105" y="2945507"/>
                </a:moveTo>
                <a:lnTo>
                  <a:pt x="5271566" y="3133865"/>
                </a:lnTo>
                <a:lnTo>
                  <a:pt x="5271566" y="3510673"/>
                </a:lnTo>
                <a:lnTo>
                  <a:pt x="4946105" y="3322337"/>
                </a:lnTo>
                <a:close/>
                <a:moveTo>
                  <a:pt x="4929760" y="2945507"/>
                </a:moveTo>
                <a:lnTo>
                  <a:pt x="4929760" y="3322337"/>
                </a:lnTo>
                <a:lnTo>
                  <a:pt x="4604170" y="3510673"/>
                </a:lnTo>
                <a:lnTo>
                  <a:pt x="4604170" y="3133865"/>
                </a:lnTo>
                <a:close/>
                <a:moveTo>
                  <a:pt x="2875968" y="2945499"/>
                </a:moveTo>
                <a:lnTo>
                  <a:pt x="2875968" y="2963225"/>
                </a:lnTo>
                <a:lnTo>
                  <a:pt x="2864951" y="2951874"/>
                </a:lnTo>
                <a:close/>
                <a:moveTo>
                  <a:pt x="2892309" y="2945497"/>
                </a:moveTo>
                <a:lnTo>
                  <a:pt x="3217751" y="3133857"/>
                </a:lnTo>
                <a:lnTo>
                  <a:pt x="3217751" y="3315377"/>
                </a:lnTo>
                <a:lnTo>
                  <a:pt x="2892309" y="2980062"/>
                </a:lnTo>
                <a:close/>
                <a:moveTo>
                  <a:pt x="5621673" y="2940707"/>
                </a:moveTo>
                <a:lnTo>
                  <a:pt x="5955437" y="3133865"/>
                </a:lnTo>
                <a:lnTo>
                  <a:pt x="5955437" y="3520144"/>
                </a:lnTo>
                <a:lnTo>
                  <a:pt x="5621803" y="3713296"/>
                </a:lnTo>
                <a:lnTo>
                  <a:pt x="5288040" y="3520144"/>
                </a:lnTo>
                <a:lnTo>
                  <a:pt x="5288040" y="3133865"/>
                </a:lnTo>
                <a:close/>
                <a:moveTo>
                  <a:pt x="3567855" y="2940696"/>
                </a:moveTo>
                <a:lnTo>
                  <a:pt x="3901618" y="3133857"/>
                </a:lnTo>
                <a:lnTo>
                  <a:pt x="3901618" y="3520138"/>
                </a:lnTo>
                <a:lnTo>
                  <a:pt x="3591012" y="3699963"/>
                </a:lnTo>
                <a:lnTo>
                  <a:pt x="3234224" y="3332350"/>
                </a:lnTo>
                <a:lnTo>
                  <a:pt x="3234224" y="3133857"/>
                </a:lnTo>
                <a:close/>
                <a:moveTo>
                  <a:pt x="6306711" y="2940462"/>
                </a:moveTo>
                <a:lnTo>
                  <a:pt x="6640474" y="3133615"/>
                </a:lnTo>
                <a:lnTo>
                  <a:pt x="6640474" y="3519754"/>
                </a:lnTo>
                <a:lnTo>
                  <a:pt x="6306711" y="3712908"/>
                </a:lnTo>
                <a:lnTo>
                  <a:pt x="5972948" y="3519753"/>
                </a:lnTo>
                <a:lnTo>
                  <a:pt x="5972948" y="3133615"/>
                </a:lnTo>
                <a:close/>
                <a:moveTo>
                  <a:pt x="4252895" y="2940450"/>
                </a:moveTo>
                <a:lnTo>
                  <a:pt x="4586658" y="3133605"/>
                </a:lnTo>
                <a:lnTo>
                  <a:pt x="4586658" y="3519749"/>
                </a:lnTo>
                <a:lnTo>
                  <a:pt x="4252895" y="3712903"/>
                </a:lnTo>
                <a:lnTo>
                  <a:pt x="3919130" y="3519749"/>
                </a:lnTo>
                <a:lnTo>
                  <a:pt x="3919130" y="3133605"/>
                </a:lnTo>
                <a:close/>
                <a:moveTo>
                  <a:pt x="5964905" y="2742638"/>
                </a:moveTo>
                <a:lnTo>
                  <a:pt x="6290355" y="2930991"/>
                </a:lnTo>
                <a:lnTo>
                  <a:pt x="5964776" y="3119333"/>
                </a:lnTo>
                <a:lnTo>
                  <a:pt x="5639325" y="2930985"/>
                </a:lnTo>
                <a:close/>
                <a:moveTo>
                  <a:pt x="3911088" y="2742623"/>
                </a:moveTo>
                <a:lnTo>
                  <a:pt x="4236538" y="2930975"/>
                </a:lnTo>
                <a:lnTo>
                  <a:pt x="3910958" y="3119325"/>
                </a:lnTo>
                <a:lnTo>
                  <a:pt x="3585509" y="2930975"/>
                </a:lnTo>
                <a:close/>
                <a:moveTo>
                  <a:pt x="5175964" y="2578668"/>
                </a:moveTo>
                <a:cubicBezTo>
                  <a:pt x="5186472" y="2578668"/>
                  <a:pt x="5196330" y="2582821"/>
                  <a:pt x="5203724" y="2590216"/>
                </a:cubicBezTo>
                <a:lnTo>
                  <a:pt x="5268323" y="2654936"/>
                </a:lnTo>
                <a:lnTo>
                  <a:pt x="5279868" y="2666615"/>
                </a:lnTo>
                <a:lnTo>
                  <a:pt x="5291413" y="2654936"/>
                </a:lnTo>
                <a:lnTo>
                  <a:pt x="5355882" y="2590216"/>
                </a:lnTo>
                <a:cubicBezTo>
                  <a:pt x="5363277" y="2582687"/>
                  <a:pt x="5373135" y="2578668"/>
                  <a:pt x="5383641" y="2578668"/>
                </a:cubicBezTo>
                <a:cubicBezTo>
                  <a:pt x="5394020" y="2578668"/>
                  <a:pt x="5403879" y="2582821"/>
                  <a:pt x="5411271" y="2590216"/>
                </a:cubicBezTo>
                <a:lnTo>
                  <a:pt x="5489752" y="2668813"/>
                </a:lnTo>
                <a:cubicBezTo>
                  <a:pt x="5497145" y="2676206"/>
                  <a:pt x="5501166" y="2686067"/>
                  <a:pt x="5501297" y="2696569"/>
                </a:cubicBezTo>
                <a:cubicBezTo>
                  <a:pt x="5501297" y="2707074"/>
                  <a:pt x="5497274" y="2716935"/>
                  <a:pt x="5489882" y="2724335"/>
                </a:cubicBezTo>
                <a:lnTo>
                  <a:pt x="5279868" y="2934740"/>
                </a:lnTo>
                <a:lnTo>
                  <a:pt x="5069856" y="2724335"/>
                </a:lnTo>
                <a:cubicBezTo>
                  <a:pt x="5054548" y="2709022"/>
                  <a:pt x="5054548" y="2684118"/>
                  <a:pt x="5069856" y="2668949"/>
                </a:cubicBezTo>
                <a:lnTo>
                  <a:pt x="5148334" y="2590216"/>
                </a:lnTo>
                <a:cubicBezTo>
                  <a:pt x="5155729" y="2582821"/>
                  <a:pt x="5165458" y="2578668"/>
                  <a:pt x="5175964" y="2578668"/>
                </a:cubicBezTo>
                <a:close/>
                <a:moveTo>
                  <a:pt x="3122155" y="2578647"/>
                </a:moveTo>
                <a:cubicBezTo>
                  <a:pt x="3132662" y="2578647"/>
                  <a:pt x="3142519" y="2582804"/>
                  <a:pt x="3149912" y="2590201"/>
                </a:cubicBezTo>
                <a:lnTo>
                  <a:pt x="3214509" y="2654925"/>
                </a:lnTo>
                <a:lnTo>
                  <a:pt x="3226054" y="2666599"/>
                </a:lnTo>
                <a:lnTo>
                  <a:pt x="3237595" y="2654925"/>
                </a:lnTo>
                <a:lnTo>
                  <a:pt x="3302064" y="2590201"/>
                </a:lnTo>
                <a:cubicBezTo>
                  <a:pt x="3309458" y="2582677"/>
                  <a:pt x="3319316" y="2578647"/>
                  <a:pt x="3329824" y="2578647"/>
                </a:cubicBezTo>
                <a:cubicBezTo>
                  <a:pt x="3340201" y="2578647"/>
                  <a:pt x="3350059" y="2582804"/>
                  <a:pt x="3357454" y="2590201"/>
                </a:cubicBezTo>
                <a:lnTo>
                  <a:pt x="3435933" y="2668806"/>
                </a:lnTo>
                <a:cubicBezTo>
                  <a:pt x="3443327" y="2676195"/>
                  <a:pt x="3447348" y="2686054"/>
                  <a:pt x="3447478" y="2696558"/>
                </a:cubicBezTo>
                <a:cubicBezTo>
                  <a:pt x="3447478" y="2707064"/>
                  <a:pt x="3443457" y="2716922"/>
                  <a:pt x="3436062" y="2724322"/>
                </a:cubicBezTo>
                <a:lnTo>
                  <a:pt x="3226054" y="2934732"/>
                </a:lnTo>
                <a:lnTo>
                  <a:pt x="3016052" y="2724322"/>
                </a:lnTo>
                <a:cubicBezTo>
                  <a:pt x="3000747" y="2709013"/>
                  <a:pt x="3000747" y="2684109"/>
                  <a:pt x="3016052" y="2668929"/>
                </a:cubicBezTo>
                <a:lnTo>
                  <a:pt x="3094528" y="2590201"/>
                </a:lnTo>
                <a:cubicBezTo>
                  <a:pt x="3101920" y="2582804"/>
                  <a:pt x="3111648" y="2578647"/>
                  <a:pt x="3122155" y="2578647"/>
                </a:cubicBezTo>
                <a:close/>
                <a:moveTo>
                  <a:pt x="5175964" y="2562187"/>
                </a:moveTo>
                <a:cubicBezTo>
                  <a:pt x="5161695" y="2562187"/>
                  <a:pt x="5147556" y="2567640"/>
                  <a:pt x="5136789" y="2578533"/>
                </a:cubicBezTo>
                <a:lnTo>
                  <a:pt x="5058311" y="2657273"/>
                </a:lnTo>
                <a:cubicBezTo>
                  <a:pt x="5036648" y="2678932"/>
                  <a:pt x="5036648" y="2714210"/>
                  <a:pt x="5058311" y="2735878"/>
                </a:cubicBezTo>
                <a:lnTo>
                  <a:pt x="5279868" y="2957963"/>
                </a:lnTo>
                <a:lnTo>
                  <a:pt x="5501427" y="2735878"/>
                </a:lnTo>
                <a:cubicBezTo>
                  <a:pt x="5523089" y="2714210"/>
                  <a:pt x="5523089" y="2678932"/>
                  <a:pt x="5501427" y="2657273"/>
                </a:cubicBezTo>
                <a:lnTo>
                  <a:pt x="5422947" y="2578668"/>
                </a:lnTo>
                <a:cubicBezTo>
                  <a:pt x="5412051" y="2567767"/>
                  <a:pt x="5397911" y="2562324"/>
                  <a:pt x="5383772" y="2562324"/>
                </a:cubicBezTo>
                <a:lnTo>
                  <a:pt x="5383641" y="2562187"/>
                </a:lnTo>
                <a:cubicBezTo>
                  <a:pt x="5369373" y="2562187"/>
                  <a:pt x="5355235" y="2567640"/>
                  <a:pt x="5344337" y="2578668"/>
                </a:cubicBezTo>
                <a:lnTo>
                  <a:pt x="5279868" y="2643266"/>
                </a:lnTo>
                <a:lnTo>
                  <a:pt x="5215269" y="2578533"/>
                </a:lnTo>
                <a:cubicBezTo>
                  <a:pt x="5204373" y="2567640"/>
                  <a:pt x="5190232" y="2562187"/>
                  <a:pt x="5175964" y="2562187"/>
                </a:cubicBezTo>
                <a:close/>
                <a:moveTo>
                  <a:pt x="3122155" y="2562181"/>
                </a:moveTo>
                <a:cubicBezTo>
                  <a:pt x="3107888" y="2562181"/>
                  <a:pt x="3093747" y="2567620"/>
                  <a:pt x="3082983" y="2578524"/>
                </a:cubicBezTo>
                <a:lnTo>
                  <a:pt x="3004507" y="2657262"/>
                </a:lnTo>
                <a:cubicBezTo>
                  <a:pt x="2982851" y="2678919"/>
                  <a:pt x="2982851" y="2714205"/>
                  <a:pt x="3004507" y="2735865"/>
                </a:cubicBezTo>
                <a:lnTo>
                  <a:pt x="3226054" y="2957948"/>
                </a:lnTo>
                <a:lnTo>
                  <a:pt x="3447607" y="2735865"/>
                </a:lnTo>
                <a:cubicBezTo>
                  <a:pt x="3469271" y="2714205"/>
                  <a:pt x="3469271" y="2678919"/>
                  <a:pt x="3447607" y="2657262"/>
                </a:cubicBezTo>
                <a:lnTo>
                  <a:pt x="3369129" y="2578647"/>
                </a:lnTo>
                <a:cubicBezTo>
                  <a:pt x="3358231" y="2567753"/>
                  <a:pt x="3344093" y="2562308"/>
                  <a:pt x="3329954" y="2562308"/>
                </a:cubicBezTo>
                <a:lnTo>
                  <a:pt x="3329824" y="2562181"/>
                </a:lnTo>
                <a:cubicBezTo>
                  <a:pt x="3315556" y="2562181"/>
                  <a:pt x="3301415" y="2567620"/>
                  <a:pt x="3290519" y="2578647"/>
                </a:cubicBezTo>
                <a:lnTo>
                  <a:pt x="3226054" y="2643253"/>
                </a:lnTo>
                <a:lnTo>
                  <a:pt x="3161457" y="2578524"/>
                </a:lnTo>
                <a:cubicBezTo>
                  <a:pt x="3150561" y="2567620"/>
                  <a:pt x="3136423" y="2562181"/>
                  <a:pt x="3122155" y="2562181"/>
                </a:cubicBezTo>
                <a:close/>
                <a:moveTo>
                  <a:pt x="5973078" y="2351669"/>
                </a:moveTo>
                <a:lnTo>
                  <a:pt x="6298538" y="2540021"/>
                </a:lnTo>
                <a:lnTo>
                  <a:pt x="6298538" y="2916842"/>
                </a:lnTo>
                <a:lnTo>
                  <a:pt x="5973078" y="2728478"/>
                </a:lnTo>
                <a:close/>
                <a:moveTo>
                  <a:pt x="5956733" y="2351669"/>
                </a:moveTo>
                <a:lnTo>
                  <a:pt x="5956733" y="2728481"/>
                </a:lnTo>
                <a:lnTo>
                  <a:pt x="5631143" y="2916842"/>
                </a:lnTo>
                <a:lnTo>
                  <a:pt x="5631143" y="2540021"/>
                </a:lnTo>
                <a:close/>
                <a:moveTo>
                  <a:pt x="3919260" y="2351657"/>
                </a:moveTo>
                <a:lnTo>
                  <a:pt x="4244722" y="2540012"/>
                </a:lnTo>
                <a:lnTo>
                  <a:pt x="4244722" y="2916827"/>
                </a:lnTo>
                <a:lnTo>
                  <a:pt x="3919260" y="2728471"/>
                </a:lnTo>
                <a:close/>
                <a:moveTo>
                  <a:pt x="3902916" y="2351657"/>
                </a:moveTo>
                <a:lnTo>
                  <a:pt x="3902916" y="2728471"/>
                </a:lnTo>
                <a:lnTo>
                  <a:pt x="3577325" y="2916827"/>
                </a:lnTo>
                <a:lnTo>
                  <a:pt x="3577325" y="2540012"/>
                </a:lnTo>
                <a:close/>
                <a:moveTo>
                  <a:pt x="6648646" y="2346870"/>
                </a:moveTo>
                <a:lnTo>
                  <a:pt x="6656228" y="2351258"/>
                </a:lnTo>
                <a:lnTo>
                  <a:pt x="6656228" y="3115151"/>
                </a:lnTo>
                <a:lnTo>
                  <a:pt x="6648777" y="3119464"/>
                </a:lnTo>
                <a:lnTo>
                  <a:pt x="6315014" y="2926315"/>
                </a:lnTo>
                <a:lnTo>
                  <a:pt x="6315014" y="2540021"/>
                </a:lnTo>
                <a:close/>
                <a:moveTo>
                  <a:pt x="4594830" y="2346860"/>
                </a:moveTo>
                <a:lnTo>
                  <a:pt x="4928593" y="2540012"/>
                </a:lnTo>
                <a:lnTo>
                  <a:pt x="4928593" y="2926298"/>
                </a:lnTo>
                <a:lnTo>
                  <a:pt x="4594960" y="3119455"/>
                </a:lnTo>
                <a:lnTo>
                  <a:pt x="4261195" y="2926298"/>
                </a:lnTo>
                <a:lnTo>
                  <a:pt x="4261195" y="2540012"/>
                </a:lnTo>
                <a:close/>
                <a:moveTo>
                  <a:pt x="2540928" y="2346843"/>
                </a:moveTo>
                <a:lnTo>
                  <a:pt x="2874661" y="2539987"/>
                </a:lnTo>
                <a:lnTo>
                  <a:pt x="2874661" y="2926288"/>
                </a:lnTo>
                <a:lnTo>
                  <a:pt x="2852546" y="2939092"/>
                </a:lnTo>
                <a:lnTo>
                  <a:pt x="2372424" y="2444403"/>
                </a:lnTo>
                <a:close/>
                <a:moveTo>
                  <a:pt x="5279738" y="2346470"/>
                </a:moveTo>
                <a:lnTo>
                  <a:pt x="5613501" y="2539621"/>
                </a:lnTo>
                <a:lnTo>
                  <a:pt x="5613501" y="2925792"/>
                </a:lnTo>
                <a:lnTo>
                  <a:pt x="5279738" y="3118942"/>
                </a:lnTo>
                <a:lnTo>
                  <a:pt x="4945975" y="2925792"/>
                </a:lnTo>
                <a:lnTo>
                  <a:pt x="4945975" y="2539621"/>
                </a:lnTo>
                <a:close/>
                <a:moveTo>
                  <a:pt x="3225921" y="2346447"/>
                </a:moveTo>
                <a:lnTo>
                  <a:pt x="3559683" y="2539608"/>
                </a:lnTo>
                <a:lnTo>
                  <a:pt x="3559683" y="2925780"/>
                </a:lnTo>
                <a:lnTo>
                  <a:pt x="3225921" y="3118929"/>
                </a:lnTo>
                <a:lnTo>
                  <a:pt x="2892183" y="2925780"/>
                </a:lnTo>
                <a:lnTo>
                  <a:pt x="2892183" y="2539608"/>
                </a:lnTo>
                <a:close/>
                <a:moveTo>
                  <a:pt x="4937933" y="2148635"/>
                </a:moveTo>
                <a:lnTo>
                  <a:pt x="5263389" y="2336987"/>
                </a:lnTo>
                <a:lnTo>
                  <a:pt x="4937803" y="2525343"/>
                </a:lnTo>
                <a:lnTo>
                  <a:pt x="4612346" y="2336987"/>
                </a:lnTo>
                <a:close/>
                <a:moveTo>
                  <a:pt x="2884137" y="2148623"/>
                </a:moveTo>
                <a:lnTo>
                  <a:pt x="3209574" y="2336977"/>
                </a:lnTo>
                <a:lnTo>
                  <a:pt x="2884008" y="2525334"/>
                </a:lnTo>
                <a:lnTo>
                  <a:pt x="2558574" y="2336977"/>
                </a:lnTo>
                <a:close/>
                <a:moveTo>
                  <a:pt x="6202937" y="1984692"/>
                </a:moveTo>
                <a:cubicBezTo>
                  <a:pt x="6213443" y="1984692"/>
                  <a:pt x="6223302" y="1988843"/>
                  <a:pt x="6230697" y="1996238"/>
                </a:cubicBezTo>
                <a:lnTo>
                  <a:pt x="6295296" y="2060967"/>
                </a:lnTo>
                <a:lnTo>
                  <a:pt x="6306841" y="2072641"/>
                </a:lnTo>
                <a:lnTo>
                  <a:pt x="6318386" y="2060967"/>
                </a:lnTo>
                <a:lnTo>
                  <a:pt x="6382855" y="1996238"/>
                </a:lnTo>
                <a:cubicBezTo>
                  <a:pt x="6390249" y="1988714"/>
                  <a:pt x="6400107" y="1984692"/>
                  <a:pt x="6410615" y="1984692"/>
                </a:cubicBezTo>
                <a:cubicBezTo>
                  <a:pt x="6420991" y="1984692"/>
                  <a:pt x="6430850" y="1988843"/>
                  <a:pt x="6438245" y="1996238"/>
                </a:cubicBezTo>
                <a:lnTo>
                  <a:pt x="6516723" y="2074846"/>
                </a:lnTo>
                <a:lnTo>
                  <a:pt x="6528265" y="2102601"/>
                </a:lnTo>
                <a:lnTo>
                  <a:pt x="6516854" y="2130340"/>
                </a:lnTo>
                <a:lnTo>
                  <a:pt x="6306842" y="2340755"/>
                </a:lnTo>
                <a:lnTo>
                  <a:pt x="6096829" y="2130340"/>
                </a:lnTo>
                <a:lnTo>
                  <a:pt x="6085352" y="2102615"/>
                </a:lnTo>
                <a:lnTo>
                  <a:pt x="6096828" y="2074978"/>
                </a:lnTo>
                <a:lnTo>
                  <a:pt x="6175308" y="1996238"/>
                </a:lnTo>
                <a:cubicBezTo>
                  <a:pt x="6182700" y="1988843"/>
                  <a:pt x="6192430" y="1984692"/>
                  <a:pt x="6202937" y="1984692"/>
                </a:cubicBezTo>
                <a:close/>
                <a:moveTo>
                  <a:pt x="4149121" y="1984677"/>
                </a:moveTo>
                <a:cubicBezTo>
                  <a:pt x="4159627" y="1984677"/>
                  <a:pt x="4169485" y="1988828"/>
                  <a:pt x="4176879" y="1996221"/>
                </a:cubicBezTo>
                <a:lnTo>
                  <a:pt x="4241479" y="2060951"/>
                </a:lnTo>
                <a:lnTo>
                  <a:pt x="4253023" y="2072625"/>
                </a:lnTo>
                <a:lnTo>
                  <a:pt x="4264568" y="2060951"/>
                </a:lnTo>
                <a:lnTo>
                  <a:pt x="4329039" y="1996221"/>
                </a:lnTo>
                <a:cubicBezTo>
                  <a:pt x="4336432" y="1988696"/>
                  <a:pt x="4346290" y="1984677"/>
                  <a:pt x="4356796" y="1984677"/>
                </a:cubicBezTo>
                <a:cubicBezTo>
                  <a:pt x="4367175" y="1984677"/>
                  <a:pt x="4377034" y="1988828"/>
                  <a:pt x="4384426" y="1996221"/>
                </a:cubicBezTo>
                <a:lnTo>
                  <a:pt x="4462907" y="2074831"/>
                </a:lnTo>
                <a:lnTo>
                  <a:pt x="4474448" y="2102583"/>
                </a:lnTo>
                <a:lnTo>
                  <a:pt x="4463037" y="2130329"/>
                </a:lnTo>
                <a:lnTo>
                  <a:pt x="4253023" y="2340739"/>
                </a:lnTo>
                <a:lnTo>
                  <a:pt x="4043011" y="2130329"/>
                </a:lnTo>
                <a:lnTo>
                  <a:pt x="4031533" y="2102601"/>
                </a:lnTo>
                <a:lnTo>
                  <a:pt x="4043011" y="2074961"/>
                </a:lnTo>
                <a:lnTo>
                  <a:pt x="4121491" y="1996221"/>
                </a:lnTo>
                <a:cubicBezTo>
                  <a:pt x="4128884" y="1988828"/>
                  <a:pt x="4138613" y="1984677"/>
                  <a:pt x="4149121" y="1984677"/>
                </a:cubicBezTo>
                <a:close/>
                <a:moveTo>
                  <a:pt x="2095208" y="1984659"/>
                </a:moveTo>
                <a:cubicBezTo>
                  <a:pt x="2105717" y="1984659"/>
                  <a:pt x="2115584" y="1988810"/>
                  <a:pt x="2122976" y="1996205"/>
                </a:cubicBezTo>
                <a:lnTo>
                  <a:pt x="2164254" y="2037554"/>
                </a:lnTo>
                <a:lnTo>
                  <a:pt x="2187566" y="2060919"/>
                </a:lnTo>
                <a:lnTo>
                  <a:pt x="2199128" y="2072595"/>
                </a:lnTo>
                <a:lnTo>
                  <a:pt x="2199128" y="2072592"/>
                </a:lnTo>
                <a:lnTo>
                  <a:pt x="2199140" y="2072609"/>
                </a:lnTo>
                <a:lnTo>
                  <a:pt x="2210687" y="2060935"/>
                </a:lnTo>
                <a:lnTo>
                  <a:pt x="2275136" y="1996205"/>
                </a:lnTo>
                <a:cubicBezTo>
                  <a:pt x="2282528" y="1988680"/>
                  <a:pt x="2292383" y="1984659"/>
                  <a:pt x="2302886" y="1984659"/>
                </a:cubicBezTo>
                <a:lnTo>
                  <a:pt x="2330532" y="1996203"/>
                </a:lnTo>
                <a:lnTo>
                  <a:pt x="2377691" y="2043461"/>
                </a:lnTo>
                <a:lnTo>
                  <a:pt x="2408991" y="2074804"/>
                </a:lnTo>
                <a:lnTo>
                  <a:pt x="2420524" y="2102560"/>
                </a:lnTo>
                <a:cubicBezTo>
                  <a:pt x="2420524" y="2113068"/>
                  <a:pt x="2416515" y="2122919"/>
                  <a:pt x="2409116" y="2130322"/>
                </a:cubicBezTo>
                <a:lnTo>
                  <a:pt x="2235969" y="2303808"/>
                </a:lnTo>
                <a:lnTo>
                  <a:pt x="2001631" y="2062361"/>
                </a:lnTo>
                <a:lnTo>
                  <a:pt x="2067563" y="1996205"/>
                </a:lnTo>
                <a:cubicBezTo>
                  <a:pt x="2074962" y="1988810"/>
                  <a:pt x="2084695" y="1984659"/>
                  <a:pt x="2095208" y="1984659"/>
                </a:cubicBezTo>
                <a:close/>
                <a:moveTo>
                  <a:pt x="6202938" y="1968203"/>
                </a:moveTo>
                <a:cubicBezTo>
                  <a:pt x="6188669" y="1968203"/>
                  <a:pt x="6174529" y="1973653"/>
                  <a:pt x="6163763" y="1984547"/>
                </a:cubicBezTo>
                <a:lnTo>
                  <a:pt x="6085284" y="2063287"/>
                </a:lnTo>
                <a:cubicBezTo>
                  <a:pt x="6074453" y="2074118"/>
                  <a:pt x="6069037" y="2088355"/>
                  <a:pt x="6069037" y="2102593"/>
                </a:cubicBezTo>
                <a:lnTo>
                  <a:pt x="6069039" y="2102598"/>
                </a:lnTo>
                <a:lnTo>
                  <a:pt x="6069036" y="2102606"/>
                </a:lnTo>
                <a:cubicBezTo>
                  <a:pt x="6069036" y="2116838"/>
                  <a:pt x="6074451" y="2131068"/>
                  <a:pt x="6085283" y="2141902"/>
                </a:cubicBezTo>
                <a:lnTo>
                  <a:pt x="6306841" y="2363983"/>
                </a:lnTo>
                <a:lnTo>
                  <a:pt x="6528398" y="2141902"/>
                </a:lnTo>
                <a:cubicBezTo>
                  <a:pt x="6539230" y="2131068"/>
                  <a:pt x="6544645" y="2116838"/>
                  <a:pt x="6544645" y="2102606"/>
                </a:cubicBezTo>
                <a:lnTo>
                  <a:pt x="6544643" y="2102601"/>
                </a:lnTo>
                <a:lnTo>
                  <a:pt x="6544646" y="2102593"/>
                </a:lnTo>
                <a:cubicBezTo>
                  <a:pt x="6544646" y="2088355"/>
                  <a:pt x="6539230" y="2074118"/>
                  <a:pt x="6528399" y="2063287"/>
                </a:cubicBezTo>
                <a:lnTo>
                  <a:pt x="6449921" y="1984677"/>
                </a:lnTo>
                <a:cubicBezTo>
                  <a:pt x="6439023" y="1973780"/>
                  <a:pt x="6424885" y="1968333"/>
                  <a:pt x="6410746" y="1968333"/>
                </a:cubicBezTo>
                <a:lnTo>
                  <a:pt x="6410616" y="1968203"/>
                </a:lnTo>
                <a:cubicBezTo>
                  <a:pt x="6396348" y="1968203"/>
                  <a:pt x="6382207" y="1973653"/>
                  <a:pt x="6371311" y="1984677"/>
                </a:cubicBezTo>
                <a:lnTo>
                  <a:pt x="6306842" y="2049278"/>
                </a:lnTo>
                <a:lnTo>
                  <a:pt x="6242243" y="1984547"/>
                </a:lnTo>
                <a:cubicBezTo>
                  <a:pt x="6231345" y="1973653"/>
                  <a:pt x="6217207" y="1968203"/>
                  <a:pt x="6202938" y="1968203"/>
                </a:cubicBezTo>
                <a:close/>
                <a:moveTo>
                  <a:pt x="4149121" y="1968186"/>
                </a:moveTo>
                <a:cubicBezTo>
                  <a:pt x="4134850" y="1968186"/>
                  <a:pt x="4120711" y="1973634"/>
                  <a:pt x="4109946" y="1984530"/>
                </a:cubicBezTo>
                <a:lnTo>
                  <a:pt x="4031466" y="2063270"/>
                </a:lnTo>
                <a:cubicBezTo>
                  <a:pt x="4020634" y="2074102"/>
                  <a:pt x="4015218" y="2088339"/>
                  <a:pt x="4015218" y="2102577"/>
                </a:cubicBezTo>
                <a:lnTo>
                  <a:pt x="4015221" y="2102583"/>
                </a:lnTo>
                <a:lnTo>
                  <a:pt x="4015218" y="2102591"/>
                </a:lnTo>
                <a:cubicBezTo>
                  <a:pt x="4015218" y="2116819"/>
                  <a:pt x="4020634" y="2131060"/>
                  <a:pt x="4031466" y="2141896"/>
                </a:cubicBezTo>
                <a:lnTo>
                  <a:pt x="4253023" y="2363976"/>
                </a:lnTo>
                <a:lnTo>
                  <a:pt x="4474582" y="2141896"/>
                </a:lnTo>
                <a:cubicBezTo>
                  <a:pt x="4485413" y="2131060"/>
                  <a:pt x="4490828" y="2116819"/>
                  <a:pt x="4490828" y="2102591"/>
                </a:cubicBezTo>
                <a:lnTo>
                  <a:pt x="4490825" y="2102583"/>
                </a:lnTo>
                <a:lnTo>
                  <a:pt x="4490828" y="2102577"/>
                </a:lnTo>
                <a:cubicBezTo>
                  <a:pt x="4490828" y="2088339"/>
                  <a:pt x="4485413" y="2074102"/>
                  <a:pt x="4474582" y="2063270"/>
                </a:cubicBezTo>
                <a:lnTo>
                  <a:pt x="4396102" y="1984660"/>
                </a:lnTo>
                <a:cubicBezTo>
                  <a:pt x="4385206" y="1973763"/>
                  <a:pt x="4371067" y="1968316"/>
                  <a:pt x="4356927" y="1968316"/>
                </a:cubicBezTo>
                <a:lnTo>
                  <a:pt x="4356796" y="1968186"/>
                </a:lnTo>
                <a:cubicBezTo>
                  <a:pt x="4342528" y="1968186"/>
                  <a:pt x="4328390" y="1973634"/>
                  <a:pt x="4317494" y="1984660"/>
                </a:cubicBezTo>
                <a:lnTo>
                  <a:pt x="4253023" y="2049261"/>
                </a:lnTo>
                <a:lnTo>
                  <a:pt x="4188424" y="1984530"/>
                </a:lnTo>
                <a:cubicBezTo>
                  <a:pt x="4177528" y="1973634"/>
                  <a:pt x="4163389" y="1968186"/>
                  <a:pt x="4149121" y="1968186"/>
                </a:cubicBezTo>
                <a:close/>
                <a:moveTo>
                  <a:pt x="4946105" y="1757662"/>
                </a:moveTo>
                <a:lnTo>
                  <a:pt x="5271566" y="1946022"/>
                </a:lnTo>
                <a:lnTo>
                  <a:pt x="5271566" y="2322839"/>
                </a:lnTo>
                <a:lnTo>
                  <a:pt x="4946105" y="2134492"/>
                </a:lnTo>
                <a:close/>
                <a:moveTo>
                  <a:pt x="4929760" y="1757662"/>
                </a:moveTo>
                <a:lnTo>
                  <a:pt x="4929760" y="2134492"/>
                </a:lnTo>
                <a:lnTo>
                  <a:pt x="4604170" y="2322839"/>
                </a:lnTo>
                <a:lnTo>
                  <a:pt x="4604170" y="1946022"/>
                </a:lnTo>
                <a:close/>
                <a:moveTo>
                  <a:pt x="2875968" y="1757647"/>
                </a:moveTo>
                <a:lnTo>
                  <a:pt x="2875968" y="2134484"/>
                </a:lnTo>
                <a:lnTo>
                  <a:pt x="2550397" y="2322830"/>
                </a:lnTo>
                <a:lnTo>
                  <a:pt x="2550397" y="1946005"/>
                </a:lnTo>
                <a:close/>
                <a:moveTo>
                  <a:pt x="2892311" y="1757646"/>
                </a:moveTo>
                <a:lnTo>
                  <a:pt x="3217751" y="1946005"/>
                </a:lnTo>
                <a:lnTo>
                  <a:pt x="3217751" y="2322830"/>
                </a:lnTo>
                <a:lnTo>
                  <a:pt x="2892311" y="2134484"/>
                </a:lnTo>
                <a:close/>
                <a:moveTo>
                  <a:pt x="5621673" y="1752864"/>
                </a:moveTo>
                <a:lnTo>
                  <a:pt x="5955437" y="1946022"/>
                </a:lnTo>
                <a:lnTo>
                  <a:pt x="5955437" y="2332319"/>
                </a:lnTo>
                <a:lnTo>
                  <a:pt x="5621803" y="2525474"/>
                </a:lnTo>
                <a:lnTo>
                  <a:pt x="5288040" y="2332319"/>
                </a:lnTo>
                <a:lnTo>
                  <a:pt x="5288040" y="1946022"/>
                </a:lnTo>
                <a:close/>
                <a:moveTo>
                  <a:pt x="3567855" y="1752847"/>
                </a:moveTo>
                <a:lnTo>
                  <a:pt x="3901618" y="1946005"/>
                </a:lnTo>
                <a:lnTo>
                  <a:pt x="3901618" y="2332304"/>
                </a:lnTo>
                <a:lnTo>
                  <a:pt x="3567985" y="2525464"/>
                </a:lnTo>
                <a:lnTo>
                  <a:pt x="3234224" y="2332304"/>
                </a:lnTo>
                <a:lnTo>
                  <a:pt x="3234224" y="1946005"/>
                </a:lnTo>
                <a:close/>
                <a:moveTo>
                  <a:pt x="6306711" y="1752617"/>
                </a:moveTo>
                <a:lnTo>
                  <a:pt x="6640474" y="1945779"/>
                </a:lnTo>
                <a:lnTo>
                  <a:pt x="6640474" y="2331929"/>
                </a:lnTo>
                <a:lnTo>
                  <a:pt x="6306711" y="2525089"/>
                </a:lnTo>
                <a:lnTo>
                  <a:pt x="5972948" y="2331929"/>
                </a:lnTo>
                <a:lnTo>
                  <a:pt x="5972948" y="1945778"/>
                </a:lnTo>
                <a:close/>
                <a:moveTo>
                  <a:pt x="4252895" y="1752603"/>
                </a:moveTo>
                <a:lnTo>
                  <a:pt x="4586658" y="1945761"/>
                </a:lnTo>
                <a:lnTo>
                  <a:pt x="4586658" y="2331916"/>
                </a:lnTo>
                <a:lnTo>
                  <a:pt x="4252895" y="2525078"/>
                </a:lnTo>
                <a:lnTo>
                  <a:pt x="3919130" y="2331916"/>
                </a:lnTo>
                <a:lnTo>
                  <a:pt x="3919130" y="1945761"/>
                </a:lnTo>
                <a:close/>
                <a:moveTo>
                  <a:pt x="2199017" y="1752586"/>
                </a:moveTo>
                <a:lnTo>
                  <a:pt x="2405159" y="1871903"/>
                </a:lnTo>
                <a:lnTo>
                  <a:pt x="2532743" y="1945736"/>
                </a:lnTo>
                <a:lnTo>
                  <a:pt x="2532743" y="2331901"/>
                </a:lnTo>
                <a:lnTo>
                  <a:pt x="2360172" y="2431779"/>
                </a:lnTo>
                <a:lnTo>
                  <a:pt x="2247398" y="2315584"/>
                </a:lnTo>
                <a:lnTo>
                  <a:pt x="2420664" y="2141879"/>
                </a:lnTo>
                <a:cubicBezTo>
                  <a:pt x="2442340" y="2120214"/>
                  <a:pt x="2442340" y="2084933"/>
                  <a:pt x="2420664" y="2063270"/>
                </a:cubicBezTo>
                <a:lnTo>
                  <a:pt x="2420660" y="2063260"/>
                </a:lnTo>
                <a:lnTo>
                  <a:pt x="2420658" y="2063254"/>
                </a:lnTo>
                <a:lnTo>
                  <a:pt x="2342174" y="1984644"/>
                </a:lnTo>
                <a:cubicBezTo>
                  <a:pt x="2331285" y="1973748"/>
                  <a:pt x="2317139" y="1968300"/>
                  <a:pt x="2303003" y="1968300"/>
                </a:cubicBezTo>
                <a:lnTo>
                  <a:pt x="2302880" y="1968169"/>
                </a:lnTo>
                <a:cubicBezTo>
                  <a:pt x="2288609" y="1968169"/>
                  <a:pt x="2274475" y="1973618"/>
                  <a:pt x="2263581" y="1984644"/>
                </a:cubicBezTo>
                <a:lnTo>
                  <a:pt x="2199128" y="2049243"/>
                </a:lnTo>
                <a:lnTo>
                  <a:pt x="2156416" y="2006464"/>
                </a:lnTo>
                <a:lnTo>
                  <a:pt x="2134510" y="1984514"/>
                </a:lnTo>
                <a:cubicBezTo>
                  <a:pt x="2123611" y="1973618"/>
                  <a:pt x="2109465" y="1968169"/>
                  <a:pt x="2095199" y="1968169"/>
                </a:cubicBezTo>
                <a:cubicBezTo>
                  <a:pt x="2080928" y="1968169"/>
                  <a:pt x="2066779" y="1973618"/>
                  <a:pt x="2056016" y="1984514"/>
                </a:cubicBezTo>
                <a:lnTo>
                  <a:pt x="1990186" y="2050568"/>
                </a:lnTo>
                <a:lnTo>
                  <a:pt x="1880097" y="1937140"/>
                </a:lnTo>
                <a:close/>
                <a:moveTo>
                  <a:pt x="5964905" y="1554788"/>
                </a:moveTo>
                <a:lnTo>
                  <a:pt x="6290353" y="1743140"/>
                </a:lnTo>
                <a:lnTo>
                  <a:pt x="5964776" y="1931491"/>
                </a:lnTo>
                <a:lnTo>
                  <a:pt x="5639327" y="1743140"/>
                </a:lnTo>
                <a:close/>
                <a:moveTo>
                  <a:pt x="3911088" y="1554775"/>
                </a:moveTo>
                <a:lnTo>
                  <a:pt x="4236536" y="1743124"/>
                </a:lnTo>
                <a:lnTo>
                  <a:pt x="3910958" y="1931475"/>
                </a:lnTo>
                <a:lnTo>
                  <a:pt x="3585511" y="1743125"/>
                </a:lnTo>
                <a:close/>
                <a:moveTo>
                  <a:pt x="1857173" y="1554758"/>
                </a:moveTo>
                <a:lnTo>
                  <a:pt x="2140365" y="1718649"/>
                </a:lnTo>
                <a:lnTo>
                  <a:pt x="2182638" y="1743102"/>
                </a:lnTo>
                <a:lnTo>
                  <a:pt x="1868276" y="1924959"/>
                </a:lnTo>
                <a:lnTo>
                  <a:pt x="1634182" y="1683763"/>
                </a:lnTo>
                <a:close/>
                <a:moveTo>
                  <a:pt x="5175964" y="1390801"/>
                </a:moveTo>
                <a:cubicBezTo>
                  <a:pt x="5186472" y="1390801"/>
                  <a:pt x="5196330" y="1394955"/>
                  <a:pt x="5203724" y="1402350"/>
                </a:cubicBezTo>
                <a:lnTo>
                  <a:pt x="5268323" y="1467080"/>
                </a:lnTo>
                <a:lnTo>
                  <a:pt x="5279868" y="1478755"/>
                </a:lnTo>
                <a:lnTo>
                  <a:pt x="5291413" y="1467080"/>
                </a:lnTo>
                <a:lnTo>
                  <a:pt x="5355882" y="1402350"/>
                </a:lnTo>
                <a:cubicBezTo>
                  <a:pt x="5363277" y="1394825"/>
                  <a:pt x="5373135" y="1390801"/>
                  <a:pt x="5383641" y="1390801"/>
                </a:cubicBezTo>
                <a:cubicBezTo>
                  <a:pt x="5394020" y="1390801"/>
                  <a:pt x="5403879" y="1394955"/>
                  <a:pt x="5411271" y="1402350"/>
                </a:cubicBezTo>
                <a:lnTo>
                  <a:pt x="5489752" y="1480959"/>
                </a:lnTo>
                <a:cubicBezTo>
                  <a:pt x="5497145" y="1488355"/>
                  <a:pt x="5501166" y="1498213"/>
                  <a:pt x="5501297" y="1508720"/>
                </a:cubicBezTo>
                <a:cubicBezTo>
                  <a:pt x="5501297" y="1519228"/>
                  <a:pt x="5497274" y="1529085"/>
                  <a:pt x="5489882" y="1536482"/>
                </a:cubicBezTo>
                <a:lnTo>
                  <a:pt x="5279868" y="1746895"/>
                </a:lnTo>
                <a:lnTo>
                  <a:pt x="5069856" y="1536482"/>
                </a:lnTo>
                <a:cubicBezTo>
                  <a:pt x="5054548" y="1521173"/>
                  <a:pt x="5054548" y="1496269"/>
                  <a:pt x="5069856" y="1481089"/>
                </a:cubicBezTo>
                <a:lnTo>
                  <a:pt x="5148334" y="1402350"/>
                </a:lnTo>
                <a:cubicBezTo>
                  <a:pt x="5155729" y="1394955"/>
                  <a:pt x="5165458" y="1390801"/>
                  <a:pt x="5175964" y="1390801"/>
                </a:cubicBezTo>
                <a:close/>
                <a:moveTo>
                  <a:pt x="3122155" y="1390787"/>
                </a:moveTo>
                <a:cubicBezTo>
                  <a:pt x="3132662" y="1390787"/>
                  <a:pt x="3142519" y="1394939"/>
                  <a:pt x="3149914" y="1402333"/>
                </a:cubicBezTo>
                <a:lnTo>
                  <a:pt x="3214509" y="1467065"/>
                </a:lnTo>
                <a:lnTo>
                  <a:pt x="3226054" y="1478738"/>
                </a:lnTo>
                <a:lnTo>
                  <a:pt x="3237595" y="1467065"/>
                </a:lnTo>
                <a:lnTo>
                  <a:pt x="3302064" y="1402333"/>
                </a:lnTo>
                <a:cubicBezTo>
                  <a:pt x="3309458" y="1394810"/>
                  <a:pt x="3319316" y="1390787"/>
                  <a:pt x="3329824" y="1390787"/>
                </a:cubicBezTo>
                <a:cubicBezTo>
                  <a:pt x="3340201" y="1390787"/>
                  <a:pt x="3350059" y="1394939"/>
                  <a:pt x="3357454" y="1402333"/>
                </a:cubicBezTo>
                <a:lnTo>
                  <a:pt x="3435933" y="1480945"/>
                </a:lnTo>
                <a:cubicBezTo>
                  <a:pt x="3443327" y="1488339"/>
                  <a:pt x="3447348" y="1498198"/>
                  <a:pt x="3447478" y="1508704"/>
                </a:cubicBezTo>
                <a:cubicBezTo>
                  <a:pt x="3447478" y="1519214"/>
                  <a:pt x="3443457" y="1529070"/>
                  <a:pt x="3436062" y="1536467"/>
                </a:cubicBezTo>
                <a:lnTo>
                  <a:pt x="3226054" y="1746878"/>
                </a:lnTo>
                <a:lnTo>
                  <a:pt x="3016052" y="1536467"/>
                </a:lnTo>
                <a:cubicBezTo>
                  <a:pt x="3000750" y="1521159"/>
                  <a:pt x="3000750" y="1496252"/>
                  <a:pt x="3016052" y="1481074"/>
                </a:cubicBezTo>
                <a:lnTo>
                  <a:pt x="3094528" y="1402333"/>
                </a:lnTo>
                <a:cubicBezTo>
                  <a:pt x="3101920" y="1394939"/>
                  <a:pt x="3111648" y="1390787"/>
                  <a:pt x="3122155" y="1390787"/>
                </a:cubicBezTo>
                <a:close/>
                <a:moveTo>
                  <a:pt x="5175964" y="1374327"/>
                </a:moveTo>
                <a:cubicBezTo>
                  <a:pt x="5161695" y="1374327"/>
                  <a:pt x="5147556" y="1379776"/>
                  <a:pt x="5136789" y="1390674"/>
                </a:cubicBezTo>
                <a:lnTo>
                  <a:pt x="5058311" y="1469418"/>
                </a:lnTo>
                <a:cubicBezTo>
                  <a:pt x="5036648" y="1491079"/>
                  <a:pt x="5036648" y="1526364"/>
                  <a:pt x="5058311" y="1548027"/>
                </a:cubicBezTo>
                <a:lnTo>
                  <a:pt x="5279868" y="1770114"/>
                </a:lnTo>
                <a:lnTo>
                  <a:pt x="5501427" y="1548027"/>
                </a:lnTo>
                <a:cubicBezTo>
                  <a:pt x="5523089" y="1526364"/>
                  <a:pt x="5523089" y="1491079"/>
                  <a:pt x="5501427" y="1469418"/>
                </a:cubicBezTo>
                <a:lnTo>
                  <a:pt x="5422947" y="1390801"/>
                </a:lnTo>
                <a:cubicBezTo>
                  <a:pt x="5412051" y="1379905"/>
                  <a:pt x="5397911" y="1374457"/>
                  <a:pt x="5383772" y="1374457"/>
                </a:cubicBezTo>
                <a:lnTo>
                  <a:pt x="5383641" y="1374327"/>
                </a:lnTo>
                <a:cubicBezTo>
                  <a:pt x="5369373" y="1374327"/>
                  <a:pt x="5355235" y="1379776"/>
                  <a:pt x="5344337" y="1390801"/>
                </a:cubicBezTo>
                <a:lnTo>
                  <a:pt x="5279868" y="1455407"/>
                </a:lnTo>
                <a:lnTo>
                  <a:pt x="5215269" y="1390674"/>
                </a:lnTo>
                <a:cubicBezTo>
                  <a:pt x="5204373" y="1379776"/>
                  <a:pt x="5190232" y="1374327"/>
                  <a:pt x="5175964" y="1374327"/>
                </a:cubicBezTo>
                <a:close/>
                <a:moveTo>
                  <a:pt x="3122155" y="1374312"/>
                </a:moveTo>
                <a:cubicBezTo>
                  <a:pt x="3107888" y="1374312"/>
                  <a:pt x="3093749" y="1379761"/>
                  <a:pt x="3082983" y="1390658"/>
                </a:cubicBezTo>
                <a:lnTo>
                  <a:pt x="3004509" y="1469401"/>
                </a:lnTo>
                <a:cubicBezTo>
                  <a:pt x="2982851" y="1491064"/>
                  <a:pt x="2982851" y="1526348"/>
                  <a:pt x="3004509" y="1548011"/>
                </a:cubicBezTo>
                <a:lnTo>
                  <a:pt x="3226054" y="1770098"/>
                </a:lnTo>
                <a:lnTo>
                  <a:pt x="3447607" y="1548011"/>
                </a:lnTo>
                <a:cubicBezTo>
                  <a:pt x="3469271" y="1526348"/>
                  <a:pt x="3469271" y="1491064"/>
                  <a:pt x="3447607" y="1469401"/>
                </a:cubicBezTo>
                <a:lnTo>
                  <a:pt x="3369129" y="1390787"/>
                </a:lnTo>
                <a:cubicBezTo>
                  <a:pt x="3358231" y="1379889"/>
                  <a:pt x="3344093" y="1374443"/>
                  <a:pt x="3329954" y="1374443"/>
                </a:cubicBezTo>
                <a:lnTo>
                  <a:pt x="3329824" y="1374312"/>
                </a:lnTo>
                <a:cubicBezTo>
                  <a:pt x="3315556" y="1374312"/>
                  <a:pt x="3301415" y="1379761"/>
                  <a:pt x="3290519" y="1390787"/>
                </a:cubicBezTo>
                <a:lnTo>
                  <a:pt x="3226054" y="1455390"/>
                </a:lnTo>
                <a:lnTo>
                  <a:pt x="3161457" y="1390658"/>
                </a:lnTo>
                <a:cubicBezTo>
                  <a:pt x="3150561" y="1379761"/>
                  <a:pt x="3136423" y="1374312"/>
                  <a:pt x="3122155" y="1374312"/>
                </a:cubicBezTo>
                <a:close/>
                <a:moveTo>
                  <a:pt x="5973078" y="1163807"/>
                </a:moveTo>
                <a:lnTo>
                  <a:pt x="6298538" y="1352160"/>
                </a:lnTo>
                <a:lnTo>
                  <a:pt x="6298538" y="1728992"/>
                </a:lnTo>
                <a:lnTo>
                  <a:pt x="5973078" y="1540632"/>
                </a:lnTo>
                <a:close/>
                <a:moveTo>
                  <a:pt x="5956733" y="1163807"/>
                </a:moveTo>
                <a:lnTo>
                  <a:pt x="5956733" y="1540632"/>
                </a:lnTo>
                <a:lnTo>
                  <a:pt x="5631143" y="1728992"/>
                </a:lnTo>
                <a:lnTo>
                  <a:pt x="5631143" y="1352159"/>
                </a:lnTo>
                <a:close/>
                <a:moveTo>
                  <a:pt x="3919260" y="1163791"/>
                </a:moveTo>
                <a:lnTo>
                  <a:pt x="4244722" y="1352145"/>
                </a:lnTo>
                <a:lnTo>
                  <a:pt x="4244722" y="1728975"/>
                </a:lnTo>
                <a:lnTo>
                  <a:pt x="3919260" y="1540617"/>
                </a:lnTo>
                <a:close/>
                <a:moveTo>
                  <a:pt x="3902916" y="1163791"/>
                </a:moveTo>
                <a:lnTo>
                  <a:pt x="3902916" y="1540617"/>
                </a:lnTo>
                <a:lnTo>
                  <a:pt x="3577325" y="1728975"/>
                </a:lnTo>
                <a:lnTo>
                  <a:pt x="3577325" y="1352145"/>
                </a:lnTo>
                <a:close/>
                <a:moveTo>
                  <a:pt x="1848987" y="1163780"/>
                </a:moveTo>
                <a:lnTo>
                  <a:pt x="1848987" y="1540601"/>
                </a:lnTo>
                <a:lnTo>
                  <a:pt x="1622440" y="1671665"/>
                </a:lnTo>
                <a:lnTo>
                  <a:pt x="1523414" y="1569635"/>
                </a:lnTo>
                <a:lnTo>
                  <a:pt x="1523414" y="1352132"/>
                </a:lnTo>
                <a:close/>
                <a:moveTo>
                  <a:pt x="1865348" y="1163775"/>
                </a:moveTo>
                <a:lnTo>
                  <a:pt x="2190818" y="1352118"/>
                </a:lnTo>
                <a:lnTo>
                  <a:pt x="2190818" y="1728959"/>
                </a:lnTo>
                <a:lnTo>
                  <a:pt x="2163149" y="1712952"/>
                </a:lnTo>
                <a:lnTo>
                  <a:pt x="1865348" y="1540609"/>
                </a:lnTo>
                <a:close/>
                <a:moveTo>
                  <a:pt x="6648646" y="1159008"/>
                </a:moveTo>
                <a:lnTo>
                  <a:pt x="6656228" y="1163396"/>
                </a:lnTo>
                <a:lnTo>
                  <a:pt x="6656228" y="1927307"/>
                </a:lnTo>
                <a:lnTo>
                  <a:pt x="6648777" y="1931620"/>
                </a:lnTo>
                <a:lnTo>
                  <a:pt x="6315014" y="1738463"/>
                </a:lnTo>
                <a:lnTo>
                  <a:pt x="6315014" y="1352159"/>
                </a:lnTo>
                <a:close/>
                <a:moveTo>
                  <a:pt x="4594830" y="1158991"/>
                </a:moveTo>
                <a:lnTo>
                  <a:pt x="4928593" y="1352145"/>
                </a:lnTo>
                <a:lnTo>
                  <a:pt x="4928593" y="1738447"/>
                </a:lnTo>
                <a:lnTo>
                  <a:pt x="4594960" y="1931604"/>
                </a:lnTo>
                <a:lnTo>
                  <a:pt x="4261195" y="1738447"/>
                </a:lnTo>
                <a:lnTo>
                  <a:pt x="4261195" y="1352145"/>
                </a:lnTo>
                <a:close/>
                <a:moveTo>
                  <a:pt x="2540931" y="1158976"/>
                </a:moveTo>
                <a:lnTo>
                  <a:pt x="2595174" y="1190368"/>
                </a:lnTo>
                <a:lnTo>
                  <a:pt x="2874661" y="1352126"/>
                </a:lnTo>
                <a:lnTo>
                  <a:pt x="2874661" y="1738431"/>
                </a:lnTo>
                <a:lnTo>
                  <a:pt x="2541037" y="1931587"/>
                </a:lnTo>
                <a:lnTo>
                  <a:pt x="2325263" y="1806716"/>
                </a:lnTo>
                <a:lnTo>
                  <a:pt x="2207320" y="1738445"/>
                </a:lnTo>
                <a:lnTo>
                  <a:pt x="2207320" y="1352132"/>
                </a:lnTo>
                <a:close/>
                <a:moveTo>
                  <a:pt x="5279738" y="1158604"/>
                </a:moveTo>
                <a:lnTo>
                  <a:pt x="5613501" y="1351760"/>
                </a:lnTo>
                <a:lnTo>
                  <a:pt x="5613501" y="1737941"/>
                </a:lnTo>
                <a:lnTo>
                  <a:pt x="5279738" y="1931100"/>
                </a:lnTo>
                <a:lnTo>
                  <a:pt x="4945975" y="1737941"/>
                </a:lnTo>
                <a:lnTo>
                  <a:pt x="4945975" y="1351760"/>
                </a:lnTo>
                <a:close/>
                <a:moveTo>
                  <a:pt x="3225921" y="1158588"/>
                </a:moveTo>
                <a:lnTo>
                  <a:pt x="3559683" y="1351744"/>
                </a:lnTo>
                <a:lnTo>
                  <a:pt x="3559683" y="1737925"/>
                </a:lnTo>
                <a:lnTo>
                  <a:pt x="3225921" y="1931085"/>
                </a:lnTo>
                <a:lnTo>
                  <a:pt x="2892183" y="1737927"/>
                </a:lnTo>
                <a:lnTo>
                  <a:pt x="2892183" y="1351744"/>
                </a:lnTo>
                <a:close/>
                <a:moveTo>
                  <a:pt x="1172170" y="1158575"/>
                </a:moveTo>
                <a:lnTo>
                  <a:pt x="1505883" y="1351727"/>
                </a:lnTo>
                <a:lnTo>
                  <a:pt x="1505883" y="1551572"/>
                </a:lnTo>
                <a:lnTo>
                  <a:pt x="1141619" y="1176256"/>
                </a:lnTo>
                <a:close/>
                <a:moveTo>
                  <a:pt x="1063281" y="1095541"/>
                </a:moveTo>
                <a:lnTo>
                  <a:pt x="1155820" y="1149098"/>
                </a:lnTo>
                <a:lnTo>
                  <a:pt x="1129845" y="1164125"/>
                </a:lnTo>
                <a:close/>
                <a:moveTo>
                  <a:pt x="4937933" y="960771"/>
                </a:moveTo>
                <a:lnTo>
                  <a:pt x="5263389" y="1149132"/>
                </a:lnTo>
                <a:lnTo>
                  <a:pt x="4937803" y="1337484"/>
                </a:lnTo>
                <a:lnTo>
                  <a:pt x="4612346" y="1149132"/>
                </a:lnTo>
                <a:close/>
                <a:moveTo>
                  <a:pt x="2884139" y="960756"/>
                </a:moveTo>
                <a:lnTo>
                  <a:pt x="3209574" y="1149115"/>
                </a:lnTo>
                <a:lnTo>
                  <a:pt x="2884008" y="1337471"/>
                </a:lnTo>
                <a:lnTo>
                  <a:pt x="2647598" y="1200643"/>
                </a:lnTo>
                <a:lnTo>
                  <a:pt x="2558577" y="1149117"/>
                </a:lnTo>
                <a:close/>
                <a:moveTo>
                  <a:pt x="6202937" y="796812"/>
                </a:moveTo>
                <a:cubicBezTo>
                  <a:pt x="6213443" y="796812"/>
                  <a:pt x="6223302" y="800965"/>
                  <a:pt x="6230697" y="808358"/>
                </a:cubicBezTo>
                <a:lnTo>
                  <a:pt x="6295296" y="873089"/>
                </a:lnTo>
                <a:lnTo>
                  <a:pt x="6306841" y="884763"/>
                </a:lnTo>
                <a:lnTo>
                  <a:pt x="6318386" y="873089"/>
                </a:lnTo>
                <a:lnTo>
                  <a:pt x="6382855" y="808358"/>
                </a:lnTo>
                <a:cubicBezTo>
                  <a:pt x="6390249" y="800835"/>
                  <a:pt x="6400107" y="796812"/>
                  <a:pt x="6410615" y="796812"/>
                </a:cubicBezTo>
                <a:cubicBezTo>
                  <a:pt x="6420991" y="796812"/>
                  <a:pt x="6430850" y="800965"/>
                  <a:pt x="6438245" y="808358"/>
                </a:cubicBezTo>
                <a:lnTo>
                  <a:pt x="6516723" y="886967"/>
                </a:lnTo>
                <a:lnTo>
                  <a:pt x="6528266" y="914725"/>
                </a:lnTo>
                <a:lnTo>
                  <a:pt x="6516854" y="942476"/>
                </a:lnTo>
                <a:lnTo>
                  <a:pt x="6306842" y="1152894"/>
                </a:lnTo>
                <a:lnTo>
                  <a:pt x="6096829" y="942476"/>
                </a:lnTo>
                <a:lnTo>
                  <a:pt x="6085352" y="914737"/>
                </a:lnTo>
                <a:lnTo>
                  <a:pt x="6096828" y="887100"/>
                </a:lnTo>
                <a:lnTo>
                  <a:pt x="6175308" y="808358"/>
                </a:lnTo>
                <a:cubicBezTo>
                  <a:pt x="6182700" y="800965"/>
                  <a:pt x="6192430" y="796812"/>
                  <a:pt x="6202937" y="796812"/>
                </a:cubicBezTo>
                <a:close/>
                <a:moveTo>
                  <a:pt x="4149121" y="796800"/>
                </a:moveTo>
                <a:cubicBezTo>
                  <a:pt x="4159627" y="796800"/>
                  <a:pt x="4169485" y="800950"/>
                  <a:pt x="4176879" y="808345"/>
                </a:cubicBezTo>
                <a:lnTo>
                  <a:pt x="4241479" y="873075"/>
                </a:lnTo>
                <a:lnTo>
                  <a:pt x="4253023" y="884750"/>
                </a:lnTo>
                <a:lnTo>
                  <a:pt x="4264568" y="873075"/>
                </a:lnTo>
                <a:lnTo>
                  <a:pt x="4329039" y="808345"/>
                </a:lnTo>
                <a:cubicBezTo>
                  <a:pt x="4336432" y="800820"/>
                  <a:pt x="4346290" y="796800"/>
                  <a:pt x="4356796" y="796800"/>
                </a:cubicBezTo>
                <a:cubicBezTo>
                  <a:pt x="4367175" y="796800"/>
                  <a:pt x="4377034" y="800950"/>
                  <a:pt x="4384426" y="808345"/>
                </a:cubicBezTo>
                <a:lnTo>
                  <a:pt x="4462907" y="886956"/>
                </a:lnTo>
                <a:lnTo>
                  <a:pt x="4474449" y="914710"/>
                </a:lnTo>
                <a:lnTo>
                  <a:pt x="4463037" y="942463"/>
                </a:lnTo>
                <a:lnTo>
                  <a:pt x="4253023" y="1152879"/>
                </a:lnTo>
                <a:lnTo>
                  <a:pt x="4043011" y="942463"/>
                </a:lnTo>
                <a:lnTo>
                  <a:pt x="4031533" y="914725"/>
                </a:lnTo>
                <a:lnTo>
                  <a:pt x="4043011" y="887085"/>
                </a:lnTo>
                <a:lnTo>
                  <a:pt x="4121491" y="808345"/>
                </a:lnTo>
                <a:cubicBezTo>
                  <a:pt x="4128884" y="800950"/>
                  <a:pt x="4138613" y="796800"/>
                  <a:pt x="4149121" y="796800"/>
                </a:cubicBezTo>
                <a:close/>
                <a:moveTo>
                  <a:pt x="2095208" y="796785"/>
                </a:moveTo>
                <a:cubicBezTo>
                  <a:pt x="2105717" y="796785"/>
                  <a:pt x="2115584" y="800935"/>
                  <a:pt x="2122976" y="808330"/>
                </a:cubicBezTo>
                <a:lnTo>
                  <a:pt x="2142646" y="828037"/>
                </a:lnTo>
                <a:lnTo>
                  <a:pt x="2187573" y="873049"/>
                </a:lnTo>
                <a:lnTo>
                  <a:pt x="2199128" y="884723"/>
                </a:lnTo>
                <a:lnTo>
                  <a:pt x="2199128" y="884718"/>
                </a:lnTo>
                <a:lnTo>
                  <a:pt x="2199141" y="884737"/>
                </a:lnTo>
                <a:lnTo>
                  <a:pt x="2210693" y="873062"/>
                </a:lnTo>
                <a:lnTo>
                  <a:pt x="2275136" y="808330"/>
                </a:lnTo>
                <a:cubicBezTo>
                  <a:pt x="2282528" y="800806"/>
                  <a:pt x="2292383" y="796785"/>
                  <a:pt x="2302886" y="796785"/>
                </a:cubicBezTo>
                <a:lnTo>
                  <a:pt x="2330532" y="808327"/>
                </a:lnTo>
                <a:lnTo>
                  <a:pt x="2403374" y="881304"/>
                </a:lnTo>
                <a:lnTo>
                  <a:pt x="2408991" y="886927"/>
                </a:lnTo>
                <a:lnTo>
                  <a:pt x="2420524" y="914688"/>
                </a:lnTo>
                <a:cubicBezTo>
                  <a:pt x="2420524" y="925196"/>
                  <a:pt x="2416515" y="935054"/>
                  <a:pt x="2409120" y="942448"/>
                </a:cubicBezTo>
                <a:lnTo>
                  <a:pt x="2199128" y="1152860"/>
                </a:lnTo>
                <a:lnTo>
                  <a:pt x="2083653" y="1037194"/>
                </a:lnTo>
                <a:lnTo>
                  <a:pt x="1989089" y="942452"/>
                </a:lnTo>
                <a:lnTo>
                  <a:pt x="1977611" y="914718"/>
                </a:lnTo>
                <a:cubicBezTo>
                  <a:pt x="1977611" y="904680"/>
                  <a:pt x="1981443" y="894660"/>
                  <a:pt x="1989089" y="887070"/>
                </a:cubicBezTo>
                <a:lnTo>
                  <a:pt x="2067563" y="808330"/>
                </a:lnTo>
                <a:cubicBezTo>
                  <a:pt x="2074962" y="800935"/>
                  <a:pt x="2084698" y="796785"/>
                  <a:pt x="2095208" y="796785"/>
                </a:cubicBezTo>
                <a:close/>
                <a:moveTo>
                  <a:pt x="6202938" y="780324"/>
                </a:moveTo>
                <a:cubicBezTo>
                  <a:pt x="6188669" y="780324"/>
                  <a:pt x="6174529" y="785773"/>
                  <a:pt x="6163763" y="796669"/>
                </a:cubicBezTo>
                <a:lnTo>
                  <a:pt x="6085284" y="875411"/>
                </a:lnTo>
                <a:cubicBezTo>
                  <a:pt x="6074453" y="886243"/>
                  <a:pt x="6069037" y="900480"/>
                  <a:pt x="6069037" y="914717"/>
                </a:cubicBezTo>
                <a:lnTo>
                  <a:pt x="6069039" y="914722"/>
                </a:lnTo>
                <a:lnTo>
                  <a:pt x="6069036" y="914730"/>
                </a:lnTo>
                <a:cubicBezTo>
                  <a:pt x="6069036" y="928969"/>
                  <a:pt x="6074451" y="943203"/>
                  <a:pt x="6085283" y="954035"/>
                </a:cubicBezTo>
                <a:lnTo>
                  <a:pt x="6306841" y="1176130"/>
                </a:lnTo>
                <a:lnTo>
                  <a:pt x="6528398" y="954035"/>
                </a:lnTo>
                <a:cubicBezTo>
                  <a:pt x="6539229" y="943203"/>
                  <a:pt x="6544645" y="928969"/>
                  <a:pt x="6544645" y="914730"/>
                </a:cubicBezTo>
                <a:lnTo>
                  <a:pt x="6544643" y="914725"/>
                </a:lnTo>
                <a:lnTo>
                  <a:pt x="6544646" y="914717"/>
                </a:lnTo>
                <a:cubicBezTo>
                  <a:pt x="6544646" y="900480"/>
                  <a:pt x="6539230" y="886243"/>
                  <a:pt x="6528399" y="875411"/>
                </a:cubicBezTo>
                <a:lnTo>
                  <a:pt x="6449921" y="796800"/>
                </a:lnTo>
                <a:cubicBezTo>
                  <a:pt x="6439023" y="785903"/>
                  <a:pt x="6424885" y="780454"/>
                  <a:pt x="6410746" y="780454"/>
                </a:cubicBezTo>
                <a:lnTo>
                  <a:pt x="6410616" y="780324"/>
                </a:lnTo>
                <a:cubicBezTo>
                  <a:pt x="6396348" y="780324"/>
                  <a:pt x="6382207" y="785773"/>
                  <a:pt x="6371311" y="796800"/>
                </a:cubicBezTo>
                <a:lnTo>
                  <a:pt x="6306842" y="861401"/>
                </a:lnTo>
                <a:lnTo>
                  <a:pt x="6242243" y="796669"/>
                </a:lnTo>
                <a:cubicBezTo>
                  <a:pt x="6231345" y="785773"/>
                  <a:pt x="6217207" y="780324"/>
                  <a:pt x="6202938" y="780324"/>
                </a:cubicBezTo>
                <a:close/>
                <a:moveTo>
                  <a:pt x="4149121" y="780310"/>
                </a:moveTo>
                <a:cubicBezTo>
                  <a:pt x="4134850" y="780310"/>
                  <a:pt x="4120711" y="785759"/>
                  <a:pt x="4109946" y="796656"/>
                </a:cubicBezTo>
                <a:lnTo>
                  <a:pt x="4031466" y="875397"/>
                </a:lnTo>
                <a:cubicBezTo>
                  <a:pt x="4020634" y="886228"/>
                  <a:pt x="4015219" y="900465"/>
                  <a:pt x="4015219" y="914703"/>
                </a:cubicBezTo>
                <a:lnTo>
                  <a:pt x="4015221" y="914710"/>
                </a:lnTo>
                <a:lnTo>
                  <a:pt x="4015219" y="914717"/>
                </a:lnTo>
                <a:cubicBezTo>
                  <a:pt x="4015219" y="928953"/>
                  <a:pt x="4020634" y="943189"/>
                  <a:pt x="4031466" y="954021"/>
                </a:cubicBezTo>
                <a:lnTo>
                  <a:pt x="4253023" y="1176113"/>
                </a:lnTo>
                <a:lnTo>
                  <a:pt x="4474582" y="954021"/>
                </a:lnTo>
                <a:cubicBezTo>
                  <a:pt x="4485413" y="943189"/>
                  <a:pt x="4490828" y="928953"/>
                  <a:pt x="4490828" y="914717"/>
                </a:cubicBezTo>
                <a:lnTo>
                  <a:pt x="4490825" y="914710"/>
                </a:lnTo>
                <a:lnTo>
                  <a:pt x="4490828" y="914703"/>
                </a:lnTo>
                <a:cubicBezTo>
                  <a:pt x="4490828" y="900465"/>
                  <a:pt x="4485413" y="886228"/>
                  <a:pt x="4474582" y="875397"/>
                </a:cubicBezTo>
                <a:lnTo>
                  <a:pt x="4396102" y="796785"/>
                </a:lnTo>
                <a:cubicBezTo>
                  <a:pt x="4385206" y="785888"/>
                  <a:pt x="4371067" y="780440"/>
                  <a:pt x="4356927" y="780440"/>
                </a:cubicBezTo>
                <a:lnTo>
                  <a:pt x="4356796" y="780310"/>
                </a:lnTo>
                <a:cubicBezTo>
                  <a:pt x="4342528" y="780310"/>
                  <a:pt x="4328390" y="785759"/>
                  <a:pt x="4317494" y="796785"/>
                </a:cubicBezTo>
                <a:lnTo>
                  <a:pt x="4253023" y="861387"/>
                </a:lnTo>
                <a:lnTo>
                  <a:pt x="4188424" y="796656"/>
                </a:lnTo>
                <a:cubicBezTo>
                  <a:pt x="4177528" y="785759"/>
                  <a:pt x="4163389" y="780310"/>
                  <a:pt x="4149121" y="780310"/>
                </a:cubicBezTo>
                <a:close/>
                <a:moveTo>
                  <a:pt x="2095199" y="780296"/>
                </a:moveTo>
                <a:cubicBezTo>
                  <a:pt x="2080928" y="780296"/>
                  <a:pt x="2066779" y="785745"/>
                  <a:pt x="2056018" y="796641"/>
                </a:cubicBezTo>
                <a:lnTo>
                  <a:pt x="1977542" y="875382"/>
                </a:lnTo>
                <a:cubicBezTo>
                  <a:pt x="1955873" y="897046"/>
                  <a:pt x="1955873" y="932332"/>
                  <a:pt x="1977542" y="953994"/>
                </a:cubicBezTo>
                <a:lnTo>
                  <a:pt x="1977550" y="954001"/>
                </a:lnTo>
                <a:lnTo>
                  <a:pt x="1977556" y="954008"/>
                </a:lnTo>
                <a:lnTo>
                  <a:pt x="2068617" y="1045292"/>
                </a:lnTo>
                <a:lnTo>
                  <a:pt x="2199128" y="1176084"/>
                </a:lnTo>
                <a:lnTo>
                  <a:pt x="2199128" y="1176081"/>
                </a:lnTo>
                <a:lnTo>
                  <a:pt x="2199141" y="1176099"/>
                </a:lnTo>
                <a:lnTo>
                  <a:pt x="2420664" y="954008"/>
                </a:lnTo>
                <a:cubicBezTo>
                  <a:pt x="2442343" y="932344"/>
                  <a:pt x="2442343" y="897060"/>
                  <a:pt x="2420664" y="875395"/>
                </a:cubicBezTo>
                <a:lnTo>
                  <a:pt x="2420658" y="875386"/>
                </a:lnTo>
                <a:lnTo>
                  <a:pt x="2420658" y="875382"/>
                </a:lnTo>
                <a:lnTo>
                  <a:pt x="2342174" y="796772"/>
                </a:lnTo>
                <a:cubicBezTo>
                  <a:pt x="2331285" y="785874"/>
                  <a:pt x="2317139" y="780426"/>
                  <a:pt x="2303003" y="780426"/>
                </a:cubicBezTo>
                <a:lnTo>
                  <a:pt x="2302880" y="780296"/>
                </a:lnTo>
                <a:cubicBezTo>
                  <a:pt x="2288609" y="780296"/>
                  <a:pt x="2274479" y="785745"/>
                  <a:pt x="2263581" y="796772"/>
                </a:cubicBezTo>
                <a:lnTo>
                  <a:pt x="2199128" y="861369"/>
                </a:lnTo>
                <a:lnTo>
                  <a:pt x="2144185" y="806336"/>
                </a:lnTo>
                <a:lnTo>
                  <a:pt x="2134510" y="796641"/>
                </a:lnTo>
                <a:cubicBezTo>
                  <a:pt x="2123615" y="785745"/>
                  <a:pt x="2109469" y="780296"/>
                  <a:pt x="2095199" y="780296"/>
                </a:cubicBezTo>
                <a:close/>
                <a:moveTo>
                  <a:pt x="4946105" y="569788"/>
                </a:moveTo>
                <a:lnTo>
                  <a:pt x="5271566" y="758143"/>
                </a:lnTo>
                <a:lnTo>
                  <a:pt x="5271566" y="1134990"/>
                </a:lnTo>
                <a:lnTo>
                  <a:pt x="4946105" y="946626"/>
                </a:lnTo>
                <a:close/>
                <a:moveTo>
                  <a:pt x="4929760" y="569788"/>
                </a:moveTo>
                <a:lnTo>
                  <a:pt x="4929760" y="946626"/>
                </a:lnTo>
                <a:lnTo>
                  <a:pt x="4604170" y="1134990"/>
                </a:lnTo>
                <a:lnTo>
                  <a:pt x="4604170" y="758143"/>
                </a:lnTo>
                <a:close/>
                <a:moveTo>
                  <a:pt x="2892312" y="569774"/>
                </a:moveTo>
                <a:lnTo>
                  <a:pt x="3217751" y="758130"/>
                </a:lnTo>
                <a:lnTo>
                  <a:pt x="3217751" y="1134975"/>
                </a:lnTo>
                <a:lnTo>
                  <a:pt x="2892312" y="946613"/>
                </a:lnTo>
                <a:close/>
                <a:moveTo>
                  <a:pt x="2875968" y="569774"/>
                </a:moveTo>
                <a:lnTo>
                  <a:pt x="2875968" y="946611"/>
                </a:lnTo>
                <a:lnTo>
                  <a:pt x="2550401" y="1134972"/>
                </a:lnTo>
                <a:lnTo>
                  <a:pt x="2550401" y="758130"/>
                </a:lnTo>
                <a:close/>
                <a:moveTo>
                  <a:pt x="822191" y="569764"/>
                </a:moveTo>
                <a:lnTo>
                  <a:pt x="822191" y="847137"/>
                </a:lnTo>
                <a:lnTo>
                  <a:pt x="649788" y="669502"/>
                </a:lnTo>
                <a:close/>
                <a:moveTo>
                  <a:pt x="838544" y="569759"/>
                </a:moveTo>
                <a:lnTo>
                  <a:pt x="1163992" y="758112"/>
                </a:lnTo>
                <a:lnTo>
                  <a:pt x="1163992" y="1134957"/>
                </a:lnTo>
                <a:lnTo>
                  <a:pt x="1021492" y="1052484"/>
                </a:lnTo>
                <a:lnTo>
                  <a:pt x="838544" y="863986"/>
                </a:lnTo>
                <a:close/>
                <a:moveTo>
                  <a:pt x="5621673" y="564988"/>
                </a:moveTo>
                <a:lnTo>
                  <a:pt x="5955437" y="758143"/>
                </a:lnTo>
                <a:lnTo>
                  <a:pt x="5955437" y="1144459"/>
                </a:lnTo>
                <a:lnTo>
                  <a:pt x="5621803" y="1337616"/>
                </a:lnTo>
                <a:lnTo>
                  <a:pt x="5288040" y="1144459"/>
                </a:lnTo>
                <a:lnTo>
                  <a:pt x="5288040" y="758143"/>
                </a:lnTo>
                <a:close/>
                <a:moveTo>
                  <a:pt x="3567855" y="564974"/>
                </a:moveTo>
                <a:lnTo>
                  <a:pt x="3901618" y="758130"/>
                </a:lnTo>
                <a:lnTo>
                  <a:pt x="3901618" y="1144443"/>
                </a:lnTo>
                <a:lnTo>
                  <a:pt x="3567985" y="1337600"/>
                </a:lnTo>
                <a:lnTo>
                  <a:pt x="3234224" y="1144443"/>
                </a:lnTo>
                <a:lnTo>
                  <a:pt x="3234224" y="758130"/>
                </a:lnTo>
                <a:close/>
                <a:moveTo>
                  <a:pt x="1514065" y="564960"/>
                </a:moveTo>
                <a:lnTo>
                  <a:pt x="1847822" y="758114"/>
                </a:lnTo>
                <a:lnTo>
                  <a:pt x="1847822" y="1144429"/>
                </a:lnTo>
                <a:lnTo>
                  <a:pt x="1514191" y="1337586"/>
                </a:lnTo>
                <a:lnTo>
                  <a:pt x="1346858" y="1240748"/>
                </a:lnTo>
                <a:lnTo>
                  <a:pt x="1180472" y="1144432"/>
                </a:lnTo>
                <a:lnTo>
                  <a:pt x="1180472" y="758117"/>
                </a:lnTo>
                <a:close/>
                <a:moveTo>
                  <a:pt x="6306711" y="564614"/>
                </a:moveTo>
                <a:lnTo>
                  <a:pt x="6640474" y="757768"/>
                </a:lnTo>
                <a:lnTo>
                  <a:pt x="6640474" y="1143944"/>
                </a:lnTo>
                <a:lnTo>
                  <a:pt x="6306711" y="1337098"/>
                </a:lnTo>
                <a:lnTo>
                  <a:pt x="5972948" y="1143941"/>
                </a:lnTo>
                <a:lnTo>
                  <a:pt x="5972948" y="757768"/>
                </a:lnTo>
                <a:close/>
                <a:moveTo>
                  <a:pt x="4252895" y="564599"/>
                </a:moveTo>
                <a:lnTo>
                  <a:pt x="4586658" y="757755"/>
                </a:lnTo>
                <a:lnTo>
                  <a:pt x="4586658" y="1143928"/>
                </a:lnTo>
                <a:lnTo>
                  <a:pt x="4252895" y="1337082"/>
                </a:lnTo>
                <a:lnTo>
                  <a:pt x="3919130" y="1143928"/>
                </a:lnTo>
                <a:lnTo>
                  <a:pt x="3919130" y="757755"/>
                </a:lnTo>
                <a:close/>
                <a:moveTo>
                  <a:pt x="2199017" y="564585"/>
                </a:moveTo>
                <a:lnTo>
                  <a:pt x="2286932" y="615477"/>
                </a:lnTo>
                <a:lnTo>
                  <a:pt x="2532746" y="757730"/>
                </a:lnTo>
                <a:lnTo>
                  <a:pt x="2532746" y="1143911"/>
                </a:lnTo>
                <a:lnTo>
                  <a:pt x="2198994" y="1337066"/>
                </a:lnTo>
                <a:lnTo>
                  <a:pt x="1865228" y="1143920"/>
                </a:lnTo>
                <a:lnTo>
                  <a:pt x="1865228" y="757740"/>
                </a:lnTo>
                <a:close/>
                <a:moveTo>
                  <a:pt x="5964905" y="366789"/>
                </a:moveTo>
                <a:lnTo>
                  <a:pt x="6290353" y="555135"/>
                </a:lnTo>
                <a:lnTo>
                  <a:pt x="5964776" y="743485"/>
                </a:lnTo>
                <a:lnTo>
                  <a:pt x="5639327" y="555135"/>
                </a:lnTo>
                <a:close/>
                <a:moveTo>
                  <a:pt x="3911088" y="366774"/>
                </a:moveTo>
                <a:lnTo>
                  <a:pt x="4236536" y="555121"/>
                </a:lnTo>
                <a:lnTo>
                  <a:pt x="3910958" y="743469"/>
                </a:lnTo>
                <a:lnTo>
                  <a:pt x="3585511" y="555121"/>
                </a:lnTo>
                <a:close/>
                <a:moveTo>
                  <a:pt x="1857173" y="366759"/>
                </a:moveTo>
                <a:lnTo>
                  <a:pt x="2182638" y="555101"/>
                </a:lnTo>
                <a:lnTo>
                  <a:pt x="1857039" y="743455"/>
                </a:lnTo>
                <a:lnTo>
                  <a:pt x="1531594" y="555110"/>
                </a:lnTo>
                <a:close/>
                <a:moveTo>
                  <a:pt x="5175964" y="202936"/>
                </a:moveTo>
                <a:cubicBezTo>
                  <a:pt x="5186472" y="202936"/>
                  <a:pt x="5196330" y="207087"/>
                  <a:pt x="5203724" y="214481"/>
                </a:cubicBezTo>
                <a:lnTo>
                  <a:pt x="5268323" y="279212"/>
                </a:lnTo>
                <a:lnTo>
                  <a:pt x="5279868" y="290888"/>
                </a:lnTo>
                <a:lnTo>
                  <a:pt x="5291413" y="279212"/>
                </a:lnTo>
                <a:lnTo>
                  <a:pt x="5355882" y="214481"/>
                </a:lnTo>
                <a:cubicBezTo>
                  <a:pt x="5363277" y="206957"/>
                  <a:pt x="5373135" y="202936"/>
                  <a:pt x="5383641" y="202936"/>
                </a:cubicBezTo>
                <a:cubicBezTo>
                  <a:pt x="5394020" y="202936"/>
                  <a:pt x="5403879" y="207087"/>
                  <a:pt x="5411271" y="214481"/>
                </a:cubicBezTo>
                <a:lnTo>
                  <a:pt x="5489752" y="293091"/>
                </a:lnTo>
                <a:cubicBezTo>
                  <a:pt x="5497145" y="300487"/>
                  <a:pt x="5501166" y="310344"/>
                  <a:pt x="5501297" y="320853"/>
                </a:cubicBezTo>
                <a:cubicBezTo>
                  <a:pt x="5501297" y="331360"/>
                  <a:pt x="5497274" y="341220"/>
                  <a:pt x="5489882" y="348613"/>
                </a:cubicBezTo>
                <a:lnTo>
                  <a:pt x="5279868" y="559021"/>
                </a:lnTo>
                <a:lnTo>
                  <a:pt x="5069856" y="348613"/>
                </a:lnTo>
                <a:cubicBezTo>
                  <a:pt x="5054548" y="333305"/>
                  <a:pt x="5054548" y="308399"/>
                  <a:pt x="5069856" y="293223"/>
                </a:cubicBezTo>
                <a:lnTo>
                  <a:pt x="5148334" y="214481"/>
                </a:lnTo>
                <a:cubicBezTo>
                  <a:pt x="5155729" y="207087"/>
                  <a:pt x="5165458" y="202936"/>
                  <a:pt x="5175964" y="202936"/>
                </a:cubicBezTo>
                <a:close/>
                <a:moveTo>
                  <a:pt x="3122156" y="202922"/>
                </a:moveTo>
                <a:cubicBezTo>
                  <a:pt x="3132662" y="202922"/>
                  <a:pt x="3142519" y="207071"/>
                  <a:pt x="3149914" y="214466"/>
                </a:cubicBezTo>
                <a:lnTo>
                  <a:pt x="3214509" y="279197"/>
                </a:lnTo>
                <a:lnTo>
                  <a:pt x="3226054" y="290872"/>
                </a:lnTo>
                <a:lnTo>
                  <a:pt x="3237595" y="279197"/>
                </a:lnTo>
                <a:lnTo>
                  <a:pt x="3302064" y="214466"/>
                </a:lnTo>
                <a:cubicBezTo>
                  <a:pt x="3309458" y="206942"/>
                  <a:pt x="3319316" y="202922"/>
                  <a:pt x="3329824" y="202922"/>
                </a:cubicBezTo>
                <a:cubicBezTo>
                  <a:pt x="3340201" y="202922"/>
                  <a:pt x="3350059" y="207071"/>
                  <a:pt x="3357454" y="214466"/>
                </a:cubicBezTo>
                <a:lnTo>
                  <a:pt x="3435933" y="293078"/>
                </a:lnTo>
                <a:cubicBezTo>
                  <a:pt x="3443327" y="300473"/>
                  <a:pt x="3447348" y="310331"/>
                  <a:pt x="3447478" y="320838"/>
                </a:cubicBezTo>
                <a:cubicBezTo>
                  <a:pt x="3447478" y="331345"/>
                  <a:pt x="3443457" y="341204"/>
                  <a:pt x="3436062" y="348599"/>
                </a:cubicBezTo>
                <a:lnTo>
                  <a:pt x="3226054" y="559007"/>
                </a:lnTo>
                <a:lnTo>
                  <a:pt x="3016052" y="348599"/>
                </a:lnTo>
                <a:cubicBezTo>
                  <a:pt x="3000750" y="333290"/>
                  <a:pt x="3000750" y="308385"/>
                  <a:pt x="3016052" y="293208"/>
                </a:cubicBezTo>
                <a:lnTo>
                  <a:pt x="3094530" y="214466"/>
                </a:lnTo>
                <a:cubicBezTo>
                  <a:pt x="3101920" y="207071"/>
                  <a:pt x="3111650" y="202922"/>
                  <a:pt x="3122156" y="202922"/>
                </a:cubicBezTo>
                <a:close/>
                <a:moveTo>
                  <a:pt x="1068395" y="202907"/>
                </a:moveTo>
                <a:cubicBezTo>
                  <a:pt x="1078899" y="202907"/>
                  <a:pt x="1088764" y="207057"/>
                  <a:pt x="1096153" y="214451"/>
                </a:cubicBezTo>
                <a:lnTo>
                  <a:pt x="1160756" y="279184"/>
                </a:lnTo>
                <a:lnTo>
                  <a:pt x="1172301" y="290858"/>
                </a:lnTo>
                <a:lnTo>
                  <a:pt x="1183847" y="279184"/>
                </a:lnTo>
                <a:lnTo>
                  <a:pt x="1248317" y="214451"/>
                </a:lnTo>
                <a:cubicBezTo>
                  <a:pt x="1255713" y="206928"/>
                  <a:pt x="1265570" y="202907"/>
                  <a:pt x="1276079" y="202907"/>
                </a:cubicBezTo>
                <a:cubicBezTo>
                  <a:pt x="1286456" y="202907"/>
                  <a:pt x="1296316" y="207057"/>
                  <a:pt x="1303710" y="214451"/>
                </a:cubicBezTo>
                <a:lnTo>
                  <a:pt x="1382136" y="293063"/>
                </a:lnTo>
                <a:cubicBezTo>
                  <a:pt x="1389530" y="300458"/>
                  <a:pt x="1393554" y="310316"/>
                  <a:pt x="1393688" y="320823"/>
                </a:cubicBezTo>
                <a:cubicBezTo>
                  <a:pt x="1393688" y="331330"/>
                  <a:pt x="1389660" y="341189"/>
                  <a:pt x="1382263" y="348583"/>
                </a:cubicBezTo>
                <a:lnTo>
                  <a:pt x="1172301" y="558992"/>
                </a:lnTo>
                <a:lnTo>
                  <a:pt x="962282" y="348583"/>
                </a:lnTo>
                <a:cubicBezTo>
                  <a:pt x="946972" y="333277"/>
                  <a:pt x="946972" y="308369"/>
                  <a:pt x="962282" y="293193"/>
                </a:cubicBezTo>
                <a:lnTo>
                  <a:pt x="1040766" y="214451"/>
                </a:lnTo>
                <a:cubicBezTo>
                  <a:pt x="1048163" y="207057"/>
                  <a:pt x="1057889" y="202907"/>
                  <a:pt x="1068395" y="202907"/>
                </a:cubicBezTo>
                <a:close/>
                <a:moveTo>
                  <a:pt x="5175964" y="186461"/>
                </a:moveTo>
                <a:cubicBezTo>
                  <a:pt x="5161695" y="186461"/>
                  <a:pt x="5147556" y="191909"/>
                  <a:pt x="5136789" y="202806"/>
                </a:cubicBezTo>
                <a:lnTo>
                  <a:pt x="5058311" y="281547"/>
                </a:lnTo>
                <a:cubicBezTo>
                  <a:pt x="5036648" y="303211"/>
                  <a:pt x="5036648" y="338495"/>
                  <a:pt x="5058311" y="360159"/>
                </a:cubicBezTo>
                <a:lnTo>
                  <a:pt x="5279868" y="582242"/>
                </a:lnTo>
                <a:lnTo>
                  <a:pt x="5501427" y="360159"/>
                </a:lnTo>
                <a:cubicBezTo>
                  <a:pt x="5523089" y="338495"/>
                  <a:pt x="5523089" y="303211"/>
                  <a:pt x="5501427" y="281547"/>
                </a:cubicBezTo>
                <a:lnTo>
                  <a:pt x="5422947" y="202936"/>
                </a:lnTo>
                <a:cubicBezTo>
                  <a:pt x="5412051" y="192038"/>
                  <a:pt x="5397911" y="186591"/>
                  <a:pt x="5383772" y="186591"/>
                </a:cubicBezTo>
                <a:lnTo>
                  <a:pt x="5383641" y="186461"/>
                </a:lnTo>
                <a:cubicBezTo>
                  <a:pt x="5369373" y="186461"/>
                  <a:pt x="5355235" y="191909"/>
                  <a:pt x="5344337" y="202936"/>
                </a:cubicBezTo>
                <a:lnTo>
                  <a:pt x="5279868" y="267537"/>
                </a:lnTo>
                <a:lnTo>
                  <a:pt x="5215269" y="202806"/>
                </a:lnTo>
                <a:cubicBezTo>
                  <a:pt x="5204373" y="191909"/>
                  <a:pt x="5190232" y="186461"/>
                  <a:pt x="5175964" y="186461"/>
                </a:cubicBezTo>
                <a:close/>
                <a:moveTo>
                  <a:pt x="3122156" y="186446"/>
                </a:moveTo>
                <a:cubicBezTo>
                  <a:pt x="3107888" y="186446"/>
                  <a:pt x="3093749" y="191896"/>
                  <a:pt x="3082985" y="202790"/>
                </a:cubicBezTo>
                <a:lnTo>
                  <a:pt x="3004509" y="281532"/>
                </a:lnTo>
                <a:cubicBezTo>
                  <a:pt x="2982851" y="303196"/>
                  <a:pt x="2982851" y="338481"/>
                  <a:pt x="3004509" y="360144"/>
                </a:cubicBezTo>
                <a:lnTo>
                  <a:pt x="3226054" y="582227"/>
                </a:lnTo>
                <a:lnTo>
                  <a:pt x="3447607" y="360144"/>
                </a:lnTo>
                <a:cubicBezTo>
                  <a:pt x="3469271" y="338481"/>
                  <a:pt x="3469271" y="303196"/>
                  <a:pt x="3447607" y="281532"/>
                </a:cubicBezTo>
                <a:lnTo>
                  <a:pt x="3369129" y="202922"/>
                </a:lnTo>
                <a:cubicBezTo>
                  <a:pt x="3358231" y="192023"/>
                  <a:pt x="3344093" y="186576"/>
                  <a:pt x="3329954" y="186576"/>
                </a:cubicBezTo>
                <a:lnTo>
                  <a:pt x="3329824" y="186446"/>
                </a:lnTo>
                <a:cubicBezTo>
                  <a:pt x="3315556" y="186446"/>
                  <a:pt x="3301415" y="191896"/>
                  <a:pt x="3290519" y="202922"/>
                </a:cubicBezTo>
                <a:lnTo>
                  <a:pt x="3226054" y="267522"/>
                </a:lnTo>
                <a:lnTo>
                  <a:pt x="3161457" y="202790"/>
                </a:lnTo>
                <a:cubicBezTo>
                  <a:pt x="3150561" y="191896"/>
                  <a:pt x="3136425" y="186446"/>
                  <a:pt x="3122156" y="186446"/>
                </a:cubicBezTo>
                <a:close/>
                <a:moveTo>
                  <a:pt x="1068395" y="186431"/>
                </a:moveTo>
                <a:cubicBezTo>
                  <a:pt x="1054127" y="186431"/>
                  <a:pt x="1039988" y="191880"/>
                  <a:pt x="1029218" y="202777"/>
                </a:cubicBezTo>
                <a:lnTo>
                  <a:pt x="950736" y="281518"/>
                </a:lnTo>
                <a:cubicBezTo>
                  <a:pt x="929071" y="303181"/>
                  <a:pt x="929071" y="338465"/>
                  <a:pt x="950736" y="360128"/>
                </a:cubicBezTo>
                <a:lnTo>
                  <a:pt x="1172301" y="582213"/>
                </a:lnTo>
                <a:lnTo>
                  <a:pt x="1393813" y="360128"/>
                </a:lnTo>
                <a:cubicBezTo>
                  <a:pt x="1415472" y="338465"/>
                  <a:pt x="1415472" y="303181"/>
                  <a:pt x="1393813" y="281518"/>
                </a:cubicBezTo>
                <a:lnTo>
                  <a:pt x="1315383" y="202907"/>
                </a:lnTo>
                <a:cubicBezTo>
                  <a:pt x="1304486" y="192009"/>
                  <a:pt x="1290348" y="186561"/>
                  <a:pt x="1276207" y="186561"/>
                </a:cubicBezTo>
                <a:lnTo>
                  <a:pt x="1276079" y="186431"/>
                </a:lnTo>
                <a:cubicBezTo>
                  <a:pt x="1261807" y="186431"/>
                  <a:pt x="1247671" y="191880"/>
                  <a:pt x="1236774" y="202907"/>
                </a:cubicBezTo>
                <a:lnTo>
                  <a:pt x="1172301" y="267508"/>
                </a:lnTo>
                <a:lnTo>
                  <a:pt x="1107701" y="202777"/>
                </a:lnTo>
                <a:cubicBezTo>
                  <a:pt x="1096802" y="191880"/>
                  <a:pt x="1082662" y="186431"/>
                  <a:pt x="1068395" y="186431"/>
                </a:cubicBezTo>
                <a:close/>
                <a:moveTo>
                  <a:pt x="6598568" y="0"/>
                </a:moveTo>
                <a:lnTo>
                  <a:pt x="6656228" y="0"/>
                </a:lnTo>
                <a:lnTo>
                  <a:pt x="6656228" y="739299"/>
                </a:lnTo>
                <a:lnTo>
                  <a:pt x="6648777" y="743612"/>
                </a:lnTo>
                <a:lnTo>
                  <a:pt x="6315014" y="550457"/>
                </a:lnTo>
                <a:lnTo>
                  <a:pt x="6315014" y="164163"/>
                </a:lnTo>
                <a:close/>
                <a:moveTo>
                  <a:pt x="6048848" y="0"/>
                </a:moveTo>
                <a:lnTo>
                  <a:pt x="6564575" y="0"/>
                </a:lnTo>
                <a:lnTo>
                  <a:pt x="6306711" y="149231"/>
                </a:lnTo>
                <a:close/>
                <a:moveTo>
                  <a:pt x="5973078" y="0"/>
                </a:moveTo>
                <a:lnTo>
                  <a:pt x="6014881" y="0"/>
                </a:lnTo>
                <a:lnTo>
                  <a:pt x="6298538" y="164163"/>
                </a:lnTo>
                <a:lnTo>
                  <a:pt x="6298538" y="540989"/>
                </a:lnTo>
                <a:lnTo>
                  <a:pt x="5973078" y="352632"/>
                </a:lnTo>
                <a:close/>
                <a:moveTo>
                  <a:pt x="5914913" y="0"/>
                </a:moveTo>
                <a:lnTo>
                  <a:pt x="5956733" y="0"/>
                </a:lnTo>
                <a:lnTo>
                  <a:pt x="5956733" y="352633"/>
                </a:lnTo>
                <a:lnTo>
                  <a:pt x="5631143" y="540989"/>
                </a:lnTo>
                <a:lnTo>
                  <a:pt x="5631143" y="164163"/>
                </a:lnTo>
                <a:close/>
                <a:moveTo>
                  <a:pt x="5363051" y="0"/>
                </a:moveTo>
                <a:lnTo>
                  <a:pt x="5880456" y="0"/>
                </a:lnTo>
                <a:lnTo>
                  <a:pt x="5621803" y="149746"/>
                </a:lnTo>
                <a:close/>
                <a:moveTo>
                  <a:pt x="5229168" y="0"/>
                </a:moveTo>
                <a:lnTo>
                  <a:pt x="5330308" y="0"/>
                </a:lnTo>
                <a:lnTo>
                  <a:pt x="5613501" y="163890"/>
                </a:lnTo>
                <a:lnTo>
                  <a:pt x="5613501" y="550066"/>
                </a:lnTo>
                <a:lnTo>
                  <a:pt x="5279738" y="743223"/>
                </a:lnTo>
                <a:lnTo>
                  <a:pt x="4945975" y="550066"/>
                </a:lnTo>
                <a:lnTo>
                  <a:pt x="4945975" y="163890"/>
                </a:lnTo>
                <a:close/>
                <a:moveTo>
                  <a:pt x="4679282" y="0"/>
                </a:moveTo>
                <a:lnTo>
                  <a:pt x="5196428" y="0"/>
                </a:lnTo>
                <a:lnTo>
                  <a:pt x="4937803" y="149616"/>
                </a:lnTo>
                <a:close/>
                <a:moveTo>
                  <a:pt x="4544726" y="0"/>
                </a:moveTo>
                <a:lnTo>
                  <a:pt x="4644953" y="0"/>
                </a:lnTo>
                <a:lnTo>
                  <a:pt x="4928593" y="164149"/>
                </a:lnTo>
                <a:lnTo>
                  <a:pt x="4928593" y="550443"/>
                </a:lnTo>
                <a:lnTo>
                  <a:pt x="4594960" y="743599"/>
                </a:lnTo>
                <a:lnTo>
                  <a:pt x="4261195" y="550443"/>
                </a:lnTo>
                <a:lnTo>
                  <a:pt x="4261195" y="164149"/>
                </a:lnTo>
                <a:close/>
                <a:moveTo>
                  <a:pt x="3995055" y="0"/>
                </a:moveTo>
                <a:lnTo>
                  <a:pt x="4510733" y="0"/>
                </a:lnTo>
                <a:lnTo>
                  <a:pt x="4252895" y="149217"/>
                </a:lnTo>
                <a:close/>
                <a:moveTo>
                  <a:pt x="3919260" y="0"/>
                </a:moveTo>
                <a:lnTo>
                  <a:pt x="3961089" y="0"/>
                </a:lnTo>
                <a:lnTo>
                  <a:pt x="4244722" y="164149"/>
                </a:lnTo>
                <a:lnTo>
                  <a:pt x="4244722" y="540974"/>
                </a:lnTo>
                <a:lnTo>
                  <a:pt x="3919260" y="352617"/>
                </a:lnTo>
                <a:close/>
                <a:moveTo>
                  <a:pt x="3861070" y="0"/>
                </a:moveTo>
                <a:lnTo>
                  <a:pt x="3902916" y="0"/>
                </a:lnTo>
                <a:lnTo>
                  <a:pt x="3902916" y="352617"/>
                </a:lnTo>
                <a:lnTo>
                  <a:pt x="3577325" y="540974"/>
                </a:lnTo>
                <a:lnTo>
                  <a:pt x="3577325" y="164149"/>
                </a:lnTo>
                <a:close/>
                <a:moveTo>
                  <a:pt x="3309258" y="0"/>
                </a:moveTo>
                <a:lnTo>
                  <a:pt x="3826612" y="0"/>
                </a:lnTo>
                <a:lnTo>
                  <a:pt x="3567985" y="149731"/>
                </a:lnTo>
                <a:close/>
                <a:moveTo>
                  <a:pt x="3175331" y="0"/>
                </a:moveTo>
                <a:lnTo>
                  <a:pt x="3276516" y="0"/>
                </a:lnTo>
                <a:lnTo>
                  <a:pt x="3559683" y="163875"/>
                </a:lnTo>
                <a:lnTo>
                  <a:pt x="3559683" y="550053"/>
                </a:lnTo>
                <a:lnTo>
                  <a:pt x="3225921" y="743207"/>
                </a:lnTo>
                <a:lnTo>
                  <a:pt x="2892185" y="550054"/>
                </a:lnTo>
                <a:lnTo>
                  <a:pt x="2892185" y="163875"/>
                </a:lnTo>
                <a:close/>
                <a:moveTo>
                  <a:pt x="2625530" y="0"/>
                </a:moveTo>
                <a:lnTo>
                  <a:pt x="3142591" y="0"/>
                </a:lnTo>
                <a:lnTo>
                  <a:pt x="2884008" y="149601"/>
                </a:lnTo>
                <a:close/>
                <a:moveTo>
                  <a:pt x="2490806" y="0"/>
                </a:moveTo>
                <a:lnTo>
                  <a:pt x="2591079" y="0"/>
                </a:lnTo>
                <a:lnTo>
                  <a:pt x="2874664" y="164130"/>
                </a:lnTo>
                <a:lnTo>
                  <a:pt x="2874664" y="550429"/>
                </a:lnTo>
                <a:lnTo>
                  <a:pt x="2541045" y="743584"/>
                </a:lnTo>
                <a:lnTo>
                  <a:pt x="2207320" y="550443"/>
                </a:lnTo>
                <a:lnTo>
                  <a:pt x="2207320" y="164134"/>
                </a:lnTo>
                <a:close/>
                <a:moveTo>
                  <a:pt x="1941155" y="0"/>
                </a:moveTo>
                <a:lnTo>
                  <a:pt x="2456798" y="0"/>
                </a:lnTo>
                <a:lnTo>
                  <a:pt x="2199000" y="149201"/>
                </a:lnTo>
                <a:lnTo>
                  <a:pt x="1959763" y="10771"/>
                </a:lnTo>
                <a:close/>
                <a:moveTo>
                  <a:pt x="1865358" y="0"/>
                </a:moveTo>
                <a:lnTo>
                  <a:pt x="1907218" y="0"/>
                </a:lnTo>
                <a:lnTo>
                  <a:pt x="2190820" y="164120"/>
                </a:lnTo>
                <a:lnTo>
                  <a:pt x="2190820" y="540960"/>
                </a:lnTo>
                <a:lnTo>
                  <a:pt x="1865358" y="352611"/>
                </a:lnTo>
                <a:close/>
                <a:moveTo>
                  <a:pt x="1807133" y="0"/>
                </a:moveTo>
                <a:lnTo>
                  <a:pt x="1848987" y="0"/>
                </a:lnTo>
                <a:lnTo>
                  <a:pt x="1848987" y="352603"/>
                </a:lnTo>
                <a:lnTo>
                  <a:pt x="1523414" y="540954"/>
                </a:lnTo>
                <a:lnTo>
                  <a:pt x="1523414" y="164134"/>
                </a:lnTo>
                <a:close/>
                <a:moveTo>
                  <a:pt x="1255529" y="0"/>
                </a:moveTo>
                <a:lnTo>
                  <a:pt x="1772799" y="0"/>
                </a:lnTo>
                <a:lnTo>
                  <a:pt x="1514191" y="149717"/>
                </a:lnTo>
                <a:close/>
                <a:moveTo>
                  <a:pt x="1121553" y="0"/>
                </a:moveTo>
                <a:lnTo>
                  <a:pt x="1222783" y="0"/>
                </a:lnTo>
                <a:lnTo>
                  <a:pt x="1350152" y="73731"/>
                </a:lnTo>
                <a:lnTo>
                  <a:pt x="1505883" y="163859"/>
                </a:lnTo>
                <a:lnTo>
                  <a:pt x="1505883" y="550038"/>
                </a:lnTo>
                <a:lnTo>
                  <a:pt x="1172166" y="743194"/>
                </a:lnTo>
                <a:lnTo>
                  <a:pt x="838414" y="550042"/>
                </a:lnTo>
                <a:lnTo>
                  <a:pt x="838414" y="163860"/>
                </a:lnTo>
                <a:close/>
                <a:moveTo>
                  <a:pt x="571773" y="0"/>
                </a:moveTo>
                <a:lnTo>
                  <a:pt x="1088805" y="0"/>
                </a:lnTo>
                <a:lnTo>
                  <a:pt x="830236" y="149586"/>
                </a:lnTo>
                <a:close/>
                <a:moveTo>
                  <a:pt x="436988" y="0"/>
                </a:moveTo>
                <a:lnTo>
                  <a:pt x="537312" y="0"/>
                </a:lnTo>
                <a:lnTo>
                  <a:pt x="820873" y="164102"/>
                </a:lnTo>
                <a:lnTo>
                  <a:pt x="820873" y="550415"/>
                </a:lnTo>
                <a:lnTo>
                  <a:pt x="637337" y="656674"/>
                </a:lnTo>
                <a:lnTo>
                  <a:pt x="157207" y="161977"/>
                </a:lnTo>
                <a:close/>
                <a:moveTo>
                  <a:pt x="0" y="0"/>
                </a:moveTo>
                <a:lnTo>
                  <a:pt x="402965" y="0"/>
                </a:lnTo>
                <a:lnTo>
                  <a:pt x="145179" y="149187"/>
                </a:lnTo>
                <a:lnTo>
                  <a:pt x="144300" y="148678"/>
                </a:lnTo>
                <a:close/>
              </a:path>
            </a:pathLst>
          </a:cu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14" name="Freeform: Shape 13">
            <a:extLst>
              <a:ext uri="{FF2B5EF4-FFF2-40B4-BE49-F238E27FC236}">
                <a16:creationId xmlns:a16="http://schemas.microsoft.com/office/drawing/2014/main" id="{16601095-807E-931F-8B6D-808549DBC775}"/>
              </a:ext>
            </a:extLst>
          </p:cNvPr>
          <p:cNvSpPr/>
          <p:nvPr userDrawn="1"/>
        </p:nvSpPr>
        <p:spPr bwMode="gray">
          <a:xfrm>
            <a:off x="9515735" y="4187502"/>
            <a:ext cx="2676265" cy="2670498"/>
          </a:xfrm>
          <a:custGeom>
            <a:avLst/>
            <a:gdLst>
              <a:gd name="connsiteX0" fmla="*/ 2664697 w 2664697"/>
              <a:gd name="connsiteY0" fmla="*/ 0 h 2750947"/>
              <a:gd name="connsiteX1" fmla="*/ 2664697 w 2664697"/>
              <a:gd name="connsiteY1" fmla="*/ 2750947 h 2750947"/>
              <a:gd name="connsiteX2" fmla="*/ 0 w 2664697"/>
              <a:gd name="connsiteY2" fmla="*/ 2750947 h 2750947"/>
              <a:gd name="connsiteX3" fmla="*/ 2664697 w 2664697"/>
              <a:gd name="connsiteY3" fmla="*/ 0 h 2750947"/>
            </a:gdLst>
            <a:ahLst/>
            <a:cxnLst>
              <a:cxn ang="0">
                <a:pos x="connsiteX0" y="connsiteY0"/>
              </a:cxn>
              <a:cxn ang="0">
                <a:pos x="connsiteX1" y="connsiteY1"/>
              </a:cxn>
              <a:cxn ang="0">
                <a:pos x="connsiteX2" y="connsiteY2"/>
              </a:cxn>
              <a:cxn ang="0">
                <a:pos x="connsiteX3" y="connsiteY3"/>
              </a:cxn>
            </a:cxnLst>
            <a:rect l="l" t="t" r="r" b="b"/>
            <a:pathLst>
              <a:path w="2664697" h="2750947">
                <a:moveTo>
                  <a:pt x="2664697" y="0"/>
                </a:moveTo>
                <a:lnTo>
                  <a:pt x="2664697" y="2750947"/>
                </a:lnTo>
                <a:lnTo>
                  <a:pt x="0" y="2750947"/>
                </a:lnTo>
                <a:lnTo>
                  <a:pt x="2664697" y="0"/>
                </a:lnTo>
                <a:close/>
              </a:path>
            </a:pathLst>
          </a:cu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Tree>
    <p:extLst>
      <p:ext uri="{BB962C8B-B14F-4D97-AF65-F5344CB8AC3E}">
        <p14:creationId xmlns:p14="http://schemas.microsoft.com/office/powerpoint/2010/main" val="1913292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748CC1CD-5BE8-0A00-E2BD-DECF69301F84}"/>
              </a:ext>
            </a:extLst>
          </p:cNvPr>
          <p:cNvSpPr/>
          <p:nvPr userDrawn="1"/>
        </p:nvSpPr>
        <p:spPr bwMode="gray">
          <a:xfrm>
            <a:off x="-1" y="0"/>
            <a:ext cx="12192000" cy="6858000"/>
          </a:xfrm>
          <a:custGeom>
            <a:avLst/>
            <a:gdLst>
              <a:gd name="connsiteX0" fmla="*/ 0 w 12188825"/>
              <a:gd name="connsiteY0" fmla="*/ 0 h 6858000"/>
              <a:gd name="connsiteX1" fmla="*/ 12188825 w 12188825"/>
              <a:gd name="connsiteY1" fmla="*/ 0 h 6858000"/>
              <a:gd name="connsiteX2" fmla="*/ 12188825 w 12188825"/>
              <a:gd name="connsiteY2" fmla="*/ 875177 h 6858000"/>
              <a:gd name="connsiteX3" fmla="*/ 12139147 w 12188825"/>
              <a:gd name="connsiteY3" fmla="*/ 920818 h 6858000"/>
              <a:gd name="connsiteX4" fmla="*/ 10641487 w 12188825"/>
              <a:gd name="connsiteY4" fmla="*/ 2432470 h 6858000"/>
              <a:gd name="connsiteX5" fmla="*/ 9143827 w 12188825"/>
              <a:gd name="connsiteY5" fmla="*/ 920818 h 6858000"/>
              <a:gd name="connsiteX6" fmla="*/ 8219740 w 12188825"/>
              <a:gd name="connsiteY6" fmla="*/ 534864 h 6858000"/>
              <a:gd name="connsiteX7" fmla="*/ 7327517 w 12188825"/>
              <a:gd name="connsiteY7" fmla="*/ 920818 h 6858000"/>
              <a:gd name="connsiteX8" fmla="*/ 5479341 w 12188825"/>
              <a:gd name="connsiteY8" fmla="*/ 2754098 h 6858000"/>
              <a:gd name="connsiteX9" fmla="*/ 5479341 w 12188825"/>
              <a:gd name="connsiteY9" fmla="*/ 4619540 h 6858000"/>
              <a:gd name="connsiteX10" fmla="*/ 7540702 w 12188825"/>
              <a:gd name="connsiteY10" fmla="*/ 6687317 h 6858000"/>
              <a:gd name="connsiteX11" fmla="*/ 7710856 w 12188825"/>
              <a:gd name="connsiteY11" fmla="*/ 6858000 h 6858000"/>
              <a:gd name="connsiteX12" fmla="*/ 0 w 12188825"/>
              <a:gd name="connsiteY12" fmla="*/ 6858000 h 6858000"/>
              <a:gd name="connsiteX13" fmla="*/ 0 w 12188825"/>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825" h="6858000">
                <a:moveTo>
                  <a:pt x="0" y="0"/>
                </a:moveTo>
                <a:lnTo>
                  <a:pt x="12188825" y="0"/>
                </a:lnTo>
                <a:lnTo>
                  <a:pt x="12188825" y="875177"/>
                </a:lnTo>
                <a:lnTo>
                  <a:pt x="12139147" y="920818"/>
                </a:lnTo>
                <a:cubicBezTo>
                  <a:pt x="10641487" y="2432470"/>
                  <a:pt x="10641487" y="2432470"/>
                  <a:pt x="10641487" y="2432470"/>
                </a:cubicBezTo>
                <a:cubicBezTo>
                  <a:pt x="9143827" y="920818"/>
                  <a:pt x="9143827" y="920818"/>
                  <a:pt x="9143827" y="920818"/>
                </a:cubicBezTo>
                <a:cubicBezTo>
                  <a:pt x="8888907" y="663515"/>
                  <a:pt x="8538391" y="534864"/>
                  <a:pt x="8219740" y="534864"/>
                </a:cubicBezTo>
                <a:cubicBezTo>
                  <a:pt x="7901089" y="534864"/>
                  <a:pt x="7550572" y="663515"/>
                  <a:pt x="7327517" y="920818"/>
                </a:cubicBezTo>
                <a:cubicBezTo>
                  <a:pt x="5479341" y="2754098"/>
                  <a:pt x="5479341" y="2754098"/>
                  <a:pt x="5479341" y="2754098"/>
                </a:cubicBezTo>
                <a:cubicBezTo>
                  <a:pt x="5001364" y="3268703"/>
                  <a:pt x="5001364" y="4104936"/>
                  <a:pt x="5479341" y="4619540"/>
                </a:cubicBezTo>
                <a:cubicBezTo>
                  <a:pt x="6285927" y="5428636"/>
                  <a:pt x="6966483" y="6111310"/>
                  <a:pt x="7540702" y="6687317"/>
                </a:cubicBezTo>
                <a:lnTo>
                  <a:pt x="7710856" y="6858000"/>
                </a:lnTo>
                <a:lnTo>
                  <a:pt x="0" y="6858000"/>
                </a:lnTo>
                <a:lnTo>
                  <a:pt x="0" y="0"/>
                </a:lnTo>
                <a:close/>
              </a:path>
            </a:pathLst>
          </a:cu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3" name="Freeform: Shape 2" descr="CVS Caremark logo.">
            <a:extLst>
              <a:ext uri="{FF2B5EF4-FFF2-40B4-BE49-F238E27FC236}">
                <a16:creationId xmlns:a16="http://schemas.microsoft.com/office/drawing/2014/main" id="{7B780487-AC83-3554-6550-74289D5F8667}"/>
              </a:ext>
            </a:extLst>
          </p:cNvPr>
          <p:cNvSpPr/>
          <p:nvPr userDrawn="1"/>
        </p:nvSpPr>
        <p:spPr>
          <a:xfrm>
            <a:off x="869243" y="1398588"/>
            <a:ext cx="1774072" cy="200649"/>
          </a:xfrm>
          <a:custGeom>
            <a:avLst/>
            <a:gdLst>
              <a:gd name="connsiteX0" fmla="*/ 675480 w 1773610"/>
              <a:gd name="connsiteY0" fmla="*/ 135969 h 200649"/>
              <a:gd name="connsiteX1" fmla="*/ 703379 w 1773610"/>
              <a:gd name="connsiteY1" fmla="*/ 155237 h 200649"/>
              <a:gd name="connsiteX2" fmla="*/ 726211 w 1773610"/>
              <a:gd name="connsiteY2" fmla="*/ 141538 h 200649"/>
              <a:gd name="connsiteX3" fmla="*/ 692724 w 1773610"/>
              <a:gd name="connsiteY3" fmla="*/ 122771 h 200649"/>
              <a:gd name="connsiteX4" fmla="*/ 641493 w 1773610"/>
              <a:gd name="connsiteY4" fmla="*/ 104506 h 200649"/>
              <a:gd name="connsiteX5" fmla="*/ 619682 w 1773610"/>
              <a:gd name="connsiteY5" fmla="*/ 60634 h 200649"/>
              <a:gd name="connsiteX6" fmla="*/ 699063 w 1773610"/>
              <a:gd name="connsiteY6" fmla="*/ 0 h 200649"/>
              <a:gd name="connsiteX7" fmla="*/ 780236 w 1773610"/>
              <a:gd name="connsiteY7" fmla="*/ 59864 h 200649"/>
              <a:gd name="connsiteX8" fmla="*/ 722646 w 1773610"/>
              <a:gd name="connsiteY8" fmla="*/ 59864 h 200649"/>
              <a:gd name="connsiteX9" fmla="*/ 698061 w 1773610"/>
              <a:gd name="connsiteY9" fmla="*/ 43120 h 200649"/>
              <a:gd name="connsiteX10" fmla="*/ 678794 w 1773610"/>
              <a:gd name="connsiteY10" fmla="*/ 56049 h 200649"/>
              <a:gd name="connsiteX11" fmla="*/ 706944 w 1773610"/>
              <a:gd name="connsiteY11" fmla="*/ 72792 h 200649"/>
              <a:gd name="connsiteX12" fmla="*/ 761239 w 1773610"/>
              <a:gd name="connsiteY12" fmla="*/ 90807 h 200649"/>
              <a:gd name="connsiteX13" fmla="*/ 785573 w 1773610"/>
              <a:gd name="connsiteY13" fmla="*/ 135122 h 200649"/>
              <a:gd name="connsiteX14" fmla="*/ 700797 w 1773610"/>
              <a:gd name="connsiteY14" fmla="*/ 200630 h 200649"/>
              <a:gd name="connsiteX15" fmla="*/ 616021 w 1773610"/>
              <a:gd name="connsiteY15" fmla="*/ 135950 h 200649"/>
              <a:gd name="connsiteX16" fmla="*/ 451517 w 1773610"/>
              <a:gd name="connsiteY16" fmla="*/ 121519 h 200649"/>
              <a:gd name="connsiteX17" fmla="*/ 360711 w 1773610"/>
              <a:gd name="connsiteY17" fmla="*/ 200650 h 200649"/>
              <a:gd name="connsiteX18" fmla="*/ 263064 w 1773610"/>
              <a:gd name="connsiteY18" fmla="*/ 100460 h 200649"/>
              <a:gd name="connsiteX19" fmla="*/ 359401 w 1773610"/>
              <a:gd name="connsiteY19" fmla="*/ 19 h 200649"/>
              <a:gd name="connsiteX20" fmla="*/ 450496 w 1773610"/>
              <a:gd name="connsiteY20" fmla="*/ 77089 h 200649"/>
              <a:gd name="connsiteX21" fmla="*/ 392405 w 1773610"/>
              <a:gd name="connsiteY21" fmla="*/ 77089 h 200649"/>
              <a:gd name="connsiteX22" fmla="*/ 360191 w 1773610"/>
              <a:gd name="connsiteY22" fmla="*/ 47667 h 200649"/>
              <a:gd name="connsiteX23" fmla="*/ 324430 w 1773610"/>
              <a:gd name="connsiteY23" fmla="*/ 100421 h 200649"/>
              <a:gd name="connsiteX24" fmla="*/ 361982 w 1773610"/>
              <a:gd name="connsiteY24" fmla="*/ 152944 h 200649"/>
              <a:gd name="connsiteX25" fmla="*/ 393947 w 1773610"/>
              <a:gd name="connsiteY25" fmla="*/ 121480 h 200649"/>
              <a:gd name="connsiteX26" fmla="*/ 438570 w 1773610"/>
              <a:gd name="connsiteY26" fmla="*/ 5337 h 200649"/>
              <a:gd name="connsiteX27" fmla="*/ 500726 w 1773610"/>
              <a:gd name="connsiteY27" fmla="*/ 5337 h 200649"/>
              <a:gd name="connsiteX28" fmla="*/ 532690 w 1773610"/>
              <a:gd name="connsiteY28" fmla="*/ 128108 h 200649"/>
              <a:gd name="connsiteX29" fmla="*/ 566909 w 1773610"/>
              <a:gd name="connsiteY29" fmla="*/ 5337 h 200649"/>
              <a:gd name="connsiteX30" fmla="*/ 626773 w 1773610"/>
              <a:gd name="connsiteY30" fmla="*/ 5337 h 200649"/>
              <a:gd name="connsiteX31" fmla="*/ 562863 w 1773610"/>
              <a:gd name="connsiteY31" fmla="*/ 195332 h 200649"/>
              <a:gd name="connsiteX32" fmla="*/ 502248 w 1773610"/>
              <a:gd name="connsiteY32" fmla="*/ 195332 h 200649"/>
              <a:gd name="connsiteX33" fmla="*/ 67983 w 1773610"/>
              <a:gd name="connsiteY33" fmla="*/ 270 h 200649"/>
              <a:gd name="connsiteX34" fmla="*/ 48196 w 1773610"/>
              <a:gd name="connsiteY34" fmla="*/ 8535 h 200649"/>
              <a:gd name="connsiteX35" fmla="*/ 8254 w 1773610"/>
              <a:gd name="connsiteY35" fmla="*/ 48380 h 200649"/>
              <a:gd name="connsiteX36" fmla="*/ 8246 w 1773610"/>
              <a:gd name="connsiteY36" fmla="*/ 88217 h 200649"/>
              <a:gd name="connsiteX37" fmla="*/ 8254 w 1773610"/>
              <a:gd name="connsiteY37" fmla="*/ 88225 h 200649"/>
              <a:gd name="connsiteX38" fmla="*/ 120679 w 1773610"/>
              <a:gd name="connsiteY38" fmla="*/ 200650 h 200649"/>
              <a:gd name="connsiteX39" fmla="*/ 233161 w 1773610"/>
              <a:gd name="connsiteY39" fmla="*/ 88225 h 200649"/>
              <a:gd name="connsiteX40" fmla="*/ 233169 w 1773610"/>
              <a:gd name="connsiteY40" fmla="*/ 48388 h 200649"/>
              <a:gd name="connsiteX41" fmla="*/ 233161 w 1773610"/>
              <a:gd name="connsiteY41" fmla="*/ 48380 h 200649"/>
              <a:gd name="connsiteX42" fmla="*/ 193317 w 1773610"/>
              <a:gd name="connsiteY42" fmla="*/ 8574 h 200649"/>
              <a:gd name="connsiteX43" fmla="*/ 153617 w 1773610"/>
              <a:gd name="connsiteY43" fmla="*/ 8410 h 200649"/>
              <a:gd name="connsiteX44" fmla="*/ 153453 w 1773610"/>
              <a:gd name="connsiteY44" fmla="*/ 8574 h 200649"/>
              <a:gd name="connsiteX45" fmla="*/ 120698 w 1773610"/>
              <a:gd name="connsiteY45" fmla="*/ 41328 h 200649"/>
              <a:gd name="connsiteX46" fmla="*/ 87944 w 1773610"/>
              <a:gd name="connsiteY46" fmla="*/ 8574 h 200649"/>
              <a:gd name="connsiteX47" fmla="*/ 67983 w 1773610"/>
              <a:gd name="connsiteY47" fmla="*/ 270 h 200649"/>
              <a:gd name="connsiteX48" fmla="*/ 827114 w 1773610"/>
              <a:gd name="connsiteY48" fmla="*/ 137434 h 200649"/>
              <a:gd name="connsiteX49" fmla="*/ 883509 w 1773610"/>
              <a:gd name="connsiteY49" fmla="*/ 77031 h 200649"/>
              <a:gd name="connsiteX50" fmla="*/ 934298 w 1773610"/>
              <a:gd name="connsiteY50" fmla="*/ 118032 h 200649"/>
              <a:gd name="connsiteX51" fmla="*/ 909443 w 1773610"/>
              <a:gd name="connsiteY51" fmla="*/ 118032 h 200649"/>
              <a:gd name="connsiteX52" fmla="*/ 884395 w 1773610"/>
              <a:gd name="connsiteY52" fmla="*/ 97531 h 200649"/>
              <a:gd name="connsiteX53" fmla="*/ 852758 w 1773610"/>
              <a:gd name="connsiteY53" fmla="*/ 137434 h 200649"/>
              <a:gd name="connsiteX54" fmla="*/ 884241 w 1773610"/>
              <a:gd name="connsiteY54" fmla="*/ 177279 h 200649"/>
              <a:gd name="connsiteX55" fmla="*/ 910541 w 1773610"/>
              <a:gd name="connsiteY55" fmla="*/ 154331 h 200649"/>
              <a:gd name="connsiteX56" fmla="*/ 935049 w 1773610"/>
              <a:gd name="connsiteY56" fmla="*/ 154331 h 200649"/>
              <a:gd name="connsiteX57" fmla="*/ 884684 w 1773610"/>
              <a:gd name="connsiteY57" fmla="*/ 198010 h 200649"/>
              <a:gd name="connsiteX58" fmla="*/ 827191 w 1773610"/>
              <a:gd name="connsiteY58" fmla="*/ 137395 h 200649"/>
              <a:gd name="connsiteX59" fmla="*/ 1018842 w 1773610"/>
              <a:gd name="connsiteY59" fmla="*/ 179957 h 200649"/>
              <a:gd name="connsiteX60" fmla="*/ 983179 w 1773610"/>
              <a:gd name="connsiteY60" fmla="*/ 197124 h 200649"/>
              <a:gd name="connsiteX61" fmla="*/ 944644 w 1773610"/>
              <a:gd name="connsiteY61" fmla="*/ 163464 h 200649"/>
              <a:gd name="connsiteX62" fmla="*/ 991675 w 1773610"/>
              <a:gd name="connsiteY62" fmla="*/ 126471 h 200649"/>
              <a:gd name="connsiteX63" fmla="*/ 1018650 w 1773610"/>
              <a:gd name="connsiteY63" fmla="*/ 111982 h 200649"/>
              <a:gd name="connsiteX64" fmla="*/ 997032 w 1773610"/>
              <a:gd name="connsiteY64" fmla="*/ 96163 h 200649"/>
              <a:gd name="connsiteX65" fmla="*/ 973641 w 1773610"/>
              <a:gd name="connsiteY65" fmla="*/ 115546 h 200649"/>
              <a:gd name="connsiteX66" fmla="*/ 949750 w 1773610"/>
              <a:gd name="connsiteY66" fmla="*/ 115546 h 200649"/>
              <a:gd name="connsiteX67" fmla="*/ 996762 w 1773610"/>
              <a:gd name="connsiteY67" fmla="*/ 77435 h 200649"/>
              <a:gd name="connsiteX68" fmla="*/ 1043562 w 1773610"/>
              <a:gd name="connsiteY68" fmla="*/ 117107 h 200649"/>
              <a:gd name="connsiteX69" fmla="*/ 1043562 w 1773610"/>
              <a:gd name="connsiteY69" fmla="*/ 167202 h 200649"/>
              <a:gd name="connsiteX70" fmla="*/ 1053389 w 1773610"/>
              <a:gd name="connsiteY70" fmla="*/ 177452 h 200649"/>
              <a:gd name="connsiteX71" fmla="*/ 1054044 w 1773610"/>
              <a:gd name="connsiteY71" fmla="*/ 177452 h 200649"/>
              <a:gd name="connsiteX72" fmla="*/ 1054044 w 1773610"/>
              <a:gd name="connsiteY72" fmla="*/ 193714 h 200649"/>
              <a:gd name="connsiteX73" fmla="*/ 1042483 w 1773610"/>
              <a:gd name="connsiteY73" fmla="*/ 196160 h 200649"/>
              <a:gd name="connsiteX74" fmla="*/ 1019093 w 1773610"/>
              <a:gd name="connsiteY74" fmla="*/ 179899 h 200649"/>
              <a:gd name="connsiteX75" fmla="*/ 1019054 w 1773610"/>
              <a:gd name="connsiteY75" fmla="*/ 153445 h 200649"/>
              <a:gd name="connsiteX76" fmla="*/ 1019054 w 1773610"/>
              <a:gd name="connsiteY76" fmla="*/ 135430 h 200649"/>
              <a:gd name="connsiteX77" fmla="*/ 996550 w 1773610"/>
              <a:gd name="connsiteY77" fmla="*/ 142771 h 200649"/>
              <a:gd name="connsiteX78" fmla="*/ 970250 w 1773610"/>
              <a:gd name="connsiteY78" fmla="*/ 162828 h 200649"/>
              <a:gd name="connsiteX79" fmla="*/ 989421 w 1773610"/>
              <a:gd name="connsiteY79" fmla="*/ 179109 h 200649"/>
              <a:gd name="connsiteX80" fmla="*/ 1019054 w 1773610"/>
              <a:gd name="connsiteY80" fmla="*/ 153483 h 200649"/>
              <a:gd name="connsiteX81" fmla="*/ 1092578 w 1773610"/>
              <a:gd name="connsiteY81" fmla="*/ 98861 h 200649"/>
              <a:gd name="connsiteX82" fmla="*/ 1093253 w 1773610"/>
              <a:gd name="connsiteY82" fmla="*/ 98861 h 200649"/>
              <a:gd name="connsiteX83" fmla="*/ 1123791 w 1773610"/>
              <a:gd name="connsiteY83" fmla="*/ 79015 h 200649"/>
              <a:gd name="connsiteX84" fmla="*/ 1130920 w 1773610"/>
              <a:gd name="connsiteY84" fmla="*/ 79902 h 200649"/>
              <a:gd name="connsiteX85" fmla="*/ 1130920 w 1773610"/>
              <a:gd name="connsiteY85" fmla="*/ 102868 h 200649"/>
              <a:gd name="connsiteX86" fmla="*/ 1130246 w 1773610"/>
              <a:gd name="connsiteY86" fmla="*/ 102868 h 200649"/>
              <a:gd name="connsiteX87" fmla="*/ 1124234 w 1773610"/>
              <a:gd name="connsiteY87" fmla="*/ 102213 h 200649"/>
              <a:gd name="connsiteX88" fmla="*/ 1093253 w 1773610"/>
              <a:gd name="connsiteY88" fmla="*/ 135873 h 200649"/>
              <a:gd name="connsiteX89" fmla="*/ 1093253 w 1773610"/>
              <a:gd name="connsiteY89" fmla="*/ 194619 h 200649"/>
              <a:gd name="connsiteX90" fmla="*/ 1068070 w 1773610"/>
              <a:gd name="connsiteY90" fmla="*/ 194619 h 200649"/>
              <a:gd name="connsiteX91" fmla="*/ 1068070 w 1773610"/>
              <a:gd name="connsiteY91" fmla="*/ 79921 h 200649"/>
              <a:gd name="connsiteX92" fmla="*/ 1092578 w 1773610"/>
              <a:gd name="connsiteY92" fmla="*/ 79921 h 200649"/>
              <a:gd name="connsiteX93" fmla="*/ 1132693 w 1773610"/>
              <a:gd name="connsiteY93" fmla="*/ 137395 h 200649"/>
              <a:gd name="connsiteX94" fmla="*/ 1188414 w 1773610"/>
              <a:gd name="connsiteY94" fmla="*/ 76992 h 200649"/>
              <a:gd name="connsiteX95" fmla="*/ 1243229 w 1773610"/>
              <a:gd name="connsiteY95" fmla="*/ 144081 h 200649"/>
              <a:gd name="connsiteX96" fmla="*/ 1157875 w 1773610"/>
              <a:gd name="connsiteY96" fmla="*/ 144081 h 200649"/>
              <a:gd name="connsiteX97" fmla="*/ 1190417 w 1773610"/>
              <a:gd name="connsiteY97" fmla="*/ 177953 h 200649"/>
              <a:gd name="connsiteX98" fmla="*/ 1216043 w 1773610"/>
              <a:gd name="connsiteY98" fmla="*/ 162115 h 200649"/>
              <a:gd name="connsiteX99" fmla="*/ 1240840 w 1773610"/>
              <a:gd name="connsiteY99" fmla="*/ 162115 h 200649"/>
              <a:gd name="connsiteX100" fmla="*/ 1190475 w 1773610"/>
              <a:gd name="connsiteY100" fmla="*/ 198010 h 200649"/>
              <a:gd name="connsiteX101" fmla="*/ 1132673 w 1773610"/>
              <a:gd name="connsiteY101" fmla="*/ 137395 h 200649"/>
              <a:gd name="connsiteX102" fmla="*/ 1158299 w 1773610"/>
              <a:gd name="connsiteY102" fmla="*/ 126239 h 200649"/>
              <a:gd name="connsiteX103" fmla="*/ 1216698 w 1773610"/>
              <a:gd name="connsiteY103" fmla="*/ 126239 h 200649"/>
              <a:gd name="connsiteX104" fmla="*/ 1188606 w 1773610"/>
              <a:gd name="connsiteY104" fmla="*/ 96606 h 200649"/>
              <a:gd name="connsiteX105" fmla="*/ 1158299 w 1773610"/>
              <a:gd name="connsiteY105" fmla="*/ 126239 h 200649"/>
              <a:gd name="connsiteX106" fmla="*/ 1259683 w 1773610"/>
              <a:gd name="connsiteY106" fmla="*/ 79882 h 200649"/>
              <a:gd name="connsiteX107" fmla="*/ 1284211 w 1773610"/>
              <a:gd name="connsiteY107" fmla="*/ 79882 h 200649"/>
              <a:gd name="connsiteX108" fmla="*/ 1284211 w 1773610"/>
              <a:gd name="connsiteY108" fmla="*/ 95720 h 200649"/>
              <a:gd name="connsiteX109" fmla="*/ 1284885 w 1773610"/>
              <a:gd name="connsiteY109" fmla="*/ 95720 h 200649"/>
              <a:gd name="connsiteX110" fmla="*/ 1318314 w 1773610"/>
              <a:gd name="connsiteY110" fmla="*/ 77089 h 200649"/>
              <a:gd name="connsiteX111" fmla="*/ 1349295 w 1773610"/>
              <a:gd name="connsiteY111" fmla="*/ 97319 h 200649"/>
              <a:gd name="connsiteX112" fmla="*/ 1349739 w 1773610"/>
              <a:gd name="connsiteY112" fmla="*/ 97319 h 200649"/>
              <a:gd name="connsiteX113" fmla="*/ 1384420 w 1773610"/>
              <a:gd name="connsiteY113" fmla="*/ 77031 h 200649"/>
              <a:gd name="connsiteX114" fmla="*/ 1421027 w 1773610"/>
              <a:gd name="connsiteY114" fmla="*/ 116259 h 200649"/>
              <a:gd name="connsiteX115" fmla="*/ 1421027 w 1773610"/>
              <a:gd name="connsiteY115" fmla="*/ 194619 h 200649"/>
              <a:gd name="connsiteX116" fmla="*/ 1395652 w 1773610"/>
              <a:gd name="connsiteY116" fmla="*/ 194619 h 200649"/>
              <a:gd name="connsiteX117" fmla="*/ 1395652 w 1773610"/>
              <a:gd name="connsiteY117" fmla="*/ 119477 h 200649"/>
              <a:gd name="connsiteX118" fmla="*/ 1376713 w 1773610"/>
              <a:gd name="connsiteY118" fmla="*/ 98533 h 200649"/>
              <a:gd name="connsiteX119" fmla="*/ 1352860 w 1773610"/>
              <a:gd name="connsiteY119" fmla="*/ 125950 h 200649"/>
              <a:gd name="connsiteX120" fmla="*/ 1352860 w 1773610"/>
              <a:gd name="connsiteY120" fmla="*/ 194619 h 200649"/>
              <a:gd name="connsiteX121" fmla="*/ 1327678 w 1773610"/>
              <a:gd name="connsiteY121" fmla="*/ 194619 h 200649"/>
              <a:gd name="connsiteX122" fmla="*/ 1327678 w 1773610"/>
              <a:gd name="connsiteY122" fmla="*/ 119477 h 200649"/>
              <a:gd name="connsiteX123" fmla="*/ 1309181 w 1773610"/>
              <a:gd name="connsiteY123" fmla="*/ 98533 h 200649"/>
              <a:gd name="connsiteX124" fmla="*/ 1284904 w 1773610"/>
              <a:gd name="connsiteY124" fmla="*/ 125950 h 200649"/>
              <a:gd name="connsiteX125" fmla="*/ 1284904 w 1773610"/>
              <a:gd name="connsiteY125" fmla="*/ 194619 h 200649"/>
              <a:gd name="connsiteX126" fmla="*/ 1259703 w 1773610"/>
              <a:gd name="connsiteY126" fmla="*/ 194619 h 200649"/>
              <a:gd name="connsiteX127" fmla="*/ 1510852 w 1773610"/>
              <a:gd name="connsiteY127" fmla="*/ 179995 h 200649"/>
              <a:gd name="connsiteX128" fmla="*/ 1475188 w 1773610"/>
              <a:gd name="connsiteY128" fmla="*/ 197162 h 200649"/>
              <a:gd name="connsiteX129" fmla="*/ 1436653 w 1773610"/>
              <a:gd name="connsiteY129" fmla="*/ 163502 h 200649"/>
              <a:gd name="connsiteX130" fmla="*/ 1483685 w 1773610"/>
              <a:gd name="connsiteY130" fmla="*/ 126509 h 200649"/>
              <a:gd name="connsiteX131" fmla="*/ 1510659 w 1773610"/>
              <a:gd name="connsiteY131" fmla="*/ 112020 h 200649"/>
              <a:gd name="connsiteX132" fmla="*/ 1489041 w 1773610"/>
              <a:gd name="connsiteY132" fmla="*/ 96202 h 200649"/>
              <a:gd name="connsiteX133" fmla="*/ 1465650 w 1773610"/>
              <a:gd name="connsiteY133" fmla="*/ 115585 h 200649"/>
              <a:gd name="connsiteX134" fmla="*/ 1441759 w 1773610"/>
              <a:gd name="connsiteY134" fmla="*/ 115585 h 200649"/>
              <a:gd name="connsiteX135" fmla="*/ 1488790 w 1773610"/>
              <a:gd name="connsiteY135" fmla="*/ 77474 h 200649"/>
              <a:gd name="connsiteX136" fmla="*/ 1535591 w 1773610"/>
              <a:gd name="connsiteY136" fmla="*/ 117145 h 200649"/>
              <a:gd name="connsiteX137" fmla="*/ 1535591 w 1773610"/>
              <a:gd name="connsiteY137" fmla="*/ 167240 h 200649"/>
              <a:gd name="connsiteX138" fmla="*/ 1545398 w 1773610"/>
              <a:gd name="connsiteY138" fmla="*/ 177490 h 200649"/>
              <a:gd name="connsiteX139" fmla="*/ 1546072 w 1773610"/>
              <a:gd name="connsiteY139" fmla="*/ 177490 h 200649"/>
              <a:gd name="connsiteX140" fmla="*/ 1546072 w 1773610"/>
              <a:gd name="connsiteY140" fmla="*/ 193752 h 200649"/>
              <a:gd name="connsiteX141" fmla="*/ 1534512 w 1773610"/>
              <a:gd name="connsiteY141" fmla="*/ 196199 h 200649"/>
              <a:gd name="connsiteX142" fmla="*/ 1511121 w 1773610"/>
              <a:gd name="connsiteY142" fmla="*/ 179937 h 200649"/>
              <a:gd name="connsiteX143" fmla="*/ 1511083 w 1773610"/>
              <a:gd name="connsiteY143" fmla="*/ 153483 h 200649"/>
              <a:gd name="connsiteX144" fmla="*/ 1511083 w 1773610"/>
              <a:gd name="connsiteY144" fmla="*/ 135430 h 200649"/>
              <a:gd name="connsiteX145" fmla="*/ 1488559 w 1773610"/>
              <a:gd name="connsiteY145" fmla="*/ 142771 h 200649"/>
              <a:gd name="connsiteX146" fmla="*/ 1462279 w 1773610"/>
              <a:gd name="connsiteY146" fmla="*/ 162828 h 200649"/>
              <a:gd name="connsiteX147" fmla="*/ 1481430 w 1773610"/>
              <a:gd name="connsiteY147" fmla="*/ 179109 h 200649"/>
              <a:gd name="connsiteX148" fmla="*/ 1511083 w 1773610"/>
              <a:gd name="connsiteY148" fmla="*/ 153483 h 200649"/>
              <a:gd name="connsiteX149" fmla="*/ 1584607 w 1773610"/>
              <a:gd name="connsiteY149" fmla="*/ 98861 h 200649"/>
              <a:gd name="connsiteX150" fmla="*/ 1585281 w 1773610"/>
              <a:gd name="connsiteY150" fmla="*/ 98861 h 200649"/>
              <a:gd name="connsiteX151" fmla="*/ 1615800 w 1773610"/>
              <a:gd name="connsiteY151" fmla="*/ 79015 h 200649"/>
              <a:gd name="connsiteX152" fmla="*/ 1622929 w 1773610"/>
              <a:gd name="connsiteY152" fmla="*/ 79902 h 200649"/>
              <a:gd name="connsiteX153" fmla="*/ 1622929 w 1773610"/>
              <a:gd name="connsiteY153" fmla="*/ 102868 h 200649"/>
              <a:gd name="connsiteX154" fmla="*/ 1622332 w 1773610"/>
              <a:gd name="connsiteY154" fmla="*/ 102868 h 200649"/>
              <a:gd name="connsiteX155" fmla="*/ 1616301 w 1773610"/>
              <a:gd name="connsiteY155" fmla="*/ 102213 h 200649"/>
              <a:gd name="connsiteX156" fmla="*/ 1585339 w 1773610"/>
              <a:gd name="connsiteY156" fmla="*/ 135873 h 200649"/>
              <a:gd name="connsiteX157" fmla="*/ 1585339 w 1773610"/>
              <a:gd name="connsiteY157" fmla="*/ 194619 h 200649"/>
              <a:gd name="connsiteX158" fmla="*/ 1560079 w 1773610"/>
              <a:gd name="connsiteY158" fmla="*/ 194619 h 200649"/>
              <a:gd name="connsiteX159" fmla="*/ 1560079 w 1773610"/>
              <a:gd name="connsiteY159" fmla="*/ 79921 h 200649"/>
              <a:gd name="connsiteX160" fmla="*/ 1584607 w 1773610"/>
              <a:gd name="connsiteY160" fmla="*/ 79921 h 200649"/>
              <a:gd name="connsiteX161" fmla="*/ 1675510 w 1773610"/>
              <a:gd name="connsiteY161" fmla="*/ 138089 h 200649"/>
              <a:gd name="connsiteX162" fmla="*/ 1660366 w 1773610"/>
              <a:gd name="connsiteY162" fmla="*/ 154158 h 200649"/>
              <a:gd name="connsiteX163" fmla="*/ 1660366 w 1773610"/>
              <a:gd name="connsiteY163" fmla="*/ 194619 h 200649"/>
              <a:gd name="connsiteX164" fmla="*/ 1635164 w 1773610"/>
              <a:gd name="connsiteY164" fmla="*/ 194619 h 200649"/>
              <a:gd name="connsiteX165" fmla="*/ 1635164 w 1773610"/>
              <a:gd name="connsiteY165" fmla="*/ 35356 h 200649"/>
              <a:gd name="connsiteX166" fmla="*/ 1660366 w 1773610"/>
              <a:gd name="connsiteY166" fmla="*/ 35356 h 200649"/>
              <a:gd name="connsiteX167" fmla="*/ 1660366 w 1773610"/>
              <a:gd name="connsiteY167" fmla="*/ 126066 h 200649"/>
              <a:gd name="connsiteX168" fmla="*/ 1703601 w 1773610"/>
              <a:gd name="connsiteY168" fmla="*/ 79824 h 200649"/>
              <a:gd name="connsiteX169" fmla="*/ 1733466 w 1773610"/>
              <a:gd name="connsiteY169" fmla="*/ 79824 h 200649"/>
              <a:gd name="connsiteX170" fmla="*/ 1692889 w 1773610"/>
              <a:gd name="connsiteY170" fmla="*/ 122482 h 200649"/>
              <a:gd name="connsiteX171" fmla="*/ 1736568 w 1773610"/>
              <a:gd name="connsiteY171" fmla="*/ 194619 h 200649"/>
              <a:gd name="connsiteX172" fmla="*/ 1708283 w 1773610"/>
              <a:gd name="connsiteY172" fmla="*/ 194619 h 200649"/>
              <a:gd name="connsiteX173" fmla="*/ 1756702 w 1773610"/>
              <a:gd name="connsiteY173" fmla="*/ 81963 h 200649"/>
              <a:gd name="connsiteX174" fmla="*/ 1739716 w 1773610"/>
              <a:gd name="connsiteY174" fmla="*/ 65742 h 200649"/>
              <a:gd name="connsiteX175" fmla="*/ 1739727 w 1773610"/>
              <a:gd name="connsiteY175" fmla="*/ 64623 h 200649"/>
              <a:gd name="connsiteX176" fmla="*/ 1756663 w 1773610"/>
              <a:gd name="connsiteY176" fmla="*/ 47687 h 200649"/>
              <a:gd name="connsiteX177" fmla="*/ 1773599 w 1773610"/>
              <a:gd name="connsiteY177" fmla="*/ 64623 h 200649"/>
              <a:gd name="connsiteX178" fmla="*/ 1757503 w 1773610"/>
              <a:gd name="connsiteY178" fmla="*/ 81953 h 200649"/>
              <a:gd name="connsiteX179" fmla="*/ 1756702 w 1773610"/>
              <a:gd name="connsiteY179" fmla="*/ 81963 h 200649"/>
              <a:gd name="connsiteX180" fmla="*/ 1756702 w 1773610"/>
              <a:gd name="connsiteY180" fmla="*/ 50461 h 200649"/>
              <a:gd name="connsiteX181" fmla="*/ 1743427 w 1773610"/>
              <a:gd name="connsiteY181" fmla="*/ 64719 h 200649"/>
              <a:gd name="connsiteX182" fmla="*/ 1756702 w 1773610"/>
              <a:gd name="connsiteY182" fmla="*/ 78957 h 200649"/>
              <a:gd name="connsiteX183" fmla="*/ 1769900 w 1773610"/>
              <a:gd name="connsiteY183" fmla="*/ 64719 h 200649"/>
              <a:gd name="connsiteX184" fmla="*/ 1756702 w 1773610"/>
              <a:gd name="connsiteY184" fmla="*/ 50461 h 200649"/>
              <a:gd name="connsiteX185" fmla="*/ 1753349 w 1773610"/>
              <a:gd name="connsiteY185" fmla="*/ 74584 h 200649"/>
              <a:gd name="connsiteX186" fmla="*/ 1750209 w 1773610"/>
              <a:gd name="connsiteY186" fmla="*/ 74584 h 200649"/>
              <a:gd name="connsiteX187" fmla="*/ 1750209 w 1773610"/>
              <a:gd name="connsiteY187" fmla="*/ 55490 h 200649"/>
              <a:gd name="connsiteX188" fmla="*/ 1757453 w 1773610"/>
              <a:gd name="connsiteY188" fmla="*/ 55490 h 200649"/>
              <a:gd name="connsiteX189" fmla="*/ 1764428 w 1773610"/>
              <a:gd name="connsiteY189" fmla="*/ 60981 h 200649"/>
              <a:gd name="connsiteX190" fmla="*/ 1759894 w 1773610"/>
              <a:gd name="connsiteY190" fmla="*/ 66174 h 200649"/>
              <a:gd name="connsiteX191" fmla="*/ 1759438 w 1773610"/>
              <a:gd name="connsiteY191" fmla="*/ 66183 h 200649"/>
              <a:gd name="connsiteX192" fmla="*/ 1764794 w 1773610"/>
              <a:gd name="connsiteY192" fmla="*/ 74584 h 200649"/>
              <a:gd name="connsiteX193" fmla="*/ 1761230 w 1773610"/>
              <a:gd name="connsiteY193" fmla="*/ 74584 h 200649"/>
              <a:gd name="connsiteX194" fmla="*/ 1756317 w 1773610"/>
              <a:gd name="connsiteY194" fmla="*/ 66414 h 200649"/>
              <a:gd name="connsiteX195" fmla="*/ 1753349 w 1773610"/>
              <a:gd name="connsiteY195" fmla="*/ 66414 h 200649"/>
              <a:gd name="connsiteX196" fmla="*/ 1756856 w 1773610"/>
              <a:gd name="connsiteY196" fmla="*/ 63736 h 200649"/>
              <a:gd name="connsiteX197" fmla="*/ 1761288 w 1773610"/>
              <a:gd name="connsiteY197" fmla="*/ 60750 h 200649"/>
              <a:gd name="connsiteX198" fmla="*/ 1757145 w 1773610"/>
              <a:gd name="connsiteY198" fmla="*/ 58168 h 200649"/>
              <a:gd name="connsiteX199" fmla="*/ 1753292 w 1773610"/>
              <a:gd name="connsiteY199" fmla="*/ 58168 h 200649"/>
              <a:gd name="connsiteX200" fmla="*/ 1753292 w 1773610"/>
              <a:gd name="connsiteY200" fmla="*/ 63736 h 20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773610" h="200649">
                <a:moveTo>
                  <a:pt x="675480" y="135969"/>
                </a:moveTo>
                <a:cubicBezTo>
                  <a:pt x="678524" y="150189"/>
                  <a:pt x="686636" y="155237"/>
                  <a:pt x="703379" y="155237"/>
                </a:cubicBezTo>
                <a:cubicBezTo>
                  <a:pt x="718080" y="155237"/>
                  <a:pt x="726211" y="149900"/>
                  <a:pt x="726211" y="141538"/>
                </a:cubicBezTo>
                <a:cubicBezTo>
                  <a:pt x="726211" y="129611"/>
                  <a:pt x="715306" y="128609"/>
                  <a:pt x="692724" y="122771"/>
                </a:cubicBezTo>
                <a:cubicBezTo>
                  <a:pt x="666348" y="115931"/>
                  <a:pt x="649354" y="110093"/>
                  <a:pt x="641493" y="104506"/>
                </a:cubicBezTo>
                <a:cubicBezTo>
                  <a:pt x="626773" y="94102"/>
                  <a:pt x="619682" y="79458"/>
                  <a:pt x="619682" y="60634"/>
                </a:cubicBezTo>
                <a:cubicBezTo>
                  <a:pt x="619682" y="23853"/>
                  <a:pt x="648583" y="0"/>
                  <a:pt x="699063" y="0"/>
                </a:cubicBezTo>
                <a:cubicBezTo>
                  <a:pt x="748022" y="0"/>
                  <a:pt x="776942" y="21560"/>
                  <a:pt x="780236" y="59864"/>
                </a:cubicBezTo>
                <a:lnTo>
                  <a:pt x="722646" y="59864"/>
                </a:lnTo>
                <a:cubicBezTo>
                  <a:pt x="720623" y="48438"/>
                  <a:pt x="712762" y="43120"/>
                  <a:pt x="698061" y="43120"/>
                </a:cubicBezTo>
                <a:cubicBezTo>
                  <a:pt x="685114" y="43120"/>
                  <a:pt x="678794" y="47436"/>
                  <a:pt x="678794" y="56049"/>
                </a:cubicBezTo>
                <a:cubicBezTo>
                  <a:pt x="678794" y="66202"/>
                  <a:pt x="688678" y="67975"/>
                  <a:pt x="706944" y="72792"/>
                </a:cubicBezTo>
                <a:cubicBezTo>
                  <a:pt x="730546" y="78900"/>
                  <a:pt x="749332" y="82695"/>
                  <a:pt x="761239" y="90807"/>
                </a:cubicBezTo>
                <a:cubicBezTo>
                  <a:pt x="777963" y="101963"/>
                  <a:pt x="785573" y="115662"/>
                  <a:pt x="785573" y="135122"/>
                </a:cubicBezTo>
                <a:cubicBezTo>
                  <a:pt x="785573" y="176469"/>
                  <a:pt x="755902" y="200630"/>
                  <a:pt x="700797" y="200630"/>
                </a:cubicBezTo>
                <a:cubicBezTo>
                  <a:pt x="649797" y="200630"/>
                  <a:pt x="619875" y="176546"/>
                  <a:pt x="616021" y="135950"/>
                </a:cubicBezTo>
                <a:close/>
                <a:moveTo>
                  <a:pt x="451517" y="121519"/>
                </a:moveTo>
                <a:cubicBezTo>
                  <a:pt x="448223" y="171498"/>
                  <a:pt x="415237" y="200650"/>
                  <a:pt x="360711" y="200650"/>
                </a:cubicBezTo>
                <a:cubicBezTo>
                  <a:pt x="300077" y="200650"/>
                  <a:pt x="263064" y="162115"/>
                  <a:pt x="263064" y="100460"/>
                </a:cubicBezTo>
                <a:cubicBezTo>
                  <a:pt x="263064" y="38323"/>
                  <a:pt x="300346" y="19"/>
                  <a:pt x="359401" y="19"/>
                </a:cubicBezTo>
                <a:cubicBezTo>
                  <a:pt x="414486" y="19"/>
                  <a:pt x="447028" y="27918"/>
                  <a:pt x="450496" y="77089"/>
                </a:cubicBezTo>
                <a:lnTo>
                  <a:pt x="392405" y="77089"/>
                </a:lnTo>
                <a:cubicBezTo>
                  <a:pt x="390633" y="57821"/>
                  <a:pt x="379728" y="47667"/>
                  <a:pt x="360191" y="47667"/>
                </a:cubicBezTo>
                <a:cubicBezTo>
                  <a:pt x="336357" y="47667"/>
                  <a:pt x="324430" y="65181"/>
                  <a:pt x="324430" y="100421"/>
                </a:cubicBezTo>
                <a:cubicBezTo>
                  <a:pt x="324430" y="134929"/>
                  <a:pt x="337378" y="152944"/>
                  <a:pt x="361982" y="152944"/>
                </a:cubicBezTo>
                <a:cubicBezTo>
                  <a:pt x="380498" y="152944"/>
                  <a:pt x="392155" y="141769"/>
                  <a:pt x="393947" y="121480"/>
                </a:cubicBezTo>
                <a:close/>
                <a:moveTo>
                  <a:pt x="438570" y="5337"/>
                </a:moveTo>
                <a:lnTo>
                  <a:pt x="500726" y="5337"/>
                </a:lnTo>
                <a:lnTo>
                  <a:pt x="532690" y="128108"/>
                </a:lnTo>
                <a:lnTo>
                  <a:pt x="566909" y="5337"/>
                </a:lnTo>
                <a:lnTo>
                  <a:pt x="626773" y="5337"/>
                </a:lnTo>
                <a:lnTo>
                  <a:pt x="562863" y="195332"/>
                </a:lnTo>
                <a:lnTo>
                  <a:pt x="502248" y="195332"/>
                </a:lnTo>
                <a:close/>
                <a:moveTo>
                  <a:pt x="67983" y="270"/>
                </a:moveTo>
                <a:cubicBezTo>
                  <a:pt x="60551" y="285"/>
                  <a:pt x="53430" y="3259"/>
                  <a:pt x="48196" y="8535"/>
                </a:cubicBezTo>
                <a:lnTo>
                  <a:pt x="8254" y="48380"/>
                </a:lnTo>
                <a:cubicBezTo>
                  <a:pt x="-2748" y="59379"/>
                  <a:pt x="-2752" y="77214"/>
                  <a:pt x="8246" y="88217"/>
                </a:cubicBezTo>
                <a:cubicBezTo>
                  <a:pt x="8249" y="88220"/>
                  <a:pt x="8252" y="88222"/>
                  <a:pt x="8254" y="88225"/>
                </a:cubicBezTo>
                <a:lnTo>
                  <a:pt x="120679" y="200650"/>
                </a:lnTo>
                <a:lnTo>
                  <a:pt x="233161" y="88225"/>
                </a:lnTo>
                <a:cubicBezTo>
                  <a:pt x="244165" y="77227"/>
                  <a:pt x="244169" y="59391"/>
                  <a:pt x="233169" y="48388"/>
                </a:cubicBezTo>
                <a:cubicBezTo>
                  <a:pt x="233167" y="48386"/>
                  <a:pt x="233163" y="48383"/>
                  <a:pt x="233161" y="48380"/>
                </a:cubicBezTo>
                <a:lnTo>
                  <a:pt x="193317" y="8574"/>
                </a:lnTo>
                <a:cubicBezTo>
                  <a:pt x="182399" y="-2434"/>
                  <a:pt x="164625" y="-2508"/>
                  <a:pt x="153617" y="8410"/>
                </a:cubicBezTo>
                <a:cubicBezTo>
                  <a:pt x="153562" y="8464"/>
                  <a:pt x="153507" y="8519"/>
                  <a:pt x="153453" y="8574"/>
                </a:cubicBezTo>
                <a:lnTo>
                  <a:pt x="120698" y="41328"/>
                </a:lnTo>
                <a:lnTo>
                  <a:pt x="87944" y="8574"/>
                </a:lnTo>
                <a:cubicBezTo>
                  <a:pt x="82660" y="3261"/>
                  <a:pt x="75476" y="273"/>
                  <a:pt x="67983" y="270"/>
                </a:cubicBezTo>
                <a:moveTo>
                  <a:pt x="827114" y="137434"/>
                </a:moveTo>
                <a:cubicBezTo>
                  <a:pt x="827114" y="103543"/>
                  <a:pt x="848944" y="77031"/>
                  <a:pt x="883509" y="77031"/>
                </a:cubicBezTo>
                <a:cubicBezTo>
                  <a:pt x="912237" y="77031"/>
                  <a:pt x="930290" y="93524"/>
                  <a:pt x="934298" y="118032"/>
                </a:cubicBezTo>
                <a:lnTo>
                  <a:pt x="909443" y="118032"/>
                </a:lnTo>
                <a:cubicBezTo>
                  <a:pt x="907208" y="105778"/>
                  <a:pt x="898075" y="97531"/>
                  <a:pt x="884395" y="97531"/>
                </a:cubicBezTo>
                <a:cubicBezTo>
                  <a:pt x="863452" y="97531"/>
                  <a:pt x="852758" y="114024"/>
                  <a:pt x="852758" y="137434"/>
                </a:cubicBezTo>
                <a:cubicBezTo>
                  <a:pt x="852758" y="160843"/>
                  <a:pt x="863298" y="177279"/>
                  <a:pt x="884241" y="177279"/>
                </a:cubicBezTo>
                <a:cubicBezTo>
                  <a:pt x="899173" y="177279"/>
                  <a:pt x="908749" y="169244"/>
                  <a:pt x="910541" y="154331"/>
                </a:cubicBezTo>
                <a:lnTo>
                  <a:pt x="935049" y="154331"/>
                </a:lnTo>
                <a:cubicBezTo>
                  <a:pt x="933122" y="179957"/>
                  <a:pt x="914317" y="198010"/>
                  <a:pt x="884684" y="198010"/>
                </a:cubicBezTo>
                <a:cubicBezTo>
                  <a:pt x="849252" y="198010"/>
                  <a:pt x="827191" y="171267"/>
                  <a:pt x="827191" y="137395"/>
                </a:cubicBezTo>
                <a:moveTo>
                  <a:pt x="1018842" y="179957"/>
                </a:moveTo>
                <a:cubicBezTo>
                  <a:pt x="1012368" y="188858"/>
                  <a:pt x="1002349" y="197124"/>
                  <a:pt x="983179" y="197124"/>
                </a:cubicBezTo>
                <a:cubicBezTo>
                  <a:pt x="960886" y="197124"/>
                  <a:pt x="944644" y="185756"/>
                  <a:pt x="944644" y="163464"/>
                </a:cubicBezTo>
                <a:cubicBezTo>
                  <a:pt x="944644" y="137395"/>
                  <a:pt x="965376" y="130247"/>
                  <a:pt x="991675" y="126471"/>
                </a:cubicBezTo>
                <a:cubicBezTo>
                  <a:pt x="1009016" y="123792"/>
                  <a:pt x="1018650" y="122232"/>
                  <a:pt x="1018650" y="111982"/>
                </a:cubicBezTo>
                <a:cubicBezTo>
                  <a:pt x="1018650" y="102175"/>
                  <a:pt x="1010943" y="96163"/>
                  <a:pt x="997032" y="96163"/>
                </a:cubicBezTo>
                <a:cubicBezTo>
                  <a:pt x="981618" y="96163"/>
                  <a:pt x="974296" y="102175"/>
                  <a:pt x="973641" y="115546"/>
                </a:cubicBezTo>
                <a:lnTo>
                  <a:pt x="949750" y="115546"/>
                </a:lnTo>
                <a:cubicBezTo>
                  <a:pt x="950424" y="94602"/>
                  <a:pt x="964894" y="77435"/>
                  <a:pt x="996762" y="77435"/>
                </a:cubicBezTo>
                <a:cubicBezTo>
                  <a:pt x="1027744" y="77435"/>
                  <a:pt x="1043562" y="90132"/>
                  <a:pt x="1043562" y="117107"/>
                </a:cubicBezTo>
                <a:lnTo>
                  <a:pt x="1043562" y="167202"/>
                </a:lnTo>
                <a:cubicBezTo>
                  <a:pt x="1043562" y="175448"/>
                  <a:pt x="1045354" y="179013"/>
                  <a:pt x="1053389" y="177452"/>
                </a:cubicBezTo>
                <a:lnTo>
                  <a:pt x="1054044" y="177452"/>
                </a:lnTo>
                <a:lnTo>
                  <a:pt x="1054044" y="193714"/>
                </a:lnTo>
                <a:cubicBezTo>
                  <a:pt x="1050468" y="195517"/>
                  <a:pt x="1046483" y="196361"/>
                  <a:pt x="1042483" y="196160"/>
                </a:cubicBezTo>
                <a:cubicBezTo>
                  <a:pt x="1028457" y="196160"/>
                  <a:pt x="1021097" y="191479"/>
                  <a:pt x="1019093" y="179899"/>
                </a:cubicBezTo>
                <a:close/>
                <a:moveTo>
                  <a:pt x="1019054" y="153445"/>
                </a:moveTo>
                <a:lnTo>
                  <a:pt x="1019054" y="135430"/>
                </a:lnTo>
                <a:cubicBezTo>
                  <a:pt x="1013486" y="138763"/>
                  <a:pt x="1004796" y="140998"/>
                  <a:pt x="996550" y="142771"/>
                </a:cubicBezTo>
                <a:cubicBezTo>
                  <a:pt x="980057" y="146335"/>
                  <a:pt x="970250" y="149457"/>
                  <a:pt x="970250" y="162828"/>
                </a:cubicBezTo>
                <a:cubicBezTo>
                  <a:pt x="970250" y="175313"/>
                  <a:pt x="978728" y="179109"/>
                  <a:pt x="989421" y="179109"/>
                </a:cubicBezTo>
                <a:cubicBezTo>
                  <a:pt x="1009247" y="179109"/>
                  <a:pt x="1019054" y="165506"/>
                  <a:pt x="1019054" y="153483"/>
                </a:cubicBezTo>
                <a:moveTo>
                  <a:pt x="1092578" y="98861"/>
                </a:moveTo>
                <a:lnTo>
                  <a:pt x="1093253" y="98861"/>
                </a:lnTo>
                <a:cubicBezTo>
                  <a:pt x="1100189" y="86607"/>
                  <a:pt x="1109533" y="79015"/>
                  <a:pt x="1123791" y="79015"/>
                </a:cubicBezTo>
                <a:cubicBezTo>
                  <a:pt x="1126202" y="78882"/>
                  <a:pt x="1128616" y="79182"/>
                  <a:pt x="1130920" y="79902"/>
                </a:cubicBezTo>
                <a:lnTo>
                  <a:pt x="1130920" y="102868"/>
                </a:lnTo>
                <a:lnTo>
                  <a:pt x="1130246" y="102868"/>
                </a:lnTo>
                <a:cubicBezTo>
                  <a:pt x="1128279" y="102391"/>
                  <a:pt x="1126257" y="102171"/>
                  <a:pt x="1124234" y="102213"/>
                </a:cubicBezTo>
                <a:cubicBezTo>
                  <a:pt x="1106894" y="102213"/>
                  <a:pt x="1093253" y="114024"/>
                  <a:pt x="1093253" y="135873"/>
                </a:cubicBezTo>
                <a:lnTo>
                  <a:pt x="1093253" y="194619"/>
                </a:lnTo>
                <a:lnTo>
                  <a:pt x="1068070" y="194619"/>
                </a:lnTo>
                <a:lnTo>
                  <a:pt x="1068070" y="79921"/>
                </a:lnTo>
                <a:lnTo>
                  <a:pt x="1092578" y="79921"/>
                </a:lnTo>
                <a:close/>
                <a:moveTo>
                  <a:pt x="1132693" y="137395"/>
                </a:moveTo>
                <a:cubicBezTo>
                  <a:pt x="1132693" y="103504"/>
                  <a:pt x="1155197" y="76992"/>
                  <a:pt x="1188414" y="76992"/>
                </a:cubicBezTo>
                <a:cubicBezTo>
                  <a:pt x="1224058" y="76992"/>
                  <a:pt x="1243229" y="104410"/>
                  <a:pt x="1243229" y="144081"/>
                </a:cubicBezTo>
                <a:lnTo>
                  <a:pt x="1157875" y="144081"/>
                </a:lnTo>
                <a:cubicBezTo>
                  <a:pt x="1159667" y="164138"/>
                  <a:pt x="1170803" y="177953"/>
                  <a:pt x="1190417" y="177953"/>
                </a:cubicBezTo>
                <a:cubicBezTo>
                  <a:pt x="1203346" y="177953"/>
                  <a:pt x="1212035" y="172173"/>
                  <a:pt x="1216043" y="162115"/>
                </a:cubicBezTo>
                <a:lnTo>
                  <a:pt x="1240840" y="162115"/>
                </a:lnTo>
                <a:cubicBezTo>
                  <a:pt x="1236158" y="182616"/>
                  <a:pt x="1218105" y="198010"/>
                  <a:pt x="1190475" y="198010"/>
                </a:cubicBezTo>
                <a:cubicBezTo>
                  <a:pt x="1153713" y="198010"/>
                  <a:pt x="1132673" y="171036"/>
                  <a:pt x="1132673" y="137395"/>
                </a:cubicBezTo>
                <a:moveTo>
                  <a:pt x="1158299" y="126239"/>
                </a:moveTo>
                <a:lnTo>
                  <a:pt x="1216698" y="126239"/>
                </a:lnTo>
                <a:cubicBezTo>
                  <a:pt x="1215792" y="108186"/>
                  <a:pt x="1205138" y="96606"/>
                  <a:pt x="1188606" y="96606"/>
                </a:cubicBezTo>
                <a:cubicBezTo>
                  <a:pt x="1170341" y="96606"/>
                  <a:pt x="1160977" y="108860"/>
                  <a:pt x="1158299" y="126239"/>
                </a:cubicBezTo>
                <a:moveTo>
                  <a:pt x="1259683" y="79882"/>
                </a:moveTo>
                <a:lnTo>
                  <a:pt x="1284211" y="79882"/>
                </a:lnTo>
                <a:lnTo>
                  <a:pt x="1284211" y="95720"/>
                </a:lnTo>
                <a:lnTo>
                  <a:pt x="1284885" y="95720"/>
                </a:lnTo>
                <a:cubicBezTo>
                  <a:pt x="1291887" y="83971"/>
                  <a:pt x="1304638" y="76864"/>
                  <a:pt x="1318314" y="77089"/>
                </a:cubicBezTo>
                <a:cubicBezTo>
                  <a:pt x="1331826" y="76794"/>
                  <a:pt x="1344132" y="84830"/>
                  <a:pt x="1349295" y="97319"/>
                </a:cubicBezTo>
                <a:lnTo>
                  <a:pt x="1349739" y="97319"/>
                </a:lnTo>
                <a:cubicBezTo>
                  <a:pt x="1356825" y="84828"/>
                  <a:pt x="1370058" y="77087"/>
                  <a:pt x="1384420" y="77031"/>
                </a:cubicBezTo>
                <a:cubicBezTo>
                  <a:pt x="1406943" y="77031"/>
                  <a:pt x="1421027" y="91751"/>
                  <a:pt x="1421027" y="116259"/>
                </a:cubicBezTo>
                <a:lnTo>
                  <a:pt x="1421027" y="194619"/>
                </a:lnTo>
                <a:lnTo>
                  <a:pt x="1395652" y="194619"/>
                </a:lnTo>
                <a:lnTo>
                  <a:pt x="1395652" y="119477"/>
                </a:lnTo>
                <a:cubicBezTo>
                  <a:pt x="1395652" y="105893"/>
                  <a:pt x="1387849" y="98533"/>
                  <a:pt x="1376713" y="98533"/>
                </a:cubicBezTo>
                <a:cubicBezTo>
                  <a:pt x="1363110" y="98533"/>
                  <a:pt x="1352860" y="109689"/>
                  <a:pt x="1352860" y="125950"/>
                </a:cubicBezTo>
                <a:lnTo>
                  <a:pt x="1352860" y="194619"/>
                </a:lnTo>
                <a:lnTo>
                  <a:pt x="1327678" y="194619"/>
                </a:lnTo>
                <a:lnTo>
                  <a:pt x="1327678" y="119477"/>
                </a:lnTo>
                <a:cubicBezTo>
                  <a:pt x="1327678" y="105893"/>
                  <a:pt x="1320549" y="98533"/>
                  <a:pt x="1309181" y="98533"/>
                </a:cubicBezTo>
                <a:cubicBezTo>
                  <a:pt x="1296041" y="98533"/>
                  <a:pt x="1284904" y="109689"/>
                  <a:pt x="1284904" y="125950"/>
                </a:cubicBezTo>
                <a:lnTo>
                  <a:pt x="1284904" y="194619"/>
                </a:lnTo>
                <a:lnTo>
                  <a:pt x="1259703" y="194619"/>
                </a:lnTo>
                <a:close/>
                <a:moveTo>
                  <a:pt x="1510852" y="179995"/>
                </a:moveTo>
                <a:cubicBezTo>
                  <a:pt x="1504378" y="188897"/>
                  <a:pt x="1494359" y="197162"/>
                  <a:pt x="1475188" y="197162"/>
                </a:cubicBezTo>
                <a:cubicBezTo>
                  <a:pt x="1452915" y="197162"/>
                  <a:pt x="1436653" y="185795"/>
                  <a:pt x="1436653" y="163502"/>
                </a:cubicBezTo>
                <a:cubicBezTo>
                  <a:pt x="1436653" y="137434"/>
                  <a:pt x="1457385" y="130286"/>
                  <a:pt x="1483685" y="126509"/>
                </a:cubicBezTo>
                <a:cubicBezTo>
                  <a:pt x="1501025" y="123831"/>
                  <a:pt x="1510659" y="122270"/>
                  <a:pt x="1510659" y="112020"/>
                </a:cubicBezTo>
                <a:cubicBezTo>
                  <a:pt x="1510659" y="102213"/>
                  <a:pt x="1502952" y="96202"/>
                  <a:pt x="1489041" y="96202"/>
                </a:cubicBezTo>
                <a:cubicBezTo>
                  <a:pt x="1473627" y="96202"/>
                  <a:pt x="1466325" y="102213"/>
                  <a:pt x="1465650" y="115585"/>
                </a:cubicBezTo>
                <a:lnTo>
                  <a:pt x="1441759" y="115585"/>
                </a:lnTo>
                <a:cubicBezTo>
                  <a:pt x="1442433" y="94641"/>
                  <a:pt x="1456922" y="77474"/>
                  <a:pt x="1488790" y="77474"/>
                </a:cubicBezTo>
                <a:cubicBezTo>
                  <a:pt x="1519753" y="77474"/>
                  <a:pt x="1535591" y="90171"/>
                  <a:pt x="1535591" y="117145"/>
                </a:cubicBezTo>
                <a:lnTo>
                  <a:pt x="1535591" y="167240"/>
                </a:lnTo>
                <a:cubicBezTo>
                  <a:pt x="1535591" y="175487"/>
                  <a:pt x="1537363" y="179051"/>
                  <a:pt x="1545398" y="177490"/>
                </a:cubicBezTo>
                <a:lnTo>
                  <a:pt x="1546072" y="177490"/>
                </a:lnTo>
                <a:lnTo>
                  <a:pt x="1546072" y="193752"/>
                </a:lnTo>
                <a:cubicBezTo>
                  <a:pt x="1542496" y="195555"/>
                  <a:pt x="1538512" y="196399"/>
                  <a:pt x="1534512" y="196199"/>
                </a:cubicBezTo>
                <a:cubicBezTo>
                  <a:pt x="1520466" y="196199"/>
                  <a:pt x="1513125" y="191517"/>
                  <a:pt x="1511121" y="179937"/>
                </a:cubicBezTo>
                <a:close/>
                <a:moveTo>
                  <a:pt x="1511083" y="153483"/>
                </a:moveTo>
                <a:lnTo>
                  <a:pt x="1511083" y="135430"/>
                </a:lnTo>
                <a:cubicBezTo>
                  <a:pt x="1505495" y="138763"/>
                  <a:pt x="1496806" y="140998"/>
                  <a:pt x="1488559" y="142771"/>
                </a:cubicBezTo>
                <a:cubicBezTo>
                  <a:pt x="1472066" y="146335"/>
                  <a:pt x="1462279" y="149457"/>
                  <a:pt x="1462279" y="162828"/>
                </a:cubicBezTo>
                <a:cubicBezTo>
                  <a:pt x="1462279" y="175313"/>
                  <a:pt x="1470737" y="179109"/>
                  <a:pt x="1481430" y="179109"/>
                </a:cubicBezTo>
                <a:cubicBezTo>
                  <a:pt x="1501276" y="179109"/>
                  <a:pt x="1511083" y="165506"/>
                  <a:pt x="1511083" y="153483"/>
                </a:cubicBezTo>
                <a:moveTo>
                  <a:pt x="1584607" y="98861"/>
                </a:moveTo>
                <a:lnTo>
                  <a:pt x="1585281" y="98861"/>
                </a:lnTo>
                <a:cubicBezTo>
                  <a:pt x="1592179" y="86607"/>
                  <a:pt x="1601543" y="79015"/>
                  <a:pt x="1615800" y="79015"/>
                </a:cubicBezTo>
                <a:cubicBezTo>
                  <a:pt x="1618211" y="78879"/>
                  <a:pt x="1620625" y="79179"/>
                  <a:pt x="1622929" y="79902"/>
                </a:cubicBezTo>
                <a:lnTo>
                  <a:pt x="1622929" y="102868"/>
                </a:lnTo>
                <a:lnTo>
                  <a:pt x="1622332" y="102868"/>
                </a:lnTo>
                <a:cubicBezTo>
                  <a:pt x="1620359" y="102391"/>
                  <a:pt x="1618332" y="102171"/>
                  <a:pt x="1616301" y="102213"/>
                </a:cubicBezTo>
                <a:cubicBezTo>
                  <a:pt x="1598961" y="102213"/>
                  <a:pt x="1585339" y="114024"/>
                  <a:pt x="1585339" y="135873"/>
                </a:cubicBezTo>
                <a:lnTo>
                  <a:pt x="1585339" y="194619"/>
                </a:lnTo>
                <a:lnTo>
                  <a:pt x="1560079" y="194619"/>
                </a:lnTo>
                <a:lnTo>
                  <a:pt x="1560079" y="79921"/>
                </a:lnTo>
                <a:lnTo>
                  <a:pt x="1584607" y="79921"/>
                </a:lnTo>
                <a:close/>
                <a:moveTo>
                  <a:pt x="1675510" y="138089"/>
                </a:moveTo>
                <a:lnTo>
                  <a:pt x="1660366" y="154158"/>
                </a:lnTo>
                <a:lnTo>
                  <a:pt x="1660366" y="194619"/>
                </a:lnTo>
                <a:lnTo>
                  <a:pt x="1635164" y="194619"/>
                </a:lnTo>
                <a:lnTo>
                  <a:pt x="1635164" y="35356"/>
                </a:lnTo>
                <a:lnTo>
                  <a:pt x="1660366" y="35356"/>
                </a:lnTo>
                <a:lnTo>
                  <a:pt x="1660366" y="126066"/>
                </a:lnTo>
                <a:lnTo>
                  <a:pt x="1703601" y="79824"/>
                </a:lnTo>
                <a:lnTo>
                  <a:pt x="1733466" y="79824"/>
                </a:lnTo>
                <a:lnTo>
                  <a:pt x="1692889" y="122482"/>
                </a:lnTo>
                <a:lnTo>
                  <a:pt x="1736568" y="194619"/>
                </a:lnTo>
                <a:lnTo>
                  <a:pt x="1708283" y="194619"/>
                </a:lnTo>
                <a:close/>
                <a:moveTo>
                  <a:pt x="1756702" y="81963"/>
                </a:moveTo>
                <a:cubicBezTo>
                  <a:pt x="1747533" y="82174"/>
                  <a:pt x="1739926" y="74912"/>
                  <a:pt x="1739716" y="65742"/>
                </a:cubicBezTo>
                <a:cubicBezTo>
                  <a:pt x="1739706" y="65369"/>
                  <a:pt x="1739710" y="64995"/>
                  <a:pt x="1739727" y="64623"/>
                </a:cubicBezTo>
                <a:cubicBezTo>
                  <a:pt x="1739727" y="55269"/>
                  <a:pt x="1747309" y="47687"/>
                  <a:pt x="1756663" y="47687"/>
                </a:cubicBezTo>
                <a:cubicBezTo>
                  <a:pt x="1766018" y="47687"/>
                  <a:pt x="1773599" y="55269"/>
                  <a:pt x="1773599" y="64623"/>
                </a:cubicBezTo>
                <a:cubicBezTo>
                  <a:pt x="1773940" y="73853"/>
                  <a:pt x="1766734" y="81612"/>
                  <a:pt x="1757503" y="81953"/>
                </a:cubicBezTo>
                <a:cubicBezTo>
                  <a:pt x="1757238" y="81963"/>
                  <a:pt x="1756970" y="81966"/>
                  <a:pt x="1756702" y="81963"/>
                </a:cubicBezTo>
                <a:moveTo>
                  <a:pt x="1756702" y="50461"/>
                </a:moveTo>
                <a:cubicBezTo>
                  <a:pt x="1749226" y="50461"/>
                  <a:pt x="1743427" y="56241"/>
                  <a:pt x="1743427" y="64719"/>
                </a:cubicBezTo>
                <a:cubicBezTo>
                  <a:pt x="1743427" y="72561"/>
                  <a:pt x="1748494" y="78957"/>
                  <a:pt x="1756702" y="78957"/>
                </a:cubicBezTo>
                <a:cubicBezTo>
                  <a:pt x="1764081" y="78957"/>
                  <a:pt x="1769900" y="73177"/>
                  <a:pt x="1769900" y="64719"/>
                </a:cubicBezTo>
                <a:cubicBezTo>
                  <a:pt x="1769900" y="56261"/>
                  <a:pt x="1764120" y="50461"/>
                  <a:pt x="1756702" y="50461"/>
                </a:cubicBezTo>
                <a:moveTo>
                  <a:pt x="1753349" y="74584"/>
                </a:moveTo>
                <a:lnTo>
                  <a:pt x="1750209" y="74584"/>
                </a:lnTo>
                <a:lnTo>
                  <a:pt x="1750209" y="55490"/>
                </a:lnTo>
                <a:lnTo>
                  <a:pt x="1757453" y="55490"/>
                </a:lnTo>
                <a:cubicBezTo>
                  <a:pt x="1762078" y="55490"/>
                  <a:pt x="1764428" y="57108"/>
                  <a:pt x="1764428" y="60981"/>
                </a:cubicBezTo>
                <a:cubicBezTo>
                  <a:pt x="1764609" y="63667"/>
                  <a:pt x="1762580" y="65992"/>
                  <a:pt x="1759894" y="66174"/>
                </a:cubicBezTo>
                <a:cubicBezTo>
                  <a:pt x="1759742" y="66184"/>
                  <a:pt x="1759590" y="66187"/>
                  <a:pt x="1759438" y="66183"/>
                </a:cubicBezTo>
                <a:lnTo>
                  <a:pt x="1764794" y="74584"/>
                </a:lnTo>
                <a:lnTo>
                  <a:pt x="1761230" y="74584"/>
                </a:lnTo>
                <a:lnTo>
                  <a:pt x="1756317" y="66414"/>
                </a:lnTo>
                <a:lnTo>
                  <a:pt x="1753349" y="66414"/>
                </a:lnTo>
                <a:close/>
                <a:moveTo>
                  <a:pt x="1756856" y="63736"/>
                </a:moveTo>
                <a:cubicBezTo>
                  <a:pt x="1759207" y="63736"/>
                  <a:pt x="1761288" y="63524"/>
                  <a:pt x="1761288" y="60750"/>
                </a:cubicBezTo>
                <a:cubicBezTo>
                  <a:pt x="1761288" y="58438"/>
                  <a:pt x="1759033" y="58168"/>
                  <a:pt x="1757145" y="58168"/>
                </a:cubicBezTo>
                <a:lnTo>
                  <a:pt x="1753292" y="58168"/>
                </a:lnTo>
                <a:lnTo>
                  <a:pt x="1753292" y="63736"/>
                </a:lnTo>
                <a:close/>
              </a:path>
            </a:pathLst>
          </a:custGeom>
          <a:solidFill>
            <a:srgbClr val="CC0000"/>
          </a:solidFill>
          <a:ln w="192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dirty="0">
              <a:ln>
                <a:noFill/>
              </a:ln>
              <a:solidFill>
                <a:srgbClr val="3F3F3F"/>
              </a:solidFill>
              <a:effectLst/>
              <a:uLnTx/>
              <a:uFillTx/>
              <a:latin typeface="CVS Health Sans"/>
              <a:ea typeface="+mn-ea"/>
              <a:cs typeface="+mn-cs"/>
            </a:endParaRPr>
          </a:p>
        </p:txBody>
      </p:sp>
      <p:sp>
        <p:nvSpPr>
          <p:cNvPr id="29" name="Title 1"/>
          <p:cNvSpPr>
            <a:spLocks noGrp="1"/>
          </p:cNvSpPr>
          <p:nvPr>
            <p:ph type="ctrTitle" hasCustomPrompt="1"/>
          </p:nvPr>
        </p:nvSpPr>
        <p:spPr>
          <a:xfrm>
            <a:off x="859760" y="1947672"/>
            <a:ext cx="3814041" cy="1581912"/>
          </a:xfrm>
          <a:noFill/>
        </p:spPr>
        <p:txBody>
          <a:bodyPr lIns="0" tIns="0" rIns="0" bIns="0" anchor="t">
            <a:noAutofit/>
          </a:bodyPr>
          <a:lstStyle>
            <a:lvl1pPr algn="l">
              <a:defRPr sz="3800">
                <a:solidFill>
                  <a:srgbClr val="0073E3"/>
                </a:solidFill>
              </a:defRPr>
            </a:lvl1pPr>
          </a:lstStyle>
          <a:p>
            <a:r>
              <a:rPr lang="en-US" dirty="0"/>
              <a:t>Presentation title here</a:t>
            </a:r>
          </a:p>
        </p:txBody>
      </p:sp>
      <p:sp>
        <p:nvSpPr>
          <p:cNvPr id="5" name="Text Placeholder 4"/>
          <p:cNvSpPr>
            <a:spLocks noGrp="1"/>
          </p:cNvSpPr>
          <p:nvPr>
            <p:ph type="body" sz="quarter" idx="16" hasCustomPrompt="1"/>
          </p:nvPr>
        </p:nvSpPr>
        <p:spPr>
          <a:xfrm>
            <a:off x="859760" y="4562856"/>
            <a:ext cx="2533548" cy="1262324"/>
          </a:xfrm>
        </p:spPr>
        <p:txBody>
          <a:bodyPr/>
          <a:lstStyle>
            <a:lvl1pPr>
              <a:defRPr sz="1500" b="1">
                <a:solidFill>
                  <a:schemeClr val="tx2"/>
                </a:solidFill>
              </a:defRPr>
            </a:lvl1pPr>
            <a:lvl2pPr marL="0" indent="0">
              <a:spcBef>
                <a:spcPts val="0"/>
              </a:spcBef>
              <a:spcAft>
                <a:spcPts val="2400"/>
              </a:spcAft>
              <a:buFontTx/>
              <a:buNone/>
              <a:defRPr sz="1300">
                <a:solidFill>
                  <a:schemeClr val="tx2"/>
                </a:solidFill>
              </a:defRPr>
            </a:lvl2pPr>
            <a:lvl3pPr marL="0" indent="0">
              <a:spcBef>
                <a:spcPts val="0"/>
              </a:spcBef>
              <a:buFontTx/>
              <a:buNone/>
              <a:defRPr sz="1200">
                <a:solidFill>
                  <a:schemeClr val="tx2"/>
                </a:solidFill>
              </a:defRPr>
            </a:lvl3pPr>
            <a:lvl4pPr>
              <a:defRPr>
                <a:solidFill>
                  <a:schemeClr val="bg1"/>
                </a:solidFill>
              </a:defRPr>
            </a:lvl4pPr>
            <a:lvl5pPr>
              <a:defRPr>
                <a:solidFill>
                  <a:schemeClr val="bg1"/>
                </a:solidFill>
              </a:defRPr>
            </a:lvl5pPr>
          </a:lstStyle>
          <a:p>
            <a:pPr lvl="0"/>
            <a:r>
              <a:rPr lang="en-US" dirty="0"/>
              <a:t>Presenter name</a:t>
            </a:r>
          </a:p>
          <a:p>
            <a:pPr lvl="1"/>
            <a:r>
              <a:rPr lang="en-US" dirty="0"/>
              <a:t>Presenter title</a:t>
            </a:r>
          </a:p>
          <a:p>
            <a:pPr lvl="2"/>
            <a:r>
              <a:rPr lang="en-US" dirty="0"/>
              <a:t>Date</a:t>
            </a:r>
          </a:p>
        </p:txBody>
      </p:sp>
      <p:sp>
        <p:nvSpPr>
          <p:cNvPr id="6" name="Picture Placeholder 18">
            <a:extLst>
              <a:ext uri="{FF2B5EF4-FFF2-40B4-BE49-F238E27FC236}">
                <a16:creationId xmlns:a16="http://schemas.microsoft.com/office/drawing/2014/main" id="{F8D4391C-47DB-0128-375E-9A3A511DFD18}"/>
              </a:ext>
            </a:extLst>
          </p:cNvPr>
          <p:cNvSpPr>
            <a:spLocks noGrp="1"/>
          </p:cNvSpPr>
          <p:nvPr>
            <p:ph type="pic" sz="quarter" idx="17"/>
          </p:nvPr>
        </p:nvSpPr>
        <p:spPr bwMode="gray">
          <a:xfrm>
            <a:off x="5136271" y="548284"/>
            <a:ext cx="7055729" cy="6309716"/>
          </a:xfrm>
          <a:custGeom>
            <a:avLst/>
            <a:gdLst>
              <a:gd name="connsiteX0" fmla="*/ 3096795 w 7053892"/>
              <a:gd name="connsiteY0" fmla="*/ 0 h 6309716"/>
              <a:gd name="connsiteX1" fmla="*/ 4020053 w 7053892"/>
              <a:gd name="connsiteY1" fmla="*/ 373232 h 6309716"/>
              <a:gd name="connsiteX2" fmla="*/ 5512982 w 7053892"/>
              <a:gd name="connsiteY2" fmla="*/ 1856339 h 6309716"/>
              <a:gd name="connsiteX3" fmla="*/ 7005911 w 7053892"/>
              <a:gd name="connsiteY3" fmla="*/ 373232 h 6309716"/>
              <a:gd name="connsiteX4" fmla="*/ 7053892 w 7053892"/>
              <a:gd name="connsiteY4" fmla="*/ 329877 h 6309716"/>
              <a:gd name="connsiteX5" fmla="*/ 7053892 w 7053892"/>
              <a:gd name="connsiteY5" fmla="*/ 6309716 h 6309716"/>
              <a:gd name="connsiteX6" fmla="*/ 2671564 w 7053892"/>
              <a:gd name="connsiteY6" fmla="*/ 6309716 h 6309716"/>
              <a:gd name="connsiteX7" fmla="*/ 369474 w 7053892"/>
              <a:gd name="connsiteY7" fmla="*/ 4007631 h 6309716"/>
              <a:gd name="connsiteX8" fmla="*/ 262 w 7053892"/>
              <a:gd name="connsiteY8" fmla="*/ 3083611 h 6309716"/>
              <a:gd name="connsiteX9" fmla="*/ 283641 w 7053892"/>
              <a:gd name="connsiteY9" fmla="*/ 2256479 h 6309716"/>
              <a:gd name="connsiteX10" fmla="*/ 288385 w 7053892"/>
              <a:gd name="connsiteY10" fmla="*/ 2251181 h 6309716"/>
              <a:gd name="connsiteX11" fmla="*/ 851308 w 7053892"/>
              <a:gd name="connsiteY11" fmla="*/ 1688256 h 6309716"/>
              <a:gd name="connsiteX12" fmla="*/ 926030 w 7053892"/>
              <a:gd name="connsiteY12" fmla="*/ 1620740 h 6309716"/>
              <a:gd name="connsiteX13" fmla="*/ 2173537 w 7053892"/>
              <a:gd name="connsiteY13" fmla="*/ 373232 h 6309716"/>
              <a:gd name="connsiteX14" fmla="*/ 3096795 w 7053892"/>
              <a:gd name="connsiteY14" fmla="*/ 0 h 630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53892" h="6309716">
                <a:moveTo>
                  <a:pt x="3096795" y="0"/>
                </a:moveTo>
                <a:cubicBezTo>
                  <a:pt x="3440561" y="0"/>
                  <a:pt x="3764684" y="117863"/>
                  <a:pt x="4020053" y="373232"/>
                </a:cubicBezTo>
                <a:lnTo>
                  <a:pt x="5512982" y="1856339"/>
                </a:lnTo>
                <a:lnTo>
                  <a:pt x="7005911" y="373232"/>
                </a:lnTo>
                <a:lnTo>
                  <a:pt x="7053892" y="329877"/>
                </a:lnTo>
                <a:lnTo>
                  <a:pt x="7053892" y="6309716"/>
                </a:lnTo>
                <a:lnTo>
                  <a:pt x="2671564" y="6309716"/>
                </a:lnTo>
                <a:lnTo>
                  <a:pt x="369474" y="4007631"/>
                </a:lnTo>
                <a:cubicBezTo>
                  <a:pt x="126487" y="3762242"/>
                  <a:pt x="-6717" y="3428875"/>
                  <a:pt x="262" y="3083611"/>
                </a:cubicBezTo>
                <a:cubicBezTo>
                  <a:pt x="-5609" y="2781804"/>
                  <a:pt x="95625" y="2489151"/>
                  <a:pt x="283641" y="2256479"/>
                </a:cubicBezTo>
                <a:lnTo>
                  <a:pt x="288385" y="2251181"/>
                </a:lnTo>
                <a:lnTo>
                  <a:pt x="851308" y="1688256"/>
                </a:lnTo>
                <a:lnTo>
                  <a:pt x="926030" y="1620740"/>
                </a:lnTo>
                <a:lnTo>
                  <a:pt x="2173537" y="373232"/>
                </a:lnTo>
                <a:cubicBezTo>
                  <a:pt x="2428907" y="117863"/>
                  <a:pt x="2753028" y="0"/>
                  <a:pt x="3096795" y="0"/>
                </a:cubicBezTo>
                <a:close/>
              </a:path>
            </a:pathLst>
          </a:custGeom>
          <a:solidFill>
            <a:schemeClr val="bg1">
              <a:lumMod val="75000"/>
            </a:schemeClr>
          </a:solidFill>
        </p:spPr>
        <p:txBody>
          <a:bodyPr wrap="square" tIns="2194560">
            <a:noAutofit/>
          </a:bodyPr>
          <a:lstStyle>
            <a:lvl1pPr algn="ctr">
              <a:defRPr sz="2000" b="1">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9855209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Rectangle 3"/>
          <p:cNvSpPr/>
          <p:nvPr userDrawn="1"/>
        </p:nvSpPr>
        <p:spPr>
          <a:xfrm>
            <a:off x="4049179" y="0"/>
            <a:ext cx="8142821" cy="6858000"/>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dirty="0">
              <a:solidFill>
                <a:schemeClr val="accent5"/>
              </a:solidFill>
            </a:endParaRPr>
          </a:p>
        </p:txBody>
      </p:sp>
      <p:sp>
        <p:nvSpPr>
          <p:cNvPr id="7" name="Title 1"/>
          <p:cNvSpPr>
            <a:spLocks noGrp="1"/>
          </p:cNvSpPr>
          <p:nvPr>
            <p:ph type="title" hasCustomPrompt="1"/>
          </p:nvPr>
        </p:nvSpPr>
        <p:spPr>
          <a:xfrm>
            <a:off x="7223762" y="1167898"/>
            <a:ext cx="3685665" cy="890028"/>
          </a:xfrm>
        </p:spPr>
        <p:txBody>
          <a:bodyPr anchor="b">
            <a:noAutofit/>
          </a:bodyPr>
          <a:lstStyle>
            <a:lvl1pPr>
              <a:defRPr sz="3600">
                <a:solidFill>
                  <a:schemeClr val="tx2"/>
                </a:solidFill>
              </a:defRPr>
            </a:lvl1pPr>
          </a:lstStyle>
          <a:p>
            <a:r>
              <a:rPr lang="en-US" dirty="0"/>
              <a:t>Agenda</a:t>
            </a:r>
          </a:p>
        </p:txBody>
      </p:sp>
      <p:sp>
        <p:nvSpPr>
          <p:cNvPr id="9" name="Text Placeholder 8"/>
          <p:cNvSpPr>
            <a:spLocks noGrp="1"/>
          </p:cNvSpPr>
          <p:nvPr>
            <p:ph type="body" sz="quarter" idx="16" hasCustomPrompt="1"/>
          </p:nvPr>
        </p:nvSpPr>
        <p:spPr>
          <a:xfrm>
            <a:off x="7223761" y="2825587"/>
            <a:ext cx="3682432" cy="2407316"/>
          </a:xfrm>
        </p:spPr>
        <p:txBody>
          <a:bodyPr>
            <a:noAutofit/>
          </a:bodyPr>
          <a:lstStyle>
            <a:lvl1pPr>
              <a:defRPr sz="1500" b="0" baseline="0">
                <a:solidFill>
                  <a:schemeClr val="tx2"/>
                </a:solidFill>
              </a:defRPr>
            </a:lvl1pPr>
          </a:lstStyle>
          <a:p>
            <a:pPr lvl="0"/>
            <a:r>
              <a:rPr lang="en-US" dirty="0"/>
              <a:t>Text here </a:t>
            </a:r>
            <a:br>
              <a:rPr lang="en-US" dirty="0"/>
            </a:br>
            <a:endParaRPr lang="en-US" dirty="0"/>
          </a:p>
        </p:txBody>
      </p:sp>
      <p:sp>
        <p:nvSpPr>
          <p:cNvPr id="6" name="Picture Placeholder 15"/>
          <p:cNvSpPr>
            <a:spLocks noGrp="1"/>
          </p:cNvSpPr>
          <p:nvPr>
            <p:ph type="pic" sz="quarter" idx="15"/>
          </p:nvPr>
        </p:nvSpPr>
        <p:spPr>
          <a:xfrm>
            <a:off x="384048" y="1024128"/>
            <a:ext cx="5806440" cy="4443984"/>
          </a:xfrm>
          <a:solidFill>
            <a:schemeClr val="bg1">
              <a:lumMod val="75000"/>
            </a:schemeClr>
          </a:solidFill>
        </p:spPr>
        <p:txBody>
          <a:bodyPr/>
          <a:lstStyle>
            <a:lvl1pPr algn="ctr">
              <a:defRPr b="0">
                <a:solidFill>
                  <a:schemeClr val="bg1"/>
                </a:solidFill>
              </a:defRPr>
            </a:lvl1pPr>
          </a:lstStyle>
          <a:p>
            <a:r>
              <a:rPr lang="en-US"/>
              <a:t>Click icon to add picture</a:t>
            </a:r>
            <a:endParaRPr lang="en-US" dirty="0"/>
          </a:p>
        </p:txBody>
      </p:sp>
      <p:sp>
        <p:nvSpPr>
          <p:cNvPr id="10" name="Content Placeholder 8">
            <a:extLst>
              <a:ext uri="{FF2B5EF4-FFF2-40B4-BE49-F238E27FC236}">
                <a16:creationId xmlns:a16="http://schemas.microsoft.com/office/drawing/2014/main" id="{BF92A0AC-4063-4D63-BC30-E7CC2307FC9B}"/>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4A7D400-F15E-4949-90CC-AAD97CB4FDFE}"/>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3" name="Graphic 2" descr="CVS Caremark logo.">
            <a:extLst>
              <a:ext uri="{FF2B5EF4-FFF2-40B4-BE49-F238E27FC236}">
                <a16:creationId xmlns:a16="http://schemas.microsoft.com/office/drawing/2014/main" id="{17D78DED-DDAE-49D9-9792-826F17FEC3D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4593110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002925E-F56E-889F-F7F7-A02836AACFD5}"/>
              </a:ext>
            </a:extLst>
          </p:cNvPr>
          <p:cNvSpPr/>
          <p:nvPr userDrawn="1"/>
        </p:nvSpPr>
        <p:spPr bwMode="gray">
          <a:xfrm>
            <a:off x="1" y="0"/>
            <a:ext cx="12192000" cy="6858000"/>
          </a:xfrm>
          <a:prstGeom prst="rect">
            <a:avLst/>
          </a:pr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A862FA64-6DEE-1550-438D-955DD6251B4D}"/>
              </a:ext>
            </a:extLst>
          </p:cNvPr>
          <p:cNvSpPr>
            <a:spLocks noGrp="1"/>
          </p:cNvSpPr>
          <p:nvPr>
            <p:ph type="title" hasCustomPrompt="1"/>
          </p:nvPr>
        </p:nvSpPr>
        <p:spPr>
          <a:xfrm>
            <a:off x="1216468" y="1782083"/>
            <a:ext cx="3658553" cy="936798"/>
          </a:xfrm>
        </p:spPr>
        <p:txBody>
          <a:bodyPr anchor="ctr"/>
          <a:lstStyle>
            <a:lvl1pPr algn="r">
              <a:defRPr sz="6000">
                <a:solidFill>
                  <a:schemeClr val="bg1"/>
                </a:solidFill>
              </a:defRPr>
            </a:lvl1pPr>
          </a:lstStyle>
          <a:p>
            <a:r>
              <a:rPr lang="en-US" dirty="0"/>
              <a:t>Agenda</a:t>
            </a:r>
          </a:p>
        </p:txBody>
      </p:sp>
      <p:sp>
        <p:nvSpPr>
          <p:cNvPr id="5" name="Text Placeholder 8">
            <a:extLst>
              <a:ext uri="{FF2B5EF4-FFF2-40B4-BE49-F238E27FC236}">
                <a16:creationId xmlns:a16="http://schemas.microsoft.com/office/drawing/2014/main" id="{49D318FB-F117-0F3B-F822-73B31321CBC6}"/>
              </a:ext>
            </a:extLst>
          </p:cNvPr>
          <p:cNvSpPr>
            <a:spLocks noGrp="1"/>
          </p:cNvSpPr>
          <p:nvPr>
            <p:ph type="body" sz="quarter" idx="16" hasCustomPrompt="1"/>
          </p:nvPr>
        </p:nvSpPr>
        <p:spPr>
          <a:xfrm>
            <a:off x="7249212" y="2296904"/>
            <a:ext cx="4152457" cy="2407316"/>
          </a:xfrm>
        </p:spPr>
        <p:txBody>
          <a:bodyPr>
            <a:noAutofit/>
          </a:bodyPr>
          <a:lstStyle>
            <a:lvl1pPr>
              <a:spcBef>
                <a:spcPts val="3000"/>
              </a:spcBef>
              <a:defRPr sz="1500" b="0" baseline="0">
                <a:solidFill>
                  <a:schemeClr val="bg1"/>
                </a:solidFill>
              </a:defRPr>
            </a:lvl1pPr>
          </a:lstStyle>
          <a:p>
            <a:pPr lvl="0"/>
            <a:r>
              <a:rPr lang="en-US" dirty="0"/>
              <a:t>Text here </a:t>
            </a:r>
            <a:br>
              <a:rPr lang="en-US" dirty="0"/>
            </a:br>
            <a:endParaRPr lang="en-US" dirty="0"/>
          </a:p>
        </p:txBody>
      </p:sp>
      <p:pic>
        <p:nvPicPr>
          <p:cNvPr id="8" name="Graphic 7" descr="CVS Caremark logo in white.">
            <a:extLst>
              <a:ext uri="{FF2B5EF4-FFF2-40B4-BE49-F238E27FC236}">
                <a16:creationId xmlns:a16="http://schemas.microsoft.com/office/drawing/2014/main" id="{93B98D75-C9F8-6E62-4278-1C20D9E8096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7" name="Content Placeholder 8">
            <a:extLst>
              <a:ext uri="{FF2B5EF4-FFF2-40B4-BE49-F238E27FC236}">
                <a16:creationId xmlns:a16="http://schemas.microsoft.com/office/drawing/2014/main" id="{74474E71-B852-D499-06D4-CDEA7F4DDC90}"/>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3A588B4-B8F1-62C2-02EF-433F6B66FCB5}"/>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21560488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dirty="0"/>
              <a:t>Click to add title for one-column layout</a:t>
            </a:r>
          </a:p>
        </p:txBody>
      </p:sp>
      <p:sp>
        <p:nvSpPr>
          <p:cNvPr id="4" name="Content Placeholder 2"/>
          <p:cNvSpPr>
            <a:spLocks noGrp="1"/>
          </p:cNvSpPr>
          <p:nvPr>
            <p:ph idx="1" hasCustomPrompt="1"/>
          </p:nvPr>
        </p:nvSpPr>
        <p:spPr bwMode="gray">
          <a:xfrm>
            <a:off x="557929" y="1774880"/>
            <a:ext cx="8588453" cy="3987745"/>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500" baseline="0">
                <a:solidFill>
                  <a:schemeClr val="tx2"/>
                </a:solidFill>
              </a:defRPr>
            </a:lvl7pPr>
            <a:lvl8pPr marL="1030288" indent="-173038">
              <a:spcBef>
                <a:spcPts val="600"/>
              </a:spcBef>
              <a:buFont typeface="Arial" panose="020B0604020202020204" pitchFamily="34" charset="0"/>
              <a:buChar char="–"/>
              <a:defRPr sz="1500" baseline="0">
                <a:solidFill>
                  <a:schemeClr val="tx2"/>
                </a:solidFill>
              </a:defRPr>
            </a:lvl8pPr>
            <a:lvl9pPr marL="1203325" indent="-173038">
              <a:spcBef>
                <a:spcPts val="600"/>
              </a:spcBef>
              <a:buFont typeface="Arial" panose="020B0604020202020204" pitchFamily="34" charset="0"/>
              <a:buChar char="•"/>
              <a:defRPr sz="15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r>
              <a:rPr lang="en-US" dirty="0"/>
              <a:t>Fifth-level bullet</a:t>
            </a:r>
          </a:p>
          <a:p>
            <a:pPr lvl="7"/>
            <a:r>
              <a:rPr lang="en-US" dirty="0"/>
              <a:t>Sixth-level bullet</a:t>
            </a:r>
          </a:p>
          <a:p>
            <a:pPr lvl="8"/>
            <a:r>
              <a:rPr lang="en-US" dirty="0"/>
              <a:t>Seventh-level bullet</a:t>
            </a:r>
          </a:p>
        </p:txBody>
      </p:sp>
    </p:spTree>
    <p:extLst>
      <p:ext uri="{BB962C8B-B14F-4D97-AF65-F5344CB8AC3E}">
        <p14:creationId xmlns:p14="http://schemas.microsoft.com/office/powerpoint/2010/main" val="3270133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01CCB-18BA-D452-D5C4-56B627B9FFD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39A119-0950-74E7-1273-5812DB6E9D6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F77A840-A5D6-DB6B-4DE7-99B6EF789EAE}"/>
              </a:ext>
            </a:extLst>
          </p:cNvPr>
          <p:cNvSpPr>
            <a:spLocks noGrp="1"/>
          </p:cNvSpPr>
          <p:nvPr>
            <p:ph type="dt" sz="half" idx="10"/>
          </p:nvPr>
        </p:nvSpPr>
        <p:spPr/>
        <p:txBody>
          <a:bodyPr/>
          <a:lstStyle/>
          <a:p>
            <a:fld id="{F013974A-BD17-4001-B8E4-DABDC3C8C92A}" type="datetime1">
              <a:rPr lang="en-US" smtClean="0"/>
              <a:t>9/13/2024</a:t>
            </a:fld>
            <a:endParaRPr lang="en-US"/>
          </a:p>
        </p:txBody>
      </p:sp>
      <p:sp>
        <p:nvSpPr>
          <p:cNvPr id="5" name="Footer Placeholder 4">
            <a:extLst>
              <a:ext uri="{FF2B5EF4-FFF2-40B4-BE49-F238E27FC236}">
                <a16:creationId xmlns:a16="http://schemas.microsoft.com/office/drawing/2014/main" id="{09999245-2C5B-3091-5E33-30104ACBDB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7CECE2-F82C-6BF7-DADD-165163F7FCF3}"/>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25924643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without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dirty="0"/>
              <a:t>Click to add title for one-column layout</a:t>
            </a:r>
          </a:p>
        </p:txBody>
      </p:sp>
      <p:sp>
        <p:nvSpPr>
          <p:cNvPr id="4" name="Content Placeholder 2"/>
          <p:cNvSpPr>
            <a:spLocks noGrp="1"/>
          </p:cNvSpPr>
          <p:nvPr>
            <p:ph idx="1" hasCustomPrompt="1"/>
          </p:nvPr>
        </p:nvSpPr>
        <p:spPr bwMode="gray">
          <a:xfrm>
            <a:off x="557929" y="1776585"/>
            <a:ext cx="8588453" cy="397764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Tree>
    <p:extLst>
      <p:ext uri="{BB962C8B-B14F-4D97-AF65-F5344CB8AC3E}">
        <p14:creationId xmlns:p14="http://schemas.microsoft.com/office/powerpoint/2010/main" val="28908374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sz="3200">
                <a:solidFill>
                  <a:schemeClr val="tx2"/>
                </a:solidFill>
              </a:defRPr>
            </a:lvl1pPr>
          </a:lstStyle>
          <a:p>
            <a:r>
              <a:rPr lang="en-US" dirty="0"/>
              <a:t>Click to add title</a:t>
            </a:r>
          </a:p>
        </p:txBody>
      </p:sp>
    </p:spTree>
    <p:extLst>
      <p:ext uri="{BB962C8B-B14F-4D97-AF65-F5344CB8AC3E}">
        <p14:creationId xmlns:p14="http://schemas.microsoft.com/office/powerpoint/2010/main" val="1959064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Accessibil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0C78D-4F6B-45F8-AB04-A56A0B1F36D6}"/>
              </a:ext>
            </a:extLst>
          </p:cNvPr>
          <p:cNvSpPr>
            <a:spLocks noGrp="1"/>
          </p:cNvSpPr>
          <p:nvPr>
            <p:ph type="title" hasCustomPrompt="1"/>
          </p:nvPr>
        </p:nvSpPr>
        <p:spPr>
          <a:xfrm>
            <a:off x="557929" y="-347472"/>
            <a:ext cx="9667726" cy="262719"/>
          </a:xfrm>
        </p:spPr>
        <p:txBody>
          <a:bodyPr anchor="b"/>
          <a:lstStyle>
            <a:lvl1pPr>
              <a:defRPr sz="1400"/>
            </a:lvl1pPr>
          </a:lstStyle>
          <a:p>
            <a:r>
              <a:rPr lang="en-US" dirty="0"/>
              <a:t>Title for slide built on the blank accessibility master</a:t>
            </a:r>
          </a:p>
        </p:txBody>
      </p:sp>
    </p:spTree>
    <p:extLst>
      <p:ext uri="{BB962C8B-B14F-4D97-AF65-F5344CB8AC3E}">
        <p14:creationId xmlns:p14="http://schemas.microsoft.com/office/powerpoint/2010/main" val="29643270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0078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lvl1pPr>
          </a:lstStyle>
          <a:p>
            <a:r>
              <a:rPr lang="en-US" dirty="0"/>
              <a:t>Click to add title for two-column layout</a:t>
            </a:r>
          </a:p>
        </p:txBody>
      </p:sp>
      <p:sp>
        <p:nvSpPr>
          <p:cNvPr id="5" name="Content Placeholder 2"/>
          <p:cNvSpPr>
            <a:spLocks noGrp="1"/>
          </p:cNvSpPr>
          <p:nvPr>
            <p:ph idx="15" hasCustomPrompt="1"/>
          </p:nvPr>
        </p:nvSpPr>
        <p:spPr bwMode="gray">
          <a:xfrm>
            <a:off x="557930" y="1773937"/>
            <a:ext cx="4169211" cy="3984133"/>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6" name="Content Placeholder 2"/>
          <p:cNvSpPr>
            <a:spLocks noGrp="1"/>
          </p:cNvSpPr>
          <p:nvPr>
            <p:ph idx="16" hasCustomPrompt="1"/>
          </p:nvPr>
        </p:nvSpPr>
        <p:spPr bwMode="gray">
          <a:xfrm>
            <a:off x="5391792" y="1773937"/>
            <a:ext cx="4170750" cy="3984133"/>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857250" indent="0">
              <a:spcBef>
                <a:spcPts val="600"/>
              </a:spcBef>
              <a:buFont typeface="Arial" panose="020B0604020202020204" pitchFamily="34" charset="0"/>
              <a:buNone/>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a:p>
            <a:pPr lvl="6"/>
            <a:endParaRPr lang="en-US" dirty="0"/>
          </a:p>
        </p:txBody>
      </p:sp>
    </p:spTree>
    <p:extLst>
      <p:ext uri="{BB962C8B-B14F-4D97-AF65-F5344CB8AC3E}">
        <p14:creationId xmlns:p14="http://schemas.microsoft.com/office/powerpoint/2010/main" val="25472896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dirty="0"/>
              <a:t>Click to add title for three-column layout</a:t>
            </a:r>
          </a:p>
        </p:txBody>
      </p:sp>
      <p:sp>
        <p:nvSpPr>
          <p:cNvPr id="6" name="Content Placeholder 2"/>
          <p:cNvSpPr>
            <a:spLocks noGrp="1"/>
          </p:cNvSpPr>
          <p:nvPr>
            <p:ph idx="15" hasCustomPrompt="1"/>
          </p:nvPr>
        </p:nvSpPr>
        <p:spPr bwMode="gray">
          <a:xfrm>
            <a:off x="557930" y="1773936"/>
            <a:ext cx="3461080" cy="3975080"/>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7" name="Content Placeholder 2"/>
          <p:cNvSpPr>
            <a:spLocks noGrp="1"/>
          </p:cNvSpPr>
          <p:nvPr>
            <p:ph idx="16" hasCustomPrompt="1"/>
          </p:nvPr>
        </p:nvSpPr>
        <p:spPr bwMode="gray">
          <a:xfrm>
            <a:off x="4362277" y="1773936"/>
            <a:ext cx="3461080" cy="3975080"/>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10" name="Content Placeholder 2"/>
          <p:cNvSpPr>
            <a:spLocks noGrp="1"/>
          </p:cNvSpPr>
          <p:nvPr>
            <p:ph idx="17" hasCustomPrompt="1"/>
          </p:nvPr>
        </p:nvSpPr>
        <p:spPr bwMode="gray">
          <a:xfrm>
            <a:off x="8154491" y="1773936"/>
            <a:ext cx="3461080" cy="3975080"/>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Tree>
    <p:extLst>
      <p:ext uri="{BB962C8B-B14F-4D97-AF65-F5344CB8AC3E}">
        <p14:creationId xmlns:p14="http://schemas.microsoft.com/office/powerpoint/2010/main" val="2716597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7C03E-FA0E-05BC-5742-72D52D40BD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04C1C3-98C6-9662-65AB-8660E3471014}"/>
              </a:ext>
            </a:extLst>
          </p:cNvPr>
          <p:cNvSpPr>
            <a:spLocks noGrp="1"/>
          </p:cNvSpPr>
          <p:nvPr>
            <p:ph idx="15" hasCustomPrompt="1"/>
          </p:nvPr>
        </p:nvSpPr>
        <p:spPr bwMode="gray">
          <a:xfrm>
            <a:off x="1523085" y="1993392"/>
            <a:ext cx="2314035" cy="2151888"/>
          </a:xfrm>
        </p:spPr>
        <p:txBody>
          <a:bodyPr/>
          <a:lstStyle>
            <a:lvl1pPr>
              <a:defRPr sz="1600" b="1" cap="none" baseline="0">
                <a:solidFill>
                  <a:schemeClr val="tx2"/>
                </a:solidFill>
              </a:defRPr>
            </a:lvl1pPr>
            <a:lvl2pPr marL="0" indent="0">
              <a:buFontTx/>
              <a:buNone/>
              <a:defRPr sz="13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4" name="Content Placeholder 2">
            <a:extLst>
              <a:ext uri="{FF2B5EF4-FFF2-40B4-BE49-F238E27FC236}">
                <a16:creationId xmlns:a16="http://schemas.microsoft.com/office/drawing/2014/main" id="{2E4F8E7A-F87D-618C-8638-FD2660747F50}"/>
              </a:ext>
            </a:extLst>
          </p:cNvPr>
          <p:cNvSpPr>
            <a:spLocks noGrp="1"/>
          </p:cNvSpPr>
          <p:nvPr>
            <p:ph idx="16" hasCustomPrompt="1"/>
          </p:nvPr>
        </p:nvSpPr>
        <p:spPr bwMode="gray">
          <a:xfrm>
            <a:off x="4834076" y="1993392"/>
            <a:ext cx="2314035" cy="2151888"/>
          </a:xfrm>
        </p:spPr>
        <p:txBody>
          <a:bodyPr/>
          <a:lstStyle>
            <a:lvl1pPr>
              <a:defRPr sz="1600" b="1" cap="none" baseline="0">
                <a:solidFill>
                  <a:schemeClr val="tx2"/>
                </a:solidFill>
              </a:defRPr>
            </a:lvl1pPr>
            <a:lvl2pPr marL="0" indent="0">
              <a:buFontTx/>
              <a:buNone/>
              <a:defRPr sz="13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5" name="Content Placeholder 2">
            <a:extLst>
              <a:ext uri="{FF2B5EF4-FFF2-40B4-BE49-F238E27FC236}">
                <a16:creationId xmlns:a16="http://schemas.microsoft.com/office/drawing/2014/main" id="{578961D6-46FC-F74E-BB9F-088F8E5956D1}"/>
              </a:ext>
            </a:extLst>
          </p:cNvPr>
          <p:cNvSpPr>
            <a:spLocks noGrp="1"/>
          </p:cNvSpPr>
          <p:nvPr>
            <p:ph idx="17" hasCustomPrompt="1"/>
          </p:nvPr>
        </p:nvSpPr>
        <p:spPr bwMode="gray">
          <a:xfrm>
            <a:off x="8145066" y="1993392"/>
            <a:ext cx="2314035" cy="2151888"/>
          </a:xfrm>
        </p:spPr>
        <p:txBody>
          <a:bodyPr/>
          <a:lstStyle>
            <a:lvl1pPr>
              <a:defRPr sz="1600" b="1" cap="none" baseline="0">
                <a:solidFill>
                  <a:schemeClr val="tx2"/>
                </a:solidFill>
              </a:defRPr>
            </a:lvl1pPr>
            <a:lvl2pPr marL="0" indent="0">
              <a:buFontTx/>
              <a:buNone/>
              <a:defRPr sz="13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Tree>
    <p:extLst>
      <p:ext uri="{BB962C8B-B14F-4D97-AF65-F5344CB8AC3E}">
        <p14:creationId xmlns:p14="http://schemas.microsoft.com/office/powerpoint/2010/main" val="22329401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7929" y="649224"/>
            <a:ext cx="9667726" cy="713232"/>
          </a:xfrm>
        </p:spPr>
        <p:txBody>
          <a:bodyPr/>
          <a:lstStyle>
            <a:lvl1pPr>
              <a:defRPr>
                <a:solidFill>
                  <a:schemeClr val="tx2"/>
                </a:solidFill>
              </a:defRPr>
            </a:lvl1pPr>
          </a:lstStyle>
          <a:p>
            <a:r>
              <a:rPr lang="en-US" dirty="0"/>
              <a:t>Click to add title for four-column layout</a:t>
            </a:r>
          </a:p>
        </p:txBody>
      </p:sp>
      <p:sp>
        <p:nvSpPr>
          <p:cNvPr id="6" name="Content Placeholder 2"/>
          <p:cNvSpPr>
            <a:spLocks noGrp="1"/>
          </p:cNvSpPr>
          <p:nvPr>
            <p:ph sz="half" idx="1" hasCustomPrompt="1"/>
          </p:nvPr>
        </p:nvSpPr>
        <p:spPr bwMode="gray">
          <a:xfrm>
            <a:off x="557929" y="1773845"/>
            <a:ext cx="2506109" cy="3988781"/>
          </a:xfrm>
        </p:spPr>
        <p:txBody>
          <a:bodyPr vert="horz" lIns="0" tIns="0" rIns="0" bIns="0" rtlCol="0">
            <a:noAutofit/>
          </a:bodyPr>
          <a:lstStyle>
            <a:lvl1pPr>
              <a:buClr>
                <a:schemeClr val="tx1"/>
              </a:buClr>
              <a:defRPr lang="en-US" sz="1800" b="1" cap="none" baseline="0" dirty="0" smtClean="0">
                <a:solidFill>
                  <a:schemeClr val="tx2"/>
                </a:solidFill>
                <a:latin typeface="+mn-lt"/>
              </a:defRPr>
            </a:lvl1pPr>
            <a:lvl2pPr marL="0" indent="0">
              <a:buClr>
                <a:schemeClr val="tx1"/>
              </a:buClr>
              <a:buNone/>
              <a:defRPr lang="en-US" sz="1500" dirty="0" smtClean="0">
                <a:solidFill>
                  <a:schemeClr val="tx2"/>
                </a:solidFill>
                <a:latin typeface="+mn-lt"/>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latin typeface="+mn-lt"/>
              </a:defRPr>
            </a:lvl3pPr>
            <a:lvl4pPr marL="347663" indent="-173038">
              <a:buClr>
                <a:schemeClr val="tx1"/>
              </a:buClr>
              <a:buFont typeface="Arial" panose="020B0604020202020204" pitchFamily="34" charset="0"/>
              <a:buChar char="–"/>
              <a:defRPr lang="en-US" sz="1500" dirty="0" smtClean="0">
                <a:solidFill>
                  <a:schemeClr val="tx2"/>
                </a:solidFill>
                <a:latin typeface="+mn-lt"/>
              </a:defRPr>
            </a:lvl4pPr>
            <a:lvl5pPr marL="511175" indent="-163513">
              <a:buClr>
                <a:schemeClr val="tx1"/>
              </a:buClr>
              <a:buFont typeface="Arial" panose="020B0604020202020204" pitchFamily="34" charset="0"/>
              <a:buChar char="•"/>
              <a:defRPr lang="en-US" sz="1500" dirty="0">
                <a:solidFill>
                  <a:schemeClr val="tx2"/>
                </a:solidFill>
                <a:latin typeface="+mn-lt"/>
              </a:defRPr>
            </a:lvl5pPr>
            <a:lvl6pPr marL="685800" indent="-174625">
              <a:buClr>
                <a:schemeClr val="tx1"/>
              </a:buClr>
              <a:buFont typeface="Arial" panose="020B0604020202020204" pitchFamily="34" charset="0"/>
              <a:buChar char="–"/>
              <a:defRPr sz="1500">
                <a:solidFill>
                  <a:schemeClr val="tx2"/>
                </a:solidFill>
                <a:latin typeface="+mn-lt"/>
              </a:defRPr>
            </a:lvl6pPr>
            <a:lvl7pPr>
              <a:defRPr/>
            </a:lvl7pPr>
            <a:lvl8pPr>
              <a:defRPr/>
            </a:lvl8pPr>
            <a:lvl9pPr>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7" name="Content Placeholder 3"/>
          <p:cNvSpPr>
            <a:spLocks noGrp="1"/>
          </p:cNvSpPr>
          <p:nvPr>
            <p:ph sz="half" idx="2" hasCustomPrompt="1"/>
          </p:nvPr>
        </p:nvSpPr>
        <p:spPr bwMode="gray">
          <a:xfrm>
            <a:off x="3406743" y="1773845"/>
            <a:ext cx="2506109" cy="3988781"/>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3513">
              <a:buClr>
                <a:schemeClr val="tx1"/>
              </a:buClr>
              <a:buFont typeface="Arial" panose="020B0604020202020204" pitchFamily="34" charset="0"/>
              <a:buChar char="•"/>
              <a:defRPr lang="en-US" sz="1500" baseline="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10" name="Content Placeholder 3"/>
          <p:cNvSpPr>
            <a:spLocks noGrp="1"/>
          </p:cNvSpPr>
          <p:nvPr>
            <p:ph sz="half" idx="18" hasCustomPrompt="1"/>
          </p:nvPr>
        </p:nvSpPr>
        <p:spPr bwMode="gray">
          <a:xfrm>
            <a:off x="6255557" y="1773845"/>
            <a:ext cx="2506109" cy="3988781"/>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12" name="Content Placeholder 3"/>
          <p:cNvSpPr>
            <a:spLocks noGrp="1"/>
          </p:cNvSpPr>
          <p:nvPr>
            <p:ph sz="half" idx="23" hasCustomPrompt="1"/>
          </p:nvPr>
        </p:nvSpPr>
        <p:spPr bwMode="gray">
          <a:xfrm>
            <a:off x="9104371" y="1773845"/>
            <a:ext cx="2506109" cy="3988781"/>
          </a:xfrm>
        </p:spPr>
        <p:txBody>
          <a:bodyPr vert="horz" lIns="0" tIns="0" rIns="0" bIns="0" rtlCol="0">
            <a:noAutofit/>
          </a:bodyPr>
          <a:lstStyle>
            <a:lvl1pPr>
              <a:buClr>
                <a:schemeClr val="tx1"/>
              </a:buClr>
              <a:defRPr lang="en-US" sz="1800" b="1" cap="none" baseline="0" dirty="0" smtClean="0">
                <a:solidFill>
                  <a:schemeClr val="tx2"/>
                </a:solidFill>
              </a:defRPr>
            </a:lvl1pPr>
            <a:lvl2pPr marL="0" indent="0" algn="l">
              <a:buClr>
                <a:schemeClr val="tx1"/>
              </a:buClr>
              <a:buNone/>
              <a:defRPr lang="en-US" sz="1500" dirty="0" smtClean="0">
                <a:solidFill>
                  <a:schemeClr val="tx2"/>
                </a:solidFill>
              </a:defRPr>
            </a:lvl2pPr>
            <a:lvl3pPr marL="174625" indent="-174625">
              <a:spcBef>
                <a:spcPts val="1200"/>
              </a:spcBef>
              <a:buClr>
                <a:schemeClr val="tx1"/>
              </a:buClr>
              <a:buFont typeface="Arial" panose="020B0604020202020204" pitchFamily="34" charset="0"/>
              <a:buChar char="•"/>
              <a:defRPr lang="en-US" sz="1500" dirty="0" smtClean="0">
                <a:solidFill>
                  <a:schemeClr val="tx2"/>
                </a:solidFill>
              </a:defRPr>
            </a:lvl3pPr>
            <a:lvl4pPr marL="347663" indent="-173038">
              <a:buClr>
                <a:schemeClr val="tx1"/>
              </a:buClr>
              <a:buFont typeface="Arial" panose="020B0604020202020204" pitchFamily="34" charset="0"/>
              <a:buChar char="–"/>
              <a:defRPr lang="en-US" sz="1500" dirty="0" smtClean="0">
                <a:solidFill>
                  <a:schemeClr val="tx2"/>
                </a:solidFill>
              </a:defRPr>
            </a:lvl4pPr>
            <a:lvl5pPr marL="511175" indent="-165100">
              <a:buClr>
                <a:schemeClr val="tx1"/>
              </a:buClr>
              <a:buFont typeface="Arial" panose="020B0604020202020204" pitchFamily="34" charset="0"/>
              <a:buChar char="•"/>
              <a:defRPr lang="en-US" sz="1500" dirty="0">
                <a:solidFill>
                  <a:schemeClr val="tx2"/>
                </a:solidFill>
              </a:defRPr>
            </a:lvl5pPr>
            <a:lvl6pPr marL="685800" indent="-174625">
              <a:buClr>
                <a:schemeClr val="tx1"/>
              </a:buClr>
              <a:buFont typeface="Arial" panose="020B0604020202020204" pitchFamily="34" charset="0"/>
              <a:buChar char="–"/>
              <a:defRPr sz="1500">
                <a:solidFill>
                  <a:schemeClr val="tx2"/>
                </a:solidFill>
              </a:defRPr>
            </a:lvl6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Tree>
    <p:extLst>
      <p:ext uri="{BB962C8B-B14F-4D97-AF65-F5344CB8AC3E}">
        <p14:creationId xmlns:p14="http://schemas.microsoft.com/office/powerpoint/2010/main" val="3729372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 Gray background">
    <p:spTree>
      <p:nvGrpSpPr>
        <p:cNvPr id="1" name=""/>
        <p:cNvGrpSpPr/>
        <p:nvPr/>
      </p:nvGrpSpPr>
      <p:grpSpPr>
        <a:xfrm>
          <a:off x="0" y="0"/>
          <a:ext cx="0" cy="0"/>
          <a:chOff x="0" y="0"/>
          <a:chExt cx="0" cy="0"/>
        </a:xfrm>
      </p:grpSpPr>
      <p:sp>
        <p:nvSpPr>
          <p:cNvPr id="4" name="Rectangle 3"/>
          <p:cNvSpPr/>
          <p:nvPr userDrawn="1"/>
        </p:nvSpPr>
        <p:spPr>
          <a:xfrm>
            <a:off x="1" y="0"/>
            <a:ext cx="12191999" cy="6858000"/>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dirty="0">
              <a:solidFill>
                <a:schemeClr val="accent5"/>
              </a:solidFill>
            </a:endParaRPr>
          </a:p>
        </p:txBody>
      </p:sp>
      <p:sp>
        <p:nvSpPr>
          <p:cNvPr id="2" name="Title 1"/>
          <p:cNvSpPr>
            <a:spLocks noGrp="1"/>
          </p:cNvSpPr>
          <p:nvPr>
            <p:ph type="title" hasCustomPrompt="1"/>
          </p:nvPr>
        </p:nvSpPr>
        <p:spPr>
          <a:xfrm>
            <a:off x="557929" y="649224"/>
            <a:ext cx="9667726" cy="713232"/>
          </a:xfrm>
        </p:spPr>
        <p:txBody>
          <a:bodyPr/>
          <a:lstStyle>
            <a:lvl1pPr>
              <a:defRPr/>
            </a:lvl1pPr>
          </a:lstStyle>
          <a:p>
            <a:r>
              <a:rPr lang="en-US" dirty="0"/>
              <a:t>Click to add title</a:t>
            </a:r>
          </a:p>
        </p:txBody>
      </p:sp>
      <p:sp>
        <p:nvSpPr>
          <p:cNvPr id="5" name="Content Placeholder 8">
            <a:extLst>
              <a:ext uri="{FF2B5EF4-FFF2-40B4-BE49-F238E27FC236}">
                <a16:creationId xmlns:a16="http://schemas.microsoft.com/office/drawing/2014/main" id="{EA644BA6-2934-4E8F-B985-BF4956FFA6D8}"/>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2C9E605-E92D-438D-95D9-0A1E3E83E514}"/>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7" name="Graphic 6" descr="CVS Caremark logo.">
            <a:extLst>
              <a:ext uri="{FF2B5EF4-FFF2-40B4-BE49-F238E27FC236}">
                <a16:creationId xmlns:a16="http://schemas.microsoft.com/office/drawing/2014/main" id="{F60DA1AE-CA2E-4A4C-A598-CDAD09AA3D1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21632896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ve Content with Journey">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6CF014F-B23E-4DD0-8A88-40A65BDAD142}"/>
              </a:ext>
            </a:extLst>
          </p:cNvPr>
          <p:cNvSpPr>
            <a:spLocks noGrp="1"/>
          </p:cNvSpPr>
          <p:nvPr>
            <p:ph type="pic" sz="quarter" idx="18"/>
          </p:nvPr>
        </p:nvSpPr>
        <p:spPr>
          <a:xfrm>
            <a:off x="1" y="0"/>
            <a:ext cx="12192000" cy="6858000"/>
          </a:xfrm>
          <a:solidFill>
            <a:schemeClr val="bg1">
              <a:lumMod val="75000"/>
            </a:schemeClr>
          </a:solidFill>
        </p:spPr>
        <p:txBody>
          <a:bodyPr/>
          <a:lstStyle>
            <a:lvl1pPr algn="ctr">
              <a:defRPr b="0">
                <a:solidFill>
                  <a:schemeClr val="bg1"/>
                </a:solidFill>
              </a:defRPr>
            </a:lvl1pPr>
          </a:lstStyle>
          <a:p>
            <a:r>
              <a:rPr lang="en-US"/>
              <a:t>Click icon to add picture</a:t>
            </a:r>
            <a:endParaRPr lang="en-US" dirty="0"/>
          </a:p>
        </p:txBody>
      </p:sp>
      <p:sp>
        <p:nvSpPr>
          <p:cNvPr id="4" name="Title 1">
            <a:extLst>
              <a:ext uri="{FF2B5EF4-FFF2-40B4-BE49-F238E27FC236}">
                <a16:creationId xmlns:a16="http://schemas.microsoft.com/office/drawing/2014/main" id="{B26009B7-5F33-4D7E-A4F7-6CA681DDEE57}"/>
              </a:ext>
            </a:extLst>
          </p:cNvPr>
          <p:cNvSpPr>
            <a:spLocks noGrp="1"/>
          </p:cNvSpPr>
          <p:nvPr>
            <p:ph type="title" hasCustomPrompt="1"/>
          </p:nvPr>
        </p:nvSpPr>
        <p:spPr>
          <a:xfrm>
            <a:off x="557929" y="645676"/>
            <a:ext cx="9594555" cy="502920"/>
          </a:xfrm>
        </p:spPr>
        <p:txBody>
          <a:bodyPr>
            <a:noAutofit/>
          </a:bodyPr>
          <a:lstStyle>
            <a:lvl1pPr>
              <a:defRPr sz="3200">
                <a:solidFill>
                  <a:schemeClr val="tx2"/>
                </a:solidFill>
                <a:latin typeface="+mj-lt"/>
              </a:defRPr>
            </a:lvl1pPr>
          </a:lstStyle>
          <a:p>
            <a:r>
              <a:rPr lang="en-US" dirty="0"/>
              <a:t>Click to add title for journey layout</a:t>
            </a:r>
          </a:p>
        </p:txBody>
      </p:sp>
      <p:sp>
        <p:nvSpPr>
          <p:cNvPr id="5" name="Content Placeholder 5">
            <a:extLst>
              <a:ext uri="{FF2B5EF4-FFF2-40B4-BE49-F238E27FC236}">
                <a16:creationId xmlns:a16="http://schemas.microsoft.com/office/drawing/2014/main" id="{7C11469D-9EC8-4519-836A-687F6608159F}"/>
              </a:ext>
            </a:extLst>
          </p:cNvPr>
          <p:cNvSpPr>
            <a:spLocks noGrp="1"/>
          </p:cNvSpPr>
          <p:nvPr>
            <p:ph sz="quarter" idx="12" hasCustomPrompt="1"/>
          </p:nvPr>
        </p:nvSpPr>
        <p:spPr>
          <a:xfrm>
            <a:off x="0" y="3794760"/>
            <a:ext cx="12191999" cy="3063241"/>
          </a:xfrm>
          <a:solidFill>
            <a:srgbClr val="FFFFFF">
              <a:alpha val="89804"/>
            </a:srgbClr>
          </a:solidFill>
        </p:spPr>
        <p:txBody>
          <a:bodyPr lIns="859536" tIns="292608" rIns="9144000" bIns="365760"/>
          <a:lstStyle>
            <a:lvl1pPr>
              <a:defRPr sz="1800" b="1"/>
            </a:lvl1pPr>
            <a:lvl2pPr marL="0" indent="0">
              <a:buFontTx/>
              <a:buNone/>
              <a:defRPr sz="1500"/>
            </a:lvl2pPr>
          </a:lstStyle>
          <a:p>
            <a:pPr lvl="0"/>
            <a:r>
              <a:rPr lang="en-US" dirty="0"/>
              <a:t>Header</a:t>
            </a:r>
          </a:p>
          <a:p>
            <a:pPr lvl="1"/>
            <a:r>
              <a:rPr lang="en-US" dirty="0"/>
              <a:t>Descriptor text</a:t>
            </a:r>
          </a:p>
        </p:txBody>
      </p:sp>
      <p:sp>
        <p:nvSpPr>
          <p:cNvPr id="6" name="Content Placeholder 5">
            <a:extLst>
              <a:ext uri="{FF2B5EF4-FFF2-40B4-BE49-F238E27FC236}">
                <a16:creationId xmlns:a16="http://schemas.microsoft.com/office/drawing/2014/main" id="{B0A75E45-8148-442F-822D-E9C73BA8CBE6}"/>
              </a:ext>
            </a:extLst>
          </p:cNvPr>
          <p:cNvSpPr>
            <a:spLocks noGrp="1"/>
          </p:cNvSpPr>
          <p:nvPr>
            <p:ph sz="quarter" idx="14" hasCustomPrompt="1"/>
          </p:nvPr>
        </p:nvSpPr>
        <p:spPr>
          <a:xfrm>
            <a:off x="3182941" y="4087368"/>
            <a:ext cx="155488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7" name="Content Placeholder 5">
            <a:extLst>
              <a:ext uri="{FF2B5EF4-FFF2-40B4-BE49-F238E27FC236}">
                <a16:creationId xmlns:a16="http://schemas.microsoft.com/office/drawing/2014/main" id="{1E5F229D-5445-4481-B37A-7C803D7A4E29}"/>
              </a:ext>
            </a:extLst>
          </p:cNvPr>
          <p:cNvSpPr>
            <a:spLocks noGrp="1"/>
          </p:cNvSpPr>
          <p:nvPr>
            <p:ph sz="quarter" idx="15" hasCustomPrompt="1"/>
          </p:nvPr>
        </p:nvSpPr>
        <p:spPr>
          <a:xfrm>
            <a:off x="5295755" y="4087368"/>
            <a:ext cx="155488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8" name="Content Placeholder 5">
            <a:extLst>
              <a:ext uri="{FF2B5EF4-FFF2-40B4-BE49-F238E27FC236}">
                <a16:creationId xmlns:a16="http://schemas.microsoft.com/office/drawing/2014/main" id="{13FBD4EE-F77B-494E-85B2-43537170634A}"/>
              </a:ext>
            </a:extLst>
          </p:cNvPr>
          <p:cNvSpPr>
            <a:spLocks noGrp="1"/>
          </p:cNvSpPr>
          <p:nvPr>
            <p:ph sz="quarter" idx="16" hasCustomPrompt="1"/>
          </p:nvPr>
        </p:nvSpPr>
        <p:spPr>
          <a:xfrm>
            <a:off x="7408569" y="4087368"/>
            <a:ext cx="155488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9" name="Content Placeholder 5">
            <a:extLst>
              <a:ext uri="{FF2B5EF4-FFF2-40B4-BE49-F238E27FC236}">
                <a16:creationId xmlns:a16="http://schemas.microsoft.com/office/drawing/2014/main" id="{ABAA180E-9385-446C-8FE0-5A75D6AC5FA7}"/>
              </a:ext>
            </a:extLst>
          </p:cNvPr>
          <p:cNvSpPr>
            <a:spLocks noGrp="1"/>
          </p:cNvSpPr>
          <p:nvPr>
            <p:ph sz="quarter" idx="20" hasCustomPrompt="1"/>
          </p:nvPr>
        </p:nvSpPr>
        <p:spPr>
          <a:xfrm>
            <a:off x="9521383" y="4087368"/>
            <a:ext cx="155488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2" name="Content Placeholder 8">
            <a:extLst>
              <a:ext uri="{FF2B5EF4-FFF2-40B4-BE49-F238E27FC236}">
                <a16:creationId xmlns:a16="http://schemas.microsoft.com/office/drawing/2014/main" id="{BCD85BE5-532B-A9D9-29C3-A2F74906DADC}"/>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2E74883-19B7-6C9E-665F-A41EF5CF67D2}"/>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12" name="Graphic 11" descr="CVS Caremark logo.">
            <a:extLst>
              <a:ext uri="{FF2B5EF4-FFF2-40B4-BE49-F238E27FC236}">
                <a16:creationId xmlns:a16="http://schemas.microsoft.com/office/drawing/2014/main" id="{11B40BB0-DADE-EAB5-72FE-8CA1028FD6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120523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F13B-8912-20A6-C1AD-8EB0F7ADC9E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4A4BCB-DCE8-7BD0-731D-3A81F830E7D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88C44F5-63B9-02A8-36F2-BECB8025497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D7DC68-98F2-7919-8428-A84B5A8DF2F9}"/>
              </a:ext>
            </a:extLst>
          </p:cNvPr>
          <p:cNvSpPr>
            <a:spLocks noGrp="1"/>
          </p:cNvSpPr>
          <p:nvPr>
            <p:ph type="dt" sz="half" idx="10"/>
          </p:nvPr>
        </p:nvSpPr>
        <p:spPr/>
        <p:txBody>
          <a:bodyPr/>
          <a:lstStyle/>
          <a:p>
            <a:fld id="{4323ADC0-BAF2-4475-A7E3-FC35850F028A}" type="datetime1">
              <a:rPr lang="en-US" smtClean="0"/>
              <a:t>9/13/2024</a:t>
            </a:fld>
            <a:endParaRPr lang="en-US"/>
          </a:p>
        </p:txBody>
      </p:sp>
      <p:sp>
        <p:nvSpPr>
          <p:cNvPr id="6" name="Footer Placeholder 5">
            <a:extLst>
              <a:ext uri="{FF2B5EF4-FFF2-40B4-BE49-F238E27FC236}">
                <a16:creationId xmlns:a16="http://schemas.microsoft.com/office/drawing/2014/main" id="{BF71920D-7CC2-2F51-09AE-9320C2CA7C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78A9CE-EEAE-C22B-0599-B15ACE8F10F6}"/>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35163113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wer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E56FC-C30E-0BB0-303D-0052EEB7B900}"/>
              </a:ext>
            </a:extLst>
          </p:cNvPr>
          <p:cNvSpPr>
            <a:spLocks noGrp="1"/>
          </p:cNvSpPr>
          <p:nvPr>
            <p:ph type="title" hasCustomPrompt="1"/>
          </p:nvPr>
        </p:nvSpPr>
        <p:spPr>
          <a:xfrm>
            <a:off x="557930" y="651108"/>
            <a:ext cx="3664335" cy="862347"/>
          </a:xfrm>
        </p:spPr>
        <p:txBody>
          <a:bodyPr/>
          <a:lstStyle>
            <a:lvl1pPr>
              <a:defRPr/>
            </a:lvl1pPr>
          </a:lstStyle>
          <a:p>
            <a:r>
              <a:rPr lang="en-US" dirty="0"/>
              <a:t>Click to add title for journey layout</a:t>
            </a:r>
          </a:p>
        </p:txBody>
      </p:sp>
      <p:sp>
        <p:nvSpPr>
          <p:cNvPr id="3" name="Content Placeholder 5">
            <a:extLst>
              <a:ext uri="{FF2B5EF4-FFF2-40B4-BE49-F238E27FC236}">
                <a16:creationId xmlns:a16="http://schemas.microsoft.com/office/drawing/2014/main" id="{842D9686-A9DC-1F97-AA52-4E9134F10D24}"/>
              </a:ext>
            </a:extLst>
          </p:cNvPr>
          <p:cNvSpPr>
            <a:spLocks noGrp="1"/>
          </p:cNvSpPr>
          <p:nvPr>
            <p:ph sz="quarter" idx="14" hasCustomPrompt="1"/>
          </p:nvPr>
        </p:nvSpPr>
        <p:spPr>
          <a:xfrm>
            <a:off x="5297051" y="766909"/>
            <a:ext cx="167304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4" name="Content Placeholder 5">
            <a:extLst>
              <a:ext uri="{FF2B5EF4-FFF2-40B4-BE49-F238E27FC236}">
                <a16:creationId xmlns:a16="http://schemas.microsoft.com/office/drawing/2014/main" id="{CEB10B65-78AC-71D2-E222-17A3FDD1DC67}"/>
              </a:ext>
            </a:extLst>
          </p:cNvPr>
          <p:cNvSpPr>
            <a:spLocks noGrp="1"/>
          </p:cNvSpPr>
          <p:nvPr>
            <p:ph sz="quarter" idx="15" hasCustomPrompt="1"/>
          </p:nvPr>
        </p:nvSpPr>
        <p:spPr>
          <a:xfrm>
            <a:off x="7478123" y="766909"/>
            <a:ext cx="167304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9" name="Content Placeholder 5">
            <a:extLst>
              <a:ext uri="{FF2B5EF4-FFF2-40B4-BE49-F238E27FC236}">
                <a16:creationId xmlns:a16="http://schemas.microsoft.com/office/drawing/2014/main" id="{28B231A3-4482-E30C-BDF6-AF2FA8E33608}"/>
              </a:ext>
            </a:extLst>
          </p:cNvPr>
          <p:cNvSpPr>
            <a:spLocks noGrp="1"/>
          </p:cNvSpPr>
          <p:nvPr>
            <p:ph sz="quarter" idx="16" hasCustomPrompt="1"/>
          </p:nvPr>
        </p:nvSpPr>
        <p:spPr>
          <a:xfrm>
            <a:off x="9659195" y="766909"/>
            <a:ext cx="1673045" cy="1647866"/>
          </a:xfrm>
        </p:spPr>
        <p:txBody>
          <a:bodyPr/>
          <a:lstStyle>
            <a:lvl1pPr>
              <a:defRPr sz="1800" b="1"/>
            </a:lvl1pPr>
            <a:lvl2pPr marL="0" indent="0">
              <a:buFontTx/>
              <a:buNone/>
              <a:defRPr sz="1500"/>
            </a:lvl2pPr>
          </a:lstStyle>
          <a:p>
            <a:pPr lvl="0"/>
            <a:r>
              <a:rPr lang="en-US" dirty="0"/>
              <a:t>Header</a:t>
            </a:r>
          </a:p>
          <a:p>
            <a:pPr lvl="1"/>
            <a:r>
              <a:rPr lang="en-US" dirty="0"/>
              <a:t>Descriptor text</a:t>
            </a:r>
          </a:p>
        </p:txBody>
      </p:sp>
      <p:sp>
        <p:nvSpPr>
          <p:cNvPr id="5" name="Picture Placeholder 15">
            <a:extLst>
              <a:ext uri="{FF2B5EF4-FFF2-40B4-BE49-F238E27FC236}">
                <a16:creationId xmlns:a16="http://schemas.microsoft.com/office/drawing/2014/main" id="{3236CB6D-E28C-2D7E-2197-3D6B507D69EB}"/>
              </a:ext>
            </a:extLst>
          </p:cNvPr>
          <p:cNvSpPr>
            <a:spLocks noGrp="1"/>
          </p:cNvSpPr>
          <p:nvPr>
            <p:ph type="pic" sz="quarter" idx="18"/>
          </p:nvPr>
        </p:nvSpPr>
        <p:spPr>
          <a:xfrm>
            <a:off x="1" y="3154680"/>
            <a:ext cx="12192000" cy="3703320"/>
          </a:xfrm>
          <a:solidFill>
            <a:schemeClr val="bg1">
              <a:lumMod val="75000"/>
            </a:schemeClr>
          </a:solidFill>
        </p:spPr>
        <p:txBody>
          <a:bodyPr/>
          <a:lstStyle>
            <a:lvl1pPr algn="ctr">
              <a:defRPr b="0">
                <a:solidFill>
                  <a:schemeClr val="bg1"/>
                </a:solidFill>
              </a:defRPr>
            </a:lvl1pPr>
          </a:lstStyle>
          <a:p>
            <a:r>
              <a:rPr lang="en-US"/>
              <a:t>Click icon to add picture</a:t>
            </a:r>
            <a:endParaRPr lang="en-US" dirty="0"/>
          </a:p>
        </p:txBody>
      </p:sp>
      <p:pic>
        <p:nvPicPr>
          <p:cNvPr id="6" name="Graphic 5" descr="CVS Caremark logo in white.">
            <a:extLst>
              <a:ext uri="{FF2B5EF4-FFF2-40B4-BE49-F238E27FC236}">
                <a16:creationId xmlns:a16="http://schemas.microsoft.com/office/drawing/2014/main" id="{C1221AA2-5659-D7EE-46CD-711BB696861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7" name="Content Placeholder 8">
            <a:extLst>
              <a:ext uri="{FF2B5EF4-FFF2-40B4-BE49-F238E27FC236}">
                <a16:creationId xmlns:a16="http://schemas.microsoft.com/office/drawing/2014/main" id="{75E26C7A-1348-2028-658B-3118A5D5203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322ABC7E-C6FD-14C9-7B2A-18A3375117B1}"/>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4653315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Upper patter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BFFE59E-FEF7-240E-4C24-9A509C443193}"/>
              </a:ext>
              <a:ext uri="{C183D7F6-B498-43B3-948B-1728B52AA6E4}">
                <adec:decorative xmlns:adec="http://schemas.microsoft.com/office/drawing/2017/decorative" val="1"/>
              </a:ext>
            </a:extLst>
          </p:cNvPr>
          <p:cNvSpPr/>
          <p:nvPr userDrawn="1"/>
        </p:nvSpPr>
        <p:spPr bwMode="gray">
          <a:xfrm>
            <a:off x="1" y="0"/>
            <a:ext cx="12192000" cy="3529168"/>
          </a:xfrm>
          <a:prstGeom prst="rect">
            <a:avLst/>
          </a:prstGeom>
          <a:solidFill>
            <a:srgbClr val="073F77"/>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4" name="Freeform: Shape 3">
            <a:extLst>
              <a:ext uri="{FF2B5EF4-FFF2-40B4-BE49-F238E27FC236}">
                <a16:creationId xmlns:a16="http://schemas.microsoft.com/office/drawing/2014/main" id="{F0904EAB-253E-BEEF-898E-B1462F38B015}"/>
              </a:ext>
              <a:ext uri="{C183D7F6-B498-43B3-948B-1728B52AA6E4}">
                <adec:decorative xmlns:adec="http://schemas.microsoft.com/office/drawing/2017/decorative" val="1"/>
              </a:ext>
            </a:extLst>
          </p:cNvPr>
          <p:cNvSpPr/>
          <p:nvPr userDrawn="1"/>
        </p:nvSpPr>
        <p:spPr bwMode="gray">
          <a:xfrm>
            <a:off x="0" y="1"/>
            <a:ext cx="12191826" cy="3529167"/>
          </a:xfrm>
          <a:custGeom>
            <a:avLst/>
            <a:gdLst>
              <a:gd name="connsiteX0" fmla="*/ 11902654 w 12188651"/>
              <a:gd name="connsiteY0" fmla="*/ 3336497 h 3529167"/>
              <a:gd name="connsiteX1" fmla="*/ 12182429 w 12188651"/>
              <a:gd name="connsiteY1" fmla="*/ 3498382 h 3529167"/>
              <a:gd name="connsiteX2" fmla="*/ 12188651 w 12188651"/>
              <a:gd name="connsiteY2" fmla="*/ 3501984 h 3529167"/>
              <a:gd name="connsiteX3" fmla="*/ 12188651 w 12188651"/>
              <a:gd name="connsiteY3" fmla="*/ 3529167 h 3529167"/>
              <a:gd name="connsiteX4" fmla="*/ 11584572 w 12188651"/>
              <a:gd name="connsiteY4" fmla="*/ 3529167 h 3529167"/>
              <a:gd name="connsiteX5" fmla="*/ 11577061 w 12188651"/>
              <a:gd name="connsiteY5" fmla="*/ 3524820 h 3529167"/>
              <a:gd name="connsiteX6" fmla="*/ 9848833 w 12188651"/>
              <a:gd name="connsiteY6" fmla="*/ 3336489 h 3529167"/>
              <a:gd name="connsiteX7" fmla="*/ 10174296 w 12188651"/>
              <a:gd name="connsiteY7" fmla="*/ 3524818 h 3529167"/>
              <a:gd name="connsiteX8" fmla="*/ 10166778 w 12188651"/>
              <a:gd name="connsiteY8" fmla="*/ 3529167 h 3529167"/>
              <a:gd name="connsiteX9" fmla="*/ 9530757 w 12188651"/>
              <a:gd name="connsiteY9" fmla="*/ 3529167 h 3529167"/>
              <a:gd name="connsiteX10" fmla="*/ 9523242 w 12188651"/>
              <a:gd name="connsiteY10" fmla="*/ 3524818 h 3529167"/>
              <a:gd name="connsiteX11" fmla="*/ 7794888 w 12188651"/>
              <a:gd name="connsiteY11" fmla="*/ 3336477 h 3529167"/>
              <a:gd name="connsiteX12" fmla="*/ 8120348 w 12188651"/>
              <a:gd name="connsiteY12" fmla="*/ 3524813 h 3529167"/>
              <a:gd name="connsiteX13" fmla="*/ 8112822 w 12188651"/>
              <a:gd name="connsiteY13" fmla="*/ 3529167 h 3529167"/>
              <a:gd name="connsiteX14" fmla="*/ 7476821 w 12188651"/>
              <a:gd name="connsiteY14" fmla="*/ 3529167 h 3529167"/>
              <a:gd name="connsiteX15" fmla="*/ 7469297 w 12188651"/>
              <a:gd name="connsiteY15" fmla="*/ 3524813 h 3529167"/>
              <a:gd name="connsiteX16" fmla="*/ 5741092 w 12188651"/>
              <a:gd name="connsiteY16" fmla="*/ 3336470 h 3529167"/>
              <a:gd name="connsiteX17" fmla="*/ 6066533 w 12188651"/>
              <a:gd name="connsiteY17" fmla="*/ 3524807 h 3529167"/>
              <a:gd name="connsiteX18" fmla="*/ 6058997 w 12188651"/>
              <a:gd name="connsiteY18" fmla="*/ 3529167 h 3529167"/>
              <a:gd name="connsiteX19" fmla="*/ 5423054 w 12188651"/>
              <a:gd name="connsiteY19" fmla="*/ 3529167 h 3529167"/>
              <a:gd name="connsiteX20" fmla="*/ 5415520 w 12188651"/>
              <a:gd name="connsiteY20" fmla="*/ 3524807 h 3529167"/>
              <a:gd name="connsiteX21" fmla="*/ 3687317 w 12188651"/>
              <a:gd name="connsiteY21" fmla="*/ 3336464 h 3529167"/>
              <a:gd name="connsiteX22" fmla="*/ 4012771 w 12188651"/>
              <a:gd name="connsiteY22" fmla="*/ 3524805 h 3529167"/>
              <a:gd name="connsiteX23" fmla="*/ 4005231 w 12188651"/>
              <a:gd name="connsiteY23" fmla="*/ 3529167 h 3529167"/>
              <a:gd name="connsiteX24" fmla="*/ 3369269 w 12188651"/>
              <a:gd name="connsiteY24" fmla="*/ 3529167 h 3529167"/>
              <a:gd name="connsiteX25" fmla="*/ 3361732 w 12188651"/>
              <a:gd name="connsiteY25" fmla="*/ 3524805 h 3529167"/>
              <a:gd name="connsiteX26" fmla="*/ 1633340 w 12188651"/>
              <a:gd name="connsiteY26" fmla="*/ 3336454 h 3529167"/>
              <a:gd name="connsiteX27" fmla="*/ 1958796 w 12188651"/>
              <a:gd name="connsiteY27" fmla="*/ 3524804 h 3529167"/>
              <a:gd name="connsiteX28" fmla="*/ 1951254 w 12188651"/>
              <a:gd name="connsiteY28" fmla="*/ 3529167 h 3529167"/>
              <a:gd name="connsiteX29" fmla="*/ 1315290 w 12188651"/>
              <a:gd name="connsiteY29" fmla="*/ 3529167 h 3529167"/>
              <a:gd name="connsiteX30" fmla="*/ 1307751 w 12188651"/>
              <a:gd name="connsiteY30" fmla="*/ 3524804 h 3529167"/>
              <a:gd name="connsiteX31" fmla="*/ 11113840 w 12188651"/>
              <a:gd name="connsiteY31" fmla="*/ 3172539 h 3529167"/>
              <a:gd name="connsiteX32" fmla="*/ 11141600 w 12188651"/>
              <a:gd name="connsiteY32" fmla="*/ 3184087 h 3529167"/>
              <a:gd name="connsiteX33" fmla="*/ 11206199 w 12188651"/>
              <a:gd name="connsiteY33" fmla="*/ 3248805 h 3529167"/>
              <a:gd name="connsiteX34" fmla="*/ 11217744 w 12188651"/>
              <a:gd name="connsiteY34" fmla="*/ 3260492 h 3529167"/>
              <a:gd name="connsiteX35" fmla="*/ 11229289 w 12188651"/>
              <a:gd name="connsiteY35" fmla="*/ 3248805 h 3529167"/>
              <a:gd name="connsiteX36" fmla="*/ 11293758 w 12188651"/>
              <a:gd name="connsiteY36" fmla="*/ 3184087 h 3529167"/>
              <a:gd name="connsiteX37" fmla="*/ 11321517 w 12188651"/>
              <a:gd name="connsiteY37" fmla="*/ 3172539 h 3529167"/>
              <a:gd name="connsiteX38" fmla="*/ 11349147 w 12188651"/>
              <a:gd name="connsiteY38" fmla="*/ 3184087 h 3529167"/>
              <a:gd name="connsiteX39" fmla="*/ 11427627 w 12188651"/>
              <a:gd name="connsiteY39" fmla="*/ 3262689 h 3529167"/>
              <a:gd name="connsiteX40" fmla="*/ 11439170 w 12188651"/>
              <a:gd name="connsiteY40" fmla="*/ 3290444 h 3529167"/>
              <a:gd name="connsiteX41" fmla="*/ 11427757 w 12188651"/>
              <a:gd name="connsiteY41" fmla="*/ 3318199 h 3529167"/>
              <a:gd name="connsiteX42" fmla="*/ 11217744 w 12188651"/>
              <a:gd name="connsiteY42" fmla="*/ 3528579 h 3529167"/>
              <a:gd name="connsiteX43" fmla="*/ 11007731 w 12188651"/>
              <a:gd name="connsiteY43" fmla="*/ 3318199 h 3529167"/>
              <a:gd name="connsiteX44" fmla="*/ 10996253 w 12188651"/>
              <a:gd name="connsiteY44" fmla="*/ 3290463 h 3529167"/>
              <a:gd name="connsiteX45" fmla="*/ 11007731 w 12188651"/>
              <a:gd name="connsiteY45" fmla="*/ 3262819 h 3529167"/>
              <a:gd name="connsiteX46" fmla="*/ 11086210 w 12188651"/>
              <a:gd name="connsiteY46" fmla="*/ 3184087 h 3529167"/>
              <a:gd name="connsiteX47" fmla="*/ 11113840 w 12188651"/>
              <a:gd name="connsiteY47" fmla="*/ 3172539 h 3529167"/>
              <a:gd name="connsiteX48" fmla="*/ 9059892 w 12188651"/>
              <a:gd name="connsiteY48" fmla="*/ 3172530 h 3529167"/>
              <a:gd name="connsiteX49" fmla="*/ 9087652 w 12188651"/>
              <a:gd name="connsiteY49" fmla="*/ 3184077 h 3529167"/>
              <a:gd name="connsiteX50" fmla="*/ 9152251 w 12188651"/>
              <a:gd name="connsiteY50" fmla="*/ 3248800 h 3529167"/>
              <a:gd name="connsiteX51" fmla="*/ 9163796 w 12188651"/>
              <a:gd name="connsiteY51" fmla="*/ 3260473 h 3529167"/>
              <a:gd name="connsiteX52" fmla="*/ 9175341 w 12188651"/>
              <a:gd name="connsiteY52" fmla="*/ 3248800 h 3529167"/>
              <a:gd name="connsiteX53" fmla="*/ 9239810 w 12188651"/>
              <a:gd name="connsiteY53" fmla="*/ 3184077 h 3529167"/>
              <a:gd name="connsiteX54" fmla="*/ 9267570 w 12188651"/>
              <a:gd name="connsiteY54" fmla="*/ 3172530 h 3529167"/>
              <a:gd name="connsiteX55" fmla="*/ 9295200 w 12188651"/>
              <a:gd name="connsiteY55" fmla="*/ 3184077 h 3529167"/>
              <a:gd name="connsiteX56" fmla="*/ 9373678 w 12188651"/>
              <a:gd name="connsiteY56" fmla="*/ 3262679 h 3529167"/>
              <a:gd name="connsiteX57" fmla="*/ 9385222 w 12188651"/>
              <a:gd name="connsiteY57" fmla="*/ 3290436 h 3529167"/>
              <a:gd name="connsiteX58" fmla="*/ 9373809 w 12188651"/>
              <a:gd name="connsiteY58" fmla="*/ 3318189 h 3529167"/>
              <a:gd name="connsiteX59" fmla="*/ 9163797 w 12188651"/>
              <a:gd name="connsiteY59" fmla="*/ 3528578 h 3529167"/>
              <a:gd name="connsiteX60" fmla="*/ 8953784 w 12188651"/>
              <a:gd name="connsiteY60" fmla="*/ 3318189 h 3529167"/>
              <a:gd name="connsiteX61" fmla="*/ 8942306 w 12188651"/>
              <a:gd name="connsiteY61" fmla="*/ 3290451 h 3529167"/>
              <a:gd name="connsiteX62" fmla="*/ 8953783 w 12188651"/>
              <a:gd name="connsiteY62" fmla="*/ 3262809 h 3529167"/>
              <a:gd name="connsiteX63" fmla="*/ 9032263 w 12188651"/>
              <a:gd name="connsiteY63" fmla="*/ 3184077 h 3529167"/>
              <a:gd name="connsiteX64" fmla="*/ 9059892 w 12188651"/>
              <a:gd name="connsiteY64" fmla="*/ 3172530 h 3529167"/>
              <a:gd name="connsiteX65" fmla="*/ 7006076 w 12188651"/>
              <a:gd name="connsiteY65" fmla="*/ 3172517 h 3529167"/>
              <a:gd name="connsiteX66" fmla="*/ 7033834 w 12188651"/>
              <a:gd name="connsiteY66" fmla="*/ 3184064 h 3529167"/>
              <a:gd name="connsiteX67" fmla="*/ 7098434 w 12188651"/>
              <a:gd name="connsiteY67" fmla="*/ 3248792 h 3529167"/>
              <a:gd name="connsiteX68" fmla="*/ 7109978 w 12188651"/>
              <a:gd name="connsiteY68" fmla="*/ 3260467 h 3529167"/>
              <a:gd name="connsiteX69" fmla="*/ 7121523 w 12188651"/>
              <a:gd name="connsiteY69" fmla="*/ 3248792 h 3529167"/>
              <a:gd name="connsiteX70" fmla="*/ 7185994 w 12188651"/>
              <a:gd name="connsiteY70" fmla="*/ 3184064 h 3529167"/>
              <a:gd name="connsiteX71" fmla="*/ 7213751 w 12188651"/>
              <a:gd name="connsiteY71" fmla="*/ 3172517 h 3529167"/>
              <a:gd name="connsiteX72" fmla="*/ 7241381 w 12188651"/>
              <a:gd name="connsiteY72" fmla="*/ 3184064 h 3529167"/>
              <a:gd name="connsiteX73" fmla="*/ 7319862 w 12188651"/>
              <a:gd name="connsiteY73" fmla="*/ 3262673 h 3529167"/>
              <a:gd name="connsiteX74" fmla="*/ 7331405 w 12188651"/>
              <a:gd name="connsiteY74" fmla="*/ 3290428 h 3529167"/>
              <a:gd name="connsiteX75" fmla="*/ 7319992 w 12188651"/>
              <a:gd name="connsiteY75" fmla="*/ 3318178 h 3529167"/>
              <a:gd name="connsiteX76" fmla="*/ 7109978 w 12188651"/>
              <a:gd name="connsiteY76" fmla="*/ 3528572 h 3529167"/>
              <a:gd name="connsiteX77" fmla="*/ 6899966 w 12188651"/>
              <a:gd name="connsiteY77" fmla="*/ 3318178 h 3529167"/>
              <a:gd name="connsiteX78" fmla="*/ 6888487 w 12188651"/>
              <a:gd name="connsiteY78" fmla="*/ 3290444 h 3529167"/>
              <a:gd name="connsiteX79" fmla="*/ 6899966 w 12188651"/>
              <a:gd name="connsiteY79" fmla="*/ 3262798 h 3529167"/>
              <a:gd name="connsiteX80" fmla="*/ 6978446 w 12188651"/>
              <a:gd name="connsiteY80" fmla="*/ 3184064 h 3529167"/>
              <a:gd name="connsiteX81" fmla="*/ 7006076 w 12188651"/>
              <a:gd name="connsiteY81" fmla="*/ 3172517 h 3529167"/>
              <a:gd name="connsiteX82" fmla="*/ 4952157 w 12188651"/>
              <a:gd name="connsiteY82" fmla="*/ 3172509 h 3529167"/>
              <a:gd name="connsiteX83" fmla="*/ 4979924 w 12188651"/>
              <a:gd name="connsiteY83" fmla="*/ 3184048 h 3529167"/>
              <a:gd name="connsiteX84" fmla="*/ 5044521 w 12188651"/>
              <a:gd name="connsiteY84" fmla="*/ 3248772 h 3529167"/>
              <a:gd name="connsiteX85" fmla="*/ 5056083 w 12188651"/>
              <a:gd name="connsiteY85" fmla="*/ 3260446 h 3529167"/>
              <a:gd name="connsiteX86" fmla="*/ 5056083 w 12188651"/>
              <a:gd name="connsiteY86" fmla="*/ 3260442 h 3529167"/>
              <a:gd name="connsiteX87" fmla="*/ 5056087 w 12188651"/>
              <a:gd name="connsiteY87" fmla="*/ 3260455 h 3529167"/>
              <a:gd name="connsiteX88" fmla="*/ 5067642 w 12188651"/>
              <a:gd name="connsiteY88" fmla="*/ 3248781 h 3529167"/>
              <a:gd name="connsiteX89" fmla="*/ 5132091 w 12188651"/>
              <a:gd name="connsiteY89" fmla="*/ 3184051 h 3529167"/>
              <a:gd name="connsiteX90" fmla="*/ 5159840 w 12188651"/>
              <a:gd name="connsiteY90" fmla="*/ 3172509 h 3529167"/>
              <a:gd name="connsiteX91" fmla="*/ 5187473 w 12188651"/>
              <a:gd name="connsiteY91" fmla="*/ 3184048 h 3529167"/>
              <a:gd name="connsiteX92" fmla="*/ 5265932 w 12188651"/>
              <a:gd name="connsiteY92" fmla="*/ 3262652 h 3529167"/>
              <a:gd name="connsiteX93" fmla="*/ 5277479 w 12188651"/>
              <a:gd name="connsiteY93" fmla="*/ 3290410 h 3529167"/>
              <a:gd name="connsiteX94" fmla="*/ 5266071 w 12188651"/>
              <a:gd name="connsiteY94" fmla="*/ 3318172 h 3529167"/>
              <a:gd name="connsiteX95" fmla="*/ 5056083 w 12188651"/>
              <a:gd name="connsiteY95" fmla="*/ 3528560 h 3529167"/>
              <a:gd name="connsiteX96" fmla="*/ 4855197 w 12188651"/>
              <a:gd name="connsiteY96" fmla="*/ 3327353 h 3529167"/>
              <a:gd name="connsiteX97" fmla="*/ 4846044 w 12188651"/>
              <a:gd name="connsiteY97" fmla="*/ 3318176 h 3529167"/>
              <a:gd name="connsiteX98" fmla="*/ 4834566 w 12188651"/>
              <a:gd name="connsiteY98" fmla="*/ 3290436 h 3529167"/>
              <a:gd name="connsiteX99" fmla="*/ 4846044 w 12188651"/>
              <a:gd name="connsiteY99" fmla="*/ 3262790 h 3529167"/>
              <a:gd name="connsiteX100" fmla="*/ 4924518 w 12188651"/>
              <a:gd name="connsiteY100" fmla="*/ 3184051 h 3529167"/>
              <a:gd name="connsiteX101" fmla="*/ 4952157 w 12188651"/>
              <a:gd name="connsiteY101" fmla="*/ 3172509 h 3529167"/>
              <a:gd name="connsiteX102" fmla="*/ 2898373 w 12188651"/>
              <a:gd name="connsiteY102" fmla="*/ 3172493 h 3529167"/>
              <a:gd name="connsiteX103" fmla="*/ 2914891 w 12188651"/>
              <a:gd name="connsiteY103" fmla="*/ 3179366 h 3529167"/>
              <a:gd name="connsiteX104" fmla="*/ 2926113 w 12188651"/>
              <a:gd name="connsiteY104" fmla="*/ 3184033 h 3529167"/>
              <a:gd name="connsiteX105" fmla="*/ 2990711 w 12188651"/>
              <a:gd name="connsiteY105" fmla="*/ 3248759 h 3529167"/>
              <a:gd name="connsiteX106" fmla="*/ 3002256 w 12188651"/>
              <a:gd name="connsiteY106" fmla="*/ 3260436 h 3529167"/>
              <a:gd name="connsiteX107" fmla="*/ 3002263 w 12188651"/>
              <a:gd name="connsiteY107" fmla="*/ 3260428 h 3529167"/>
              <a:gd name="connsiteX108" fmla="*/ 3002278 w 12188651"/>
              <a:gd name="connsiteY108" fmla="*/ 3260446 h 3529167"/>
              <a:gd name="connsiteX109" fmla="*/ 3013824 w 12188651"/>
              <a:gd name="connsiteY109" fmla="*/ 3248772 h 3529167"/>
              <a:gd name="connsiteX110" fmla="*/ 3078289 w 12188651"/>
              <a:gd name="connsiteY110" fmla="*/ 3184044 h 3529167"/>
              <a:gd name="connsiteX111" fmla="*/ 3106051 w 12188651"/>
              <a:gd name="connsiteY111" fmla="*/ 3172493 h 3529167"/>
              <a:gd name="connsiteX112" fmla="*/ 3119341 w 12188651"/>
              <a:gd name="connsiteY112" fmla="*/ 3178052 h 3529167"/>
              <a:gd name="connsiteX113" fmla="*/ 3133663 w 12188651"/>
              <a:gd name="connsiteY113" fmla="*/ 3184033 h 3529167"/>
              <a:gd name="connsiteX114" fmla="*/ 3212138 w 12188651"/>
              <a:gd name="connsiteY114" fmla="*/ 3262641 h 3529167"/>
              <a:gd name="connsiteX115" fmla="*/ 3223683 w 12188651"/>
              <a:gd name="connsiteY115" fmla="*/ 3290403 h 3529167"/>
              <a:gd name="connsiteX116" fmla="*/ 3212269 w 12188651"/>
              <a:gd name="connsiteY116" fmla="*/ 3318161 h 3529167"/>
              <a:gd name="connsiteX117" fmla="*/ 3002266 w 12188651"/>
              <a:gd name="connsiteY117" fmla="*/ 3528555 h 3529167"/>
              <a:gd name="connsiteX118" fmla="*/ 2792268 w 12188651"/>
              <a:gd name="connsiteY118" fmla="*/ 3318172 h 3529167"/>
              <a:gd name="connsiteX119" fmla="*/ 2792268 w 12188651"/>
              <a:gd name="connsiteY119" fmla="*/ 3262780 h 3529167"/>
              <a:gd name="connsiteX120" fmla="*/ 2870745 w 12188651"/>
              <a:gd name="connsiteY120" fmla="*/ 3184044 h 3529167"/>
              <a:gd name="connsiteX121" fmla="*/ 844397 w 12188651"/>
              <a:gd name="connsiteY121" fmla="*/ 3172485 h 3529167"/>
              <a:gd name="connsiteX122" fmla="*/ 872137 w 12188651"/>
              <a:gd name="connsiteY122" fmla="*/ 3184024 h 3529167"/>
              <a:gd name="connsiteX123" fmla="*/ 936732 w 12188651"/>
              <a:gd name="connsiteY123" fmla="*/ 3248751 h 3529167"/>
              <a:gd name="connsiteX124" fmla="*/ 948278 w 12188651"/>
              <a:gd name="connsiteY124" fmla="*/ 3260428 h 3529167"/>
              <a:gd name="connsiteX125" fmla="*/ 948285 w 12188651"/>
              <a:gd name="connsiteY125" fmla="*/ 3260419 h 3529167"/>
              <a:gd name="connsiteX126" fmla="*/ 948301 w 12188651"/>
              <a:gd name="connsiteY126" fmla="*/ 3260436 h 3529167"/>
              <a:gd name="connsiteX127" fmla="*/ 959846 w 12188651"/>
              <a:gd name="connsiteY127" fmla="*/ 3248759 h 3529167"/>
              <a:gd name="connsiteX128" fmla="*/ 1024315 w 12188651"/>
              <a:gd name="connsiteY128" fmla="*/ 3184033 h 3529167"/>
              <a:gd name="connsiteX129" fmla="*/ 1052075 w 12188651"/>
              <a:gd name="connsiteY129" fmla="*/ 3172485 h 3529167"/>
              <a:gd name="connsiteX130" fmla="*/ 1079685 w 12188651"/>
              <a:gd name="connsiteY130" fmla="*/ 3184025 h 3529167"/>
              <a:gd name="connsiteX131" fmla="*/ 1158160 w 12188651"/>
              <a:gd name="connsiteY131" fmla="*/ 3262631 h 3529167"/>
              <a:gd name="connsiteX132" fmla="*/ 1169705 w 12188651"/>
              <a:gd name="connsiteY132" fmla="*/ 3290391 h 3529167"/>
              <a:gd name="connsiteX133" fmla="*/ 1158290 w 12188651"/>
              <a:gd name="connsiteY133" fmla="*/ 3318153 h 3529167"/>
              <a:gd name="connsiteX134" fmla="*/ 948288 w 12188651"/>
              <a:gd name="connsiteY134" fmla="*/ 3528552 h 3529167"/>
              <a:gd name="connsiteX135" fmla="*/ 738289 w 12188651"/>
              <a:gd name="connsiteY135" fmla="*/ 3318161 h 3529167"/>
              <a:gd name="connsiteX136" fmla="*/ 738289 w 12188651"/>
              <a:gd name="connsiteY136" fmla="*/ 3262772 h 3529167"/>
              <a:gd name="connsiteX137" fmla="*/ 816766 w 12188651"/>
              <a:gd name="connsiteY137" fmla="*/ 3184033 h 3529167"/>
              <a:gd name="connsiteX138" fmla="*/ 844397 w 12188651"/>
              <a:gd name="connsiteY138" fmla="*/ 3172485 h 3529167"/>
              <a:gd name="connsiteX139" fmla="*/ 11910826 w 12188651"/>
              <a:gd name="connsiteY139" fmla="*/ 2945539 h 3529167"/>
              <a:gd name="connsiteX140" fmla="*/ 12188651 w 12188651"/>
              <a:gd name="connsiteY140" fmla="*/ 3106326 h 3529167"/>
              <a:gd name="connsiteX141" fmla="*/ 12188651 w 12188651"/>
              <a:gd name="connsiteY141" fmla="*/ 3483113 h 3529167"/>
              <a:gd name="connsiteX142" fmla="*/ 12179669 w 12188651"/>
              <a:gd name="connsiteY142" fmla="*/ 3477916 h 3529167"/>
              <a:gd name="connsiteX143" fmla="*/ 11910826 w 12188651"/>
              <a:gd name="connsiteY143" fmla="*/ 3322357 h 3529167"/>
              <a:gd name="connsiteX144" fmla="*/ 11894481 w 12188651"/>
              <a:gd name="connsiteY144" fmla="*/ 2945539 h 3529167"/>
              <a:gd name="connsiteX145" fmla="*/ 11894481 w 12188651"/>
              <a:gd name="connsiteY145" fmla="*/ 3322357 h 3529167"/>
              <a:gd name="connsiteX146" fmla="*/ 11568890 w 12188651"/>
              <a:gd name="connsiteY146" fmla="*/ 3510681 h 3529167"/>
              <a:gd name="connsiteX147" fmla="*/ 11568890 w 12188651"/>
              <a:gd name="connsiteY147" fmla="*/ 3133883 h 3529167"/>
              <a:gd name="connsiteX148" fmla="*/ 9857006 w 12188651"/>
              <a:gd name="connsiteY148" fmla="*/ 2945522 h 3529167"/>
              <a:gd name="connsiteX149" fmla="*/ 10182468 w 12188651"/>
              <a:gd name="connsiteY149" fmla="*/ 3133880 h 3529167"/>
              <a:gd name="connsiteX150" fmla="*/ 10182468 w 12188651"/>
              <a:gd name="connsiteY150" fmla="*/ 3510676 h 3529167"/>
              <a:gd name="connsiteX151" fmla="*/ 9857006 w 12188651"/>
              <a:gd name="connsiteY151" fmla="*/ 3322348 h 3529167"/>
              <a:gd name="connsiteX152" fmla="*/ 9840661 w 12188651"/>
              <a:gd name="connsiteY152" fmla="*/ 2945522 h 3529167"/>
              <a:gd name="connsiteX153" fmla="*/ 9840661 w 12188651"/>
              <a:gd name="connsiteY153" fmla="*/ 3322348 h 3529167"/>
              <a:gd name="connsiteX154" fmla="*/ 9515070 w 12188651"/>
              <a:gd name="connsiteY154" fmla="*/ 3510676 h 3529167"/>
              <a:gd name="connsiteX155" fmla="*/ 9515070 w 12188651"/>
              <a:gd name="connsiteY155" fmla="*/ 3133880 h 3529167"/>
              <a:gd name="connsiteX156" fmla="*/ 7803060 w 12188651"/>
              <a:gd name="connsiteY156" fmla="*/ 2945507 h 3529167"/>
              <a:gd name="connsiteX157" fmla="*/ 8128521 w 12188651"/>
              <a:gd name="connsiteY157" fmla="*/ 3133865 h 3529167"/>
              <a:gd name="connsiteX158" fmla="*/ 8128521 w 12188651"/>
              <a:gd name="connsiteY158" fmla="*/ 3510673 h 3529167"/>
              <a:gd name="connsiteX159" fmla="*/ 7803060 w 12188651"/>
              <a:gd name="connsiteY159" fmla="*/ 3322337 h 3529167"/>
              <a:gd name="connsiteX160" fmla="*/ 7786715 w 12188651"/>
              <a:gd name="connsiteY160" fmla="*/ 2945507 h 3529167"/>
              <a:gd name="connsiteX161" fmla="*/ 7786715 w 12188651"/>
              <a:gd name="connsiteY161" fmla="*/ 3322337 h 3529167"/>
              <a:gd name="connsiteX162" fmla="*/ 7461125 w 12188651"/>
              <a:gd name="connsiteY162" fmla="*/ 3510673 h 3529167"/>
              <a:gd name="connsiteX163" fmla="*/ 7461125 w 12188651"/>
              <a:gd name="connsiteY163" fmla="*/ 3133865 h 3529167"/>
              <a:gd name="connsiteX164" fmla="*/ 5732923 w 12188651"/>
              <a:gd name="connsiteY164" fmla="*/ 2945499 h 3529167"/>
              <a:gd name="connsiteX165" fmla="*/ 5732923 w 12188651"/>
              <a:gd name="connsiteY165" fmla="*/ 3322330 h 3529167"/>
              <a:gd name="connsiteX166" fmla="*/ 5407352 w 12188651"/>
              <a:gd name="connsiteY166" fmla="*/ 3510667 h 3529167"/>
              <a:gd name="connsiteX167" fmla="*/ 5407352 w 12188651"/>
              <a:gd name="connsiteY167" fmla="*/ 3133857 h 3529167"/>
              <a:gd name="connsiteX168" fmla="*/ 5749264 w 12188651"/>
              <a:gd name="connsiteY168" fmla="*/ 2945497 h 3529167"/>
              <a:gd name="connsiteX169" fmla="*/ 6074705 w 12188651"/>
              <a:gd name="connsiteY169" fmla="*/ 3133857 h 3529167"/>
              <a:gd name="connsiteX170" fmla="*/ 6074705 w 12188651"/>
              <a:gd name="connsiteY170" fmla="*/ 3510669 h 3529167"/>
              <a:gd name="connsiteX171" fmla="*/ 6000145 w 12188651"/>
              <a:gd name="connsiteY171" fmla="*/ 3467515 h 3529167"/>
              <a:gd name="connsiteX172" fmla="*/ 5878454 w 12188651"/>
              <a:gd name="connsiteY172" fmla="*/ 3397098 h 3529167"/>
              <a:gd name="connsiteX173" fmla="*/ 5749264 w 12188651"/>
              <a:gd name="connsiteY173" fmla="*/ 3322330 h 3529167"/>
              <a:gd name="connsiteX174" fmla="*/ 3679140 w 12188651"/>
              <a:gd name="connsiteY174" fmla="*/ 2945490 h 3529167"/>
              <a:gd name="connsiteX175" fmla="*/ 3679140 w 12188651"/>
              <a:gd name="connsiteY175" fmla="*/ 3322322 h 3529167"/>
              <a:gd name="connsiteX176" fmla="*/ 3353560 w 12188651"/>
              <a:gd name="connsiteY176" fmla="*/ 3510663 h 3529167"/>
              <a:gd name="connsiteX177" fmla="*/ 3353560 w 12188651"/>
              <a:gd name="connsiteY177" fmla="*/ 3133842 h 3529167"/>
              <a:gd name="connsiteX178" fmla="*/ 3695488 w 12188651"/>
              <a:gd name="connsiteY178" fmla="*/ 2945487 h 3529167"/>
              <a:gd name="connsiteX179" fmla="*/ 3801286 w 12188651"/>
              <a:gd name="connsiteY179" fmla="*/ 3006724 h 3529167"/>
              <a:gd name="connsiteX180" fmla="*/ 4009955 w 12188651"/>
              <a:gd name="connsiteY180" fmla="*/ 3127481 h 3529167"/>
              <a:gd name="connsiteX181" fmla="*/ 4020941 w 12188651"/>
              <a:gd name="connsiteY181" fmla="*/ 3133840 h 3529167"/>
              <a:gd name="connsiteX182" fmla="*/ 4020941 w 12188651"/>
              <a:gd name="connsiteY182" fmla="*/ 3510665 h 3529167"/>
              <a:gd name="connsiteX183" fmla="*/ 3719511 w 12188651"/>
              <a:gd name="connsiteY183" fmla="*/ 3336225 h 3529167"/>
              <a:gd name="connsiteX184" fmla="*/ 3695488 w 12188651"/>
              <a:gd name="connsiteY184" fmla="*/ 3322325 h 3529167"/>
              <a:gd name="connsiteX185" fmla="*/ 1625162 w 12188651"/>
              <a:gd name="connsiteY185" fmla="*/ 2945478 h 3529167"/>
              <a:gd name="connsiteX186" fmla="*/ 1625162 w 12188651"/>
              <a:gd name="connsiteY186" fmla="*/ 3322313 h 3529167"/>
              <a:gd name="connsiteX187" fmla="*/ 1299579 w 12188651"/>
              <a:gd name="connsiteY187" fmla="*/ 3510659 h 3529167"/>
              <a:gd name="connsiteX188" fmla="*/ 1299579 w 12188651"/>
              <a:gd name="connsiteY188" fmla="*/ 3133831 h 3529167"/>
              <a:gd name="connsiteX189" fmla="*/ 1641512 w 12188651"/>
              <a:gd name="connsiteY189" fmla="*/ 2945475 h 3529167"/>
              <a:gd name="connsiteX190" fmla="*/ 1828330 w 12188651"/>
              <a:gd name="connsiteY190" fmla="*/ 3053589 h 3529167"/>
              <a:gd name="connsiteX191" fmla="*/ 1966968 w 12188651"/>
              <a:gd name="connsiteY191" fmla="*/ 3133829 h 3529167"/>
              <a:gd name="connsiteX192" fmla="*/ 1966968 w 12188651"/>
              <a:gd name="connsiteY192" fmla="*/ 3510659 h 3529167"/>
              <a:gd name="connsiteX193" fmla="*/ 1641512 w 12188651"/>
              <a:gd name="connsiteY193" fmla="*/ 3322313 h 3529167"/>
              <a:gd name="connsiteX194" fmla="*/ 10532576 w 12188651"/>
              <a:gd name="connsiteY194" fmla="*/ 2940723 h 3529167"/>
              <a:gd name="connsiteX195" fmla="*/ 10866339 w 12188651"/>
              <a:gd name="connsiteY195" fmla="*/ 3133880 h 3529167"/>
              <a:gd name="connsiteX196" fmla="*/ 10866339 w 12188651"/>
              <a:gd name="connsiteY196" fmla="*/ 3520144 h 3529167"/>
              <a:gd name="connsiteX197" fmla="*/ 10850754 w 12188651"/>
              <a:gd name="connsiteY197" fmla="*/ 3529167 h 3529167"/>
              <a:gd name="connsiteX198" fmla="*/ 10214532 w 12188651"/>
              <a:gd name="connsiteY198" fmla="*/ 3529167 h 3529167"/>
              <a:gd name="connsiteX199" fmla="*/ 10198941 w 12188651"/>
              <a:gd name="connsiteY199" fmla="*/ 3520144 h 3529167"/>
              <a:gd name="connsiteX200" fmla="*/ 10198941 w 12188651"/>
              <a:gd name="connsiteY200" fmla="*/ 3133880 h 3529167"/>
              <a:gd name="connsiteX201" fmla="*/ 8478628 w 12188651"/>
              <a:gd name="connsiteY201" fmla="*/ 2940707 h 3529167"/>
              <a:gd name="connsiteX202" fmla="*/ 8812392 w 12188651"/>
              <a:gd name="connsiteY202" fmla="*/ 3133865 h 3529167"/>
              <a:gd name="connsiteX203" fmla="*/ 8812392 w 12188651"/>
              <a:gd name="connsiteY203" fmla="*/ 3520144 h 3529167"/>
              <a:gd name="connsiteX204" fmla="*/ 8796806 w 12188651"/>
              <a:gd name="connsiteY204" fmla="*/ 3529167 h 3529167"/>
              <a:gd name="connsiteX205" fmla="*/ 8160587 w 12188651"/>
              <a:gd name="connsiteY205" fmla="*/ 3529167 h 3529167"/>
              <a:gd name="connsiteX206" fmla="*/ 8144995 w 12188651"/>
              <a:gd name="connsiteY206" fmla="*/ 3520144 h 3529167"/>
              <a:gd name="connsiteX207" fmla="*/ 8144995 w 12188651"/>
              <a:gd name="connsiteY207" fmla="*/ 3133865 h 3529167"/>
              <a:gd name="connsiteX208" fmla="*/ 6424810 w 12188651"/>
              <a:gd name="connsiteY208" fmla="*/ 2940696 h 3529167"/>
              <a:gd name="connsiteX209" fmla="*/ 6758573 w 12188651"/>
              <a:gd name="connsiteY209" fmla="*/ 3133857 h 3529167"/>
              <a:gd name="connsiteX210" fmla="*/ 6758573 w 12188651"/>
              <a:gd name="connsiteY210" fmla="*/ 3520138 h 3529167"/>
              <a:gd name="connsiteX211" fmla="*/ 6742978 w 12188651"/>
              <a:gd name="connsiteY211" fmla="*/ 3529167 h 3529167"/>
              <a:gd name="connsiteX212" fmla="*/ 6106781 w 12188651"/>
              <a:gd name="connsiteY212" fmla="*/ 3529167 h 3529167"/>
              <a:gd name="connsiteX213" fmla="*/ 6091179 w 12188651"/>
              <a:gd name="connsiteY213" fmla="*/ 3520138 h 3529167"/>
              <a:gd name="connsiteX214" fmla="*/ 6091179 w 12188651"/>
              <a:gd name="connsiteY214" fmla="*/ 3133857 h 3529167"/>
              <a:gd name="connsiteX215" fmla="*/ 4371020 w 12188651"/>
              <a:gd name="connsiteY215" fmla="*/ 2940688 h 3529167"/>
              <a:gd name="connsiteX216" fmla="*/ 4704773 w 12188651"/>
              <a:gd name="connsiteY216" fmla="*/ 3133840 h 3529167"/>
              <a:gd name="connsiteX217" fmla="*/ 4704773 w 12188651"/>
              <a:gd name="connsiteY217" fmla="*/ 3520136 h 3529167"/>
              <a:gd name="connsiteX218" fmla="*/ 4689174 w 12188651"/>
              <a:gd name="connsiteY218" fmla="*/ 3529167 h 3529167"/>
              <a:gd name="connsiteX219" fmla="*/ 4053028 w 12188651"/>
              <a:gd name="connsiteY219" fmla="*/ 3529167 h 3529167"/>
              <a:gd name="connsiteX220" fmla="*/ 4037424 w 12188651"/>
              <a:gd name="connsiteY220" fmla="*/ 3520136 h 3529167"/>
              <a:gd name="connsiteX221" fmla="*/ 4037424 w 12188651"/>
              <a:gd name="connsiteY221" fmla="*/ 3133842 h 3529167"/>
              <a:gd name="connsiteX222" fmla="*/ 2317088 w 12188651"/>
              <a:gd name="connsiteY222" fmla="*/ 2940676 h 3529167"/>
              <a:gd name="connsiteX223" fmla="*/ 2650840 w 12188651"/>
              <a:gd name="connsiteY223" fmla="*/ 3133829 h 3529167"/>
              <a:gd name="connsiteX224" fmla="*/ 2650840 w 12188651"/>
              <a:gd name="connsiteY224" fmla="*/ 3520133 h 3529167"/>
              <a:gd name="connsiteX225" fmla="*/ 2635236 w 12188651"/>
              <a:gd name="connsiteY225" fmla="*/ 3529167 h 3529167"/>
              <a:gd name="connsiteX226" fmla="*/ 1999061 w 12188651"/>
              <a:gd name="connsiteY226" fmla="*/ 3529167 h 3529167"/>
              <a:gd name="connsiteX227" fmla="*/ 1983450 w 12188651"/>
              <a:gd name="connsiteY227" fmla="*/ 3520133 h 3529167"/>
              <a:gd name="connsiteX228" fmla="*/ 1983450 w 12188651"/>
              <a:gd name="connsiteY228" fmla="*/ 3133831 h 3529167"/>
              <a:gd name="connsiteX229" fmla="*/ 263242 w 12188651"/>
              <a:gd name="connsiteY229" fmla="*/ 2940664 h 3529167"/>
              <a:gd name="connsiteX230" fmla="*/ 596998 w 12188651"/>
              <a:gd name="connsiteY230" fmla="*/ 3133814 h 3529167"/>
              <a:gd name="connsiteX231" fmla="*/ 596998 w 12188651"/>
              <a:gd name="connsiteY231" fmla="*/ 3520129 h 3529167"/>
              <a:gd name="connsiteX232" fmla="*/ 581387 w 12188651"/>
              <a:gd name="connsiteY232" fmla="*/ 3529167 h 3529167"/>
              <a:gd name="connsiteX233" fmla="*/ 0 w 12188651"/>
              <a:gd name="connsiteY233" fmla="*/ 3529167 h 3529167"/>
              <a:gd name="connsiteX234" fmla="*/ 0 w 12188651"/>
              <a:gd name="connsiteY234" fmla="*/ 3093067 h 3529167"/>
              <a:gd name="connsiteX235" fmla="*/ 11217614 w 12188651"/>
              <a:gd name="connsiteY235" fmla="*/ 2940473 h 3529167"/>
              <a:gd name="connsiteX236" fmla="*/ 11551377 w 12188651"/>
              <a:gd name="connsiteY236" fmla="*/ 3133625 h 3529167"/>
              <a:gd name="connsiteX237" fmla="*/ 11551377 w 12188651"/>
              <a:gd name="connsiteY237" fmla="*/ 3519758 h 3529167"/>
              <a:gd name="connsiteX238" fmla="*/ 11535118 w 12188651"/>
              <a:gd name="connsiteY238" fmla="*/ 3529167 h 3529167"/>
              <a:gd name="connsiteX239" fmla="*/ 11240330 w 12188651"/>
              <a:gd name="connsiteY239" fmla="*/ 3529167 h 3529167"/>
              <a:gd name="connsiteX240" fmla="*/ 11439301 w 12188651"/>
              <a:gd name="connsiteY240" fmla="*/ 3329751 h 3529167"/>
              <a:gd name="connsiteX241" fmla="*/ 11455548 w 12188651"/>
              <a:gd name="connsiteY241" fmla="*/ 3290449 h 3529167"/>
              <a:gd name="connsiteX242" fmla="*/ 11455546 w 12188651"/>
              <a:gd name="connsiteY242" fmla="*/ 3290444 h 3529167"/>
              <a:gd name="connsiteX243" fmla="*/ 11455548 w 12188651"/>
              <a:gd name="connsiteY243" fmla="*/ 3290444 h 3529167"/>
              <a:gd name="connsiteX244" fmla="*/ 11439301 w 12188651"/>
              <a:gd name="connsiteY244" fmla="*/ 3251138 h 3529167"/>
              <a:gd name="connsiteX245" fmla="*/ 11360822 w 12188651"/>
              <a:gd name="connsiteY245" fmla="*/ 3172530 h 3529167"/>
              <a:gd name="connsiteX246" fmla="*/ 11321647 w 12188651"/>
              <a:gd name="connsiteY246" fmla="*/ 3156189 h 3529167"/>
              <a:gd name="connsiteX247" fmla="*/ 11321517 w 12188651"/>
              <a:gd name="connsiteY247" fmla="*/ 3156060 h 3529167"/>
              <a:gd name="connsiteX248" fmla="*/ 11282213 w 12188651"/>
              <a:gd name="connsiteY248" fmla="*/ 3172530 h 3529167"/>
              <a:gd name="connsiteX249" fmla="*/ 11217744 w 12188651"/>
              <a:gd name="connsiteY249" fmla="*/ 3237128 h 3529167"/>
              <a:gd name="connsiteX250" fmla="*/ 11153145 w 12188651"/>
              <a:gd name="connsiteY250" fmla="*/ 3172394 h 3529167"/>
              <a:gd name="connsiteX251" fmla="*/ 11113840 w 12188651"/>
              <a:gd name="connsiteY251" fmla="*/ 3156060 h 3529167"/>
              <a:gd name="connsiteX252" fmla="*/ 11074665 w 12188651"/>
              <a:gd name="connsiteY252" fmla="*/ 3172394 h 3529167"/>
              <a:gd name="connsiteX253" fmla="*/ 10996186 w 12188651"/>
              <a:gd name="connsiteY253" fmla="*/ 3251138 h 3529167"/>
              <a:gd name="connsiteX254" fmla="*/ 10979939 w 12188651"/>
              <a:gd name="connsiteY254" fmla="*/ 3290444 h 3529167"/>
              <a:gd name="connsiteX255" fmla="*/ 10979941 w 12188651"/>
              <a:gd name="connsiteY255" fmla="*/ 3290444 h 3529167"/>
              <a:gd name="connsiteX256" fmla="*/ 10979939 w 12188651"/>
              <a:gd name="connsiteY256" fmla="*/ 3290449 h 3529167"/>
              <a:gd name="connsiteX257" fmla="*/ 10996186 w 12188651"/>
              <a:gd name="connsiteY257" fmla="*/ 3329751 h 3529167"/>
              <a:gd name="connsiteX258" fmla="*/ 11195158 w 12188651"/>
              <a:gd name="connsiteY258" fmla="*/ 3529167 h 3529167"/>
              <a:gd name="connsiteX259" fmla="*/ 10900110 w 12188651"/>
              <a:gd name="connsiteY259" fmla="*/ 3529167 h 3529167"/>
              <a:gd name="connsiteX260" fmla="*/ 10883851 w 12188651"/>
              <a:gd name="connsiteY260" fmla="*/ 3519758 h 3529167"/>
              <a:gd name="connsiteX261" fmla="*/ 10883851 w 12188651"/>
              <a:gd name="connsiteY261" fmla="*/ 3133625 h 3529167"/>
              <a:gd name="connsiteX262" fmla="*/ 9163666 w 12188651"/>
              <a:gd name="connsiteY262" fmla="*/ 2940462 h 3529167"/>
              <a:gd name="connsiteX263" fmla="*/ 9497429 w 12188651"/>
              <a:gd name="connsiteY263" fmla="*/ 3133615 h 3529167"/>
              <a:gd name="connsiteX264" fmla="*/ 9497429 w 12188651"/>
              <a:gd name="connsiteY264" fmla="*/ 3519754 h 3529167"/>
              <a:gd name="connsiteX265" fmla="*/ 9481164 w 12188651"/>
              <a:gd name="connsiteY265" fmla="*/ 3529167 h 3529167"/>
              <a:gd name="connsiteX266" fmla="*/ 9186377 w 12188651"/>
              <a:gd name="connsiteY266" fmla="*/ 3529167 h 3529167"/>
              <a:gd name="connsiteX267" fmla="*/ 9385353 w 12188651"/>
              <a:gd name="connsiteY267" fmla="*/ 3329746 h 3529167"/>
              <a:gd name="connsiteX268" fmla="*/ 9401600 w 12188651"/>
              <a:gd name="connsiteY268" fmla="*/ 3290444 h 3529167"/>
              <a:gd name="connsiteX269" fmla="*/ 9401599 w 12188651"/>
              <a:gd name="connsiteY269" fmla="*/ 3290436 h 3529167"/>
              <a:gd name="connsiteX270" fmla="*/ 9401601 w 12188651"/>
              <a:gd name="connsiteY270" fmla="*/ 3290430 h 3529167"/>
              <a:gd name="connsiteX271" fmla="*/ 9385354 w 12188651"/>
              <a:gd name="connsiteY271" fmla="*/ 3251125 h 3529167"/>
              <a:gd name="connsiteX272" fmla="*/ 9306876 w 12188651"/>
              <a:gd name="connsiteY272" fmla="*/ 3172523 h 3529167"/>
              <a:gd name="connsiteX273" fmla="*/ 9267701 w 12188651"/>
              <a:gd name="connsiteY273" fmla="*/ 3156175 h 3529167"/>
              <a:gd name="connsiteX274" fmla="*/ 9267571 w 12188651"/>
              <a:gd name="connsiteY274" fmla="*/ 3156047 h 3529167"/>
              <a:gd name="connsiteX275" fmla="*/ 9228266 w 12188651"/>
              <a:gd name="connsiteY275" fmla="*/ 3172523 h 3529167"/>
              <a:gd name="connsiteX276" fmla="*/ 9163797 w 12188651"/>
              <a:gd name="connsiteY276" fmla="*/ 3237116 h 3529167"/>
              <a:gd name="connsiteX277" fmla="*/ 9099198 w 12188651"/>
              <a:gd name="connsiteY277" fmla="*/ 3172391 h 3529167"/>
              <a:gd name="connsiteX278" fmla="*/ 9059893 w 12188651"/>
              <a:gd name="connsiteY278" fmla="*/ 3156047 h 3529167"/>
              <a:gd name="connsiteX279" fmla="*/ 9020718 w 12188651"/>
              <a:gd name="connsiteY279" fmla="*/ 3172391 h 3529167"/>
              <a:gd name="connsiteX280" fmla="*/ 8942239 w 12188651"/>
              <a:gd name="connsiteY280" fmla="*/ 3251125 h 3529167"/>
              <a:gd name="connsiteX281" fmla="*/ 8925992 w 12188651"/>
              <a:gd name="connsiteY281" fmla="*/ 3290430 h 3529167"/>
              <a:gd name="connsiteX282" fmla="*/ 8925993 w 12188651"/>
              <a:gd name="connsiteY282" fmla="*/ 3290435 h 3529167"/>
              <a:gd name="connsiteX283" fmla="*/ 8925991 w 12188651"/>
              <a:gd name="connsiteY283" fmla="*/ 3290444 h 3529167"/>
              <a:gd name="connsiteX284" fmla="*/ 8942238 w 12188651"/>
              <a:gd name="connsiteY284" fmla="*/ 3329746 h 3529167"/>
              <a:gd name="connsiteX285" fmla="*/ 9141215 w 12188651"/>
              <a:gd name="connsiteY285" fmla="*/ 3529167 h 3529167"/>
              <a:gd name="connsiteX286" fmla="*/ 8846170 w 12188651"/>
              <a:gd name="connsiteY286" fmla="*/ 3529167 h 3529167"/>
              <a:gd name="connsiteX287" fmla="*/ 8829903 w 12188651"/>
              <a:gd name="connsiteY287" fmla="*/ 3519753 h 3529167"/>
              <a:gd name="connsiteX288" fmla="*/ 8829903 w 12188651"/>
              <a:gd name="connsiteY288" fmla="*/ 3133615 h 3529167"/>
              <a:gd name="connsiteX289" fmla="*/ 7109850 w 12188651"/>
              <a:gd name="connsiteY289" fmla="*/ 2940450 h 3529167"/>
              <a:gd name="connsiteX290" fmla="*/ 7443613 w 12188651"/>
              <a:gd name="connsiteY290" fmla="*/ 3133605 h 3529167"/>
              <a:gd name="connsiteX291" fmla="*/ 7443613 w 12188651"/>
              <a:gd name="connsiteY291" fmla="*/ 3519749 h 3529167"/>
              <a:gd name="connsiteX292" fmla="*/ 7427339 w 12188651"/>
              <a:gd name="connsiteY292" fmla="*/ 3529167 h 3529167"/>
              <a:gd name="connsiteX293" fmla="*/ 7132555 w 12188651"/>
              <a:gd name="connsiteY293" fmla="*/ 3529167 h 3529167"/>
              <a:gd name="connsiteX294" fmla="*/ 7331537 w 12188651"/>
              <a:gd name="connsiteY294" fmla="*/ 3329734 h 3529167"/>
              <a:gd name="connsiteX295" fmla="*/ 7347783 w 12188651"/>
              <a:gd name="connsiteY295" fmla="*/ 3290430 h 3529167"/>
              <a:gd name="connsiteX296" fmla="*/ 7347782 w 12188651"/>
              <a:gd name="connsiteY296" fmla="*/ 3290428 h 3529167"/>
              <a:gd name="connsiteX297" fmla="*/ 7347783 w 12188651"/>
              <a:gd name="connsiteY297" fmla="*/ 3290423 h 3529167"/>
              <a:gd name="connsiteX298" fmla="*/ 7331537 w 12188651"/>
              <a:gd name="connsiteY298" fmla="*/ 3251119 h 3529167"/>
              <a:gd name="connsiteX299" fmla="*/ 7253057 w 12188651"/>
              <a:gd name="connsiteY299" fmla="*/ 3172509 h 3529167"/>
              <a:gd name="connsiteX300" fmla="*/ 7213882 w 12188651"/>
              <a:gd name="connsiteY300" fmla="*/ 3156164 h 3529167"/>
              <a:gd name="connsiteX301" fmla="*/ 7213751 w 12188651"/>
              <a:gd name="connsiteY301" fmla="*/ 3156035 h 3529167"/>
              <a:gd name="connsiteX302" fmla="*/ 7174449 w 12188651"/>
              <a:gd name="connsiteY302" fmla="*/ 3172509 h 3529167"/>
              <a:gd name="connsiteX303" fmla="*/ 7109978 w 12188651"/>
              <a:gd name="connsiteY303" fmla="*/ 3237109 h 3529167"/>
              <a:gd name="connsiteX304" fmla="*/ 7045379 w 12188651"/>
              <a:gd name="connsiteY304" fmla="*/ 3172384 h 3529167"/>
              <a:gd name="connsiteX305" fmla="*/ 7006076 w 12188651"/>
              <a:gd name="connsiteY305" fmla="*/ 3156035 h 3529167"/>
              <a:gd name="connsiteX306" fmla="*/ 6966901 w 12188651"/>
              <a:gd name="connsiteY306" fmla="*/ 3172384 h 3529167"/>
              <a:gd name="connsiteX307" fmla="*/ 6888421 w 12188651"/>
              <a:gd name="connsiteY307" fmla="*/ 3251119 h 3529167"/>
              <a:gd name="connsiteX308" fmla="*/ 6872174 w 12188651"/>
              <a:gd name="connsiteY308" fmla="*/ 3290423 h 3529167"/>
              <a:gd name="connsiteX309" fmla="*/ 6872175 w 12188651"/>
              <a:gd name="connsiteY309" fmla="*/ 3290428 h 3529167"/>
              <a:gd name="connsiteX310" fmla="*/ 6872174 w 12188651"/>
              <a:gd name="connsiteY310" fmla="*/ 3290430 h 3529167"/>
              <a:gd name="connsiteX311" fmla="*/ 6888421 w 12188651"/>
              <a:gd name="connsiteY311" fmla="*/ 3329734 h 3529167"/>
              <a:gd name="connsiteX312" fmla="*/ 7087402 w 12188651"/>
              <a:gd name="connsiteY312" fmla="*/ 3529167 h 3529167"/>
              <a:gd name="connsiteX313" fmla="*/ 6792359 w 12188651"/>
              <a:gd name="connsiteY313" fmla="*/ 3529167 h 3529167"/>
              <a:gd name="connsiteX314" fmla="*/ 6776085 w 12188651"/>
              <a:gd name="connsiteY314" fmla="*/ 3519749 h 3529167"/>
              <a:gd name="connsiteX315" fmla="*/ 6776085 w 12188651"/>
              <a:gd name="connsiteY315" fmla="*/ 3133605 h 3529167"/>
              <a:gd name="connsiteX316" fmla="*/ 5055965 w 12188651"/>
              <a:gd name="connsiteY316" fmla="*/ 2940439 h 3529167"/>
              <a:gd name="connsiteX317" fmla="*/ 5389690 w 12188651"/>
              <a:gd name="connsiteY317" fmla="*/ 3133585 h 3529167"/>
              <a:gd name="connsiteX318" fmla="*/ 5389690 w 12188651"/>
              <a:gd name="connsiteY318" fmla="*/ 3519747 h 3529167"/>
              <a:gd name="connsiteX319" fmla="*/ 5373414 w 12188651"/>
              <a:gd name="connsiteY319" fmla="*/ 3529167 h 3529167"/>
              <a:gd name="connsiteX320" fmla="*/ 5078658 w 12188651"/>
              <a:gd name="connsiteY320" fmla="*/ 3529167 h 3529167"/>
              <a:gd name="connsiteX321" fmla="*/ 5277615 w 12188651"/>
              <a:gd name="connsiteY321" fmla="*/ 3329725 h 3529167"/>
              <a:gd name="connsiteX322" fmla="*/ 5277615 w 12188651"/>
              <a:gd name="connsiteY322" fmla="*/ 3251119 h 3529167"/>
              <a:gd name="connsiteX323" fmla="*/ 5277613 w 12188651"/>
              <a:gd name="connsiteY323" fmla="*/ 3251108 h 3529167"/>
              <a:gd name="connsiteX324" fmla="*/ 5277613 w 12188651"/>
              <a:gd name="connsiteY324" fmla="*/ 3251103 h 3529167"/>
              <a:gd name="connsiteX325" fmla="*/ 5199129 w 12188651"/>
              <a:gd name="connsiteY325" fmla="*/ 3172495 h 3529167"/>
              <a:gd name="connsiteX326" fmla="*/ 5159958 w 12188651"/>
              <a:gd name="connsiteY326" fmla="*/ 3156152 h 3529167"/>
              <a:gd name="connsiteX327" fmla="*/ 5159824 w 12188651"/>
              <a:gd name="connsiteY327" fmla="*/ 3156022 h 3529167"/>
              <a:gd name="connsiteX328" fmla="*/ 5120536 w 12188651"/>
              <a:gd name="connsiteY328" fmla="*/ 3172495 h 3529167"/>
              <a:gd name="connsiteX329" fmla="*/ 5056083 w 12188651"/>
              <a:gd name="connsiteY329" fmla="*/ 3237093 h 3529167"/>
              <a:gd name="connsiteX330" fmla="*/ 4991467 w 12188651"/>
              <a:gd name="connsiteY330" fmla="*/ 3172384 h 3529167"/>
              <a:gd name="connsiteX331" fmla="*/ 4991467 w 12188651"/>
              <a:gd name="connsiteY331" fmla="*/ 3172377 h 3529167"/>
              <a:gd name="connsiteX332" fmla="*/ 4991465 w 12188651"/>
              <a:gd name="connsiteY332" fmla="*/ 3172369 h 3529167"/>
              <a:gd name="connsiteX333" fmla="*/ 4952148 w 12188651"/>
              <a:gd name="connsiteY333" fmla="*/ 3156022 h 3529167"/>
              <a:gd name="connsiteX334" fmla="*/ 4912971 w 12188651"/>
              <a:gd name="connsiteY334" fmla="*/ 3172369 h 3529167"/>
              <a:gd name="connsiteX335" fmla="*/ 4834497 w 12188651"/>
              <a:gd name="connsiteY335" fmla="*/ 3251103 h 3529167"/>
              <a:gd name="connsiteX336" fmla="*/ 4834497 w 12188651"/>
              <a:gd name="connsiteY336" fmla="*/ 3329715 h 3529167"/>
              <a:gd name="connsiteX337" fmla="*/ 4834505 w 12188651"/>
              <a:gd name="connsiteY337" fmla="*/ 3329725 h 3529167"/>
              <a:gd name="connsiteX338" fmla="*/ 4843779 w 12188651"/>
              <a:gd name="connsiteY338" fmla="*/ 3339026 h 3529167"/>
              <a:gd name="connsiteX339" fmla="*/ 5033513 w 12188651"/>
              <a:gd name="connsiteY339" fmla="*/ 3529167 h 3529167"/>
              <a:gd name="connsiteX340" fmla="*/ 4738451 w 12188651"/>
              <a:gd name="connsiteY340" fmla="*/ 3529167 h 3529167"/>
              <a:gd name="connsiteX341" fmla="*/ 4722175 w 12188651"/>
              <a:gd name="connsiteY341" fmla="*/ 3519749 h 3529167"/>
              <a:gd name="connsiteX342" fmla="*/ 4722175 w 12188651"/>
              <a:gd name="connsiteY342" fmla="*/ 3133594 h 3529167"/>
              <a:gd name="connsiteX343" fmla="*/ 3002150 w 12188651"/>
              <a:gd name="connsiteY343" fmla="*/ 2940429 h 3529167"/>
              <a:gd name="connsiteX344" fmla="*/ 3335888 w 12188651"/>
              <a:gd name="connsiteY344" fmla="*/ 3133567 h 3529167"/>
              <a:gd name="connsiteX345" fmla="*/ 3335888 w 12188651"/>
              <a:gd name="connsiteY345" fmla="*/ 3519745 h 3529167"/>
              <a:gd name="connsiteX346" fmla="*/ 3319607 w 12188651"/>
              <a:gd name="connsiteY346" fmla="*/ 3529167 h 3529167"/>
              <a:gd name="connsiteX347" fmla="*/ 3024845 w 12188651"/>
              <a:gd name="connsiteY347" fmla="*/ 3529167 h 3529167"/>
              <a:gd name="connsiteX348" fmla="*/ 3223834 w 12188651"/>
              <a:gd name="connsiteY348" fmla="*/ 3329715 h 3529167"/>
              <a:gd name="connsiteX349" fmla="*/ 3223834 w 12188651"/>
              <a:gd name="connsiteY349" fmla="*/ 3251103 h 3529167"/>
              <a:gd name="connsiteX350" fmla="*/ 3145357 w 12188651"/>
              <a:gd name="connsiteY350" fmla="*/ 3172493 h 3529167"/>
              <a:gd name="connsiteX351" fmla="*/ 3126986 w 12188651"/>
              <a:gd name="connsiteY351" fmla="*/ 3160235 h 3529167"/>
              <a:gd name="connsiteX352" fmla="*/ 3126973 w 12188651"/>
              <a:gd name="connsiteY352" fmla="*/ 3160230 h 3529167"/>
              <a:gd name="connsiteX353" fmla="*/ 3126963 w 12188651"/>
              <a:gd name="connsiteY353" fmla="*/ 3160226 h 3529167"/>
              <a:gd name="connsiteX354" fmla="*/ 3106177 w 12188651"/>
              <a:gd name="connsiteY354" fmla="*/ 3156144 h 3529167"/>
              <a:gd name="connsiteX355" fmla="*/ 3106053 w 12188651"/>
              <a:gd name="connsiteY355" fmla="*/ 3156022 h 3529167"/>
              <a:gd name="connsiteX356" fmla="*/ 3106044 w 12188651"/>
              <a:gd name="connsiteY356" fmla="*/ 3156025 h 3529167"/>
              <a:gd name="connsiteX357" fmla="*/ 3106028 w 12188651"/>
              <a:gd name="connsiteY357" fmla="*/ 3156014 h 3529167"/>
              <a:gd name="connsiteX358" fmla="*/ 3066725 w 12188651"/>
              <a:gd name="connsiteY358" fmla="*/ 3172485 h 3529167"/>
              <a:gd name="connsiteX359" fmla="*/ 3002263 w 12188651"/>
              <a:gd name="connsiteY359" fmla="*/ 3237081 h 3529167"/>
              <a:gd name="connsiteX360" fmla="*/ 2937680 w 12188651"/>
              <a:gd name="connsiteY360" fmla="*/ 3172367 h 3529167"/>
              <a:gd name="connsiteX361" fmla="*/ 2919293 w 12188651"/>
              <a:gd name="connsiteY361" fmla="*/ 3160108 h 3529167"/>
              <a:gd name="connsiteX362" fmla="*/ 2919279 w 12188651"/>
              <a:gd name="connsiteY362" fmla="*/ 3160106 h 3529167"/>
              <a:gd name="connsiteX363" fmla="*/ 2919268 w 12188651"/>
              <a:gd name="connsiteY363" fmla="*/ 3160101 h 3529167"/>
              <a:gd name="connsiteX364" fmla="*/ 2898351 w 12188651"/>
              <a:gd name="connsiteY364" fmla="*/ 3156014 h 3529167"/>
              <a:gd name="connsiteX365" fmla="*/ 2859177 w 12188651"/>
              <a:gd name="connsiteY365" fmla="*/ 3172357 h 3529167"/>
              <a:gd name="connsiteX366" fmla="*/ 2780697 w 12188651"/>
              <a:gd name="connsiteY366" fmla="*/ 3251097 h 3529167"/>
              <a:gd name="connsiteX367" fmla="*/ 2780697 w 12188651"/>
              <a:gd name="connsiteY367" fmla="*/ 3329707 h 3529167"/>
              <a:gd name="connsiteX368" fmla="*/ 2979691 w 12188651"/>
              <a:gd name="connsiteY368" fmla="*/ 3529167 h 3529167"/>
              <a:gd name="connsiteX369" fmla="*/ 2684667 w 12188651"/>
              <a:gd name="connsiteY369" fmla="*/ 3529167 h 3529167"/>
              <a:gd name="connsiteX370" fmla="*/ 2668389 w 12188651"/>
              <a:gd name="connsiteY370" fmla="*/ 3519747 h 3529167"/>
              <a:gd name="connsiteX371" fmla="*/ 2668389 w 12188651"/>
              <a:gd name="connsiteY371" fmla="*/ 3133585 h 3529167"/>
              <a:gd name="connsiteX372" fmla="*/ 948172 w 12188651"/>
              <a:gd name="connsiteY372" fmla="*/ 2940415 h 3529167"/>
              <a:gd name="connsiteX373" fmla="*/ 1281911 w 12188651"/>
              <a:gd name="connsiteY373" fmla="*/ 3133560 h 3529167"/>
              <a:gd name="connsiteX374" fmla="*/ 1281911 w 12188651"/>
              <a:gd name="connsiteY374" fmla="*/ 3519738 h 3529167"/>
              <a:gd name="connsiteX375" fmla="*/ 1265618 w 12188651"/>
              <a:gd name="connsiteY375" fmla="*/ 3529167 h 3529167"/>
              <a:gd name="connsiteX376" fmla="*/ 970866 w 12188651"/>
              <a:gd name="connsiteY376" fmla="*/ 3529167 h 3529167"/>
              <a:gd name="connsiteX377" fmla="*/ 1169858 w 12188651"/>
              <a:gd name="connsiteY377" fmla="*/ 3329707 h 3529167"/>
              <a:gd name="connsiteX378" fmla="*/ 1169858 w 12188651"/>
              <a:gd name="connsiteY378" fmla="*/ 3251093 h 3529167"/>
              <a:gd name="connsiteX379" fmla="*/ 1091378 w 12188651"/>
              <a:gd name="connsiteY379" fmla="*/ 3172485 h 3529167"/>
              <a:gd name="connsiteX380" fmla="*/ 1073007 w 12188651"/>
              <a:gd name="connsiteY380" fmla="*/ 3160226 h 3529167"/>
              <a:gd name="connsiteX381" fmla="*/ 1072995 w 12188651"/>
              <a:gd name="connsiteY381" fmla="*/ 3160222 h 3529167"/>
              <a:gd name="connsiteX382" fmla="*/ 1072985 w 12188651"/>
              <a:gd name="connsiteY382" fmla="*/ 3160218 h 3529167"/>
              <a:gd name="connsiteX383" fmla="*/ 1052200 w 12188651"/>
              <a:gd name="connsiteY383" fmla="*/ 3156135 h 3529167"/>
              <a:gd name="connsiteX384" fmla="*/ 1052075 w 12188651"/>
              <a:gd name="connsiteY384" fmla="*/ 3156010 h 3529167"/>
              <a:gd name="connsiteX385" fmla="*/ 1052063 w 12188651"/>
              <a:gd name="connsiteY385" fmla="*/ 3156012 h 3529167"/>
              <a:gd name="connsiteX386" fmla="*/ 1052052 w 12188651"/>
              <a:gd name="connsiteY386" fmla="*/ 3156001 h 3529167"/>
              <a:gd name="connsiteX387" fmla="*/ 1012749 w 12188651"/>
              <a:gd name="connsiteY387" fmla="*/ 3172476 h 3529167"/>
              <a:gd name="connsiteX388" fmla="*/ 948285 w 12188651"/>
              <a:gd name="connsiteY388" fmla="*/ 3237070 h 3529167"/>
              <a:gd name="connsiteX389" fmla="*/ 883702 w 12188651"/>
              <a:gd name="connsiteY389" fmla="*/ 3172357 h 3529167"/>
              <a:gd name="connsiteX390" fmla="*/ 865315 w 12188651"/>
              <a:gd name="connsiteY390" fmla="*/ 3160097 h 3529167"/>
              <a:gd name="connsiteX391" fmla="*/ 865301 w 12188651"/>
              <a:gd name="connsiteY391" fmla="*/ 3160093 h 3529167"/>
              <a:gd name="connsiteX392" fmla="*/ 865290 w 12188651"/>
              <a:gd name="connsiteY392" fmla="*/ 3160088 h 3529167"/>
              <a:gd name="connsiteX393" fmla="*/ 844374 w 12188651"/>
              <a:gd name="connsiteY393" fmla="*/ 3156001 h 3529167"/>
              <a:gd name="connsiteX394" fmla="*/ 805200 w 12188651"/>
              <a:gd name="connsiteY394" fmla="*/ 3172347 h 3529167"/>
              <a:gd name="connsiteX395" fmla="*/ 726720 w 12188651"/>
              <a:gd name="connsiteY395" fmla="*/ 3251087 h 3529167"/>
              <a:gd name="connsiteX396" fmla="*/ 726720 w 12188651"/>
              <a:gd name="connsiteY396" fmla="*/ 3329699 h 3529167"/>
              <a:gd name="connsiteX397" fmla="*/ 925718 w 12188651"/>
              <a:gd name="connsiteY397" fmla="*/ 3529167 h 3529167"/>
              <a:gd name="connsiteX398" fmla="*/ 630693 w 12188651"/>
              <a:gd name="connsiteY398" fmla="*/ 3529167 h 3529167"/>
              <a:gd name="connsiteX399" fmla="*/ 614412 w 12188651"/>
              <a:gd name="connsiteY399" fmla="*/ 3519745 h 3529167"/>
              <a:gd name="connsiteX400" fmla="*/ 614412 w 12188651"/>
              <a:gd name="connsiteY400" fmla="*/ 3133570 h 3529167"/>
              <a:gd name="connsiteX401" fmla="*/ 10875809 w 12188651"/>
              <a:gd name="connsiteY401" fmla="*/ 2742645 h 3529167"/>
              <a:gd name="connsiteX402" fmla="*/ 11201258 w 12188651"/>
              <a:gd name="connsiteY402" fmla="*/ 2930995 h 3529167"/>
              <a:gd name="connsiteX403" fmla="*/ 10875678 w 12188651"/>
              <a:gd name="connsiteY403" fmla="*/ 3119343 h 3529167"/>
              <a:gd name="connsiteX404" fmla="*/ 10550229 w 12188651"/>
              <a:gd name="connsiteY404" fmla="*/ 2930995 h 3529167"/>
              <a:gd name="connsiteX405" fmla="*/ 8821860 w 12188651"/>
              <a:gd name="connsiteY405" fmla="*/ 2742638 h 3529167"/>
              <a:gd name="connsiteX406" fmla="*/ 9147310 w 12188651"/>
              <a:gd name="connsiteY406" fmla="*/ 2930991 h 3529167"/>
              <a:gd name="connsiteX407" fmla="*/ 8821731 w 12188651"/>
              <a:gd name="connsiteY407" fmla="*/ 3119333 h 3529167"/>
              <a:gd name="connsiteX408" fmla="*/ 8496280 w 12188651"/>
              <a:gd name="connsiteY408" fmla="*/ 2930985 h 3529167"/>
              <a:gd name="connsiteX409" fmla="*/ 6768043 w 12188651"/>
              <a:gd name="connsiteY409" fmla="*/ 2742623 h 3529167"/>
              <a:gd name="connsiteX410" fmla="*/ 7093493 w 12188651"/>
              <a:gd name="connsiteY410" fmla="*/ 2930975 h 3529167"/>
              <a:gd name="connsiteX411" fmla="*/ 6767913 w 12188651"/>
              <a:gd name="connsiteY411" fmla="*/ 3119325 h 3529167"/>
              <a:gd name="connsiteX412" fmla="*/ 6442464 w 12188651"/>
              <a:gd name="connsiteY412" fmla="*/ 2930975 h 3529167"/>
              <a:gd name="connsiteX413" fmla="*/ 4714128 w 12188651"/>
              <a:gd name="connsiteY413" fmla="*/ 2742613 h 3529167"/>
              <a:gd name="connsiteX414" fmla="*/ 5016384 w 12188651"/>
              <a:gd name="connsiteY414" fmla="*/ 2917526 h 3529167"/>
              <a:gd name="connsiteX415" fmla="*/ 5039593 w 12188651"/>
              <a:gd name="connsiteY415" fmla="*/ 2930956 h 3529167"/>
              <a:gd name="connsiteX416" fmla="*/ 4713985 w 12188651"/>
              <a:gd name="connsiteY416" fmla="*/ 3119313 h 3529167"/>
              <a:gd name="connsiteX417" fmla="*/ 4388545 w 12188651"/>
              <a:gd name="connsiteY417" fmla="*/ 2930963 h 3529167"/>
              <a:gd name="connsiteX418" fmla="*/ 2660343 w 12188651"/>
              <a:gd name="connsiteY418" fmla="*/ 2742602 h 3529167"/>
              <a:gd name="connsiteX419" fmla="*/ 2985782 w 12188651"/>
              <a:gd name="connsiteY419" fmla="*/ 2930946 h 3529167"/>
              <a:gd name="connsiteX420" fmla="*/ 2660193 w 12188651"/>
              <a:gd name="connsiteY420" fmla="*/ 3119300 h 3529167"/>
              <a:gd name="connsiteX421" fmla="*/ 2617605 w 12188651"/>
              <a:gd name="connsiteY421" fmla="*/ 3094653 h 3529167"/>
              <a:gd name="connsiteX422" fmla="*/ 2334759 w 12188651"/>
              <a:gd name="connsiteY422" fmla="*/ 2930956 h 3529167"/>
              <a:gd name="connsiteX423" fmla="*/ 606366 w 12188651"/>
              <a:gd name="connsiteY423" fmla="*/ 2742589 h 3529167"/>
              <a:gd name="connsiteX424" fmla="*/ 931803 w 12188651"/>
              <a:gd name="connsiteY424" fmla="*/ 2930932 h 3529167"/>
              <a:gd name="connsiteX425" fmla="*/ 606216 w 12188651"/>
              <a:gd name="connsiteY425" fmla="*/ 3119286 h 3529167"/>
              <a:gd name="connsiteX426" fmla="*/ 280778 w 12188651"/>
              <a:gd name="connsiteY426" fmla="*/ 2930946 h 3529167"/>
              <a:gd name="connsiteX427" fmla="*/ 12140685 w 12188651"/>
              <a:gd name="connsiteY427" fmla="*/ 2578699 h 3529167"/>
              <a:gd name="connsiteX428" fmla="*/ 12168445 w 12188651"/>
              <a:gd name="connsiteY428" fmla="*/ 2590244 h 3529167"/>
              <a:gd name="connsiteX429" fmla="*/ 12188651 w 12188651"/>
              <a:gd name="connsiteY429" fmla="*/ 2610493 h 3529167"/>
              <a:gd name="connsiteX430" fmla="*/ 12188651 w 12188651"/>
              <a:gd name="connsiteY430" fmla="*/ 2878728 h 3529167"/>
              <a:gd name="connsiteX431" fmla="*/ 12034576 w 12188651"/>
              <a:gd name="connsiteY431" fmla="*/ 2724359 h 3529167"/>
              <a:gd name="connsiteX432" fmla="*/ 12034576 w 12188651"/>
              <a:gd name="connsiteY432" fmla="*/ 2668969 h 3529167"/>
              <a:gd name="connsiteX433" fmla="*/ 12113056 w 12188651"/>
              <a:gd name="connsiteY433" fmla="*/ 2590244 h 3529167"/>
              <a:gd name="connsiteX434" fmla="*/ 12140685 w 12188651"/>
              <a:gd name="connsiteY434" fmla="*/ 2578699 h 3529167"/>
              <a:gd name="connsiteX435" fmla="*/ 10086867 w 12188651"/>
              <a:gd name="connsiteY435" fmla="*/ 2578676 h 3529167"/>
              <a:gd name="connsiteX436" fmla="*/ 10114626 w 12188651"/>
              <a:gd name="connsiteY436" fmla="*/ 2590227 h 3529167"/>
              <a:gd name="connsiteX437" fmla="*/ 10179226 w 12188651"/>
              <a:gd name="connsiteY437" fmla="*/ 2654952 h 3529167"/>
              <a:gd name="connsiteX438" fmla="*/ 10190770 w 12188651"/>
              <a:gd name="connsiteY438" fmla="*/ 2666628 h 3529167"/>
              <a:gd name="connsiteX439" fmla="*/ 10202315 w 12188651"/>
              <a:gd name="connsiteY439" fmla="*/ 2654952 h 3529167"/>
              <a:gd name="connsiteX440" fmla="*/ 10266786 w 12188651"/>
              <a:gd name="connsiteY440" fmla="*/ 2590227 h 3529167"/>
              <a:gd name="connsiteX441" fmla="*/ 10294543 w 12188651"/>
              <a:gd name="connsiteY441" fmla="*/ 2578676 h 3529167"/>
              <a:gd name="connsiteX442" fmla="*/ 10322173 w 12188651"/>
              <a:gd name="connsiteY442" fmla="*/ 2590227 h 3529167"/>
              <a:gd name="connsiteX443" fmla="*/ 10400653 w 12188651"/>
              <a:gd name="connsiteY443" fmla="*/ 2668833 h 3529167"/>
              <a:gd name="connsiteX444" fmla="*/ 10412198 w 12188651"/>
              <a:gd name="connsiteY444" fmla="*/ 2696581 h 3529167"/>
              <a:gd name="connsiteX445" fmla="*/ 10400783 w 12188651"/>
              <a:gd name="connsiteY445" fmla="*/ 2724349 h 3529167"/>
              <a:gd name="connsiteX446" fmla="*/ 10190770 w 12188651"/>
              <a:gd name="connsiteY446" fmla="*/ 2934758 h 3529167"/>
              <a:gd name="connsiteX447" fmla="*/ 9980757 w 12188651"/>
              <a:gd name="connsiteY447" fmla="*/ 2724349 h 3529167"/>
              <a:gd name="connsiteX448" fmla="*/ 9980757 w 12188651"/>
              <a:gd name="connsiteY448" fmla="*/ 2668961 h 3529167"/>
              <a:gd name="connsiteX449" fmla="*/ 10059237 w 12188651"/>
              <a:gd name="connsiteY449" fmla="*/ 2590227 h 3529167"/>
              <a:gd name="connsiteX450" fmla="*/ 10086867 w 12188651"/>
              <a:gd name="connsiteY450" fmla="*/ 2578676 h 3529167"/>
              <a:gd name="connsiteX451" fmla="*/ 8032919 w 12188651"/>
              <a:gd name="connsiteY451" fmla="*/ 2578668 h 3529167"/>
              <a:gd name="connsiteX452" fmla="*/ 8060679 w 12188651"/>
              <a:gd name="connsiteY452" fmla="*/ 2590216 h 3529167"/>
              <a:gd name="connsiteX453" fmla="*/ 8125278 w 12188651"/>
              <a:gd name="connsiteY453" fmla="*/ 2654936 h 3529167"/>
              <a:gd name="connsiteX454" fmla="*/ 8136823 w 12188651"/>
              <a:gd name="connsiteY454" fmla="*/ 2666615 h 3529167"/>
              <a:gd name="connsiteX455" fmla="*/ 8148368 w 12188651"/>
              <a:gd name="connsiteY455" fmla="*/ 2654936 h 3529167"/>
              <a:gd name="connsiteX456" fmla="*/ 8212837 w 12188651"/>
              <a:gd name="connsiteY456" fmla="*/ 2590216 h 3529167"/>
              <a:gd name="connsiteX457" fmla="*/ 8240596 w 12188651"/>
              <a:gd name="connsiteY457" fmla="*/ 2578668 h 3529167"/>
              <a:gd name="connsiteX458" fmla="*/ 8268226 w 12188651"/>
              <a:gd name="connsiteY458" fmla="*/ 2590216 h 3529167"/>
              <a:gd name="connsiteX459" fmla="*/ 8346707 w 12188651"/>
              <a:gd name="connsiteY459" fmla="*/ 2668813 h 3529167"/>
              <a:gd name="connsiteX460" fmla="*/ 8358252 w 12188651"/>
              <a:gd name="connsiteY460" fmla="*/ 2696569 h 3529167"/>
              <a:gd name="connsiteX461" fmla="*/ 8346837 w 12188651"/>
              <a:gd name="connsiteY461" fmla="*/ 2724335 h 3529167"/>
              <a:gd name="connsiteX462" fmla="*/ 8136823 w 12188651"/>
              <a:gd name="connsiteY462" fmla="*/ 2934740 h 3529167"/>
              <a:gd name="connsiteX463" fmla="*/ 7926811 w 12188651"/>
              <a:gd name="connsiteY463" fmla="*/ 2724335 h 3529167"/>
              <a:gd name="connsiteX464" fmla="*/ 7926811 w 12188651"/>
              <a:gd name="connsiteY464" fmla="*/ 2668949 h 3529167"/>
              <a:gd name="connsiteX465" fmla="*/ 8005289 w 12188651"/>
              <a:gd name="connsiteY465" fmla="*/ 2590216 h 3529167"/>
              <a:gd name="connsiteX466" fmla="*/ 8032919 w 12188651"/>
              <a:gd name="connsiteY466" fmla="*/ 2578668 h 3529167"/>
              <a:gd name="connsiteX467" fmla="*/ 5979110 w 12188651"/>
              <a:gd name="connsiteY467" fmla="*/ 2578647 h 3529167"/>
              <a:gd name="connsiteX468" fmla="*/ 6006867 w 12188651"/>
              <a:gd name="connsiteY468" fmla="*/ 2590201 h 3529167"/>
              <a:gd name="connsiteX469" fmla="*/ 6071463 w 12188651"/>
              <a:gd name="connsiteY469" fmla="*/ 2654925 h 3529167"/>
              <a:gd name="connsiteX470" fmla="*/ 6083008 w 12188651"/>
              <a:gd name="connsiteY470" fmla="*/ 2666599 h 3529167"/>
              <a:gd name="connsiteX471" fmla="*/ 6094550 w 12188651"/>
              <a:gd name="connsiteY471" fmla="*/ 2654925 h 3529167"/>
              <a:gd name="connsiteX472" fmla="*/ 6159019 w 12188651"/>
              <a:gd name="connsiteY472" fmla="*/ 2590201 h 3529167"/>
              <a:gd name="connsiteX473" fmla="*/ 6186779 w 12188651"/>
              <a:gd name="connsiteY473" fmla="*/ 2578647 h 3529167"/>
              <a:gd name="connsiteX474" fmla="*/ 6214409 w 12188651"/>
              <a:gd name="connsiteY474" fmla="*/ 2590201 h 3529167"/>
              <a:gd name="connsiteX475" fmla="*/ 6292888 w 12188651"/>
              <a:gd name="connsiteY475" fmla="*/ 2668806 h 3529167"/>
              <a:gd name="connsiteX476" fmla="*/ 6304433 w 12188651"/>
              <a:gd name="connsiteY476" fmla="*/ 2696558 h 3529167"/>
              <a:gd name="connsiteX477" fmla="*/ 6293017 w 12188651"/>
              <a:gd name="connsiteY477" fmla="*/ 2724322 h 3529167"/>
              <a:gd name="connsiteX478" fmla="*/ 6083008 w 12188651"/>
              <a:gd name="connsiteY478" fmla="*/ 2934732 h 3529167"/>
              <a:gd name="connsiteX479" fmla="*/ 5873007 w 12188651"/>
              <a:gd name="connsiteY479" fmla="*/ 2724322 h 3529167"/>
              <a:gd name="connsiteX480" fmla="*/ 5873007 w 12188651"/>
              <a:gd name="connsiteY480" fmla="*/ 2668929 h 3529167"/>
              <a:gd name="connsiteX481" fmla="*/ 5951483 w 12188651"/>
              <a:gd name="connsiteY481" fmla="*/ 2590201 h 3529167"/>
              <a:gd name="connsiteX482" fmla="*/ 5979110 w 12188651"/>
              <a:gd name="connsiteY482" fmla="*/ 2578647 h 3529167"/>
              <a:gd name="connsiteX483" fmla="*/ 3925347 w 12188651"/>
              <a:gd name="connsiteY483" fmla="*/ 2578637 h 3529167"/>
              <a:gd name="connsiteX484" fmla="*/ 3953105 w 12188651"/>
              <a:gd name="connsiteY484" fmla="*/ 2590185 h 3529167"/>
              <a:gd name="connsiteX485" fmla="*/ 4017704 w 12188651"/>
              <a:gd name="connsiteY485" fmla="*/ 2654916 h 3529167"/>
              <a:gd name="connsiteX486" fmla="*/ 4029249 w 12188651"/>
              <a:gd name="connsiteY486" fmla="*/ 2666587 h 3529167"/>
              <a:gd name="connsiteX487" fmla="*/ 4040796 w 12188651"/>
              <a:gd name="connsiteY487" fmla="*/ 2654916 h 3529167"/>
              <a:gd name="connsiteX488" fmla="*/ 4105266 w 12188651"/>
              <a:gd name="connsiteY488" fmla="*/ 2590185 h 3529167"/>
              <a:gd name="connsiteX489" fmla="*/ 4133029 w 12188651"/>
              <a:gd name="connsiteY489" fmla="*/ 2578637 h 3529167"/>
              <a:gd name="connsiteX490" fmla="*/ 4160658 w 12188651"/>
              <a:gd name="connsiteY490" fmla="*/ 2590185 h 3529167"/>
              <a:gd name="connsiteX491" fmla="*/ 4239088 w 12188651"/>
              <a:gd name="connsiteY491" fmla="*/ 2668790 h 3529167"/>
              <a:gd name="connsiteX492" fmla="*/ 4250643 w 12188651"/>
              <a:gd name="connsiteY492" fmla="*/ 2696546 h 3529167"/>
              <a:gd name="connsiteX493" fmla="*/ 4239218 w 12188651"/>
              <a:gd name="connsiteY493" fmla="*/ 2724312 h 3529167"/>
              <a:gd name="connsiteX494" fmla="*/ 4029249 w 12188651"/>
              <a:gd name="connsiteY494" fmla="*/ 2934721 h 3529167"/>
              <a:gd name="connsiteX495" fmla="*/ 3819228 w 12188651"/>
              <a:gd name="connsiteY495" fmla="*/ 2724312 h 3529167"/>
              <a:gd name="connsiteX496" fmla="*/ 3819228 w 12188651"/>
              <a:gd name="connsiteY496" fmla="*/ 2668922 h 3529167"/>
              <a:gd name="connsiteX497" fmla="*/ 3897713 w 12188651"/>
              <a:gd name="connsiteY497" fmla="*/ 2590185 h 3529167"/>
              <a:gd name="connsiteX498" fmla="*/ 3925347 w 12188651"/>
              <a:gd name="connsiteY498" fmla="*/ 2578637 h 3529167"/>
              <a:gd name="connsiteX499" fmla="*/ 1871372 w 12188651"/>
              <a:gd name="connsiteY499" fmla="*/ 2578623 h 3529167"/>
              <a:gd name="connsiteX500" fmla="*/ 1899133 w 12188651"/>
              <a:gd name="connsiteY500" fmla="*/ 2590172 h 3529167"/>
              <a:gd name="connsiteX501" fmla="*/ 1963731 w 12188651"/>
              <a:gd name="connsiteY501" fmla="*/ 2654901 h 3529167"/>
              <a:gd name="connsiteX502" fmla="*/ 1975277 w 12188651"/>
              <a:gd name="connsiteY502" fmla="*/ 2666574 h 3529167"/>
              <a:gd name="connsiteX503" fmla="*/ 1986820 w 12188651"/>
              <a:gd name="connsiteY503" fmla="*/ 2654901 h 3529167"/>
              <a:gd name="connsiteX504" fmla="*/ 2051290 w 12188651"/>
              <a:gd name="connsiteY504" fmla="*/ 2590172 h 3529167"/>
              <a:gd name="connsiteX505" fmla="*/ 2079050 w 12188651"/>
              <a:gd name="connsiteY505" fmla="*/ 2578623 h 3529167"/>
              <a:gd name="connsiteX506" fmla="*/ 2106688 w 12188651"/>
              <a:gd name="connsiteY506" fmla="*/ 2590172 h 3529167"/>
              <a:gd name="connsiteX507" fmla="*/ 2185169 w 12188651"/>
              <a:gd name="connsiteY507" fmla="*/ 2668781 h 3529167"/>
              <a:gd name="connsiteX508" fmla="*/ 2196712 w 12188651"/>
              <a:gd name="connsiteY508" fmla="*/ 2696534 h 3529167"/>
              <a:gd name="connsiteX509" fmla="*/ 2185297 w 12188651"/>
              <a:gd name="connsiteY509" fmla="*/ 2724297 h 3529167"/>
              <a:gd name="connsiteX510" fmla="*/ 1975277 w 12188651"/>
              <a:gd name="connsiteY510" fmla="*/ 2934709 h 3529167"/>
              <a:gd name="connsiteX511" fmla="*/ 1765263 w 12188651"/>
              <a:gd name="connsiteY511" fmla="*/ 2724297 h 3529167"/>
              <a:gd name="connsiteX512" fmla="*/ 1765263 w 12188651"/>
              <a:gd name="connsiteY512" fmla="*/ 2668910 h 3529167"/>
              <a:gd name="connsiteX513" fmla="*/ 1843742 w 12188651"/>
              <a:gd name="connsiteY513" fmla="*/ 2590172 h 3529167"/>
              <a:gd name="connsiteX514" fmla="*/ 1871372 w 12188651"/>
              <a:gd name="connsiteY514" fmla="*/ 2578623 h 3529167"/>
              <a:gd name="connsiteX515" fmla="*/ 25211 w 12188651"/>
              <a:gd name="connsiteY515" fmla="*/ 2578608 h 3529167"/>
              <a:gd name="connsiteX516" fmla="*/ 52840 w 12188651"/>
              <a:gd name="connsiteY516" fmla="*/ 2590156 h 3529167"/>
              <a:gd name="connsiteX517" fmla="*/ 131319 w 12188651"/>
              <a:gd name="connsiteY517" fmla="*/ 2668766 h 3529167"/>
              <a:gd name="connsiteX518" fmla="*/ 142863 w 12188651"/>
              <a:gd name="connsiteY518" fmla="*/ 2696524 h 3529167"/>
              <a:gd name="connsiteX519" fmla="*/ 131448 w 12188651"/>
              <a:gd name="connsiteY519" fmla="*/ 2724284 h 3529167"/>
              <a:gd name="connsiteX520" fmla="*/ 0 w 12188651"/>
              <a:gd name="connsiteY520" fmla="*/ 2855984 h 3529167"/>
              <a:gd name="connsiteX521" fmla="*/ 0 w 12188651"/>
              <a:gd name="connsiteY521" fmla="*/ 2589096 h 3529167"/>
              <a:gd name="connsiteX522" fmla="*/ 10086867 w 12188651"/>
              <a:gd name="connsiteY522" fmla="*/ 2562208 h 3529167"/>
              <a:gd name="connsiteX523" fmla="*/ 10047692 w 12188651"/>
              <a:gd name="connsiteY523" fmla="*/ 2578552 h 3529167"/>
              <a:gd name="connsiteX524" fmla="*/ 9969212 w 12188651"/>
              <a:gd name="connsiteY524" fmla="*/ 2657287 h 3529167"/>
              <a:gd name="connsiteX525" fmla="*/ 9969212 w 12188651"/>
              <a:gd name="connsiteY525" fmla="*/ 2735892 h 3529167"/>
              <a:gd name="connsiteX526" fmla="*/ 10190770 w 12188651"/>
              <a:gd name="connsiteY526" fmla="*/ 2957977 h 3529167"/>
              <a:gd name="connsiteX527" fmla="*/ 10412328 w 12188651"/>
              <a:gd name="connsiteY527" fmla="*/ 2735892 h 3529167"/>
              <a:gd name="connsiteX528" fmla="*/ 10412328 w 12188651"/>
              <a:gd name="connsiteY528" fmla="*/ 2657287 h 3529167"/>
              <a:gd name="connsiteX529" fmla="*/ 10333848 w 12188651"/>
              <a:gd name="connsiteY529" fmla="*/ 2578676 h 3529167"/>
              <a:gd name="connsiteX530" fmla="*/ 10294673 w 12188651"/>
              <a:gd name="connsiteY530" fmla="*/ 2562337 h 3529167"/>
              <a:gd name="connsiteX531" fmla="*/ 10294543 w 12188651"/>
              <a:gd name="connsiteY531" fmla="*/ 2562208 h 3529167"/>
              <a:gd name="connsiteX532" fmla="*/ 10255241 w 12188651"/>
              <a:gd name="connsiteY532" fmla="*/ 2578676 h 3529167"/>
              <a:gd name="connsiteX533" fmla="*/ 10190770 w 12188651"/>
              <a:gd name="connsiteY533" fmla="*/ 2643284 h 3529167"/>
              <a:gd name="connsiteX534" fmla="*/ 10126171 w 12188651"/>
              <a:gd name="connsiteY534" fmla="*/ 2578552 h 3529167"/>
              <a:gd name="connsiteX535" fmla="*/ 10086867 w 12188651"/>
              <a:gd name="connsiteY535" fmla="*/ 2562208 h 3529167"/>
              <a:gd name="connsiteX536" fmla="*/ 8032919 w 12188651"/>
              <a:gd name="connsiteY536" fmla="*/ 2562187 h 3529167"/>
              <a:gd name="connsiteX537" fmla="*/ 7993744 w 12188651"/>
              <a:gd name="connsiteY537" fmla="*/ 2578533 h 3529167"/>
              <a:gd name="connsiteX538" fmla="*/ 7915266 w 12188651"/>
              <a:gd name="connsiteY538" fmla="*/ 2657273 h 3529167"/>
              <a:gd name="connsiteX539" fmla="*/ 7915266 w 12188651"/>
              <a:gd name="connsiteY539" fmla="*/ 2735878 h 3529167"/>
              <a:gd name="connsiteX540" fmla="*/ 8136823 w 12188651"/>
              <a:gd name="connsiteY540" fmla="*/ 2957963 h 3529167"/>
              <a:gd name="connsiteX541" fmla="*/ 8358382 w 12188651"/>
              <a:gd name="connsiteY541" fmla="*/ 2735878 h 3529167"/>
              <a:gd name="connsiteX542" fmla="*/ 8358382 w 12188651"/>
              <a:gd name="connsiteY542" fmla="*/ 2657273 h 3529167"/>
              <a:gd name="connsiteX543" fmla="*/ 8279902 w 12188651"/>
              <a:gd name="connsiteY543" fmla="*/ 2578668 h 3529167"/>
              <a:gd name="connsiteX544" fmla="*/ 8240727 w 12188651"/>
              <a:gd name="connsiteY544" fmla="*/ 2562324 h 3529167"/>
              <a:gd name="connsiteX545" fmla="*/ 8240596 w 12188651"/>
              <a:gd name="connsiteY545" fmla="*/ 2562187 h 3529167"/>
              <a:gd name="connsiteX546" fmla="*/ 8201292 w 12188651"/>
              <a:gd name="connsiteY546" fmla="*/ 2578668 h 3529167"/>
              <a:gd name="connsiteX547" fmla="*/ 8136823 w 12188651"/>
              <a:gd name="connsiteY547" fmla="*/ 2643266 h 3529167"/>
              <a:gd name="connsiteX548" fmla="*/ 8072224 w 12188651"/>
              <a:gd name="connsiteY548" fmla="*/ 2578533 h 3529167"/>
              <a:gd name="connsiteX549" fmla="*/ 8032919 w 12188651"/>
              <a:gd name="connsiteY549" fmla="*/ 2562187 h 3529167"/>
              <a:gd name="connsiteX550" fmla="*/ 5979110 w 12188651"/>
              <a:gd name="connsiteY550" fmla="*/ 2562181 h 3529167"/>
              <a:gd name="connsiteX551" fmla="*/ 5939938 w 12188651"/>
              <a:gd name="connsiteY551" fmla="*/ 2578524 h 3529167"/>
              <a:gd name="connsiteX552" fmla="*/ 5861462 w 12188651"/>
              <a:gd name="connsiteY552" fmla="*/ 2657262 h 3529167"/>
              <a:gd name="connsiteX553" fmla="*/ 5861462 w 12188651"/>
              <a:gd name="connsiteY553" fmla="*/ 2735865 h 3529167"/>
              <a:gd name="connsiteX554" fmla="*/ 6083008 w 12188651"/>
              <a:gd name="connsiteY554" fmla="*/ 2957948 h 3529167"/>
              <a:gd name="connsiteX555" fmla="*/ 6304562 w 12188651"/>
              <a:gd name="connsiteY555" fmla="*/ 2735865 h 3529167"/>
              <a:gd name="connsiteX556" fmla="*/ 6304562 w 12188651"/>
              <a:gd name="connsiteY556" fmla="*/ 2657262 h 3529167"/>
              <a:gd name="connsiteX557" fmla="*/ 6226084 w 12188651"/>
              <a:gd name="connsiteY557" fmla="*/ 2578647 h 3529167"/>
              <a:gd name="connsiteX558" fmla="*/ 6186909 w 12188651"/>
              <a:gd name="connsiteY558" fmla="*/ 2562308 h 3529167"/>
              <a:gd name="connsiteX559" fmla="*/ 6186779 w 12188651"/>
              <a:gd name="connsiteY559" fmla="*/ 2562181 h 3529167"/>
              <a:gd name="connsiteX560" fmla="*/ 6147474 w 12188651"/>
              <a:gd name="connsiteY560" fmla="*/ 2578647 h 3529167"/>
              <a:gd name="connsiteX561" fmla="*/ 6083008 w 12188651"/>
              <a:gd name="connsiteY561" fmla="*/ 2643253 h 3529167"/>
              <a:gd name="connsiteX562" fmla="*/ 6018412 w 12188651"/>
              <a:gd name="connsiteY562" fmla="*/ 2578524 h 3529167"/>
              <a:gd name="connsiteX563" fmla="*/ 5979110 w 12188651"/>
              <a:gd name="connsiteY563" fmla="*/ 2562181 h 3529167"/>
              <a:gd name="connsiteX564" fmla="*/ 3925347 w 12188651"/>
              <a:gd name="connsiteY564" fmla="*/ 2562165 h 3529167"/>
              <a:gd name="connsiteX565" fmla="*/ 3886170 w 12188651"/>
              <a:gd name="connsiteY565" fmla="*/ 2578508 h 3529167"/>
              <a:gd name="connsiteX566" fmla="*/ 3807684 w 12188651"/>
              <a:gd name="connsiteY566" fmla="*/ 2657243 h 3529167"/>
              <a:gd name="connsiteX567" fmla="*/ 3807684 w 12188651"/>
              <a:gd name="connsiteY567" fmla="*/ 2735855 h 3529167"/>
              <a:gd name="connsiteX568" fmla="*/ 4029249 w 12188651"/>
              <a:gd name="connsiteY568" fmla="*/ 2957936 h 3529167"/>
              <a:gd name="connsiteX569" fmla="*/ 4250768 w 12188651"/>
              <a:gd name="connsiteY569" fmla="*/ 2735855 h 3529167"/>
              <a:gd name="connsiteX570" fmla="*/ 4250768 w 12188651"/>
              <a:gd name="connsiteY570" fmla="*/ 2657243 h 3529167"/>
              <a:gd name="connsiteX571" fmla="*/ 4172332 w 12188651"/>
              <a:gd name="connsiteY571" fmla="*/ 2578637 h 3529167"/>
              <a:gd name="connsiteX572" fmla="*/ 4133157 w 12188651"/>
              <a:gd name="connsiteY572" fmla="*/ 2562295 h 3529167"/>
              <a:gd name="connsiteX573" fmla="*/ 4133029 w 12188651"/>
              <a:gd name="connsiteY573" fmla="*/ 2562165 h 3529167"/>
              <a:gd name="connsiteX574" fmla="*/ 4093722 w 12188651"/>
              <a:gd name="connsiteY574" fmla="*/ 2578637 h 3529167"/>
              <a:gd name="connsiteX575" fmla="*/ 4029249 w 12188651"/>
              <a:gd name="connsiteY575" fmla="*/ 2643240 h 3529167"/>
              <a:gd name="connsiteX576" fmla="*/ 3964652 w 12188651"/>
              <a:gd name="connsiteY576" fmla="*/ 2578508 h 3529167"/>
              <a:gd name="connsiteX577" fmla="*/ 3925347 w 12188651"/>
              <a:gd name="connsiteY577" fmla="*/ 2562165 h 3529167"/>
              <a:gd name="connsiteX578" fmla="*/ 1871372 w 12188651"/>
              <a:gd name="connsiteY578" fmla="*/ 2562148 h 3529167"/>
              <a:gd name="connsiteX579" fmla="*/ 1832197 w 12188651"/>
              <a:gd name="connsiteY579" fmla="*/ 2578496 h 3529167"/>
              <a:gd name="connsiteX580" fmla="*/ 1753719 w 12188651"/>
              <a:gd name="connsiteY580" fmla="*/ 2657236 h 3529167"/>
              <a:gd name="connsiteX581" fmla="*/ 1753719 w 12188651"/>
              <a:gd name="connsiteY581" fmla="*/ 2735841 h 3529167"/>
              <a:gd name="connsiteX582" fmla="*/ 1975277 w 12188651"/>
              <a:gd name="connsiteY582" fmla="*/ 2957928 h 3529167"/>
              <a:gd name="connsiteX583" fmla="*/ 2196842 w 12188651"/>
              <a:gd name="connsiteY583" fmla="*/ 2735841 h 3529167"/>
              <a:gd name="connsiteX584" fmla="*/ 2196842 w 12188651"/>
              <a:gd name="connsiteY584" fmla="*/ 2657236 h 3529167"/>
              <a:gd name="connsiteX585" fmla="*/ 2118362 w 12188651"/>
              <a:gd name="connsiteY585" fmla="*/ 2578623 h 3529167"/>
              <a:gd name="connsiteX586" fmla="*/ 2079180 w 12188651"/>
              <a:gd name="connsiteY586" fmla="*/ 2562279 h 3529167"/>
              <a:gd name="connsiteX587" fmla="*/ 2079050 w 12188651"/>
              <a:gd name="connsiteY587" fmla="*/ 2562148 h 3529167"/>
              <a:gd name="connsiteX588" fmla="*/ 2039746 w 12188651"/>
              <a:gd name="connsiteY588" fmla="*/ 2578623 h 3529167"/>
              <a:gd name="connsiteX589" fmla="*/ 1975277 w 12188651"/>
              <a:gd name="connsiteY589" fmla="*/ 2643223 h 3529167"/>
              <a:gd name="connsiteX590" fmla="*/ 1910677 w 12188651"/>
              <a:gd name="connsiteY590" fmla="*/ 2578496 h 3529167"/>
              <a:gd name="connsiteX591" fmla="*/ 1871372 w 12188651"/>
              <a:gd name="connsiteY591" fmla="*/ 2562148 h 3529167"/>
              <a:gd name="connsiteX592" fmla="*/ 0 w 12188651"/>
              <a:gd name="connsiteY592" fmla="*/ 2391946 h 3529167"/>
              <a:gd name="connsiteX593" fmla="*/ 255065 w 12188651"/>
              <a:gd name="connsiteY593" fmla="*/ 2539561 h 3529167"/>
              <a:gd name="connsiteX594" fmla="*/ 255065 w 12188651"/>
              <a:gd name="connsiteY594" fmla="*/ 2925743 h 3529167"/>
              <a:gd name="connsiteX595" fmla="*/ 0 w 12188651"/>
              <a:gd name="connsiteY595" fmla="*/ 3073355 h 3529167"/>
              <a:gd name="connsiteX596" fmla="*/ 0 w 12188651"/>
              <a:gd name="connsiteY596" fmla="*/ 2879166 h 3529167"/>
              <a:gd name="connsiteX597" fmla="*/ 142993 w 12188651"/>
              <a:gd name="connsiteY597" fmla="*/ 2735832 h 3529167"/>
              <a:gd name="connsiteX598" fmla="*/ 142993 w 12188651"/>
              <a:gd name="connsiteY598" fmla="*/ 2657222 h 3529167"/>
              <a:gd name="connsiteX599" fmla="*/ 64513 w 12188651"/>
              <a:gd name="connsiteY599" fmla="*/ 2578608 h 3529167"/>
              <a:gd name="connsiteX600" fmla="*/ 25338 w 12188651"/>
              <a:gd name="connsiteY600" fmla="*/ 2562265 h 3529167"/>
              <a:gd name="connsiteX601" fmla="*/ 25211 w 12188651"/>
              <a:gd name="connsiteY601" fmla="*/ 2562134 h 3529167"/>
              <a:gd name="connsiteX602" fmla="*/ 4293 w 12188651"/>
              <a:gd name="connsiteY602" fmla="*/ 2566237 h 3529167"/>
              <a:gd name="connsiteX603" fmla="*/ 0 w 12188651"/>
              <a:gd name="connsiteY603" fmla="*/ 2569125 h 3529167"/>
              <a:gd name="connsiteX604" fmla="*/ 12188651 w 12188651"/>
              <a:gd name="connsiteY604" fmla="*/ 2378785 h 3529167"/>
              <a:gd name="connsiteX605" fmla="*/ 12188651 w 12188651"/>
              <a:gd name="connsiteY605" fmla="*/ 2587244 h 3529167"/>
              <a:gd name="connsiteX606" fmla="*/ 12179990 w 12188651"/>
              <a:gd name="connsiteY606" fmla="*/ 2578566 h 3529167"/>
              <a:gd name="connsiteX607" fmla="*/ 12140685 w 12188651"/>
              <a:gd name="connsiteY607" fmla="*/ 2562222 h 3529167"/>
              <a:gd name="connsiteX608" fmla="*/ 12101510 w 12188651"/>
              <a:gd name="connsiteY608" fmla="*/ 2578566 h 3529167"/>
              <a:gd name="connsiteX609" fmla="*/ 12023031 w 12188651"/>
              <a:gd name="connsiteY609" fmla="*/ 2657304 h 3529167"/>
              <a:gd name="connsiteX610" fmla="*/ 12023031 w 12188651"/>
              <a:gd name="connsiteY610" fmla="*/ 2735902 h 3529167"/>
              <a:gd name="connsiteX611" fmla="*/ 12188651 w 12188651"/>
              <a:gd name="connsiteY611" fmla="*/ 2901917 h 3529167"/>
              <a:gd name="connsiteX612" fmla="*/ 12188651 w 12188651"/>
              <a:gd name="connsiteY612" fmla="*/ 3086666 h 3529167"/>
              <a:gd name="connsiteX613" fmla="*/ 11910696 w 12188651"/>
              <a:gd name="connsiteY613" fmla="*/ 2925817 h 3529167"/>
              <a:gd name="connsiteX614" fmla="*/ 11910696 w 12188651"/>
              <a:gd name="connsiteY614" fmla="*/ 2539653 h 3529167"/>
              <a:gd name="connsiteX615" fmla="*/ 10883981 w 12188651"/>
              <a:gd name="connsiteY615" fmla="*/ 2351688 h 3529167"/>
              <a:gd name="connsiteX616" fmla="*/ 11209441 w 12188651"/>
              <a:gd name="connsiteY616" fmla="*/ 2540032 h 3529167"/>
              <a:gd name="connsiteX617" fmla="*/ 11209441 w 12188651"/>
              <a:gd name="connsiteY617" fmla="*/ 2916853 h 3529167"/>
              <a:gd name="connsiteX618" fmla="*/ 10883981 w 12188651"/>
              <a:gd name="connsiteY618" fmla="*/ 2728491 h 3529167"/>
              <a:gd name="connsiteX619" fmla="*/ 10867636 w 12188651"/>
              <a:gd name="connsiteY619" fmla="*/ 2351688 h 3529167"/>
              <a:gd name="connsiteX620" fmla="*/ 10867636 w 12188651"/>
              <a:gd name="connsiteY620" fmla="*/ 2728491 h 3529167"/>
              <a:gd name="connsiteX621" fmla="*/ 10542045 w 12188651"/>
              <a:gd name="connsiteY621" fmla="*/ 2916853 h 3529167"/>
              <a:gd name="connsiteX622" fmla="*/ 10542045 w 12188651"/>
              <a:gd name="connsiteY622" fmla="*/ 2540032 h 3529167"/>
              <a:gd name="connsiteX623" fmla="*/ 8830033 w 12188651"/>
              <a:gd name="connsiteY623" fmla="*/ 2351669 h 3529167"/>
              <a:gd name="connsiteX624" fmla="*/ 9155493 w 12188651"/>
              <a:gd name="connsiteY624" fmla="*/ 2540021 h 3529167"/>
              <a:gd name="connsiteX625" fmla="*/ 9155493 w 12188651"/>
              <a:gd name="connsiteY625" fmla="*/ 2916842 h 3529167"/>
              <a:gd name="connsiteX626" fmla="*/ 8830033 w 12188651"/>
              <a:gd name="connsiteY626" fmla="*/ 2728478 h 3529167"/>
              <a:gd name="connsiteX627" fmla="*/ 8813688 w 12188651"/>
              <a:gd name="connsiteY627" fmla="*/ 2351669 h 3529167"/>
              <a:gd name="connsiteX628" fmla="*/ 8813688 w 12188651"/>
              <a:gd name="connsiteY628" fmla="*/ 2728481 h 3529167"/>
              <a:gd name="connsiteX629" fmla="*/ 8488098 w 12188651"/>
              <a:gd name="connsiteY629" fmla="*/ 2916842 h 3529167"/>
              <a:gd name="connsiteX630" fmla="*/ 8488098 w 12188651"/>
              <a:gd name="connsiteY630" fmla="*/ 2540021 h 3529167"/>
              <a:gd name="connsiteX631" fmla="*/ 6776215 w 12188651"/>
              <a:gd name="connsiteY631" fmla="*/ 2351657 h 3529167"/>
              <a:gd name="connsiteX632" fmla="*/ 7101677 w 12188651"/>
              <a:gd name="connsiteY632" fmla="*/ 2540012 h 3529167"/>
              <a:gd name="connsiteX633" fmla="*/ 7101677 w 12188651"/>
              <a:gd name="connsiteY633" fmla="*/ 2916827 h 3529167"/>
              <a:gd name="connsiteX634" fmla="*/ 6776215 w 12188651"/>
              <a:gd name="connsiteY634" fmla="*/ 2728471 h 3529167"/>
              <a:gd name="connsiteX635" fmla="*/ 6759871 w 12188651"/>
              <a:gd name="connsiteY635" fmla="*/ 2351657 h 3529167"/>
              <a:gd name="connsiteX636" fmla="*/ 6759871 w 12188651"/>
              <a:gd name="connsiteY636" fmla="*/ 2728471 h 3529167"/>
              <a:gd name="connsiteX637" fmla="*/ 6434280 w 12188651"/>
              <a:gd name="connsiteY637" fmla="*/ 2916827 h 3529167"/>
              <a:gd name="connsiteX638" fmla="*/ 6434280 w 12188651"/>
              <a:gd name="connsiteY638" fmla="*/ 2540012 h 3529167"/>
              <a:gd name="connsiteX639" fmla="*/ 4705942 w 12188651"/>
              <a:gd name="connsiteY639" fmla="*/ 2351645 h 3529167"/>
              <a:gd name="connsiteX640" fmla="*/ 4705942 w 12188651"/>
              <a:gd name="connsiteY640" fmla="*/ 2728455 h 3529167"/>
              <a:gd name="connsiteX641" fmla="*/ 4380369 w 12188651"/>
              <a:gd name="connsiteY641" fmla="*/ 2916811 h 3529167"/>
              <a:gd name="connsiteX642" fmla="*/ 4380369 w 12188651"/>
              <a:gd name="connsiteY642" fmla="*/ 2539997 h 3529167"/>
              <a:gd name="connsiteX643" fmla="*/ 2652144 w 12188651"/>
              <a:gd name="connsiteY643" fmla="*/ 2351640 h 3529167"/>
              <a:gd name="connsiteX644" fmla="*/ 2652144 w 12188651"/>
              <a:gd name="connsiteY644" fmla="*/ 2728447 h 3529167"/>
              <a:gd name="connsiteX645" fmla="*/ 2326587 w 12188651"/>
              <a:gd name="connsiteY645" fmla="*/ 2916788 h 3529167"/>
              <a:gd name="connsiteX646" fmla="*/ 2326587 w 12188651"/>
              <a:gd name="connsiteY646" fmla="*/ 2539980 h 3529167"/>
              <a:gd name="connsiteX647" fmla="*/ 4722303 w 12188651"/>
              <a:gd name="connsiteY647" fmla="*/ 2351638 h 3529167"/>
              <a:gd name="connsiteX648" fmla="*/ 5047773 w 12188651"/>
              <a:gd name="connsiteY648" fmla="*/ 2539983 h 3529167"/>
              <a:gd name="connsiteX649" fmla="*/ 5047773 w 12188651"/>
              <a:gd name="connsiteY649" fmla="*/ 2916816 h 3529167"/>
              <a:gd name="connsiteX650" fmla="*/ 4722303 w 12188651"/>
              <a:gd name="connsiteY650" fmla="*/ 2728468 h 3529167"/>
              <a:gd name="connsiteX651" fmla="*/ 2668516 w 12188651"/>
              <a:gd name="connsiteY651" fmla="*/ 2351626 h 3529167"/>
              <a:gd name="connsiteX652" fmla="*/ 2748692 w 12188651"/>
              <a:gd name="connsiteY652" fmla="*/ 2398022 h 3529167"/>
              <a:gd name="connsiteX653" fmla="*/ 2939844 w 12188651"/>
              <a:gd name="connsiteY653" fmla="*/ 2508648 h 3529167"/>
              <a:gd name="connsiteX654" fmla="*/ 2993954 w 12188651"/>
              <a:gd name="connsiteY654" fmla="*/ 2539966 h 3529167"/>
              <a:gd name="connsiteX655" fmla="*/ 2993954 w 12188651"/>
              <a:gd name="connsiteY655" fmla="*/ 2916805 h 3529167"/>
              <a:gd name="connsiteX656" fmla="*/ 2938907 w 12188651"/>
              <a:gd name="connsiteY656" fmla="*/ 2884945 h 3529167"/>
              <a:gd name="connsiteX657" fmla="*/ 2668516 w 12188651"/>
              <a:gd name="connsiteY657" fmla="*/ 2728456 h 3529167"/>
              <a:gd name="connsiteX658" fmla="*/ 598171 w 12188651"/>
              <a:gd name="connsiteY658" fmla="*/ 2351626 h 3529167"/>
              <a:gd name="connsiteX659" fmla="*/ 598171 w 12188651"/>
              <a:gd name="connsiteY659" fmla="*/ 2728434 h 3529167"/>
              <a:gd name="connsiteX660" fmla="*/ 272607 w 12188651"/>
              <a:gd name="connsiteY660" fmla="*/ 2916778 h 3529167"/>
              <a:gd name="connsiteX661" fmla="*/ 272607 w 12188651"/>
              <a:gd name="connsiteY661" fmla="*/ 2539968 h 3529167"/>
              <a:gd name="connsiteX662" fmla="*/ 614543 w 12188651"/>
              <a:gd name="connsiteY662" fmla="*/ 2351612 h 3529167"/>
              <a:gd name="connsiteX663" fmla="*/ 939976 w 12188651"/>
              <a:gd name="connsiteY663" fmla="*/ 2539953 h 3529167"/>
              <a:gd name="connsiteX664" fmla="*/ 939976 w 12188651"/>
              <a:gd name="connsiteY664" fmla="*/ 2916793 h 3529167"/>
              <a:gd name="connsiteX665" fmla="*/ 614543 w 12188651"/>
              <a:gd name="connsiteY665" fmla="*/ 2728448 h 3529167"/>
              <a:gd name="connsiteX666" fmla="*/ 11559549 w 12188651"/>
              <a:gd name="connsiteY666" fmla="*/ 2346879 h 3529167"/>
              <a:gd name="connsiteX667" fmla="*/ 11893312 w 12188651"/>
              <a:gd name="connsiteY667" fmla="*/ 2540032 h 3529167"/>
              <a:gd name="connsiteX668" fmla="*/ 11893312 w 12188651"/>
              <a:gd name="connsiteY668" fmla="*/ 2926321 h 3529167"/>
              <a:gd name="connsiteX669" fmla="*/ 11559679 w 12188651"/>
              <a:gd name="connsiteY669" fmla="*/ 3119473 h 3529167"/>
              <a:gd name="connsiteX670" fmla="*/ 11225916 w 12188651"/>
              <a:gd name="connsiteY670" fmla="*/ 2926321 h 3529167"/>
              <a:gd name="connsiteX671" fmla="*/ 11225916 w 12188651"/>
              <a:gd name="connsiteY671" fmla="*/ 2540032 h 3529167"/>
              <a:gd name="connsiteX672" fmla="*/ 9505601 w 12188651"/>
              <a:gd name="connsiteY672" fmla="*/ 2346870 h 3529167"/>
              <a:gd name="connsiteX673" fmla="*/ 9839364 w 12188651"/>
              <a:gd name="connsiteY673" fmla="*/ 2540021 h 3529167"/>
              <a:gd name="connsiteX674" fmla="*/ 9839364 w 12188651"/>
              <a:gd name="connsiteY674" fmla="*/ 2926315 h 3529167"/>
              <a:gd name="connsiteX675" fmla="*/ 9505732 w 12188651"/>
              <a:gd name="connsiteY675" fmla="*/ 3119464 h 3529167"/>
              <a:gd name="connsiteX676" fmla="*/ 9171969 w 12188651"/>
              <a:gd name="connsiteY676" fmla="*/ 2926315 h 3529167"/>
              <a:gd name="connsiteX677" fmla="*/ 9171969 w 12188651"/>
              <a:gd name="connsiteY677" fmla="*/ 2540021 h 3529167"/>
              <a:gd name="connsiteX678" fmla="*/ 7451785 w 12188651"/>
              <a:gd name="connsiteY678" fmla="*/ 2346860 h 3529167"/>
              <a:gd name="connsiteX679" fmla="*/ 7785548 w 12188651"/>
              <a:gd name="connsiteY679" fmla="*/ 2540012 h 3529167"/>
              <a:gd name="connsiteX680" fmla="*/ 7785548 w 12188651"/>
              <a:gd name="connsiteY680" fmla="*/ 2926298 h 3529167"/>
              <a:gd name="connsiteX681" fmla="*/ 7451915 w 12188651"/>
              <a:gd name="connsiteY681" fmla="*/ 3119455 h 3529167"/>
              <a:gd name="connsiteX682" fmla="*/ 7118150 w 12188651"/>
              <a:gd name="connsiteY682" fmla="*/ 2926298 h 3529167"/>
              <a:gd name="connsiteX683" fmla="*/ 7118150 w 12188651"/>
              <a:gd name="connsiteY683" fmla="*/ 2540012 h 3529167"/>
              <a:gd name="connsiteX684" fmla="*/ 5397883 w 12188651"/>
              <a:gd name="connsiteY684" fmla="*/ 2346843 h 3529167"/>
              <a:gd name="connsiteX685" fmla="*/ 5731616 w 12188651"/>
              <a:gd name="connsiteY685" fmla="*/ 2539987 h 3529167"/>
              <a:gd name="connsiteX686" fmla="*/ 5731616 w 12188651"/>
              <a:gd name="connsiteY686" fmla="*/ 2926288 h 3529167"/>
              <a:gd name="connsiteX687" fmla="*/ 5397992 w 12188651"/>
              <a:gd name="connsiteY687" fmla="*/ 3119437 h 3529167"/>
              <a:gd name="connsiteX688" fmla="*/ 5293503 w 12188651"/>
              <a:gd name="connsiteY688" fmla="*/ 3058968 h 3529167"/>
              <a:gd name="connsiteX689" fmla="*/ 5064269 w 12188651"/>
              <a:gd name="connsiteY689" fmla="*/ 2926298 h 3529167"/>
              <a:gd name="connsiteX690" fmla="*/ 5064269 w 12188651"/>
              <a:gd name="connsiteY690" fmla="*/ 2539997 h 3529167"/>
              <a:gd name="connsiteX691" fmla="*/ 3344089 w 12188651"/>
              <a:gd name="connsiteY691" fmla="*/ 2346826 h 3529167"/>
              <a:gd name="connsiteX692" fmla="*/ 3412199 w 12188651"/>
              <a:gd name="connsiteY692" fmla="*/ 2386238 h 3529167"/>
              <a:gd name="connsiteX693" fmla="*/ 3665295 w 12188651"/>
              <a:gd name="connsiteY693" fmla="*/ 2532714 h 3529167"/>
              <a:gd name="connsiteX694" fmla="*/ 3677820 w 12188651"/>
              <a:gd name="connsiteY694" fmla="*/ 2539966 h 3529167"/>
              <a:gd name="connsiteX695" fmla="*/ 3677820 w 12188651"/>
              <a:gd name="connsiteY695" fmla="*/ 2926275 h 3529167"/>
              <a:gd name="connsiteX696" fmla="*/ 3344194 w 12188651"/>
              <a:gd name="connsiteY696" fmla="*/ 3119426 h 3529167"/>
              <a:gd name="connsiteX697" fmla="*/ 3184341 w 12188651"/>
              <a:gd name="connsiteY697" fmla="*/ 3026916 h 3529167"/>
              <a:gd name="connsiteX698" fmla="*/ 3010455 w 12188651"/>
              <a:gd name="connsiteY698" fmla="*/ 2926288 h 3529167"/>
              <a:gd name="connsiteX699" fmla="*/ 3010455 w 12188651"/>
              <a:gd name="connsiteY699" fmla="*/ 2539980 h 3529167"/>
              <a:gd name="connsiteX700" fmla="*/ 1290108 w 12188651"/>
              <a:gd name="connsiteY700" fmla="*/ 2346810 h 3529167"/>
              <a:gd name="connsiteX701" fmla="*/ 1351079 w 12188651"/>
              <a:gd name="connsiteY701" fmla="*/ 2382092 h 3529167"/>
              <a:gd name="connsiteX702" fmla="*/ 1535796 w 12188651"/>
              <a:gd name="connsiteY702" fmla="*/ 2488993 h 3529167"/>
              <a:gd name="connsiteX703" fmla="*/ 1623847 w 12188651"/>
              <a:gd name="connsiteY703" fmla="*/ 2539954 h 3529167"/>
              <a:gd name="connsiteX704" fmla="*/ 1623847 w 12188651"/>
              <a:gd name="connsiteY704" fmla="*/ 2926261 h 3529167"/>
              <a:gd name="connsiteX705" fmla="*/ 1290218 w 12188651"/>
              <a:gd name="connsiteY705" fmla="*/ 3119416 h 3529167"/>
              <a:gd name="connsiteX706" fmla="*/ 1213315 w 12188651"/>
              <a:gd name="connsiteY706" fmla="*/ 3074912 h 3529167"/>
              <a:gd name="connsiteX707" fmla="*/ 963641 w 12188651"/>
              <a:gd name="connsiteY707" fmla="*/ 2930424 h 3529167"/>
              <a:gd name="connsiteX708" fmla="*/ 956477 w 12188651"/>
              <a:gd name="connsiteY708" fmla="*/ 2926279 h 3529167"/>
              <a:gd name="connsiteX709" fmla="*/ 956477 w 12188651"/>
              <a:gd name="connsiteY709" fmla="*/ 2539968 h 3529167"/>
              <a:gd name="connsiteX710" fmla="*/ 10190640 w 12188651"/>
              <a:gd name="connsiteY710" fmla="*/ 2346481 h 3529167"/>
              <a:gd name="connsiteX711" fmla="*/ 10524404 w 12188651"/>
              <a:gd name="connsiteY711" fmla="*/ 2539629 h 3529167"/>
              <a:gd name="connsiteX712" fmla="*/ 10524404 w 12188651"/>
              <a:gd name="connsiteY712" fmla="*/ 2925801 h 3529167"/>
              <a:gd name="connsiteX713" fmla="*/ 10190640 w 12188651"/>
              <a:gd name="connsiteY713" fmla="*/ 3118955 h 3529167"/>
              <a:gd name="connsiteX714" fmla="*/ 9856876 w 12188651"/>
              <a:gd name="connsiteY714" fmla="*/ 2925801 h 3529167"/>
              <a:gd name="connsiteX715" fmla="*/ 9856876 w 12188651"/>
              <a:gd name="connsiteY715" fmla="*/ 2539629 h 3529167"/>
              <a:gd name="connsiteX716" fmla="*/ 8136693 w 12188651"/>
              <a:gd name="connsiteY716" fmla="*/ 2346470 h 3529167"/>
              <a:gd name="connsiteX717" fmla="*/ 8470456 w 12188651"/>
              <a:gd name="connsiteY717" fmla="*/ 2539621 h 3529167"/>
              <a:gd name="connsiteX718" fmla="*/ 8470456 w 12188651"/>
              <a:gd name="connsiteY718" fmla="*/ 2925792 h 3529167"/>
              <a:gd name="connsiteX719" fmla="*/ 8136693 w 12188651"/>
              <a:gd name="connsiteY719" fmla="*/ 3118942 h 3529167"/>
              <a:gd name="connsiteX720" fmla="*/ 7802930 w 12188651"/>
              <a:gd name="connsiteY720" fmla="*/ 2925792 h 3529167"/>
              <a:gd name="connsiteX721" fmla="*/ 7802930 w 12188651"/>
              <a:gd name="connsiteY721" fmla="*/ 2539621 h 3529167"/>
              <a:gd name="connsiteX722" fmla="*/ 6082876 w 12188651"/>
              <a:gd name="connsiteY722" fmla="*/ 2346447 h 3529167"/>
              <a:gd name="connsiteX723" fmla="*/ 6416638 w 12188651"/>
              <a:gd name="connsiteY723" fmla="*/ 2539608 h 3529167"/>
              <a:gd name="connsiteX724" fmla="*/ 6416638 w 12188651"/>
              <a:gd name="connsiteY724" fmla="*/ 2925780 h 3529167"/>
              <a:gd name="connsiteX725" fmla="*/ 6082876 w 12188651"/>
              <a:gd name="connsiteY725" fmla="*/ 3118929 h 3529167"/>
              <a:gd name="connsiteX726" fmla="*/ 5749138 w 12188651"/>
              <a:gd name="connsiteY726" fmla="*/ 2925780 h 3529167"/>
              <a:gd name="connsiteX727" fmla="*/ 5749138 w 12188651"/>
              <a:gd name="connsiteY727" fmla="*/ 2539608 h 3529167"/>
              <a:gd name="connsiteX728" fmla="*/ 4029122 w 12188651"/>
              <a:gd name="connsiteY728" fmla="*/ 2346439 h 3529167"/>
              <a:gd name="connsiteX729" fmla="*/ 4326678 w 12188651"/>
              <a:gd name="connsiteY729" fmla="*/ 2518660 h 3529167"/>
              <a:gd name="connsiteX730" fmla="*/ 4362838 w 12188651"/>
              <a:gd name="connsiteY730" fmla="*/ 2539591 h 3529167"/>
              <a:gd name="connsiteX731" fmla="*/ 4362838 w 12188651"/>
              <a:gd name="connsiteY731" fmla="*/ 2925766 h 3529167"/>
              <a:gd name="connsiteX732" fmla="*/ 4029115 w 12188651"/>
              <a:gd name="connsiteY732" fmla="*/ 3118919 h 3529167"/>
              <a:gd name="connsiteX733" fmla="*/ 3695364 w 12188651"/>
              <a:gd name="connsiteY733" fmla="*/ 2925772 h 3529167"/>
              <a:gd name="connsiteX734" fmla="*/ 3695364 w 12188651"/>
              <a:gd name="connsiteY734" fmla="*/ 2539591 h 3529167"/>
              <a:gd name="connsiteX735" fmla="*/ 1975147 w 12188651"/>
              <a:gd name="connsiteY735" fmla="*/ 2346423 h 3529167"/>
              <a:gd name="connsiteX736" fmla="*/ 2308913 w 12188651"/>
              <a:gd name="connsiteY736" fmla="*/ 2539575 h 3529167"/>
              <a:gd name="connsiteX737" fmla="*/ 2308913 w 12188651"/>
              <a:gd name="connsiteY737" fmla="*/ 2925753 h 3529167"/>
              <a:gd name="connsiteX738" fmla="*/ 1975142 w 12188651"/>
              <a:gd name="connsiteY738" fmla="*/ 3118908 h 3529167"/>
              <a:gd name="connsiteX739" fmla="*/ 1641385 w 12188651"/>
              <a:gd name="connsiteY739" fmla="*/ 2925755 h 3529167"/>
              <a:gd name="connsiteX740" fmla="*/ 1641385 w 12188651"/>
              <a:gd name="connsiteY740" fmla="*/ 2539579 h 3529167"/>
              <a:gd name="connsiteX741" fmla="*/ 11902654 w 12188651"/>
              <a:gd name="connsiteY741" fmla="*/ 2148664 h 3529167"/>
              <a:gd name="connsiteX742" fmla="*/ 12188651 w 12188651"/>
              <a:gd name="connsiteY742" fmla="*/ 2314149 h 3529167"/>
              <a:gd name="connsiteX743" fmla="*/ 12188651 w 12188651"/>
              <a:gd name="connsiteY743" fmla="*/ 2359849 h 3529167"/>
              <a:gd name="connsiteX744" fmla="*/ 11902524 w 12188651"/>
              <a:gd name="connsiteY744" fmla="*/ 2525372 h 3529167"/>
              <a:gd name="connsiteX745" fmla="*/ 11577065 w 12188651"/>
              <a:gd name="connsiteY745" fmla="*/ 2337021 h 3529167"/>
              <a:gd name="connsiteX746" fmla="*/ 9848833 w 12188651"/>
              <a:gd name="connsiteY746" fmla="*/ 2148651 h 3529167"/>
              <a:gd name="connsiteX747" fmla="*/ 10174292 w 12188651"/>
              <a:gd name="connsiteY747" fmla="*/ 2337004 h 3529167"/>
              <a:gd name="connsiteX748" fmla="*/ 9848703 w 12188651"/>
              <a:gd name="connsiteY748" fmla="*/ 2525360 h 3529167"/>
              <a:gd name="connsiteX749" fmla="*/ 9523246 w 12188651"/>
              <a:gd name="connsiteY749" fmla="*/ 2337004 h 3529167"/>
              <a:gd name="connsiteX750" fmla="*/ 7794888 w 12188651"/>
              <a:gd name="connsiteY750" fmla="*/ 2148635 h 3529167"/>
              <a:gd name="connsiteX751" fmla="*/ 8120344 w 12188651"/>
              <a:gd name="connsiteY751" fmla="*/ 2336987 h 3529167"/>
              <a:gd name="connsiteX752" fmla="*/ 7794758 w 12188651"/>
              <a:gd name="connsiteY752" fmla="*/ 2525343 h 3529167"/>
              <a:gd name="connsiteX753" fmla="*/ 7469301 w 12188651"/>
              <a:gd name="connsiteY753" fmla="*/ 2336987 h 3529167"/>
              <a:gd name="connsiteX754" fmla="*/ 5741092 w 12188651"/>
              <a:gd name="connsiteY754" fmla="*/ 2148623 h 3529167"/>
              <a:gd name="connsiteX755" fmla="*/ 6066529 w 12188651"/>
              <a:gd name="connsiteY755" fmla="*/ 2336977 h 3529167"/>
              <a:gd name="connsiteX756" fmla="*/ 5740963 w 12188651"/>
              <a:gd name="connsiteY756" fmla="*/ 2525334 h 3529167"/>
              <a:gd name="connsiteX757" fmla="*/ 5415529 w 12188651"/>
              <a:gd name="connsiteY757" fmla="*/ 2336977 h 3529167"/>
              <a:gd name="connsiteX758" fmla="*/ 3687323 w 12188651"/>
              <a:gd name="connsiteY758" fmla="*/ 2148612 h 3529167"/>
              <a:gd name="connsiteX759" fmla="*/ 4012773 w 12188651"/>
              <a:gd name="connsiteY759" fmla="*/ 2336961 h 3529167"/>
              <a:gd name="connsiteX760" fmla="*/ 3687187 w 12188651"/>
              <a:gd name="connsiteY760" fmla="*/ 2525317 h 3529167"/>
              <a:gd name="connsiteX761" fmla="*/ 3465770 w 12188651"/>
              <a:gd name="connsiteY761" fmla="*/ 2397169 h 3529167"/>
              <a:gd name="connsiteX762" fmla="*/ 3361734 w 12188651"/>
              <a:gd name="connsiteY762" fmla="*/ 2336966 h 3529167"/>
              <a:gd name="connsiteX763" fmla="*/ 1633341 w 12188651"/>
              <a:gd name="connsiteY763" fmla="*/ 2148592 h 3529167"/>
              <a:gd name="connsiteX764" fmla="*/ 1958797 w 12188651"/>
              <a:gd name="connsiteY764" fmla="*/ 2336948 h 3529167"/>
              <a:gd name="connsiteX765" fmla="*/ 1633208 w 12188651"/>
              <a:gd name="connsiteY765" fmla="*/ 2525303 h 3529167"/>
              <a:gd name="connsiteX766" fmla="*/ 1561718 w 12188651"/>
              <a:gd name="connsiteY766" fmla="*/ 2483930 h 3529167"/>
              <a:gd name="connsiteX767" fmla="*/ 1307753 w 12188651"/>
              <a:gd name="connsiteY767" fmla="*/ 2336948 h 3529167"/>
              <a:gd name="connsiteX768" fmla="*/ 11113840 w 12188651"/>
              <a:gd name="connsiteY768" fmla="*/ 1984709 h 3529167"/>
              <a:gd name="connsiteX769" fmla="*/ 11141600 w 12188651"/>
              <a:gd name="connsiteY769" fmla="*/ 1996254 h 3529167"/>
              <a:gd name="connsiteX770" fmla="*/ 11206199 w 12188651"/>
              <a:gd name="connsiteY770" fmla="*/ 2060984 h 3529167"/>
              <a:gd name="connsiteX771" fmla="*/ 11217744 w 12188651"/>
              <a:gd name="connsiteY771" fmla="*/ 2072657 h 3529167"/>
              <a:gd name="connsiteX772" fmla="*/ 11229289 w 12188651"/>
              <a:gd name="connsiteY772" fmla="*/ 2060984 h 3529167"/>
              <a:gd name="connsiteX773" fmla="*/ 11293758 w 12188651"/>
              <a:gd name="connsiteY773" fmla="*/ 1996254 h 3529167"/>
              <a:gd name="connsiteX774" fmla="*/ 11321517 w 12188651"/>
              <a:gd name="connsiteY774" fmla="*/ 1984709 h 3529167"/>
              <a:gd name="connsiteX775" fmla="*/ 11349147 w 12188651"/>
              <a:gd name="connsiteY775" fmla="*/ 1996254 h 3529167"/>
              <a:gd name="connsiteX776" fmla="*/ 11427627 w 12188651"/>
              <a:gd name="connsiteY776" fmla="*/ 2074862 h 3529167"/>
              <a:gd name="connsiteX777" fmla="*/ 11439169 w 12188651"/>
              <a:gd name="connsiteY777" fmla="*/ 2102615 h 3529167"/>
              <a:gd name="connsiteX778" fmla="*/ 11427757 w 12188651"/>
              <a:gd name="connsiteY778" fmla="*/ 2130362 h 3529167"/>
              <a:gd name="connsiteX779" fmla="*/ 11217744 w 12188651"/>
              <a:gd name="connsiteY779" fmla="*/ 2340772 h 3529167"/>
              <a:gd name="connsiteX780" fmla="*/ 11007731 w 12188651"/>
              <a:gd name="connsiteY780" fmla="*/ 2130362 h 3529167"/>
              <a:gd name="connsiteX781" fmla="*/ 10996254 w 12188651"/>
              <a:gd name="connsiteY781" fmla="*/ 2102632 h 3529167"/>
              <a:gd name="connsiteX782" fmla="*/ 11007731 w 12188651"/>
              <a:gd name="connsiteY782" fmla="*/ 2074992 h 3529167"/>
              <a:gd name="connsiteX783" fmla="*/ 11086210 w 12188651"/>
              <a:gd name="connsiteY783" fmla="*/ 1996254 h 3529167"/>
              <a:gd name="connsiteX784" fmla="*/ 11113840 w 12188651"/>
              <a:gd name="connsiteY784" fmla="*/ 1984709 h 3529167"/>
              <a:gd name="connsiteX785" fmla="*/ 9059892 w 12188651"/>
              <a:gd name="connsiteY785" fmla="*/ 1984692 h 3529167"/>
              <a:gd name="connsiteX786" fmla="*/ 9087652 w 12188651"/>
              <a:gd name="connsiteY786" fmla="*/ 1996238 h 3529167"/>
              <a:gd name="connsiteX787" fmla="*/ 9152251 w 12188651"/>
              <a:gd name="connsiteY787" fmla="*/ 2060967 h 3529167"/>
              <a:gd name="connsiteX788" fmla="*/ 9163796 w 12188651"/>
              <a:gd name="connsiteY788" fmla="*/ 2072641 h 3529167"/>
              <a:gd name="connsiteX789" fmla="*/ 9175341 w 12188651"/>
              <a:gd name="connsiteY789" fmla="*/ 2060967 h 3529167"/>
              <a:gd name="connsiteX790" fmla="*/ 9239810 w 12188651"/>
              <a:gd name="connsiteY790" fmla="*/ 1996238 h 3529167"/>
              <a:gd name="connsiteX791" fmla="*/ 9267570 w 12188651"/>
              <a:gd name="connsiteY791" fmla="*/ 1984692 h 3529167"/>
              <a:gd name="connsiteX792" fmla="*/ 9295200 w 12188651"/>
              <a:gd name="connsiteY792" fmla="*/ 1996238 h 3529167"/>
              <a:gd name="connsiteX793" fmla="*/ 9373678 w 12188651"/>
              <a:gd name="connsiteY793" fmla="*/ 2074846 h 3529167"/>
              <a:gd name="connsiteX794" fmla="*/ 9385220 w 12188651"/>
              <a:gd name="connsiteY794" fmla="*/ 2102601 h 3529167"/>
              <a:gd name="connsiteX795" fmla="*/ 9373809 w 12188651"/>
              <a:gd name="connsiteY795" fmla="*/ 2130340 h 3529167"/>
              <a:gd name="connsiteX796" fmla="*/ 9163797 w 12188651"/>
              <a:gd name="connsiteY796" fmla="*/ 2340755 h 3529167"/>
              <a:gd name="connsiteX797" fmla="*/ 8953784 w 12188651"/>
              <a:gd name="connsiteY797" fmla="*/ 2130340 h 3529167"/>
              <a:gd name="connsiteX798" fmla="*/ 8942307 w 12188651"/>
              <a:gd name="connsiteY798" fmla="*/ 2102615 h 3529167"/>
              <a:gd name="connsiteX799" fmla="*/ 8953783 w 12188651"/>
              <a:gd name="connsiteY799" fmla="*/ 2074978 h 3529167"/>
              <a:gd name="connsiteX800" fmla="*/ 9032263 w 12188651"/>
              <a:gd name="connsiteY800" fmla="*/ 1996238 h 3529167"/>
              <a:gd name="connsiteX801" fmla="*/ 9059892 w 12188651"/>
              <a:gd name="connsiteY801" fmla="*/ 1984692 h 3529167"/>
              <a:gd name="connsiteX802" fmla="*/ 7006076 w 12188651"/>
              <a:gd name="connsiteY802" fmla="*/ 1984677 h 3529167"/>
              <a:gd name="connsiteX803" fmla="*/ 7033834 w 12188651"/>
              <a:gd name="connsiteY803" fmla="*/ 1996221 h 3529167"/>
              <a:gd name="connsiteX804" fmla="*/ 7098434 w 12188651"/>
              <a:gd name="connsiteY804" fmla="*/ 2060951 h 3529167"/>
              <a:gd name="connsiteX805" fmla="*/ 7109978 w 12188651"/>
              <a:gd name="connsiteY805" fmla="*/ 2072625 h 3529167"/>
              <a:gd name="connsiteX806" fmla="*/ 7121523 w 12188651"/>
              <a:gd name="connsiteY806" fmla="*/ 2060951 h 3529167"/>
              <a:gd name="connsiteX807" fmla="*/ 7185994 w 12188651"/>
              <a:gd name="connsiteY807" fmla="*/ 1996221 h 3529167"/>
              <a:gd name="connsiteX808" fmla="*/ 7213751 w 12188651"/>
              <a:gd name="connsiteY808" fmla="*/ 1984677 h 3529167"/>
              <a:gd name="connsiteX809" fmla="*/ 7241381 w 12188651"/>
              <a:gd name="connsiteY809" fmla="*/ 1996221 h 3529167"/>
              <a:gd name="connsiteX810" fmla="*/ 7319862 w 12188651"/>
              <a:gd name="connsiteY810" fmla="*/ 2074831 h 3529167"/>
              <a:gd name="connsiteX811" fmla="*/ 7331403 w 12188651"/>
              <a:gd name="connsiteY811" fmla="*/ 2102583 h 3529167"/>
              <a:gd name="connsiteX812" fmla="*/ 7319992 w 12188651"/>
              <a:gd name="connsiteY812" fmla="*/ 2130329 h 3529167"/>
              <a:gd name="connsiteX813" fmla="*/ 7109978 w 12188651"/>
              <a:gd name="connsiteY813" fmla="*/ 2340739 h 3529167"/>
              <a:gd name="connsiteX814" fmla="*/ 6899966 w 12188651"/>
              <a:gd name="connsiteY814" fmla="*/ 2130329 h 3529167"/>
              <a:gd name="connsiteX815" fmla="*/ 6888488 w 12188651"/>
              <a:gd name="connsiteY815" fmla="*/ 2102601 h 3529167"/>
              <a:gd name="connsiteX816" fmla="*/ 6899966 w 12188651"/>
              <a:gd name="connsiteY816" fmla="*/ 2074961 h 3529167"/>
              <a:gd name="connsiteX817" fmla="*/ 6978446 w 12188651"/>
              <a:gd name="connsiteY817" fmla="*/ 1996221 h 3529167"/>
              <a:gd name="connsiteX818" fmla="*/ 7006076 w 12188651"/>
              <a:gd name="connsiteY818" fmla="*/ 1984677 h 3529167"/>
              <a:gd name="connsiteX819" fmla="*/ 4952163 w 12188651"/>
              <a:gd name="connsiteY819" fmla="*/ 1984659 h 3529167"/>
              <a:gd name="connsiteX820" fmla="*/ 4979931 w 12188651"/>
              <a:gd name="connsiteY820" fmla="*/ 1996205 h 3529167"/>
              <a:gd name="connsiteX821" fmla="*/ 5021209 w 12188651"/>
              <a:gd name="connsiteY821" fmla="*/ 2037554 h 3529167"/>
              <a:gd name="connsiteX822" fmla="*/ 5044521 w 12188651"/>
              <a:gd name="connsiteY822" fmla="*/ 2060919 h 3529167"/>
              <a:gd name="connsiteX823" fmla="*/ 5056083 w 12188651"/>
              <a:gd name="connsiteY823" fmla="*/ 2072595 h 3529167"/>
              <a:gd name="connsiteX824" fmla="*/ 5056083 w 12188651"/>
              <a:gd name="connsiteY824" fmla="*/ 2072592 h 3529167"/>
              <a:gd name="connsiteX825" fmla="*/ 5056095 w 12188651"/>
              <a:gd name="connsiteY825" fmla="*/ 2072609 h 3529167"/>
              <a:gd name="connsiteX826" fmla="*/ 5067642 w 12188651"/>
              <a:gd name="connsiteY826" fmla="*/ 2060935 h 3529167"/>
              <a:gd name="connsiteX827" fmla="*/ 5132091 w 12188651"/>
              <a:gd name="connsiteY827" fmla="*/ 1996205 h 3529167"/>
              <a:gd name="connsiteX828" fmla="*/ 5159840 w 12188651"/>
              <a:gd name="connsiteY828" fmla="*/ 1984659 h 3529167"/>
              <a:gd name="connsiteX829" fmla="*/ 5187487 w 12188651"/>
              <a:gd name="connsiteY829" fmla="*/ 1996203 h 3529167"/>
              <a:gd name="connsiteX830" fmla="*/ 5234645 w 12188651"/>
              <a:gd name="connsiteY830" fmla="*/ 2043461 h 3529167"/>
              <a:gd name="connsiteX831" fmla="*/ 5265946 w 12188651"/>
              <a:gd name="connsiteY831" fmla="*/ 2074804 h 3529167"/>
              <a:gd name="connsiteX832" fmla="*/ 5277479 w 12188651"/>
              <a:gd name="connsiteY832" fmla="*/ 2102560 h 3529167"/>
              <a:gd name="connsiteX833" fmla="*/ 5266071 w 12188651"/>
              <a:gd name="connsiteY833" fmla="*/ 2130322 h 3529167"/>
              <a:gd name="connsiteX834" fmla="*/ 5056083 w 12188651"/>
              <a:gd name="connsiteY834" fmla="*/ 2340720 h 3529167"/>
              <a:gd name="connsiteX835" fmla="*/ 4969669 w 12188651"/>
              <a:gd name="connsiteY835" fmla="*/ 2254172 h 3529167"/>
              <a:gd name="connsiteX836" fmla="*/ 4846040 w 12188651"/>
              <a:gd name="connsiteY836" fmla="*/ 2130322 h 3529167"/>
              <a:gd name="connsiteX837" fmla="*/ 4834566 w 12188651"/>
              <a:gd name="connsiteY837" fmla="*/ 2102591 h 3529167"/>
              <a:gd name="connsiteX838" fmla="*/ 4846044 w 12188651"/>
              <a:gd name="connsiteY838" fmla="*/ 2074945 h 3529167"/>
              <a:gd name="connsiteX839" fmla="*/ 4924518 w 12188651"/>
              <a:gd name="connsiteY839" fmla="*/ 1996205 h 3529167"/>
              <a:gd name="connsiteX840" fmla="*/ 4952163 w 12188651"/>
              <a:gd name="connsiteY840" fmla="*/ 1984659 h 3529167"/>
              <a:gd name="connsiteX841" fmla="*/ 2898379 w 12188651"/>
              <a:gd name="connsiteY841" fmla="*/ 1984642 h 3529167"/>
              <a:gd name="connsiteX842" fmla="*/ 2926124 w 12188651"/>
              <a:gd name="connsiteY842" fmla="*/ 1996183 h 3529167"/>
              <a:gd name="connsiteX843" fmla="*/ 2990712 w 12188651"/>
              <a:gd name="connsiteY843" fmla="*/ 2060903 h 3529167"/>
              <a:gd name="connsiteX844" fmla="*/ 3002260 w 12188651"/>
              <a:gd name="connsiteY844" fmla="*/ 2072579 h 3529167"/>
              <a:gd name="connsiteX845" fmla="*/ 3002262 w 12188651"/>
              <a:gd name="connsiteY845" fmla="*/ 2072574 h 3529167"/>
              <a:gd name="connsiteX846" fmla="*/ 3002282 w 12188651"/>
              <a:gd name="connsiteY846" fmla="*/ 2072593 h 3529167"/>
              <a:gd name="connsiteX847" fmla="*/ 3013824 w 12188651"/>
              <a:gd name="connsiteY847" fmla="*/ 2060919 h 3529167"/>
              <a:gd name="connsiteX848" fmla="*/ 3078292 w 12188651"/>
              <a:gd name="connsiteY848" fmla="*/ 1996188 h 3529167"/>
              <a:gd name="connsiteX849" fmla="*/ 3106058 w 12188651"/>
              <a:gd name="connsiteY849" fmla="*/ 1984642 h 3529167"/>
              <a:gd name="connsiteX850" fmla="*/ 3133671 w 12188651"/>
              <a:gd name="connsiteY850" fmla="*/ 1996183 h 3529167"/>
              <a:gd name="connsiteX851" fmla="*/ 3212141 w 12188651"/>
              <a:gd name="connsiteY851" fmla="*/ 2074784 h 3529167"/>
              <a:gd name="connsiteX852" fmla="*/ 3223687 w 12188651"/>
              <a:gd name="connsiteY852" fmla="*/ 2102544 h 3529167"/>
              <a:gd name="connsiteX853" fmla="*/ 3212272 w 12188651"/>
              <a:gd name="connsiteY853" fmla="*/ 2130304 h 3529167"/>
              <a:gd name="connsiteX854" fmla="*/ 3002263 w 12188651"/>
              <a:gd name="connsiteY854" fmla="*/ 2340706 h 3529167"/>
              <a:gd name="connsiteX855" fmla="*/ 2792272 w 12188651"/>
              <a:gd name="connsiteY855" fmla="*/ 2130322 h 3529167"/>
              <a:gd name="connsiteX856" fmla="*/ 2792272 w 12188651"/>
              <a:gd name="connsiteY856" fmla="*/ 2074929 h 3529167"/>
              <a:gd name="connsiteX857" fmla="*/ 2870746 w 12188651"/>
              <a:gd name="connsiteY857" fmla="*/ 1996188 h 3529167"/>
              <a:gd name="connsiteX858" fmla="*/ 2898379 w 12188651"/>
              <a:gd name="connsiteY858" fmla="*/ 1984642 h 3529167"/>
              <a:gd name="connsiteX859" fmla="*/ 844398 w 12188651"/>
              <a:gd name="connsiteY859" fmla="*/ 1984626 h 3529167"/>
              <a:gd name="connsiteX860" fmla="*/ 872148 w 12188651"/>
              <a:gd name="connsiteY860" fmla="*/ 1996168 h 3529167"/>
              <a:gd name="connsiteX861" fmla="*/ 936736 w 12188651"/>
              <a:gd name="connsiteY861" fmla="*/ 2060888 h 3529167"/>
              <a:gd name="connsiteX862" fmla="*/ 948281 w 12188651"/>
              <a:gd name="connsiteY862" fmla="*/ 2072562 h 3529167"/>
              <a:gd name="connsiteX863" fmla="*/ 948285 w 12188651"/>
              <a:gd name="connsiteY863" fmla="*/ 2072558 h 3529167"/>
              <a:gd name="connsiteX864" fmla="*/ 948304 w 12188651"/>
              <a:gd name="connsiteY864" fmla="*/ 2072577 h 3529167"/>
              <a:gd name="connsiteX865" fmla="*/ 959848 w 12188651"/>
              <a:gd name="connsiteY865" fmla="*/ 2060903 h 3529167"/>
              <a:gd name="connsiteX866" fmla="*/ 1024318 w 12188651"/>
              <a:gd name="connsiteY866" fmla="*/ 1996172 h 3529167"/>
              <a:gd name="connsiteX867" fmla="*/ 1052077 w 12188651"/>
              <a:gd name="connsiteY867" fmla="*/ 1984626 h 3529167"/>
              <a:gd name="connsiteX868" fmla="*/ 1079695 w 12188651"/>
              <a:gd name="connsiteY868" fmla="*/ 1996168 h 3529167"/>
              <a:gd name="connsiteX869" fmla="*/ 1158163 w 12188651"/>
              <a:gd name="connsiteY869" fmla="*/ 2074768 h 3529167"/>
              <a:gd name="connsiteX870" fmla="*/ 1169708 w 12188651"/>
              <a:gd name="connsiteY870" fmla="*/ 2102528 h 3529167"/>
              <a:gd name="connsiteX871" fmla="*/ 1158294 w 12188651"/>
              <a:gd name="connsiteY871" fmla="*/ 2130289 h 3529167"/>
              <a:gd name="connsiteX872" fmla="*/ 948285 w 12188651"/>
              <a:gd name="connsiteY872" fmla="*/ 2340695 h 3529167"/>
              <a:gd name="connsiteX873" fmla="*/ 738292 w 12188651"/>
              <a:gd name="connsiteY873" fmla="*/ 2130304 h 3529167"/>
              <a:gd name="connsiteX874" fmla="*/ 738292 w 12188651"/>
              <a:gd name="connsiteY874" fmla="*/ 2074914 h 3529167"/>
              <a:gd name="connsiteX875" fmla="*/ 816770 w 12188651"/>
              <a:gd name="connsiteY875" fmla="*/ 1996172 h 3529167"/>
              <a:gd name="connsiteX876" fmla="*/ 844398 w 12188651"/>
              <a:gd name="connsiteY876" fmla="*/ 1984626 h 3529167"/>
              <a:gd name="connsiteX877" fmla="*/ 11113840 w 12188651"/>
              <a:gd name="connsiteY877" fmla="*/ 1968219 h 3529167"/>
              <a:gd name="connsiteX878" fmla="*/ 11074665 w 12188651"/>
              <a:gd name="connsiteY878" fmla="*/ 1984563 h 3529167"/>
              <a:gd name="connsiteX879" fmla="*/ 10996186 w 12188651"/>
              <a:gd name="connsiteY879" fmla="*/ 2063301 h 3529167"/>
              <a:gd name="connsiteX880" fmla="*/ 10979939 w 12188651"/>
              <a:gd name="connsiteY880" fmla="*/ 2102607 h 3529167"/>
              <a:gd name="connsiteX881" fmla="*/ 10979942 w 12188651"/>
              <a:gd name="connsiteY881" fmla="*/ 2102615 h 3529167"/>
              <a:gd name="connsiteX882" fmla="*/ 10979939 w 12188651"/>
              <a:gd name="connsiteY882" fmla="*/ 2102624 h 3529167"/>
              <a:gd name="connsiteX883" fmla="*/ 10996186 w 12188651"/>
              <a:gd name="connsiteY883" fmla="*/ 2141922 h 3529167"/>
              <a:gd name="connsiteX884" fmla="*/ 11217744 w 12188651"/>
              <a:gd name="connsiteY884" fmla="*/ 2364005 h 3529167"/>
              <a:gd name="connsiteX885" fmla="*/ 11439301 w 12188651"/>
              <a:gd name="connsiteY885" fmla="*/ 2141922 h 3529167"/>
              <a:gd name="connsiteX886" fmla="*/ 11455548 w 12188651"/>
              <a:gd name="connsiteY886" fmla="*/ 2102624 h 3529167"/>
              <a:gd name="connsiteX887" fmla="*/ 11455545 w 12188651"/>
              <a:gd name="connsiteY887" fmla="*/ 2102615 h 3529167"/>
              <a:gd name="connsiteX888" fmla="*/ 11455548 w 12188651"/>
              <a:gd name="connsiteY888" fmla="*/ 2102607 h 3529167"/>
              <a:gd name="connsiteX889" fmla="*/ 11439301 w 12188651"/>
              <a:gd name="connsiteY889" fmla="*/ 2063301 h 3529167"/>
              <a:gd name="connsiteX890" fmla="*/ 11360822 w 12188651"/>
              <a:gd name="connsiteY890" fmla="*/ 1984693 h 3529167"/>
              <a:gd name="connsiteX891" fmla="*/ 11321647 w 12188651"/>
              <a:gd name="connsiteY891" fmla="*/ 1968348 h 3529167"/>
              <a:gd name="connsiteX892" fmla="*/ 11321517 w 12188651"/>
              <a:gd name="connsiteY892" fmla="*/ 1968219 h 3529167"/>
              <a:gd name="connsiteX893" fmla="*/ 11282213 w 12188651"/>
              <a:gd name="connsiteY893" fmla="*/ 1984693 h 3529167"/>
              <a:gd name="connsiteX894" fmla="*/ 11217744 w 12188651"/>
              <a:gd name="connsiteY894" fmla="*/ 2049294 h 3529167"/>
              <a:gd name="connsiteX895" fmla="*/ 11153145 w 12188651"/>
              <a:gd name="connsiteY895" fmla="*/ 1984563 h 3529167"/>
              <a:gd name="connsiteX896" fmla="*/ 11113840 w 12188651"/>
              <a:gd name="connsiteY896" fmla="*/ 1968219 h 3529167"/>
              <a:gd name="connsiteX897" fmla="*/ 9059893 w 12188651"/>
              <a:gd name="connsiteY897" fmla="*/ 1968203 h 3529167"/>
              <a:gd name="connsiteX898" fmla="*/ 9020718 w 12188651"/>
              <a:gd name="connsiteY898" fmla="*/ 1984547 h 3529167"/>
              <a:gd name="connsiteX899" fmla="*/ 8942239 w 12188651"/>
              <a:gd name="connsiteY899" fmla="*/ 2063287 h 3529167"/>
              <a:gd name="connsiteX900" fmla="*/ 8925992 w 12188651"/>
              <a:gd name="connsiteY900" fmla="*/ 2102593 h 3529167"/>
              <a:gd name="connsiteX901" fmla="*/ 8925994 w 12188651"/>
              <a:gd name="connsiteY901" fmla="*/ 2102598 h 3529167"/>
              <a:gd name="connsiteX902" fmla="*/ 8925991 w 12188651"/>
              <a:gd name="connsiteY902" fmla="*/ 2102606 h 3529167"/>
              <a:gd name="connsiteX903" fmla="*/ 8942238 w 12188651"/>
              <a:gd name="connsiteY903" fmla="*/ 2141902 h 3529167"/>
              <a:gd name="connsiteX904" fmla="*/ 9163796 w 12188651"/>
              <a:gd name="connsiteY904" fmla="*/ 2363983 h 3529167"/>
              <a:gd name="connsiteX905" fmla="*/ 9385353 w 12188651"/>
              <a:gd name="connsiteY905" fmla="*/ 2141902 h 3529167"/>
              <a:gd name="connsiteX906" fmla="*/ 9401600 w 12188651"/>
              <a:gd name="connsiteY906" fmla="*/ 2102606 h 3529167"/>
              <a:gd name="connsiteX907" fmla="*/ 9401598 w 12188651"/>
              <a:gd name="connsiteY907" fmla="*/ 2102601 h 3529167"/>
              <a:gd name="connsiteX908" fmla="*/ 9401601 w 12188651"/>
              <a:gd name="connsiteY908" fmla="*/ 2102593 h 3529167"/>
              <a:gd name="connsiteX909" fmla="*/ 9385354 w 12188651"/>
              <a:gd name="connsiteY909" fmla="*/ 2063287 h 3529167"/>
              <a:gd name="connsiteX910" fmla="*/ 9306876 w 12188651"/>
              <a:gd name="connsiteY910" fmla="*/ 1984677 h 3529167"/>
              <a:gd name="connsiteX911" fmla="*/ 9267701 w 12188651"/>
              <a:gd name="connsiteY911" fmla="*/ 1968333 h 3529167"/>
              <a:gd name="connsiteX912" fmla="*/ 9267571 w 12188651"/>
              <a:gd name="connsiteY912" fmla="*/ 1968203 h 3529167"/>
              <a:gd name="connsiteX913" fmla="*/ 9228266 w 12188651"/>
              <a:gd name="connsiteY913" fmla="*/ 1984677 h 3529167"/>
              <a:gd name="connsiteX914" fmla="*/ 9163797 w 12188651"/>
              <a:gd name="connsiteY914" fmla="*/ 2049278 h 3529167"/>
              <a:gd name="connsiteX915" fmla="*/ 9099198 w 12188651"/>
              <a:gd name="connsiteY915" fmla="*/ 1984547 h 3529167"/>
              <a:gd name="connsiteX916" fmla="*/ 9059893 w 12188651"/>
              <a:gd name="connsiteY916" fmla="*/ 1968203 h 3529167"/>
              <a:gd name="connsiteX917" fmla="*/ 7006076 w 12188651"/>
              <a:gd name="connsiteY917" fmla="*/ 1968186 h 3529167"/>
              <a:gd name="connsiteX918" fmla="*/ 6966901 w 12188651"/>
              <a:gd name="connsiteY918" fmla="*/ 1984530 h 3529167"/>
              <a:gd name="connsiteX919" fmla="*/ 6888421 w 12188651"/>
              <a:gd name="connsiteY919" fmla="*/ 2063270 h 3529167"/>
              <a:gd name="connsiteX920" fmla="*/ 6872173 w 12188651"/>
              <a:gd name="connsiteY920" fmla="*/ 2102577 h 3529167"/>
              <a:gd name="connsiteX921" fmla="*/ 6872176 w 12188651"/>
              <a:gd name="connsiteY921" fmla="*/ 2102583 h 3529167"/>
              <a:gd name="connsiteX922" fmla="*/ 6872173 w 12188651"/>
              <a:gd name="connsiteY922" fmla="*/ 2102591 h 3529167"/>
              <a:gd name="connsiteX923" fmla="*/ 6888421 w 12188651"/>
              <a:gd name="connsiteY923" fmla="*/ 2141896 h 3529167"/>
              <a:gd name="connsiteX924" fmla="*/ 7109978 w 12188651"/>
              <a:gd name="connsiteY924" fmla="*/ 2363976 h 3529167"/>
              <a:gd name="connsiteX925" fmla="*/ 7331537 w 12188651"/>
              <a:gd name="connsiteY925" fmla="*/ 2141896 h 3529167"/>
              <a:gd name="connsiteX926" fmla="*/ 7347783 w 12188651"/>
              <a:gd name="connsiteY926" fmla="*/ 2102591 h 3529167"/>
              <a:gd name="connsiteX927" fmla="*/ 7347780 w 12188651"/>
              <a:gd name="connsiteY927" fmla="*/ 2102583 h 3529167"/>
              <a:gd name="connsiteX928" fmla="*/ 7347783 w 12188651"/>
              <a:gd name="connsiteY928" fmla="*/ 2102577 h 3529167"/>
              <a:gd name="connsiteX929" fmla="*/ 7331537 w 12188651"/>
              <a:gd name="connsiteY929" fmla="*/ 2063270 h 3529167"/>
              <a:gd name="connsiteX930" fmla="*/ 7253057 w 12188651"/>
              <a:gd name="connsiteY930" fmla="*/ 1984660 h 3529167"/>
              <a:gd name="connsiteX931" fmla="*/ 7213882 w 12188651"/>
              <a:gd name="connsiteY931" fmla="*/ 1968316 h 3529167"/>
              <a:gd name="connsiteX932" fmla="*/ 7213751 w 12188651"/>
              <a:gd name="connsiteY932" fmla="*/ 1968186 h 3529167"/>
              <a:gd name="connsiteX933" fmla="*/ 7174449 w 12188651"/>
              <a:gd name="connsiteY933" fmla="*/ 1984660 h 3529167"/>
              <a:gd name="connsiteX934" fmla="*/ 7109978 w 12188651"/>
              <a:gd name="connsiteY934" fmla="*/ 2049261 h 3529167"/>
              <a:gd name="connsiteX935" fmla="*/ 7045379 w 12188651"/>
              <a:gd name="connsiteY935" fmla="*/ 1984530 h 3529167"/>
              <a:gd name="connsiteX936" fmla="*/ 7006076 w 12188651"/>
              <a:gd name="connsiteY936" fmla="*/ 1968186 h 3529167"/>
              <a:gd name="connsiteX937" fmla="*/ 4952154 w 12188651"/>
              <a:gd name="connsiteY937" fmla="*/ 1968169 h 3529167"/>
              <a:gd name="connsiteX938" fmla="*/ 4912971 w 12188651"/>
              <a:gd name="connsiteY938" fmla="*/ 1984514 h 3529167"/>
              <a:gd name="connsiteX939" fmla="*/ 4834497 w 12188651"/>
              <a:gd name="connsiteY939" fmla="*/ 2063254 h 3529167"/>
              <a:gd name="connsiteX940" fmla="*/ 4834497 w 12188651"/>
              <a:gd name="connsiteY940" fmla="*/ 2141866 h 3529167"/>
              <a:gd name="connsiteX941" fmla="*/ 4834505 w 12188651"/>
              <a:gd name="connsiteY941" fmla="*/ 2141879 h 3529167"/>
              <a:gd name="connsiteX942" fmla="*/ 4969761 w 12188651"/>
              <a:gd name="connsiteY942" fmla="*/ 2277444 h 3529167"/>
              <a:gd name="connsiteX943" fmla="*/ 5056083 w 12188651"/>
              <a:gd name="connsiteY943" fmla="*/ 2363949 h 3529167"/>
              <a:gd name="connsiteX944" fmla="*/ 5056083 w 12188651"/>
              <a:gd name="connsiteY944" fmla="*/ 2363940 h 3529167"/>
              <a:gd name="connsiteX945" fmla="*/ 5056095 w 12188651"/>
              <a:gd name="connsiteY945" fmla="*/ 2363964 h 3529167"/>
              <a:gd name="connsiteX946" fmla="*/ 5277619 w 12188651"/>
              <a:gd name="connsiteY946" fmla="*/ 2141879 h 3529167"/>
              <a:gd name="connsiteX947" fmla="*/ 5277619 w 12188651"/>
              <a:gd name="connsiteY947" fmla="*/ 2063270 h 3529167"/>
              <a:gd name="connsiteX948" fmla="*/ 5277615 w 12188651"/>
              <a:gd name="connsiteY948" fmla="*/ 2063260 h 3529167"/>
              <a:gd name="connsiteX949" fmla="*/ 5277613 w 12188651"/>
              <a:gd name="connsiteY949" fmla="*/ 2063254 h 3529167"/>
              <a:gd name="connsiteX950" fmla="*/ 5199129 w 12188651"/>
              <a:gd name="connsiteY950" fmla="*/ 1984644 h 3529167"/>
              <a:gd name="connsiteX951" fmla="*/ 5159958 w 12188651"/>
              <a:gd name="connsiteY951" fmla="*/ 1968300 h 3529167"/>
              <a:gd name="connsiteX952" fmla="*/ 5159834 w 12188651"/>
              <a:gd name="connsiteY952" fmla="*/ 1968169 h 3529167"/>
              <a:gd name="connsiteX953" fmla="*/ 5120536 w 12188651"/>
              <a:gd name="connsiteY953" fmla="*/ 1984644 h 3529167"/>
              <a:gd name="connsiteX954" fmla="*/ 5056083 w 12188651"/>
              <a:gd name="connsiteY954" fmla="*/ 2049243 h 3529167"/>
              <a:gd name="connsiteX955" fmla="*/ 5013371 w 12188651"/>
              <a:gd name="connsiteY955" fmla="*/ 2006464 h 3529167"/>
              <a:gd name="connsiteX956" fmla="*/ 4991465 w 12188651"/>
              <a:gd name="connsiteY956" fmla="*/ 1984514 h 3529167"/>
              <a:gd name="connsiteX957" fmla="*/ 4952154 w 12188651"/>
              <a:gd name="connsiteY957" fmla="*/ 1968169 h 3529167"/>
              <a:gd name="connsiteX958" fmla="*/ 2898356 w 12188651"/>
              <a:gd name="connsiteY958" fmla="*/ 1968153 h 3529167"/>
              <a:gd name="connsiteX959" fmla="*/ 2859181 w 12188651"/>
              <a:gd name="connsiteY959" fmla="*/ 1984498 h 3529167"/>
              <a:gd name="connsiteX960" fmla="*/ 2780699 w 12188651"/>
              <a:gd name="connsiteY960" fmla="*/ 2063238 h 3529167"/>
              <a:gd name="connsiteX961" fmla="*/ 2780699 w 12188651"/>
              <a:gd name="connsiteY961" fmla="*/ 2141849 h 3529167"/>
              <a:gd name="connsiteX962" fmla="*/ 3002260 w 12188651"/>
              <a:gd name="connsiteY962" fmla="*/ 2363931 h 3529167"/>
              <a:gd name="connsiteX963" fmla="*/ 3002263 w 12188651"/>
              <a:gd name="connsiteY963" fmla="*/ 2363925 h 3529167"/>
              <a:gd name="connsiteX964" fmla="*/ 3002282 w 12188651"/>
              <a:gd name="connsiteY964" fmla="*/ 2363946 h 3529167"/>
              <a:gd name="connsiteX965" fmla="*/ 3223840 w 12188651"/>
              <a:gd name="connsiteY965" fmla="*/ 2141866 h 3529167"/>
              <a:gd name="connsiteX966" fmla="*/ 3223840 w 12188651"/>
              <a:gd name="connsiteY966" fmla="*/ 2063254 h 3529167"/>
              <a:gd name="connsiteX967" fmla="*/ 3145359 w 12188651"/>
              <a:gd name="connsiteY967" fmla="*/ 1984642 h 3529167"/>
              <a:gd name="connsiteX968" fmla="*/ 3126988 w 12188651"/>
              <a:gd name="connsiteY968" fmla="*/ 1972385 h 3529167"/>
              <a:gd name="connsiteX969" fmla="*/ 3126965 w 12188651"/>
              <a:gd name="connsiteY969" fmla="*/ 1972369 h 3529167"/>
              <a:gd name="connsiteX970" fmla="*/ 3106173 w 12188651"/>
              <a:gd name="connsiteY970" fmla="*/ 1968284 h 3529167"/>
              <a:gd name="connsiteX971" fmla="*/ 3106058 w 12188651"/>
              <a:gd name="connsiteY971" fmla="*/ 1968169 h 3529167"/>
              <a:gd name="connsiteX972" fmla="*/ 3106050 w 12188651"/>
              <a:gd name="connsiteY972" fmla="*/ 1968170 h 3529167"/>
              <a:gd name="connsiteX973" fmla="*/ 3106032 w 12188651"/>
              <a:gd name="connsiteY973" fmla="*/ 1968153 h 3529167"/>
              <a:gd name="connsiteX974" fmla="*/ 3066728 w 12188651"/>
              <a:gd name="connsiteY974" fmla="*/ 1984627 h 3529167"/>
              <a:gd name="connsiteX975" fmla="*/ 3002263 w 12188651"/>
              <a:gd name="connsiteY975" fmla="*/ 2049224 h 3529167"/>
              <a:gd name="connsiteX976" fmla="*/ 2937683 w 12188651"/>
              <a:gd name="connsiteY976" fmla="*/ 1984514 h 3529167"/>
              <a:gd name="connsiteX977" fmla="*/ 2919295 w 12188651"/>
              <a:gd name="connsiteY977" fmla="*/ 1972255 h 3529167"/>
              <a:gd name="connsiteX978" fmla="*/ 2919269 w 12188651"/>
              <a:gd name="connsiteY978" fmla="*/ 1972239 h 3529167"/>
              <a:gd name="connsiteX979" fmla="*/ 2898356 w 12188651"/>
              <a:gd name="connsiteY979" fmla="*/ 1968153 h 3529167"/>
              <a:gd name="connsiteX980" fmla="*/ 844377 w 12188651"/>
              <a:gd name="connsiteY980" fmla="*/ 1968136 h 3529167"/>
              <a:gd name="connsiteX981" fmla="*/ 805203 w 12188651"/>
              <a:gd name="connsiteY981" fmla="*/ 1984482 h 3529167"/>
              <a:gd name="connsiteX982" fmla="*/ 726723 w 12188651"/>
              <a:gd name="connsiteY982" fmla="*/ 2063222 h 3529167"/>
              <a:gd name="connsiteX983" fmla="*/ 726723 w 12188651"/>
              <a:gd name="connsiteY983" fmla="*/ 2141834 h 3529167"/>
              <a:gd name="connsiteX984" fmla="*/ 948281 w 12188651"/>
              <a:gd name="connsiteY984" fmla="*/ 2363918 h 3529167"/>
              <a:gd name="connsiteX985" fmla="*/ 948286 w 12188651"/>
              <a:gd name="connsiteY985" fmla="*/ 2363911 h 3529167"/>
              <a:gd name="connsiteX986" fmla="*/ 948304 w 12188651"/>
              <a:gd name="connsiteY986" fmla="*/ 2363931 h 3529167"/>
              <a:gd name="connsiteX987" fmla="*/ 1169859 w 12188651"/>
              <a:gd name="connsiteY987" fmla="*/ 2141849 h 3529167"/>
              <a:gd name="connsiteX988" fmla="*/ 1169859 w 12188651"/>
              <a:gd name="connsiteY988" fmla="*/ 2063237 h 3529167"/>
              <a:gd name="connsiteX989" fmla="*/ 1091381 w 12188651"/>
              <a:gd name="connsiteY989" fmla="*/ 1984626 h 3529167"/>
              <a:gd name="connsiteX990" fmla="*/ 1087230 w 12188651"/>
              <a:gd name="connsiteY990" fmla="*/ 1981855 h 3529167"/>
              <a:gd name="connsiteX991" fmla="*/ 1072988 w 12188651"/>
              <a:gd name="connsiteY991" fmla="*/ 1972352 h 3529167"/>
              <a:gd name="connsiteX992" fmla="*/ 1052193 w 12188651"/>
              <a:gd name="connsiteY992" fmla="*/ 1968268 h 3529167"/>
              <a:gd name="connsiteX993" fmla="*/ 1052077 w 12188651"/>
              <a:gd name="connsiteY993" fmla="*/ 1968152 h 3529167"/>
              <a:gd name="connsiteX994" fmla="*/ 1052071 w 12188651"/>
              <a:gd name="connsiteY994" fmla="*/ 1968153 h 3529167"/>
              <a:gd name="connsiteX995" fmla="*/ 1052055 w 12188651"/>
              <a:gd name="connsiteY995" fmla="*/ 1968136 h 3529167"/>
              <a:gd name="connsiteX996" fmla="*/ 1012751 w 12188651"/>
              <a:gd name="connsiteY996" fmla="*/ 1984611 h 3529167"/>
              <a:gd name="connsiteX997" fmla="*/ 948285 w 12188651"/>
              <a:gd name="connsiteY997" fmla="*/ 2049209 h 3529167"/>
              <a:gd name="connsiteX998" fmla="*/ 883704 w 12188651"/>
              <a:gd name="connsiteY998" fmla="*/ 1984497 h 3529167"/>
              <a:gd name="connsiteX999" fmla="*/ 883682 w 12188651"/>
              <a:gd name="connsiteY999" fmla="*/ 1984482 h 3529167"/>
              <a:gd name="connsiteX1000" fmla="*/ 883681 w 12188651"/>
              <a:gd name="connsiteY1000" fmla="*/ 1984482 h 3529167"/>
              <a:gd name="connsiteX1001" fmla="*/ 844377 w 12188651"/>
              <a:gd name="connsiteY1001" fmla="*/ 1968136 h 3529167"/>
              <a:gd name="connsiteX1002" fmla="*/ 11910826 w 12188651"/>
              <a:gd name="connsiteY1002" fmla="*/ 1757693 h 3529167"/>
              <a:gd name="connsiteX1003" fmla="*/ 12188651 w 12188651"/>
              <a:gd name="connsiteY1003" fmla="*/ 1918485 h 3529167"/>
              <a:gd name="connsiteX1004" fmla="*/ 12188651 w 12188651"/>
              <a:gd name="connsiteY1004" fmla="*/ 2295294 h 3529167"/>
              <a:gd name="connsiteX1005" fmla="*/ 11910826 w 12188651"/>
              <a:gd name="connsiteY1005" fmla="*/ 2134524 h 3529167"/>
              <a:gd name="connsiteX1006" fmla="*/ 11894481 w 12188651"/>
              <a:gd name="connsiteY1006" fmla="*/ 1757693 h 3529167"/>
              <a:gd name="connsiteX1007" fmla="*/ 11894481 w 12188651"/>
              <a:gd name="connsiteY1007" fmla="*/ 2134524 h 3529167"/>
              <a:gd name="connsiteX1008" fmla="*/ 11568890 w 12188651"/>
              <a:gd name="connsiteY1008" fmla="*/ 2322864 h 3529167"/>
              <a:gd name="connsiteX1009" fmla="*/ 11568890 w 12188651"/>
              <a:gd name="connsiteY1009" fmla="*/ 1946054 h 3529167"/>
              <a:gd name="connsiteX1010" fmla="*/ 9857006 w 12188651"/>
              <a:gd name="connsiteY1010" fmla="*/ 1757678 h 3529167"/>
              <a:gd name="connsiteX1011" fmla="*/ 10182468 w 12188651"/>
              <a:gd name="connsiteY1011" fmla="*/ 1946038 h 3529167"/>
              <a:gd name="connsiteX1012" fmla="*/ 10182468 w 12188651"/>
              <a:gd name="connsiteY1012" fmla="*/ 2322844 h 3529167"/>
              <a:gd name="connsiteX1013" fmla="*/ 9857006 w 12188651"/>
              <a:gd name="connsiteY1013" fmla="*/ 2134505 h 3529167"/>
              <a:gd name="connsiteX1014" fmla="*/ 9840661 w 12188651"/>
              <a:gd name="connsiteY1014" fmla="*/ 1757678 h 3529167"/>
              <a:gd name="connsiteX1015" fmla="*/ 9840661 w 12188651"/>
              <a:gd name="connsiteY1015" fmla="*/ 2134505 h 3529167"/>
              <a:gd name="connsiteX1016" fmla="*/ 9515070 w 12188651"/>
              <a:gd name="connsiteY1016" fmla="*/ 2322844 h 3529167"/>
              <a:gd name="connsiteX1017" fmla="*/ 9515070 w 12188651"/>
              <a:gd name="connsiteY1017" fmla="*/ 1946038 h 3529167"/>
              <a:gd name="connsiteX1018" fmla="*/ 7803060 w 12188651"/>
              <a:gd name="connsiteY1018" fmla="*/ 1757662 h 3529167"/>
              <a:gd name="connsiteX1019" fmla="*/ 8128521 w 12188651"/>
              <a:gd name="connsiteY1019" fmla="*/ 1946022 h 3529167"/>
              <a:gd name="connsiteX1020" fmla="*/ 8128521 w 12188651"/>
              <a:gd name="connsiteY1020" fmla="*/ 2322839 h 3529167"/>
              <a:gd name="connsiteX1021" fmla="*/ 7803060 w 12188651"/>
              <a:gd name="connsiteY1021" fmla="*/ 2134492 h 3529167"/>
              <a:gd name="connsiteX1022" fmla="*/ 7786715 w 12188651"/>
              <a:gd name="connsiteY1022" fmla="*/ 1757662 h 3529167"/>
              <a:gd name="connsiteX1023" fmla="*/ 7786715 w 12188651"/>
              <a:gd name="connsiteY1023" fmla="*/ 2134492 h 3529167"/>
              <a:gd name="connsiteX1024" fmla="*/ 7461125 w 12188651"/>
              <a:gd name="connsiteY1024" fmla="*/ 2322839 h 3529167"/>
              <a:gd name="connsiteX1025" fmla="*/ 7461125 w 12188651"/>
              <a:gd name="connsiteY1025" fmla="*/ 1946022 h 3529167"/>
              <a:gd name="connsiteX1026" fmla="*/ 5732923 w 12188651"/>
              <a:gd name="connsiteY1026" fmla="*/ 1757647 h 3529167"/>
              <a:gd name="connsiteX1027" fmla="*/ 5732923 w 12188651"/>
              <a:gd name="connsiteY1027" fmla="*/ 2134484 h 3529167"/>
              <a:gd name="connsiteX1028" fmla="*/ 5407352 w 12188651"/>
              <a:gd name="connsiteY1028" fmla="*/ 2322830 h 3529167"/>
              <a:gd name="connsiteX1029" fmla="*/ 5407352 w 12188651"/>
              <a:gd name="connsiteY1029" fmla="*/ 1946005 h 3529167"/>
              <a:gd name="connsiteX1030" fmla="*/ 5749266 w 12188651"/>
              <a:gd name="connsiteY1030" fmla="*/ 1757646 h 3529167"/>
              <a:gd name="connsiteX1031" fmla="*/ 6074705 w 12188651"/>
              <a:gd name="connsiteY1031" fmla="*/ 1946005 h 3529167"/>
              <a:gd name="connsiteX1032" fmla="*/ 6074705 w 12188651"/>
              <a:gd name="connsiteY1032" fmla="*/ 2322830 h 3529167"/>
              <a:gd name="connsiteX1033" fmla="*/ 5749266 w 12188651"/>
              <a:gd name="connsiteY1033" fmla="*/ 2134484 h 3529167"/>
              <a:gd name="connsiteX1034" fmla="*/ 3679144 w 12188651"/>
              <a:gd name="connsiteY1034" fmla="*/ 1757633 h 3529167"/>
              <a:gd name="connsiteX1035" fmla="*/ 3679144 w 12188651"/>
              <a:gd name="connsiteY1035" fmla="*/ 2134464 h 3529167"/>
              <a:gd name="connsiteX1036" fmla="*/ 3353563 w 12188651"/>
              <a:gd name="connsiteY1036" fmla="*/ 2322807 h 3529167"/>
              <a:gd name="connsiteX1037" fmla="*/ 3353563 w 12188651"/>
              <a:gd name="connsiteY1037" fmla="*/ 1945988 h 3529167"/>
              <a:gd name="connsiteX1038" fmla="*/ 3695494 w 12188651"/>
              <a:gd name="connsiteY1038" fmla="*/ 1757631 h 3529167"/>
              <a:gd name="connsiteX1039" fmla="*/ 4020945 w 12188651"/>
              <a:gd name="connsiteY1039" fmla="*/ 1945986 h 3529167"/>
              <a:gd name="connsiteX1040" fmla="*/ 4020945 w 12188651"/>
              <a:gd name="connsiteY1040" fmla="*/ 2322809 h 3529167"/>
              <a:gd name="connsiteX1041" fmla="*/ 3733755 w 12188651"/>
              <a:gd name="connsiteY1041" fmla="*/ 2156613 h 3529167"/>
              <a:gd name="connsiteX1042" fmla="*/ 3695494 w 12188651"/>
              <a:gd name="connsiteY1042" fmla="*/ 2134468 h 3529167"/>
              <a:gd name="connsiteX1043" fmla="*/ 1625166 w 12188651"/>
              <a:gd name="connsiteY1043" fmla="*/ 1757617 h 3529167"/>
              <a:gd name="connsiteX1044" fmla="*/ 1625166 w 12188651"/>
              <a:gd name="connsiteY1044" fmla="*/ 2134450 h 3529167"/>
              <a:gd name="connsiteX1045" fmla="*/ 1299581 w 12188651"/>
              <a:gd name="connsiteY1045" fmla="*/ 2322797 h 3529167"/>
              <a:gd name="connsiteX1046" fmla="*/ 1299581 w 12188651"/>
              <a:gd name="connsiteY1046" fmla="*/ 1945972 h 3529167"/>
              <a:gd name="connsiteX1047" fmla="*/ 1641515 w 12188651"/>
              <a:gd name="connsiteY1047" fmla="*/ 1757615 h 3529167"/>
              <a:gd name="connsiteX1048" fmla="*/ 1966969 w 12188651"/>
              <a:gd name="connsiteY1048" fmla="*/ 1945969 h 3529167"/>
              <a:gd name="connsiteX1049" fmla="*/ 1966969 w 12188651"/>
              <a:gd name="connsiteY1049" fmla="*/ 2322802 h 3529167"/>
              <a:gd name="connsiteX1050" fmla="*/ 1914926 w 12188651"/>
              <a:gd name="connsiteY1050" fmla="*/ 2292686 h 3529167"/>
              <a:gd name="connsiteX1051" fmla="*/ 1641515 w 12188651"/>
              <a:gd name="connsiteY1051" fmla="*/ 2134455 h 3529167"/>
              <a:gd name="connsiteX1052" fmla="*/ 10532576 w 12188651"/>
              <a:gd name="connsiteY1052" fmla="*/ 1752878 h 3529167"/>
              <a:gd name="connsiteX1053" fmla="*/ 10866339 w 12188651"/>
              <a:gd name="connsiteY1053" fmla="*/ 1946038 h 3529167"/>
              <a:gd name="connsiteX1054" fmla="*/ 10866339 w 12188651"/>
              <a:gd name="connsiteY1054" fmla="*/ 2332329 h 3529167"/>
              <a:gd name="connsiteX1055" fmla="*/ 10532706 w 12188651"/>
              <a:gd name="connsiteY1055" fmla="*/ 2525485 h 3529167"/>
              <a:gd name="connsiteX1056" fmla="*/ 10198941 w 12188651"/>
              <a:gd name="connsiteY1056" fmla="*/ 2332329 h 3529167"/>
              <a:gd name="connsiteX1057" fmla="*/ 10198941 w 12188651"/>
              <a:gd name="connsiteY1057" fmla="*/ 1946038 h 3529167"/>
              <a:gd name="connsiteX1058" fmla="*/ 8478628 w 12188651"/>
              <a:gd name="connsiteY1058" fmla="*/ 1752864 h 3529167"/>
              <a:gd name="connsiteX1059" fmla="*/ 8812392 w 12188651"/>
              <a:gd name="connsiteY1059" fmla="*/ 1946022 h 3529167"/>
              <a:gd name="connsiteX1060" fmla="*/ 8812392 w 12188651"/>
              <a:gd name="connsiteY1060" fmla="*/ 2332319 h 3529167"/>
              <a:gd name="connsiteX1061" fmla="*/ 8478758 w 12188651"/>
              <a:gd name="connsiteY1061" fmla="*/ 2525474 h 3529167"/>
              <a:gd name="connsiteX1062" fmla="*/ 8144995 w 12188651"/>
              <a:gd name="connsiteY1062" fmla="*/ 2332319 h 3529167"/>
              <a:gd name="connsiteX1063" fmla="*/ 8144995 w 12188651"/>
              <a:gd name="connsiteY1063" fmla="*/ 1946022 h 3529167"/>
              <a:gd name="connsiteX1064" fmla="*/ 6424810 w 12188651"/>
              <a:gd name="connsiteY1064" fmla="*/ 1752847 h 3529167"/>
              <a:gd name="connsiteX1065" fmla="*/ 6758573 w 12188651"/>
              <a:gd name="connsiteY1065" fmla="*/ 1946005 h 3529167"/>
              <a:gd name="connsiteX1066" fmla="*/ 6758573 w 12188651"/>
              <a:gd name="connsiteY1066" fmla="*/ 2332304 h 3529167"/>
              <a:gd name="connsiteX1067" fmla="*/ 6424940 w 12188651"/>
              <a:gd name="connsiteY1067" fmla="*/ 2525464 h 3529167"/>
              <a:gd name="connsiteX1068" fmla="*/ 6091179 w 12188651"/>
              <a:gd name="connsiteY1068" fmla="*/ 2332304 h 3529167"/>
              <a:gd name="connsiteX1069" fmla="*/ 6091179 w 12188651"/>
              <a:gd name="connsiteY1069" fmla="*/ 1946005 h 3529167"/>
              <a:gd name="connsiteX1070" fmla="*/ 4371020 w 12188651"/>
              <a:gd name="connsiteY1070" fmla="*/ 1752830 h 3529167"/>
              <a:gd name="connsiteX1071" fmla="*/ 4704777 w 12188651"/>
              <a:gd name="connsiteY1071" fmla="*/ 1945988 h 3529167"/>
              <a:gd name="connsiteX1072" fmla="*/ 4704777 w 12188651"/>
              <a:gd name="connsiteY1072" fmla="*/ 2332286 h 3529167"/>
              <a:gd name="connsiteX1073" fmla="*/ 4371146 w 12188651"/>
              <a:gd name="connsiteY1073" fmla="*/ 2525446 h 3529167"/>
              <a:gd name="connsiteX1074" fmla="*/ 4037427 w 12188651"/>
              <a:gd name="connsiteY1074" fmla="*/ 2332293 h 3529167"/>
              <a:gd name="connsiteX1075" fmla="*/ 4037427 w 12188651"/>
              <a:gd name="connsiteY1075" fmla="*/ 1945988 h 3529167"/>
              <a:gd name="connsiteX1076" fmla="*/ 2317092 w 12188651"/>
              <a:gd name="connsiteY1076" fmla="*/ 1752815 h 3529167"/>
              <a:gd name="connsiteX1077" fmla="*/ 2650846 w 12188651"/>
              <a:gd name="connsiteY1077" fmla="*/ 1945968 h 3529167"/>
              <a:gd name="connsiteX1078" fmla="*/ 2650846 w 12188651"/>
              <a:gd name="connsiteY1078" fmla="*/ 2332273 h 3529167"/>
              <a:gd name="connsiteX1079" fmla="*/ 2317216 w 12188651"/>
              <a:gd name="connsiteY1079" fmla="*/ 2525431 h 3529167"/>
              <a:gd name="connsiteX1080" fmla="*/ 2153844 w 12188651"/>
              <a:gd name="connsiteY1080" fmla="*/ 2430884 h 3529167"/>
              <a:gd name="connsiteX1081" fmla="*/ 1983452 w 12188651"/>
              <a:gd name="connsiteY1081" fmla="*/ 2332275 h 3529167"/>
              <a:gd name="connsiteX1082" fmla="*/ 1983452 w 12188651"/>
              <a:gd name="connsiteY1082" fmla="*/ 1945972 h 3529167"/>
              <a:gd name="connsiteX1083" fmla="*/ 263245 w 12188651"/>
              <a:gd name="connsiteY1083" fmla="*/ 1752799 h 3529167"/>
              <a:gd name="connsiteX1084" fmla="*/ 597001 w 12188651"/>
              <a:gd name="connsiteY1084" fmla="*/ 1945952 h 3529167"/>
              <a:gd name="connsiteX1085" fmla="*/ 597001 w 12188651"/>
              <a:gd name="connsiteY1085" fmla="*/ 2332264 h 3529167"/>
              <a:gd name="connsiteX1086" fmla="*/ 263368 w 12188651"/>
              <a:gd name="connsiteY1086" fmla="*/ 2525419 h 3529167"/>
              <a:gd name="connsiteX1087" fmla="*/ 83447 w 12188651"/>
              <a:gd name="connsiteY1087" fmla="*/ 2421295 h 3529167"/>
              <a:gd name="connsiteX1088" fmla="*/ 0 w 12188651"/>
              <a:gd name="connsiteY1088" fmla="*/ 2373002 h 3529167"/>
              <a:gd name="connsiteX1089" fmla="*/ 0 w 12188651"/>
              <a:gd name="connsiteY1089" fmla="*/ 1905204 h 3529167"/>
              <a:gd name="connsiteX1090" fmla="*/ 11217614 w 12188651"/>
              <a:gd name="connsiteY1090" fmla="*/ 1752635 h 3529167"/>
              <a:gd name="connsiteX1091" fmla="*/ 11551377 w 12188651"/>
              <a:gd name="connsiteY1091" fmla="*/ 1945795 h 3529167"/>
              <a:gd name="connsiteX1092" fmla="*/ 11551377 w 12188651"/>
              <a:gd name="connsiteY1092" fmla="*/ 2331944 h 3529167"/>
              <a:gd name="connsiteX1093" fmla="*/ 11217614 w 12188651"/>
              <a:gd name="connsiteY1093" fmla="*/ 2525105 h 3529167"/>
              <a:gd name="connsiteX1094" fmla="*/ 10883851 w 12188651"/>
              <a:gd name="connsiteY1094" fmla="*/ 2331944 h 3529167"/>
              <a:gd name="connsiteX1095" fmla="*/ 10883851 w 12188651"/>
              <a:gd name="connsiteY1095" fmla="*/ 1945795 h 3529167"/>
              <a:gd name="connsiteX1096" fmla="*/ 9163666 w 12188651"/>
              <a:gd name="connsiteY1096" fmla="*/ 1752617 h 3529167"/>
              <a:gd name="connsiteX1097" fmla="*/ 9497429 w 12188651"/>
              <a:gd name="connsiteY1097" fmla="*/ 1945779 h 3529167"/>
              <a:gd name="connsiteX1098" fmla="*/ 9497429 w 12188651"/>
              <a:gd name="connsiteY1098" fmla="*/ 2331929 h 3529167"/>
              <a:gd name="connsiteX1099" fmla="*/ 9163666 w 12188651"/>
              <a:gd name="connsiteY1099" fmla="*/ 2525089 h 3529167"/>
              <a:gd name="connsiteX1100" fmla="*/ 8829903 w 12188651"/>
              <a:gd name="connsiteY1100" fmla="*/ 2331929 h 3529167"/>
              <a:gd name="connsiteX1101" fmla="*/ 8829903 w 12188651"/>
              <a:gd name="connsiteY1101" fmla="*/ 1945778 h 3529167"/>
              <a:gd name="connsiteX1102" fmla="*/ 7109850 w 12188651"/>
              <a:gd name="connsiteY1102" fmla="*/ 1752603 h 3529167"/>
              <a:gd name="connsiteX1103" fmla="*/ 7443613 w 12188651"/>
              <a:gd name="connsiteY1103" fmla="*/ 1945761 h 3529167"/>
              <a:gd name="connsiteX1104" fmla="*/ 7443613 w 12188651"/>
              <a:gd name="connsiteY1104" fmla="*/ 2331916 h 3529167"/>
              <a:gd name="connsiteX1105" fmla="*/ 7109850 w 12188651"/>
              <a:gd name="connsiteY1105" fmla="*/ 2525078 h 3529167"/>
              <a:gd name="connsiteX1106" fmla="*/ 6776085 w 12188651"/>
              <a:gd name="connsiteY1106" fmla="*/ 2331916 h 3529167"/>
              <a:gd name="connsiteX1107" fmla="*/ 6776085 w 12188651"/>
              <a:gd name="connsiteY1107" fmla="*/ 1945761 h 3529167"/>
              <a:gd name="connsiteX1108" fmla="*/ 5055971 w 12188651"/>
              <a:gd name="connsiteY1108" fmla="*/ 1752586 h 3529167"/>
              <a:gd name="connsiteX1109" fmla="*/ 5262114 w 12188651"/>
              <a:gd name="connsiteY1109" fmla="*/ 1871903 h 3529167"/>
              <a:gd name="connsiteX1110" fmla="*/ 5389698 w 12188651"/>
              <a:gd name="connsiteY1110" fmla="*/ 1945736 h 3529167"/>
              <a:gd name="connsiteX1111" fmla="*/ 5389698 w 12188651"/>
              <a:gd name="connsiteY1111" fmla="*/ 2331901 h 3529167"/>
              <a:gd name="connsiteX1112" fmla="*/ 5055949 w 12188651"/>
              <a:gd name="connsiteY1112" fmla="*/ 2525062 h 3529167"/>
              <a:gd name="connsiteX1113" fmla="*/ 4722181 w 12188651"/>
              <a:gd name="connsiteY1113" fmla="*/ 2331905 h 3529167"/>
              <a:gd name="connsiteX1114" fmla="*/ 4722181 w 12188651"/>
              <a:gd name="connsiteY1114" fmla="*/ 1945745 h 3529167"/>
              <a:gd name="connsiteX1115" fmla="*/ 3002152 w 12188651"/>
              <a:gd name="connsiteY1115" fmla="*/ 1752570 h 3529167"/>
              <a:gd name="connsiteX1116" fmla="*/ 3335890 w 12188651"/>
              <a:gd name="connsiteY1116" fmla="*/ 1945712 h 3529167"/>
              <a:gd name="connsiteX1117" fmla="*/ 3335890 w 12188651"/>
              <a:gd name="connsiteY1117" fmla="*/ 2331889 h 3529167"/>
              <a:gd name="connsiteX1118" fmla="*/ 3002127 w 12188651"/>
              <a:gd name="connsiteY1118" fmla="*/ 2525047 h 3529167"/>
              <a:gd name="connsiteX1119" fmla="*/ 2731183 w 12188651"/>
              <a:gd name="connsiteY1119" fmla="*/ 2368243 h 3529167"/>
              <a:gd name="connsiteX1120" fmla="*/ 2668390 w 12188651"/>
              <a:gd name="connsiteY1120" fmla="*/ 2331903 h 3529167"/>
              <a:gd name="connsiteX1121" fmla="*/ 2668390 w 12188651"/>
              <a:gd name="connsiteY1121" fmla="*/ 1945729 h 3529167"/>
              <a:gd name="connsiteX1122" fmla="*/ 948175 w 12188651"/>
              <a:gd name="connsiteY1122" fmla="*/ 1752555 h 3529167"/>
              <a:gd name="connsiteX1123" fmla="*/ 1281914 w 12188651"/>
              <a:gd name="connsiteY1123" fmla="*/ 1945698 h 3529167"/>
              <a:gd name="connsiteX1124" fmla="*/ 1281914 w 12188651"/>
              <a:gd name="connsiteY1124" fmla="*/ 2331876 h 3529167"/>
              <a:gd name="connsiteX1125" fmla="*/ 948153 w 12188651"/>
              <a:gd name="connsiteY1125" fmla="*/ 2525032 h 3529167"/>
              <a:gd name="connsiteX1126" fmla="*/ 940570 w 12188651"/>
              <a:gd name="connsiteY1126" fmla="*/ 2520648 h 3529167"/>
              <a:gd name="connsiteX1127" fmla="*/ 614414 w 12188651"/>
              <a:gd name="connsiteY1127" fmla="*/ 2331889 h 3529167"/>
              <a:gd name="connsiteX1128" fmla="*/ 614414 w 12188651"/>
              <a:gd name="connsiteY1128" fmla="*/ 1945713 h 3529167"/>
              <a:gd name="connsiteX1129" fmla="*/ 10875809 w 12188651"/>
              <a:gd name="connsiteY1129" fmla="*/ 1554804 h 3529167"/>
              <a:gd name="connsiteX1130" fmla="*/ 11201255 w 12188651"/>
              <a:gd name="connsiteY1130" fmla="*/ 1743155 h 3529167"/>
              <a:gd name="connsiteX1131" fmla="*/ 10875678 w 12188651"/>
              <a:gd name="connsiteY1131" fmla="*/ 1931508 h 3529167"/>
              <a:gd name="connsiteX1132" fmla="*/ 10550231 w 12188651"/>
              <a:gd name="connsiteY1132" fmla="*/ 1743155 h 3529167"/>
              <a:gd name="connsiteX1133" fmla="*/ 8821860 w 12188651"/>
              <a:gd name="connsiteY1133" fmla="*/ 1554788 h 3529167"/>
              <a:gd name="connsiteX1134" fmla="*/ 9147308 w 12188651"/>
              <a:gd name="connsiteY1134" fmla="*/ 1743140 h 3529167"/>
              <a:gd name="connsiteX1135" fmla="*/ 8821731 w 12188651"/>
              <a:gd name="connsiteY1135" fmla="*/ 1931491 h 3529167"/>
              <a:gd name="connsiteX1136" fmla="*/ 8496282 w 12188651"/>
              <a:gd name="connsiteY1136" fmla="*/ 1743140 h 3529167"/>
              <a:gd name="connsiteX1137" fmla="*/ 6768043 w 12188651"/>
              <a:gd name="connsiteY1137" fmla="*/ 1554775 h 3529167"/>
              <a:gd name="connsiteX1138" fmla="*/ 7093491 w 12188651"/>
              <a:gd name="connsiteY1138" fmla="*/ 1743124 h 3529167"/>
              <a:gd name="connsiteX1139" fmla="*/ 6767913 w 12188651"/>
              <a:gd name="connsiteY1139" fmla="*/ 1931475 h 3529167"/>
              <a:gd name="connsiteX1140" fmla="*/ 6442466 w 12188651"/>
              <a:gd name="connsiteY1140" fmla="*/ 1743125 h 3529167"/>
              <a:gd name="connsiteX1141" fmla="*/ 4714128 w 12188651"/>
              <a:gd name="connsiteY1141" fmla="*/ 1554758 h 3529167"/>
              <a:gd name="connsiteX1142" fmla="*/ 4997319 w 12188651"/>
              <a:gd name="connsiteY1142" fmla="*/ 1718649 h 3529167"/>
              <a:gd name="connsiteX1143" fmla="*/ 5039593 w 12188651"/>
              <a:gd name="connsiteY1143" fmla="*/ 1743102 h 3529167"/>
              <a:gd name="connsiteX1144" fmla="*/ 4713993 w 12188651"/>
              <a:gd name="connsiteY1144" fmla="*/ 1931459 h 3529167"/>
              <a:gd name="connsiteX1145" fmla="*/ 4512543 w 12188651"/>
              <a:gd name="connsiteY1145" fmla="*/ 1814871 h 3529167"/>
              <a:gd name="connsiteX1146" fmla="*/ 4388549 w 12188651"/>
              <a:gd name="connsiteY1146" fmla="*/ 1743112 h 3529167"/>
              <a:gd name="connsiteX1147" fmla="*/ 2660349 w 12188651"/>
              <a:gd name="connsiteY1147" fmla="*/ 1554742 h 3529167"/>
              <a:gd name="connsiteX1148" fmla="*/ 2985784 w 12188651"/>
              <a:gd name="connsiteY1148" fmla="*/ 1743084 h 3529167"/>
              <a:gd name="connsiteX1149" fmla="*/ 2660193 w 12188651"/>
              <a:gd name="connsiteY1149" fmla="*/ 1931442 h 3529167"/>
              <a:gd name="connsiteX1150" fmla="*/ 2334764 w 12188651"/>
              <a:gd name="connsiteY1150" fmla="*/ 1743101 h 3529167"/>
              <a:gd name="connsiteX1151" fmla="*/ 606372 w 12188651"/>
              <a:gd name="connsiteY1151" fmla="*/ 1554728 h 3529167"/>
              <a:gd name="connsiteX1152" fmla="*/ 931804 w 12188651"/>
              <a:gd name="connsiteY1152" fmla="*/ 1743069 h 3529167"/>
              <a:gd name="connsiteX1153" fmla="*/ 606216 w 12188651"/>
              <a:gd name="connsiteY1153" fmla="*/ 1931425 h 3529167"/>
              <a:gd name="connsiteX1154" fmla="*/ 280783 w 12188651"/>
              <a:gd name="connsiteY1154" fmla="*/ 1743083 h 3529167"/>
              <a:gd name="connsiteX1155" fmla="*/ 12140685 w 12188651"/>
              <a:gd name="connsiteY1155" fmla="*/ 1390835 h 3529167"/>
              <a:gd name="connsiteX1156" fmla="*/ 12168445 w 12188651"/>
              <a:gd name="connsiteY1156" fmla="*/ 1402380 h 3529167"/>
              <a:gd name="connsiteX1157" fmla="*/ 12188651 w 12188651"/>
              <a:gd name="connsiteY1157" fmla="*/ 1422630 h 3529167"/>
              <a:gd name="connsiteX1158" fmla="*/ 12188651 w 12188651"/>
              <a:gd name="connsiteY1158" fmla="*/ 1690880 h 3529167"/>
              <a:gd name="connsiteX1159" fmla="*/ 12034576 w 12188651"/>
              <a:gd name="connsiteY1159" fmla="*/ 1536513 h 3529167"/>
              <a:gd name="connsiteX1160" fmla="*/ 12034576 w 12188651"/>
              <a:gd name="connsiteY1160" fmla="*/ 1481120 h 3529167"/>
              <a:gd name="connsiteX1161" fmla="*/ 12113056 w 12188651"/>
              <a:gd name="connsiteY1161" fmla="*/ 1402380 h 3529167"/>
              <a:gd name="connsiteX1162" fmla="*/ 12140685 w 12188651"/>
              <a:gd name="connsiteY1162" fmla="*/ 1390835 h 3529167"/>
              <a:gd name="connsiteX1163" fmla="*/ 10086867 w 12188651"/>
              <a:gd name="connsiteY1163" fmla="*/ 1390817 h 3529167"/>
              <a:gd name="connsiteX1164" fmla="*/ 10114626 w 12188651"/>
              <a:gd name="connsiteY1164" fmla="*/ 1402365 h 3529167"/>
              <a:gd name="connsiteX1165" fmla="*/ 10179226 w 12188651"/>
              <a:gd name="connsiteY1165" fmla="*/ 1467099 h 3529167"/>
              <a:gd name="connsiteX1166" fmla="*/ 10190770 w 12188651"/>
              <a:gd name="connsiteY1166" fmla="*/ 1478768 h 3529167"/>
              <a:gd name="connsiteX1167" fmla="*/ 10202315 w 12188651"/>
              <a:gd name="connsiteY1167" fmla="*/ 1467099 h 3529167"/>
              <a:gd name="connsiteX1168" fmla="*/ 10266786 w 12188651"/>
              <a:gd name="connsiteY1168" fmla="*/ 1402365 h 3529167"/>
              <a:gd name="connsiteX1169" fmla="*/ 10294543 w 12188651"/>
              <a:gd name="connsiteY1169" fmla="*/ 1390817 h 3529167"/>
              <a:gd name="connsiteX1170" fmla="*/ 10322173 w 12188651"/>
              <a:gd name="connsiteY1170" fmla="*/ 1402365 h 3529167"/>
              <a:gd name="connsiteX1171" fmla="*/ 10400653 w 12188651"/>
              <a:gd name="connsiteY1171" fmla="*/ 1480975 h 3529167"/>
              <a:gd name="connsiteX1172" fmla="*/ 10412198 w 12188651"/>
              <a:gd name="connsiteY1172" fmla="*/ 1508734 h 3529167"/>
              <a:gd name="connsiteX1173" fmla="*/ 10400783 w 12188651"/>
              <a:gd name="connsiteY1173" fmla="*/ 1536497 h 3529167"/>
              <a:gd name="connsiteX1174" fmla="*/ 10190770 w 12188651"/>
              <a:gd name="connsiteY1174" fmla="*/ 1746909 h 3529167"/>
              <a:gd name="connsiteX1175" fmla="*/ 9980757 w 12188651"/>
              <a:gd name="connsiteY1175" fmla="*/ 1536497 h 3529167"/>
              <a:gd name="connsiteX1176" fmla="*/ 9980757 w 12188651"/>
              <a:gd name="connsiteY1176" fmla="*/ 1481104 h 3529167"/>
              <a:gd name="connsiteX1177" fmla="*/ 10059237 w 12188651"/>
              <a:gd name="connsiteY1177" fmla="*/ 1402365 h 3529167"/>
              <a:gd name="connsiteX1178" fmla="*/ 10086867 w 12188651"/>
              <a:gd name="connsiteY1178" fmla="*/ 1390817 h 3529167"/>
              <a:gd name="connsiteX1179" fmla="*/ 8032919 w 12188651"/>
              <a:gd name="connsiteY1179" fmla="*/ 1390801 h 3529167"/>
              <a:gd name="connsiteX1180" fmla="*/ 8060679 w 12188651"/>
              <a:gd name="connsiteY1180" fmla="*/ 1402350 h 3529167"/>
              <a:gd name="connsiteX1181" fmla="*/ 8125278 w 12188651"/>
              <a:gd name="connsiteY1181" fmla="*/ 1467080 h 3529167"/>
              <a:gd name="connsiteX1182" fmla="*/ 8136823 w 12188651"/>
              <a:gd name="connsiteY1182" fmla="*/ 1478755 h 3529167"/>
              <a:gd name="connsiteX1183" fmla="*/ 8148368 w 12188651"/>
              <a:gd name="connsiteY1183" fmla="*/ 1467080 h 3529167"/>
              <a:gd name="connsiteX1184" fmla="*/ 8212837 w 12188651"/>
              <a:gd name="connsiteY1184" fmla="*/ 1402350 h 3529167"/>
              <a:gd name="connsiteX1185" fmla="*/ 8240596 w 12188651"/>
              <a:gd name="connsiteY1185" fmla="*/ 1390801 h 3529167"/>
              <a:gd name="connsiteX1186" fmla="*/ 8268226 w 12188651"/>
              <a:gd name="connsiteY1186" fmla="*/ 1402350 h 3529167"/>
              <a:gd name="connsiteX1187" fmla="*/ 8346707 w 12188651"/>
              <a:gd name="connsiteY1187" fmla="*/ 1480959 h 3529167"/>
              <a:gd name="connsiteX1188" fmla="*/ 8358252 w 12188651"/>
              <a:gd name="connsiteY1188" fmla="*/ 1508720 h 3529167"/>
              <a:gd name="connsiteX1189" fmla="*/ 8346837 w 12188651"/>
              <a:gd name="connsiteY1189" fmla="*/ 1536482 h 3529167"/>
              <a:gd name="connsiteX1190" fmla="*/ 8136823 w 12188651"/>
              <a:gd name="connsiteY1190" fmla="*/ 1746895 h 3529167"/>
              <a:gd name="connsiteX1191" fmla="*/ 7926811 w 12188651"/>
              <a:gd name="connsiteY1191" fmla="*/ 1536482 h 3529167"/>
              <a:gd name="connsiteX1192" fmla="*/ 7926811 w 12188651"/>
              <a:gd name="connsiteY1192" fmla="*/ 1481089 h 3529167"/>
              <a:gd name="connsiteX1193" fmla="*/ 8005289 w 12188651"/>
              <a:gd name="connsiteY1193" fmla="*/ 1402350 h 3529167"/>
              <a:gd name="connsiteX1194" fmla="*/ 8032919 w 12188651"/>
              <a:gd name="connsiteY1194" fmla="*/ 1390801 h 3529167"/>
              <a:gd name="connsiteX1195" fmla="*/ 5979110 w 12188651"/>
              <a:gd name="connsiteY1195" fmla="*/ 1390787 h 3529167"/>
              <a:gd name="connsiteX1196" fmla="*/ 6006869 w 12188651"/>
              <a:gd name="connsiteY1196" fmla="*/ 1402333 h 3529167"/>
              <a:gd name="connsiteX1197" fmla="*/ 6071463 w 12188651"/>
              <a:gd name="connsiteY1197" fmla="*/ 1467065 h 3529167"/>
              <a:gd name="connsiteX1198" fmla="*/ 6083008 w 12188651"/>
              <a:gd name="connsiteY1198" fmla="*/ 1478738 h 3529167"/>
              <a:gd name="connsiteX1199" fmla="*/ 6094550 w 12188651"/>
              <a:gd name="connsiteY1199" fmla="*/ 1467065 h 3529167"/>
              <a:gd name="connsiteX1200" fmla="*/ 6159019 w 12188651"/>
              <a:gd name="connsiteY1200" fmla="*/ 1402333 h 3529167"/>
              <a:gd name="connsiteX1201" fmla="*/ 6186779 w 12188651"/>
              <a:gd name="connsiteY1201" fmla="*/ 1390787 h 3529167"/>
              <a:gd name="connsiteX1202" fmla="*/ 6214409 w 12188651"/>
              <a:gd name="connsiteY1202" fmla="*/ 1402333 h 3529167"/>
              <a:gd name="connsiteX1203" fmla="*/ 6292888 w 12188651"/>
              <a:gd name="connsiteY1203" fmla="*/ 1480945 h 3529167"/>
              <a:gd name="connsiteX1204" fmla="*/ 6304433 w 12188651"/>
              <a:gd name="connsiteY1204" fmla="*/ 1508704 h 3529167"/>
              <a:gd name="connsiteX1205" fmla="*/ 6293017 w 12188651"/>
              <a:gd name="connsiteY1205" fmla="*/ 1536467 h 3529167"/>
              <a:gd name="connsiteX1206" fmla="*/ 6083008 w 12188651"/>
              <a:gd name="connsiteY1206" fmla="*/ 1746878 h 3529167"/>
              <a:gd name="connsiteX1207" fmla="*/ 5873007 w 12188651"/>
              <a:gd name="connsiteY1207" fmla="*/ 1536467 h 3529167"/>
              <a:gd name="connsiteX1208" fmla="*/ 5873007 w 12188651"/>
              <a:gd name="connsiteY1208" fmla="*/ 1481074 h 3529167"/>
              <a:gd name="connsiteX1209" fmla="*/ 5951483 w 12188651"/>
              <a:gd name="connsiteY1209" fmla="*/ 1402333 h 3529167"/>
              <a:gd name="connsiteX1210" fmla="*/ 5979110 w 12188651"/>
              <a:gd name="connsiteY1210" fmla="*/ 1390787 h 3529167"/>
              <a:gd name="connsiteX1211" fmla="*/ 3925347 w 12188651"/>
              <a:gd name="connsiteY1211" fmla="*/ 1390772 h 3529167"/>
              <a:gd name="connsiteX1212" fmla="*/ 3953107 w 12188651"/>
              <a:gd name="connsiteY1212" fmla="*/ 1402317 h 3529167"/>
              <a:gd name="connsiteX1213" fmla="*/ 4017707 w 12188651"/>
              <a:gd name="connsiteY1213" fmla="*/ 1467050 h 3529167"/>
              <a:gd name="connsiteX1214" fmla="*/ 4029252 w 12188651"/>
              <a:gd name="connsiteY1214" fmla="*/ 1478722 h 3529167"/>
              <a:gd name="connsiteX1215" fmla="*/ 4040800 w 12188651"/>
              <a:gd name="connsiteY1215" fmla="*/ 1467050 h 3529167"/>
              <a:gd name="connsiteX1216" fmla="*/ 4105268 w 12188651"/>
              <a:gd name="connsiteY1216" fmla="*/ 1402317 h 3529167"/>
              <a:gd name="connsiteX1217" fmla="*/ 4133031 w 12188651"/>
              <a:gd name="connsiteY1217" fmla="*/ 1390772 h 3529167"/>
              <a:gd name="connsiteX1218" fmla="*/ 4160659 w 12188651"/>
              <a:gd name="connsiteY1218" fmla="*/ 1402317 h 3529167"/>
              <a:gd name="connsiteX1219" fmla="*/ 4239088 w 12188651"/>
              <a:gd name="connsiteY1219" fmla="*/ 1480930 h 3529167"/>
              <a:gd name="connsiteX1220" fmla="*/ 4250643 w 12188651"/>
              <a:gd name="connsiteY1220" fmla="*/ 1508688 h 3529167"/>
              <a:gd name="connsiteX1221" fmla="*/ 4239218 w 12188651"/>
              <a:gd name="connsiteY1221" fmla="*/ 1536452 h 3529167"/>
              <a:gd name="connsiteX1222" fmla="*/ 4029252 w 12188651"/>
              <a:gd name="connsiteY1222" fmla="*/ 1746862 h 3529167"/>
              <a:gd name="connsiteX1223" fmla="*/ 3819232 w 12188651"/>
              <a:gd name="connsiteY1223" fmla="*/ 1536452 h 3529167"/>
              <a:gd name="connsiteX1224" fmla="*/ 3819232 w 12188651"/>
              <a:gd name="connsiteY1224" fmla="*/ 1481059 h 3529167"/>
              <a:gd name="connsiteX1225" fmla="*/ 3897719 w 12188651"/>
              <a:gd name="connsiteY1225" fmla="*/ 1402317 h 3529167"/>
              <a:gd name="connsiteX1226" fmla="*/ 3925347 w 12188651"/>
              <a:gd name="connsiteY1226" fmla="*/ 1390772 h 3529167"/>
              <a:gd name="connsiteX1227" fmla="*/ 1871374 w 12188651"/>
              <a:gd name="connsiteY1227" fmla="*/ 1390756 h 3529167"/>
              <a:gd name="connsiteX1228" fmla="*/ 1899135 w 12188651"/>
              <a:gd name="connsiteY1228" fmla="*/ 1402302 h 3529167"/>
              <a:gd name="connsiteX1229" fmla="*/ 1963733 w 12188651"/>
              <a:gd name="connsiteY1229" fmla="*/ 1467034 h 3529167"/>
              <a:gd name="connsiteX1230" fmla="*/ 1975278 w 12188651"/>
              <a:gd name="connsiteY1230" fmla="*/ 1478707 h 3529167"/>
              <a:gd name="connsiteX1231" fmla="*/ 1986823 w 12188651"/>
              <a:gd name="connsiteY1231" fmla="*/ 1467034 h 3529167"/>
              <a:gd name="connsiteX1232" fmla="*/ 2051293 w 12188651"/>
              <a:gd name="connsiteY1232" fmla="*/ 1402302 h 3529167"/>
              <a:gd name="connsiteX1233" fmla="*/ 2079052 w 12188651"/>
              <a:gd name="connsiteY1233" fmla="*/ 1390756 h 3529167"/>
              <a:gd name="connsiteX1234" fmla="*/ 2106690 w 12188651"/>
              <a:gd name="connsiteY1234" fmla="*/ 1402302 h 3529167"/>
              <a:gd name="connsiteX1235" fmla="*/ 2185169 w 12188651"/>
              <a:gd name="connsiteY1235" fmla="*/ 1480915 h 3529167"/>
              <a:gd name="connsiteX1236" fmla="*/ 2196714 w 12188651"/>
              <a:gd name="connsiteY1236" fmla="*/ 1508674 h 3529167"/>
              <a:gd name="connsiteX1237" fmla="*/ 2185300 w 12188651"/>
              <a:gd name="connsiteY1237" fmla="*/ 1536435 h 3529167"/>
              <a:gd name="connsiteX1238" fmla="*/ 1975278 w 12188651"/>
              <a:gd name="connsiteY1238" fmla="*/ 1746846 h 3529167"/>
              <a:gd name="connsiteX1239" fmla="*/ 1765266 w 12188651"/>
              <a:gd name="connsiteY1239" fmla="*/ 1536435 h 3529167"/>
              <a:gd name="connsiteX1240" fmla="*/ 1765266 w 12188651"/>
              <a:gd name="connsiteY1240" fmla="*/ 1481044 h 3529167"/>
              <a:gd name="connsiteX1241" fmla="*/ 1843744 w 12188651"/>
              <a:gd name="connsiteY1241" fmla="*/ 1402302 h 3529167"/>
              <a:gd name="connsiteX1242" fmla="*/ 1871374 w 12188651"/>
              <a:gd name="connsiteY1242" fmla="*/ 1390756 h 3529167"/>
              <a:gd name="connsiteX1243" fmla="*/ 25213 w 12188651"/>
              <a:gd name="connsiteY1243" fmla="*/ 1390741 h 3529167"/>
              <a:gd name="connsiteX1244" fmla="*/ 52843 w 12188651"/>
              <a:gd name="connsiteY1244" fmla="*/ 1402286 h 3529167"/>
              <a:gd name="connsiteX1245" fmla="*/ 131322 w 12188651"/>
              <a:gd name="connsiteY1245" fmla="*/ 1480899 h 3529167"/>
              <a:gd name="connsiteX1246" fmla="*/ 142866 w 12188651"/>
              <a:gd name="connsiteY1246" fmla="*/ 1508658 h 3529167"/>
              <a:gd name="connsiteX1247" fmla="*/ 131451 w 12188651"/>
              <a:gd name="connsiteY1247" fmla="*/ 1536419 h 3529167"/>
              <a:gd name="connsiteX1248" fmla="*/ 0 w 12188651"/>
              <a:gd name="connsiteY1248" fmla="*/ 1668120 h 3529167"/>
              <a:gd name="connsiteX1249" fmla="*/ 0 w 12188651"/>
              <a:gd name="connsiteY1249" fmla="*/ 1401227 h 3529167"/>
              <a:gd name="connsiteX1250" fmla="*/ 10086867 w 12188651"/>
              <a:gd name="connsiteY1250" fmla="*/ 1374341 h 3529167"/>
              <a:gd name="connsiteX1251" fmla="*/ 10047692 w 12188651"/>
              <a:gd name="connsiteY1251" fmla="*/ 1390688 h 3529167"/>
              <a:gd name="connsiteX1252" fmla="*/ 9969212 w 12188651"/>
              <a:gd name="connsiteY1252" fmla="*/ 1469432 h 3529167"/>
              <a:gd name="connsiteX1253" fmla="*/ 9969212 w 12188651"/>
              <a:gd name="connsiteY1253" fmla="*/ 1548042 h 3529167"/>
              <a:gd name="connsiteX1254" fmla="*/ 10190770 w 12188651"/>
              <a:gd name="connsiteY1254" fmla="*/ 1770130 h 3529167"/>
              <a:gd name="connsiteX1255" fmla="*/ 10412328 w 12188651"/>
              <a:gd name="connsiteY1255" fmla="*/ 1548042 h 3529167"/>
              <a:gd name="connsiteX1256" fmla="*/ 10412328 w 12188651"/>
              <a:gd name="connsiteY1256" fmla="*/ 1469432 h 3529167"/>
              <a:gd name="connsiteX1257" fmla="*/ 10333848 w 12188651"/>
              <a:gd name="connsiteY1257" fmla="*/ 1390817 h 3529167"/>
              <a:gd name="connsiteX1258" fmla="*/ 10294673 w 12188651"/>
              <a:gd name="connsiteY1258" fmla="*/ 1374473 h 3529167"/>
              <a:gd name="connsiteX1259" fmla="*/ 10294543 w 12188651"/>
              <a:gd name="connsiteY1259" fmla="*/ 1374341 h 3529167"/>
              <a:gd name="connsiteX1260" fmla="*/ 10255241 w 12188651"/>
              <a:gd name="connsiteY1260" fmla="*/ 1390817 h 3529167"/>
              <a:gd name="connsiteX1261" fmla="*/ 10190770 w 12188651"/>
              <a:gd name="connsiteY1261" fmla="*/ 1455423 h 3529167"/>
              <a:gd name="connsiteX1262" fmla="*/ 10126171 w 12188651"/>
              <a:gd name="connsiteY1262" fmla="*/ 1390688 h 3529167"/>
              <a:gd name="connsiteX1263" fmla="*/ 10086867 w 12188651"/>
              <a:gd name="connsiteY1263" fmla="*/ 1374341 h 3529167"/>
              <a:gd name="connsiteX1264" fmla="*/ 8032919 w 12188651"/>
              <a:gd name="connsiteY1264" fmla="*/ 1374327 h 3529167"/>
              <a:gd name="connsiteX1265" fmla="*/ 7993744 w 12188651"/>
              <a:gd name="connsiteY1265" fmla="*/ 1390674 h 3529167"/>
              <a:gd name="connsiteX1266" fmla="*/ 7915266 w 12188651"/>
              <a:gd name="connsiteY1266" fmla="*/ 1469418 h 3529167"/>
              <a:gd name="connsiteX1267" fmla="*/ 7915266 w 12188651"/>
              <a:gd name="connsiteY1267" fmla="*/ 1548027 h 3529167"/>
              <a:gd name="connsiteX1268" fmla="*/ 8136823 w 12188651"/>
              <a:gd name="connsiteY1268" fmla="*/ 1770114 h 3529167"/>
              <a:gd name="connsiteX1269" fmla="*/ 8358382 w 12188651"/>
              <a:gd name="connsiteY1269" fmla="*/ 1548027 h 3529167"/>
              <a:gd name="connsiteX1270" fmla="*/ 8358382 w 12188651"/>
              <a:gd name="connsiteY1270" fmla="*/ 1469418 h 3529167"/>
              <a:gd name="connsiteX1271" fmla="*/ 8279902 w 12188651"/>
              <a:gd name="connsiteY1271" fmla="*/ 1390801 h 3529167"/>
              <a:gd name="connsiteX1272" fmla="*/ 8240727 w 12188651"/>
              <a:gd name="connsiteY1272" fmla="*/ 1374457 h 3529167"/>
              <a:gd name="connsiteX1273" fmla="*/ 8240596 w 12188651"/>
              <a:gd name="connsiteY1273" fmla="*/ 1374327 h 3529167"/>
              <a:gd name="connsiteX1274" fmla="*/ 8201292 w 12188651"/>
              <a:gd name="connsiteY1274" fmla="*/ 1390801 h 3529167"/>
              <a:gd name="connsiteX1275" fmla="*/ 8136823 w 12188651"/>
              <a:gd name="connsiteY1275" fmla="*/ 1455407 h 3529167"/>
              <a:gd name="connsiteX1276" fmla="*/ 8072224 w 12188651"/>
              <a:gd name="connsiteY1276" fmla="*/ 1390674 h 3529167"/>
              <a:gd name="connsiteX1277" fmla="*/ 8032919 w 12188651"/>
              <a:gd name="connsiteY1277" fmla="*/ 1374327 h 3529167"/>
              <a:gd name="connsiteX1278" fmla="*/ 5979110 w 12188651"/>
              <a:gd name="connsiteY1278" fmla="*/ 1374312 h 3529167"/>
              <a:gd name="connsiteX1279" fmla="*/ 5939938 w 12188651"/>
              <a:gd name="connsiteY1279" fmla="*/ 1390658 h 3529167"/>
              <a:gd name="connsiteX1280" fmla="*/ 5861464 w 12188651"/>
              <a:gd name="connsiteY1280" fmla="*/ 1469401 h 3529167"/>
              <a:gd name="connsiteX1281" fmla="*/ 5861464 w 12188651"/>
              <a:gd name="connsiteY1281" fmla="*/ 1548011 h 3529167"/>
              <a:gd name="connsiteX1282" fmla="*/ 6083008 w 12188651"/>
              <a:gd name="connsiteY1282" fmla="*/ 1770098 h 3529167"/>
              <a:gd name="connsiteX1283" fmla="*/ 6304562 w 12188651"/>
              <a:gd name="connsiteY1283" fmla="*/ 1548011 h 3529167"/>
              <a:gd name="connsiteX1284" fmla="*/ 6304562 w 12188651"/>
              <a:gd name="connsiteY1284" fmla="*/ 1469401 h 3529167"/>
              <a:gd name="connsiteX1285" fmla="*/ 6226084 w 12188651"/>
              <a:gd name="connsiteY1285" fmla="*/ 1390787 h 3529167"/>
              <a:gd name="connsiteX1286" fmla="*/ 6186909 w 12188651"/>
              <a:gd name="connsiteY1286" fmla="*/ 1374443 h 3529167"/>
              <a:gd name="connsiteX1287" fmla="*/ 6186779 w 12188651"/>
              <a:gd name="connsiteY1287" fmla="*/ 1374312 h 3529167"/>
              <a:gd name="connsiteX1288" fmla="*/ 6147474 w 12188651"/>
              <a:gd name="connsiteY1288" fmla="*/ 1390787 h 3529167"/>
              <a:gd name="connsiteX1289" fmla="*/ 6083008 w 12188651"/>
              <a:gd name="connsiteY1289" fmla="*/ 1455390 h 3529167"/>
              <a:gd name="connsiteX1290" fmla="*/ 6018412 w 12188651"/>
              <a:gd name="connsiteY1290" fmla="*/ 1390658 h 3529167"/>
              <a:gd name="connsiteX1291" fmla="*/ 5979110 w 12188651"/>
              <a:gd name="connsiteY1291" fmla="*/ 1374312 h 3529167"/>
              <a:gd name="connsiteX1292" fmla="*/ 3925347 w 12188651"/>
              <a:gd name="connsiteY1292" fmla="*/ 1374297 h 3529167"/>
              <a:gd name="connsiteX1293" fmla="*/ 3886173 w 12188651"/>
              <a:gd name="connsiteY1293" fmla="*/ 1390643 h 3529167"/>
              <a:gd name="connsiteX1294" fmla="*/ 3807688 w 12188651"/>
              <a:gd name="connsiteY1294" fmla="*/ 1469387 h 3529167"/>
              <a:gd name="connsiteX1295" fmla="*/ 3807688 w 12188651"/>
              <a:gd name="connsiteY1295" fmla="*/ 1547996 h 3529167"/>
              <a:gd name="connsiteX1296" fmla="*/ 4029252 w 12188651"/>
              <a:gd name="connsiteY1296" fmla="*/ 1770082 h 3529167"/>
              <a:gd name="connsiteX1297" fmla="*/ 4250768 w 12188651"/>
              <a:gd name="connsiteY1297" fmla="*/ 1547996 h 3529167"/>
              <a:gd name="connsiteX1298" fmla="*/ 4250768 w 12188651"/>
              <a:gd name="connsiteY1298" fmla="*/ 1469387 h 3529167"/>
              <a:gd name="connsiteX1299" fmla="*/ 4172334 w 12188651"/>
              <a:gd name="connsiteY1299" fmla="*/ 1390772 h 3529167"/>
              <a:gd name="connsiteX1300" fmla="*/ 4133161 w 12188651"/>
              <a:gd name="connsiteY1300" fmla="*/ 1374426 h 3529167"/>
              <a:gd name="connsiteX1301" fmla="*/ 4133031 w 12188651"/>
              <a:gd name="connsiteY1301" fmla="*/ 1374297 h 3529167"/>
              <a:gd name="connsiteX1302" fmla="*/ 4093725 w 12188651"/>
              <a:gd name="connsiteY1302" fmla="*/ 1390772 h 3529167"/>
              <a:gd name="connsiteX1303" fmla="*/ 4029252 w 12188651"/>
              <a:gd name="connsiteY1303" fmla="*/ 1455376 h 3529167"/>
              <a:gd name="connsiteX1304" fmla="*/ 3964654 w 12188651"/>
              <a:gd name="connsiteY1304" fmla="*/ 1390643 h 3529167"/>
              <a:gd name="connsiteX1305" fmla="*/ 3925347 w 12188651"/>
              <a:gd name="connsiteY1305" fmla="*/ 1374297 h 3529167"/>
              <a:gd name="connsiteX1306" fmla="*/ 1871374 w 12188651"/>
              <a:gd name="connsiteY1306" fmla="*/ 1374282 h 3529167"/>
              <a:gd name="connsiteX1307" fmla="*/ 1832200 w 12188651"/>
              <a:gd name="connsiteY1307" fmla="*/ 1390627 h 3529167"/>
              <a:gd name="connsiteX1308" fmla="*/ 1753721 w 12188651"/>
              <a:gd name="connsiteY1308" fmla="*/ 1469369 h 3529167"/>
              <a:gd name="connsiteX1309" fmla="*/ 1753721 w 12188651"/>
              <a:gd name="connsiteY1309" fmla="*/ 1547980 h 3529167"/>
              <a:gd name="connsiteX1310" fmla="*/ 1975278 w 12188651"/>
              <a:gd name="connsiteY1310" fmla="*/ 1770066 h 3529167"/>
              <a:gd name="connsiteX1311" fmla="*/ 2196846 w 12188651"/>
              <a:gd name="connsiteY1311" fmla="*/ 1547980 h 3529167"/>
              <a:gd name="connsiteX1312" fmla="*/ 2196846 w 12188651"/>
              <a:gd name="connsiteY1312" fmla="*/ 1469369 h 3529167"/>
              <a:gd name="connsiteX1313" fmla="*/ 2118368 w 12188651"/>
              <a:gd name="connsiteY1313" fmla="*/ 1390756 h 3529167"/>
              <a:gd name="connsiteX1314" fmla="*/ 2079181 w 12188651"/>
              <a:gd name="connsiteY1314" fmla="*/ 1374411 h 3529167"/>
              <a:gd name="connsiteX1315" fmla="*/ 2079052 w 12188651"/>
              <a:gd name="connsiteY1315" fmla="*/ 1374282 h 3529167"/>
              <a:gd name="connsiteX1316" fmla="*/ 2039748 w 12188651"/>
              <a:gd name="connsiteY1316" fmla="*/ 1390756 h 3529167"/>
              <a:gd name="connsiteX1317" fmla="*/ 1975278 w 12188651"/>
              <a:gd name="connsiteY1317" fmla="*/ 1455359 h 3529167"/>
              <a:gd name="connsiteX1318" fmla="*/ 1910679 w 12188651"/>
              <a:gd name="connsiteY1318" fmla="*/ 1390627 h 3529167"/>
              <a:gd name="connsiteX1319" fmla="*/ 1871374 w 12188651"/>
              <a:gd name="connsiteY1319" fmla="*/ 1374282 h 3529167"/>
              <a:gd name="connsiteX1320" fmla="*/ 0 w 12188651"/>
              <a:gd name="connsiteY1320" fmla="*/ 1204081 h 3529167"/>
              <a:gd name="connsiteX1321" fmla="*/ 186352 w 12188651"/>
              <a:gd name="connsiteY1321" fmla="*/ 1311926 h 3529167"/>
              <a:gd name="connsiteX1322" fmla="*/ 255068 w 12188651"/>
              <a:gd name="connsiteY1322" fmla="*/ 1351694 h 3529167"/>
              <a:gd name="connsiteX1323" fmla="*/ 255068 w 12188651"/>
              <a:gd name="connsiteY1323" fmla="*/ 1737878 h 3529167"/>
              <a:gd name="connsiteX1324" fmla="*/ 0 w 12188651"/>
              <a:gd name="connsiteY1324" fmla="*/ 1885492 h 3529167"/>
              <a:gd name="connsiteX1325" fmla="*/ 0 w 12188651"/>
              <a:gd name="connsiteY1325" fmla="*/ 1691301 h 3529167"/>
              <a:gd name="connsiteX1326" fmla="*/ 142995 w 12188651"/>
              <a:gd name="connsiteY1326" fmla="*/ 1547965 h 3529167"/>
              <a:gd name="connsiteX1327" fmla="*/ 142995 w 12188651"/>
              <a:gd name="connsiteY1327" fmla="*/ 1469353 h 3529167"/>
              <a:gd name="connsiteX1328" fmla="*/ 64516 w 12188651"/>
              <a:gd name="connsiteY1328" fmla="*/ 1390741 h 3529167"/>
              <a:gd name="connsiteX1329" fmla="*/ 25341 w 12188651"/>
              <a:gd name="connsiteY1329" fmla="*/ 1374396 h 3529167"/>
              <a:gd name="connsiteX1330" fmla="*/ 25213 w 12188651"/>
              <a:gd name="connsiteY1330" fmla="*/ 1374267 h 3529167"/>
              <a:gd name="connsiteX1331" fmla="*/ 4296 w 12188651"/>
              <a:gd name="connsiteY1331" fmla="*/ 1378369 h 3529167"/>
              <a:gd name="connsiteX1332" fmla="*/ 0 w 12188651"/>
              <a:gd name="connsiteY1332" fmla="*/ 1381259 h 3529167"/>
              <a:gd name="connsiteX1333" fmla="*/ 12188651 w 12188651"/>
              <a:gd name="connsiteY1333" fmla="*/ 1190935 h 3529167"/>
              <a:gd name="connsiteX1334" fmla="*/ 12188651 w 12188651"/>
              <a:gd name="connsiteY1334" fmla="*/ 1399384 h 3529167"/>
              <a:gd name="connsiteX1335" fmla="*/ 12179990 w 12188651"/>
              <a:gd name="connsiteY1335" fmla="*/ 1390703 h 3529167"/>
              <a:gd name="connsiteX1336" fmla="*/ 12140685 w 12188651"/>
              <a:gd name="connsiteY1336" fmla="*/ 1374358 h 3529167"/>
              <a:gd name="connsiteX1337" fmla="*/ 12101510 w 12188651"/>
              <a:gd name="connsiteY1337" fmla="*/ 1390703 h 3529167"/>
              <a:gd name="connsiteX1338" fmla="*/ 12023031 w 12188651"/>
              <a:gd name="connsiteY1338" fmla="*/ 1469451 h 3529167"/>
              <a:gd name="connsiteX1339" fmla="*/ 12023031 w 12188651"/>
              <a:gd name="connsiteY1339" fmla="*/ 1548057 h 3529167"/>
              <a:gd name="connsiteX1340" fmla="*/ 12188651 w 12188651"/>
              <a:gd name="connsiteY1340" fmla="*/ 1714074 h 3529167"/>
              <a:gd name="connsiteX1341" fmla="*/ 12188651 w 12188651"/>
              <a:gd name="connsiteY1341" fmla="*/ 1898836 h 3529167"/>
              <a:gd name="connsiteX1342" fmla="*/ 11910696 w 12188651"/>
              <a:gd name="connsiteY1342" fmla="*/ 1737973 h 3529167"/>
              <a:gd name="connsiteX1343" fmla="*/ 11910696 w 12188651"/>
              <a:gd name="connsiteY1343" fmla="*/ 1351792 h 3529167"/>
              <a:gd name="connsiteX1344" fmla="*/ 10883981 w 12188651"/>
              <a:gd name="connsiteY1344" fmla="*/ 1163824 h 3529167"/>
              <a:gd name="connsiteX1345" fmla="*/ 11209441 w 12188651"/>
              <a:gd name="connsiteY1345" fmla="*/ 1352175 h 3529167"/>
              <a:gd name="connsiteX1346" fmla="*/ 11209441 w 12188651"/>
              <a:gd name="connsiteY1346" fmla="*/ 1729007 h 3529167"/>
              <a:gd name="connsiteX1347" fmla="*/ 10883981 w 12188651"/>
              <a:gd name="connsiteY1347" fmla="*/ 1540647 h 3529167"/>
              <a:gd name="connsiteX1348" fmla="*/ 10867636 w 12188651"/>
              <a:gd name="connsiteY1348" fmla="*/ 1163824 h 3529167"/>
              <a:gd name="connsiteX1349" fmla="*/ 10867636 w 12188651"/>
              <a:gd name="connsiteY1349" fmla="*/ 1540647 h 3529167"/>
              <a:gd name="connsiteX1350" fmla="*/ 10542045 w 12188651"/>
              <a:gd name="connsiteY1350" fmla="*/ 1729007 h 3529167"/>
              <a:gd name="connsiteX1351" fmla="*/ 10542045 w 12188651"/>
              <a:gd name="connsiteY1351" fmla="*/ 1352175 h 3529167"/>
              <a:gd name="connsiteX1352" fmla="*/ 8830033 w 12188651"/>
              <a:gd name="connsiteY1352" fmla="*/ 1163807 h 3529167"/>
              <a:gd name="connsiteX1353" fmla="*/ 9155493 w 12188651"/>
              <a:gd name="connsiteY1353" fmla="*/ 1352160 h 3529167"/>
              <a:gd name="connsiteX1354" fmla="*/ 9155493 w 12188651"/>
              <a:gd name="connsiteY1354" fmla="*/ 1728992 h 3529167"/>
              <a:gd name="connsiteX1355" fmla="*/ 8830033 w 12188651"/>
              <a:gd name="connsiteY1355" fmla="*/ 1540632 h 3529167"/>
              <a:gd name="connsiteX1356" fmla="*/ 8813688 w 12188651"/>
              <a:gd name="connsiteY1356" fmla="*/ 1163807 h 3529167"/>
              <a:gd name="connsiteX1357" fmla="*/ 8813688 w 12188651"/>
              <a:gd name="connsiteY1357" fmla="*/ 1540632 h 3529167"/>
              <a:gd name="connsiteX1358" fmla="*/ 8488098 w 12188651"/>
              <a:gd name="connsiteY1358" fmla="*/ 1728992 h 3529167"/>
              <a:gd name="connsiteX1359" fmla="*/ 8488098 w 12188651"/>
              <a:gd name="connsiteY1359" fmla="*/ 1352159 h 3529167"/>
              <a:gd name="connsiteX1360" fmla="*/ 6776215 w 12188651"/>
              <a:gd name="connsiteY1360" fmla="*/ 1163791 h 3529167"/>
              <a:gd name="connsiteX1361" fmla="*/ 7101677 w 12188651"/>
              <a:gd name="connsiteY1361" fmla="*/ 1352145 h 3529167"/>
              <a:gd name="connsiteX1362" fmla="*/ 7101677 w 12188651"/>
              <a:gd name="connsiteY1362" fmla="*/ 1728975 h 3529167"/>
              <a:gd name="connsiteX1363" fmla="*/ 6776215 w 12188651"/>
              <a:gd name="connsiteY1363" fmla="*/ 1540617 h 3529167"/>
              <a:gd name="connsiteX1364" fmla="*/ 6759871 w 12188651"/>
              <a:gd name="connsiteY1364" fmla="*/ 1163791 h 3529167"/>
              <a:gd name="connsiteX1365" fmla="*/ 6759871 w 12188651"/>
              <a:gd name="connsiteY1365" fmla="*/ 1540617 h 3529167"/>
              <a:gd name="connsiteX1366" fmla="*/ 6434280 w 12188651"/>
              <a:gd name="connsiteY1366" fmla="*/ 1728975 h 3529167"/>
              <a:gd name="connsiteX1367" fmla="*/ 6434280 w 12188651"/>
              <a:gd name="connsiteY1367" fmla="*/ 1352145 h 3529167"/>
              <a:gd name="connsiteX1368" fmla="*/ 4705942 w 12188651"/>
              <a:gd name="connsiteY1368" fmla="*/ 1163780 h 3529167"/>
              <a:gd name="connsiteX1369" fmla="*/ 4705942 w 12188651"/>
              <a:gd name="connsiteY1369" fmla="*/ 1540601 h 3529167"/>
              <a:gd name="connsiteX1370" fmla="*/ 4380369 w 12188651"/>
              <a:gd name="connsiteY1370" fmla="*/ 1728954 h 3529167"/>
              <a:gd name="connsiteX1371" fmla="*/ 4380369 w 12188651"/>
              <a:gd name="connsiteY1371" fmla="*/ 1352132 h 3529167"/>
              <a:gd name="connsiteX1372" fmla="*/ 4722303 w 12188651"/>
              <a:gd name="connsiteY1372" fmla="*/ 1163775 h 3529167"/>
              <a:gd name="connsiteX1373" fmla="*/ 5047773 w 12188651"/>
              <a:gd name="connsiteY1373" fmla="*/ 1352118 h 3529167"/>
              <a:gd name="connsiteX1374" fmla="*/ 5047773 w 12188651"/>
              <a:gd name="connsiteY1374" fmla="*/ 1728959 h 3529167"/>
              <a:gd name="connsiteX1375" fmla="*/ 5020104 w 12188651"/>
              <a:gd name="connsiteY1375" fmla="*/ 1712952 h 3529167"/>
              <a:gd name="connsiteX1376" fmla="*/ 4722303 w 12188651"/>
              <a:gd name="connsiteY1376" fmla="*/ 1540609 h 3529167"/>
              <a:gd name="connsiteX1377" fmla="*/ 2652150 w 12188651"/>
              <a:gd name="connsiteY1377" fmla="*/ 1163775 h 3529167"/>
              <a:gd name="connsiteX1378" fmla="*/ 2652150 w 12188651"/>
              <a:gd name="connsiteY1378" fmla="*/ 1540587 h 3529167"/>
              <a:gd name="connsiteX1379" fmla="*/ 2326589 w 12188651"/>
              <a:gd name="connsiteY1379" fmla="*/ 1728927 h 3529167"/>
              <a:gd name="connsiteX1380" fmla="*/ 2326589 w 12188651"/>
              <a:gd name="connsiteY1380" fmla="*/ 1352115 h 3529167"/>
              <a:gd name="connsiteX1381" fmla="*/ 2668521 w 12188651"/>
              <a:gd name="connsiteY1381" fmla="*/ 1163761 h 3529167"/>
              <a:gd name="connsiteX1382" fmla="*/ 2993956 w 12188651"/>
              <a:gd name="connsiteY1382" fmla="*/ 1352102 h 3529167"/>
              <a:gd name="connsiteX1383" fmla="*/ 2993956 w 12188651"/>
              <a:gd name="connsiteY1383" fmla="*/ 1728943 h 3529167"/>
              <a:gd name="connsiteX1384" fmla="*/ 2668521 w 12188651"/>
              <a:gd name="connsiteY1384" fmla="*/ 1540601 h 3529167"/>
              <a:gd name="connsiteX1385" fmla="*/ 598173 w 12188651"/>
              <a:gd name="connsiteY1385" fmla="*/ 1163759 h 3529167"/>
              <a:gd name="connsiteX1386" fmla="*/ 598173 w 12188651"/>
              <a:gd name="connsiteY1386" fmla="*/ 1540571 h 3529167"/>
              <a:gd name="connsiteX1387" fmla="*/ 272611 w 12188651"/>
              <a:gd name="connsiteY1387" fmla="*/ 1728912 h 3529167"/>
              <a:gd name="connsiteX1388" fmla="*/ 272611 w 12188651"/>
              <a:gd name="connsiteY1388" fmla="*/ 1352101 h 3529167"/>
              <a:gd name="connsiteX1389" fmla="*/ 614544 w 12188651"/>
              <a:gd name="connsiteY1389" fmla="*/ 1163745 h 3529167"/>
              <a:gd name="connsiteX1390" fmla="*/ 939978 w 12188651"/>
              <a:gd name="connsiteY1390" fmla="*/ 1352086 h 3529167"/>
              <a:gd name="connsiteX1391" fmla="*/ 939978 w 12188651"/>
              <a:gd name="connsiteY1391" fmla="*/ 1728928 h 3529167"/>
              <a:gd name="connsiteX1392" fmla="*/ 614544 w 12188651"/>
              <a:gd name="connsiteY1392" fmla="*/ 1540585 h 3529167"/>
              <a:gd name="connsiteX1393" fmla="*/ 11559549 w 12188651"/>
              <a:gd name="connsiteY1393" fmla="*/ 1159023 h 3529167"/>
              <a:gd name="connsiteX1394" fmla="*/ 11893312 w 12188651"/>
              <a:gd name="connsiteY1394" fmla="*/ 1352175 h 3529167"/>
              <a:gd name="connsiteX1395" fmla="*/ 11893312 w 12188651"/>
              <a:gd name="connsiteY1395" fmla="*/ 1738478 h 3529167"/>
              <a:gd name="connsiteX1396" fmla="*/ 11559679 w 12188651"/>
              <a:gd name="connsiteY1396" fmla="*/ 1931637 h 3529167"/>
              <a:gd name="connsiteX1397" fmla="*/ 11225916 w 12188651"/>
              <a:gd name="connsiteY1397" fmla="*/ 1738478 h 3529167"/>
              <a:gd name="connsiteX1398" fmla="*/ 11225916 w 12188651"/>
              <a:gd name="connsiteY1398" fmla="*/ 1352175 h 3529167"/>
              <a:gd name="connsiteX1399" fmla="*/ 9505601 w 12188651"/>
              <a:gd name="connsiteY1399" fmla="*/ 1159008 h 3529167"/>
              <a:gd name="connsiteX1400" fmla="*/ 9839364 w 12188651"/>
              <a:gd name="connsiteY1400" fmla="*/ 1352160 h 3529167"/>
              <a:gd name="connsiteX1401" fmla="*/ 9839364 w 12188651"/>
              <a:gd name="connsiteY1401" fmla="*/ 1738464 h 3529167"/>
              <a:gd name="connsiteX1402" fmla="*/ 9505732 w 12188651"/>
              <a:gd name="connsiteY1402" fmla="*/ 1931620 h 3529167"/>
              <a:gd name="connsiteX1403" fmla="*/ 9171969 w 12188651"/>
              <a:gd name="connsiteY1403" fmla="*/ 1738463 h 3529167"/>
              <a:gd name="connsiteX1404" fmla="*/ 9171969 w 12188651"/>
              <a:gd name="connsiteY1404" fmla="*/ 1352159 h 3529167"/>
              <a:gd name="connsiteX1405" fmla="*/ 7451785 w 12188651"/>
              <a:gd name="connsiteY1405" fmla="*/ 1158991 h 3529167"/>
              <a:gd name="connsiteX1406" fmla="*/ 7785548 w 12188651"/>
              <a:gd name="connsiteY1406" fmla="*/ 1352145 h 3529167"/>
              <a:gd name="connsiteX1407" fmla="*/ 7785548 w 12188651"/>
              <a:gd name="connsiteY1407" fmla="*/ 1738447 h 3529167"/>
              <a:gd name="connsiteX1408" fmla="*/ 7451915 w 12188651"/>
              <a:gd name="connsiteY1408" fmla="*/ 1931604 h 3529167"/>
              <a:gd name="connsiteX1409" fmla="*/ 7118150 w 12188651"/>
              <a:gd name="connsiteY1409" fmla="*/ 1738447 h 3529167"/>
              <a:gd name="connsiteX1410" fmla="*/ 7118150 w 12188651"/>
              <a:gd name="connsiteY1410" fmla="*/ 1352145 h 3529167"/>
              <a:gd name="connsiteX1411" fmla="*/ 5397886 w 12188651"/>
              <a:gd name="connsiteY1411" fmla="*/ 1158976 h 3529167"/>
              <a:gd name="connsiteX1412" fmla="*/ 5452129 w 12188651"/>
              <a:gd name="connsiteY1412" fmla="*/ 1190368 h 3529167"/>
              <a:gd name="connsiteX1413" fmla="*/ 5731616 w 12188651"/>
              <a:gd name="connsiteY1413" fmla="*/ 1352126 h 3529167"/>
              <a:gd name="connsiteX1414" fmla="*/ 5731616 w 12188651"/>
              <a:gd name="connsiteY1414" fmla="*/ 1738431 h 3529167"/>
              <a:gd name="connsiteX1415" fmla="*/ 5397992 w 12188651"/>
              <a:gd name="connsiteY1415" fmla="*/ 1931587 h 3529167"/>
              <a:gd name="connsiteX1416" fmla="*/ 5182218 w 12188651"/>
              <a:gd name="connsiteY1416" fmla="*/ 1806716 h 3529167"/>
              <a:gd name="connsiteX1417" fmla="*/ 5064275 w 12188651"/>
              <a:gd name="connsiteY1417" fmla="*/ 1738445 h 3529167"/>
              <a:gd name="connsiteX1418" fmla="*/ 5064275 w 12188651"/>
              <a:gd name="connsiteY1418" fmla="*/ 1352132 h 3529167"/>
              <a:gd name="connsiteX1419" fmla="*/ 3344093 w 12188651"/>
              <a:gd name="connsiteY1419" fmla="*/ 1158962 h 3529167"/>
              <a:gd name="connsiteX1420" fmla="*/ 3677824 w 12188651"/>
              <a:gd name="connsiteY1420" fmla="*/ 1352102 h 3529167"/>
              <a:gd name="connsiteX1421" fmla="*/ 3677824 w 12188651"/>
              <a:gd name="connsiteY1421" fmla="*/ 1738415 h 3529167"/>
              <a:gd name="connsiteX1422" fmla="*/ 3344194 w 12188651"/>
              <a:gd name="connsiteY1422" fmla="*/ 1931571 h 3529167"/>
              <a:gd name="connsiteX1423" fmla="*/ 3010459 w 12188651"/>
              <a:gd name="connsiteY1423" fmla="*/ 1738430 h 3529167"/>
              <a:gd name="connsiteX1424" fmla="*/ 3010459 w 12188651"/>
              <a:gd name="connsiteY1424" fmla="*/ 1352115 h 3529167"/>
              <a:gd name="connsiteX1425" fmla="*/ 1290110 w 12188651"/>
              <a:gd name="connsiteY1425" fmla="*/ 1158945 h 3529167"/>
              <a:gd name="connsiteX1426" fmla="*/ 1623849 w 12188651"/>
              <a:gd name="connsiteY1426" fmla="*/ 1352087 h 3529167"/>
              <a:gd name="connsiteX1427" fmla="*/ 1623849 w 12188651"/>
              <a:gd name="connsiteY1427" fmla="*/ 1738399 h 3529167"/>
              <a:gd name="connsiteX1428" fmla="*/ 1290217 w 12188651"/>
              <a:gd name="connsiteY1428" fmla="*/ 1931555 h 3529167"/>
              <a:gd name="connsiteX1429" fmla="*/ 956479 w 12188651"/>
              <a:gd name="connsiteY1429" fmla="*/ 1738413 h 3529167"/>
              <a:gd name="connsiteX1430" fmla="*/ 956479 w 12188651"/>
              <a:gd name="connsiteY1430" fmla="*/ 1352101 h 3529167"/>
              <a:gd name="connsiteX1431" fmla="*/ 10190640 w 12188651"/>
              <a:gd name="connsiteY1431" fmla="*/ 1158620 h 3529167"/>
              <a:gd name="connsiteX1432" fmla="*/ 10524404 w 12188651"/>
              <a:gd name="connsiteY1432" fmla="*/ 1351774 h 3529167"/>
              <a:gd name="connsiteX1433" fmla="*/ 10524404 w 12188651"/>
              <a:gd name="connsiteY1433" fmla="*/ 1737958 h 3529167"/>
              <a:gd name="connsiteX1434" fmla="*/ 10190640 w 12188651"/>
              <a:gd name="connsiteY1434" fmla="*/ 1931118 h 3529167"/>
              <a:gd name="connsiteX1435" fmla="*/ 9856876 w 12188651"/>
              <a:gd name="connsiteY1435" fmla="*/ 1737958 h 3529167"/>
              <a:gd name="connsiteX1436" fmla="*/ 9856876 w 12188651"/>
              <a:gd name="connsiteY1436" fmla="*/ 1351774 h 3529167"/>
              <a:gd name="connsiteX1437" fmla="*/ 8136693 w 12188651"/>
              <a:gd name="connsiteY1437" fmla="*/ 1158604 h 3529167"/>
              <a:gd name="connsiteX1438" fmla="*/ 8470456 w 12188651"/>
              <a:gd name="connsiteY1438" fmla="*/ 1351760 h 3529167"/>
              <a:gd name="connsiteX1439" fmla="*/ 8470456 w 12188651"/>
              <a:gd name="connsiteY1439" fmla="*/ 1737941 h 3529167"/>
              <a:gd name="connsiteX1440" fmla="*/ 8136693 w 12188651"/>
              <a:gd name="connsiteY1440" fmla="*/ 1931100 h 3529167"/>
              <a:gd name="connsiteX1441" fmla="*/ 7802930 w 12188651"/>
              <a:gd name="connsiteY1441" fmla="*/ 1737941 h 3529167"/>
              <a:gd name="connsiteX1442" fmla="*/ 7802930 w 12188651"/>
              <a:gd name="connsiteY1442" fmla="*/ 1351760 h 3529167"/>
              <a:gd name="connsiteX1443" fmla="*/ 6082876 w 12188651"/>
              <a:gd name="connsiteY1443" fmla="*/ 1158588 h 3529167"/>
              <a:gd name="connsiteX1444" fmla="*/ 6416638 w 12188651"/>
              <a:gd name="connsiteY1444" fmla="*/ 1351744 h 3529167"/>
              <a:gd name="connsiteX1445" fmla="*/ 6416638 w 12188651"/>
              <a:gd name="connsiteY1445" fmla="*/ 1737925 h 3529167"/>
              <a:gd name="connsiteX1446" fmla="*/ 6082876 w 12188651"/>
              <a:gd name="connsiteY1446" fmla="*/ 1931085 h 3529167"/>
              <a:gd name="connsiteX1447" fmla="*/ 5749138 w 12188651"/>
              <a:gd name="connsiteY1447" fmla="*/ 1737927 h 3529167"/>
              <a:gd name="connsiteX1448" fmla="*/ 5749138 w 12188651"/>
              <a:gd name="connsiteY1448" fmla="*/ 1351744 h 3529167"/>
              <a:gd name="connsiteX1449" fmla="*/ 4029124 w 12188651"/>
              <a:gd name="connsiteY1449" fmla="*/ 1158575 h 3529167"/>
              <a:gd name="connsiteX1450" fmla="*/ 4362838 w 12188651"/>
              <a:gd name="connsiteY1450" fmla="*/ 1351727 h 3529167"/>
              <a:gd name="connsiteX1451" fmla="*/ 4362838 w 12188651"/>
              <a:gd name="connsiteY1451" fmla="*/ 1737910 h 3529167"/>
              <a:gd name="connsiteX1452" fmla="*/ 4029120 w 12188651"/>
              <a:gd name="connsiteY1452" fmla="*/ 1931068 h 3529167"/>
              <a:gd name="connsiteX1453" fmla="*/ 3695368 w 12188651"/>
              <a:gd name="connsiteY1453" fmla="*/ 1737913 h 3529167"/>
              <a:gd name="connsiteX1454" fmla="*/ 3695368 w 12188651"/>
              <a:gd name="connsiteY1454" fmla="*/ 1351729 h 3529167"/>
              <a:gd name="connsiteX1455" fmla="*/ 1975151 w 12188651"/>
              <a:gd name="connsiteY1455" fmla="*/ 1158559 h 3529167"/>
              <a:gd name="connsiteX1456" fmla="*/ 2252090 w 12188651"/>
              <a:gd name="connsiteY1456" fmla="*/ 1318821 h 3529167"/>
              <a:gd name="connsiteX1457" fmla="*/ 2308917 w 12188651"/>
              <a:gd name="connsiteY1457" fmla="*/ 1351709 h 3529167"/>
              <a:gd name="connsiteX1458" fmla="*/ 2308917 w 12188651"/>
              <a:gd name="connsiteY1458" fmla="*/ 1737894 h 3529167"/>
              <a:gd name="connsiteX1459" fmla="*/ 1975144 w 12188651"/>
              <a:gd name="connsiteY1459" fmla="*/ 1931051 h 3529167"/>
              <a:gd name="connsiteX1460" fmla="*/ 1641388 w 12188651"/>
              <a:gd name="connsiteY1460" fmla="*/ 1737898 h 3529167"/>
              <a:gd name="connsiteX1461" fmla="*/ 1641388 w 12188651"/>
              <a:gd name="connsiteY1461" fmla="*/ 1351714 h 3529167"/>
              <a:gd name="connsiteX1462" fmla="*/ 11902654 w 12188651"/>
              <a:gd name="connsiteY1462" fmla="*/ 960799 h 3529167"/>
              <a:gd name="connsiteX1463" fmla="*/ 12188651 w 12188651"/>
              <a:gd name="connsiteY1463" fmla="*/ 1126327 h 3529167"/>
              <a:gd name="connsiteX1464" fmla="*/ 12188651 w 12188651"/>
              <a:gd name="connsiteY1464" fmla="*/ 1171992 h 3529167"/>
              <a:gd name="connsiteX1465" fmla="*/ 11902524 w 12188651"/>
              <a:gd name="connsiteY1465" fmla="*/ 1337516 h 3529167"/>
              <a:gd name="connsiteX1466" fmla="*/ 11577065 w 12188651"/>
              <a:gd name="connsiteY1466" fmla="*/ 1149161 h 3529167"/>
              <a:gd name="connsiteX1467" fmla="*/ 9848833 w 12188651"/>
              <a:gd name="connsiteY1467" fmla="*/ 960784 h 3529167"/>
              <a:gd name="connsiteX1468" fmla="*/ 10174292 w 12188651"/>
              <a:gd name="connsiteY1468" fmla="*/ 1149145 h 3529167"/>
              <a:gd name="connsiteX1469" fmla="*/ 9848703 w 12188651"/>
              <a:gd name="connsiteY1469" fmla="*/ 1337499 h 3529167"/>
              <a:gd name="connsiteX1470" fmla="*/ 9523246 w 12188651"/>
              <a:gd name="connsiteY1470" fmla="*/ 1149145 h 3529167"/>
              <a:gd name="connsiteX1471" fmla="*/ 7794888 w 12188651"/>
              <a:gd name="connsiteY1471" fmla="*/ 960771 h 3529167"/>
              <a:gd name="connsiteX1472" fmla="*/ 8120344 w 12188651"/>
              <a:gd name="connsiteY1472" fmla="*/ 1149132 h 3529167"/>
              <a:gd name="connsiteX1473" fmla="*/ 7794758 w 12188651"/>
              <a:gd name="connsiteY1473" fmla="*/ 1337484 h 3529167"/>
              <a:gd name="connsiteX1474" fmla="*/ 7469301 w 12188651"/>
              <a:gd name="connsiteY1474" fmla="*/ 1149132 h 3529167"/>
              <a:gd name="connsiteX1475" fmla="*/ 5741094 w 12188651"/>
              <a:gd name="connsiteY1475" fmla="*/ 960756 h 3529167"/>
              <a:gd name="connsiteX1476" fmla="*/ 6066529 w 12188651"/>
              <a:gd name="connsiteY1476" fmla="*/ 1149115 h 3529167"/>
              <a:gd name="connsiteX1477" fmla="*/ 5740963 w 12188651"/>
              <a:gd name="connsiteY1477" fmla="*/ 1337471 h 3529167"/>
              <a:gd name="connsiteX1478" fmla="*/ 5504553 w 12188651"/>
              <a:gd name="connsiteY1478" fmla="*/ 1200643 h 3529167"/>
              <a:gd name="connsiteX1479" fmla="*/ 5415532 w 12188651"/>
              <a:gd name="connsiteY1479" fmla="*/ 1149117 h 3529167"/>
              <a:gd name="connsiteX1480" fmla="*/ 3687323 w 12188651"/>
              <a:gd name="connsiteY1480" fmla="*/ 960742 h 3529167"/>
              <a:gd name="connsiteX1481" fmla="*/ 4012774 w 12188651"/>
              <a:gd name="connsiteY1481" fmla="*/ 1149098 h 3529167"/>
              <a:gd name="connsiteX1482" fmla="*/ 3687188 w 12188651"/>
              <a:gd name="connsiteY1482" fmla="*/ 1337454 h 3529167"/>
              <a:gd name="connsiteX1483" fmla="*/ 3361738 w 12188651"/>
              <a:gd name="connsiteY1483" fmla="*/ 1149102 h 3529167"/>
              <a:gd name="connsiteX1484" fmla="*/ 1633346 w 12188651"/>
              <a:gd name="connsiteY1484" fmla="*/ 960729 h 3529167"/>
              <a:gd name="connsiteX1485" fmla="*/ 1958798 w 12188651"/>
              <a:gd name="connsiteY1485" fmla="*/ 1149083 h 3529167"/>
              <a:gd name="connsiteX1486" fmla="*/ 1633210 w 12188651"/>
              <a:gd name="connsiteY1486" fmla="*/ 1337440 h 3529167"/>
              <a:gd name="connsiteX1487" fmla="*/ 1307756 w 12188651"/>
              <a:gd name="connsiteY1487" fmla="*/ 1149086 h 3529167"/>
              <a:gd name="connsiteX1488" fmla="*/ 11113840 w 12188651"/>
              <a:gd name="connsiteY1488" fmla="*/ 796828 h 3529167"/>
              <a:gd name="connsiteX1489" fmla="*/ 11141600 w 12188651"/>
              <a:gd name="connsiteY1489" fmla="*/ 808373 h 3529167"/>
              <a:gd name="connsiteX1490" fmla="*/ 11206199 w 12188651"/>
              <a:gd name="connsiteY1490" fmla="*/ 873104 h 3529167"/>
              <a:gd name="connsiteX1491" fmla="*/ 11217744 w 12188651"/>
              <a:gd name="connsiteY1491" fmla="*/ 884778 h 3529167"/>
              <a:gd name="connsiteX1492" fmla="*/ 11229289 w 12188651"/>
              <a:gd name="connsiteY1492" fmla="*/ 873104 h 3529167"/>
              <a:gd name="connsiteX1493" fmla="*/ 11293758 w 12188651"/>
              <a:gd name="connsiteY1493" fmla="*/ 808373 h 3529167"/>
              <a:gd name="connsiteX1494" fmla="*/ 11321517 w 12188651"/>
              <a:gd name="connsiteY1494" fmla="*/ 796828 h 3529167"/>
              <a:gd name="connsiteX1495" fmla="*/ 11349147 w 12188651"/>
              <a:gd name="connsiteY1495" fmla="*/ 808373 h 3529167"/>
              <a:gd name="connsiteX1496" fmla="*/ 11427627 w 12188651"/>
              <a:gd name="connsiteY1496" fmla="*/ 886983 h 3529167"/>
              <a:gd name="connsiteX1497" fmla="*/ 11439169 w 12188651"/>
              <a:gd name="connsiteY1497" fmla="*/ 914736 h 3529167"/>
              <a:gd name="connsiteX1498" fmla="*/ 11427757 w 12188651"/>
              <a:gd name="connsiteY1498" fmla="*/ 942490 h 3529167"/>
              <a:gd name="connsiteX1499" fmla="*/ 11217744 w 12188651"/>
              <a:gd name="connsiteY1499" fmla="*/ 1152909 h 3529167"/>
              <a:gd name="connsiteX1500" fmla="*/ 11007731 w 12188651"/>
              <a:gd name="connsiteY1500" fmla="*/ 942490 h 3529167"/>
              <a:gd name="connsiteX1501" fmla="*/ 10996253 w 12188651"/>
              <a:gd name="connsiteY1501" fmla="*/ 914754 h 3529167"/>
              <a:gd name="connsiteX1502" fmla="*/ 11007731 w 12188651"/>
              <a:gd name="connsiteY1502" fmla="*/ 887113 h 3529167"/>
              <a:gd name="connsiteX1503" fmla="*/ 11086210 w 12188651"/>
              <a:gd name="connsiteY1503" fmla="*/ 808373 h 3529167"/>
              <a:gd name="connsiteX1504" fmla="*/ 11113840 w 12188651"/>
              <a:gd name="connsiteY1504" fmla="*/ 796828 h 3529167"/>
              <a:gd name="connsiteX1505" fmla="*/ 9059892 w 12188651"/>
              <a:gd name="connsiteY1505" fmla="*/ 796812 h 3529167"/>
              <a:gd name="connsiteX1506" fmla="*/ 9087652 w 12188651"/>
              <a:gd name="connsiteY1506" fmla="*/ 808358 h 3529167"/>
              <a:gd name="connsiteX1507" fmla="*/ 9152251 w 12188651"/>
              <a:gd name="connsiteY1507" fmla="*/ 873089 h 3529167"/>
              <a:gd name="connsiteX1508" fmla="*/ 9163796 w 12188651"/>
              <a:gd name="connsiteY1508" fmla="*/ 884763 h 3529167"/>
              <a:gd name="connsiteX1509" fmla="*/ 9175341 w 12188651"/>
              <a:gd name="connsiteY1509" fmla="*/ 873089 h 3529167"/>
              <a:gd name="connsiteX1510" fmla="*/ 9239810 w 12188651"/>
              <a:gd name="connsiteY1510" fmla="*/ 808358 h 3529167"/>
              <a:gd name="connsiteX1511" fmla="*/ 9267570 w 12188651"/>
              <a:gd name="connsiteY1511" fmla="*/ 796812 h 3529167"/>
              <a:gd name="connsiteX1512" fmla="*/ 9295200 w 12188651"/>
              <a:gd name="connsiteY1512" fmla="*/ 808358 h 3529167"/>
              <a:gd name="connsiteX1513" fmla="*/ 9373678 w 12188651"/>
              <a:gd name="connsiteY1513" fmla="*/ 886967 h 3529167"/>
              <a:gd name="connsiteX1514" fmla="*/ 9385221 w 12188651"/>
              <a:gd name="connsiteY1514" fmla="*/ 914725 h 3529167"/>
              <a:gd name="connsiteX1515" fmla="*/ 9373809 w 12188651"/>
              <a:gd name="connsiteY1515" fmla="*/ 942476 h 3529167"/>
              <a:gd name="connsiteX1516" fmla="*/ 9163797 w 12188651"/>
              <a:gd name="connsiteY1516" fmla="*/ 1152894 h 3529167"/>
              <a:gd name="connsiteX1517" fmla="*/ 8953784 w 12188651"/>
              <a:gd name="connsiteY1517" fmla="*/ 942476 h 3529167"/>
              <a:gd name="connsiteX1518" fmla="*/ 8942307 w 12188651"/>
              <a:gd name="connsiteY1518" fmla="*/ 914737 h 3529167"/>
              <a:gd name="connsiteX1519" fmla="*/ 8953783 w 12188651"/>
              <a:gd name="connsiteY1519" fmla="*/ 887100 h 3529167"/>
              <a:gd name="connsiteX1520" fmla="*/ 9032263 w 12188651"/>
              <a:gd name="connsiteY1520" fmla="*/ 808358 h 3529167"/>
              <a:gd name="connsiteX1521" fmla="*/ 9059892 w 12188651"/>
              <a:gd name="connsiteY1521" fmla="*/ 796812 h 3529167"/>
              <a:gd name="connsiteX1522" fmla="*/ 7006076 w 12188651"/>
              <a:gd name="connsiteY1522" fmla="*/ 796800 h 3529167"/>
              <a:gd name="connsiteX1523" fmla="*/ 7033834 w 12188651"/>
              <a:gd name="connsiteY1523" fmla="*/ 808345 h 3529167"/>
              <a:gd name="connsiteX1524" fmla="*/ 7098434 w 12188651"/>
              <a:gd name="connsiteY1524" fmla="*/ 873075 h 3529167"/>
              <a:gd name="connsiteX1525" fmla="*/ 7109978 w 12188651"/>
              <a:gd name="connsiteY1525" fmla="*/ 884750 h 3529167"/>
              <a:gd name="connsiteX1526" fmla="*/ 7121523 w 12188651"/>
              <a:gd name="connsiteY1526" fmla="*/ 873075 h 3529167"/>
              <a:gd name="connsiteX1527" fmla="*/ 7185994 w 12188651"/>
              <a:gd name="connsiteY1527" fmla="*/ 808345 h 3529167"/>
              <a:gd name="connsiteX1528" fmla="*/ 7213751 w 12188651"/>
              <a:gd name="connsiteY1528" fmla="*/ 796800 h 3529167"/>
              <a:gd name="connsiteX1529" fmla="*/ 7241381 w 12188651"/>
              <a:gd name="connsiteY1529" fmla="*/ 808345 h 3529167"/>
              <a:gd name="connsiteX1530" fmla="*/ 7319862 w 12188651"/>
              <a:gd name="connsiteY1530" fmla="*/ 886956 h 3529167"/>
              <a:gd name="connsiteX1531" fmla="*/ 7331404 w 12188651"/>
              <a:gd name="connsiteY1531" fmla="*/ 914710 h 3529167"/>
              <a:gd name="connsiteX1532" fmla="*/ 7319992 w 12188651"/>
              <a:gd name="connsiteY1532" fmla="*/ 942463 h 3529167"/>
              <a:gd name="connsiteX1533" fmla="*/ 7109978 w 12188651"/>
              <a:gd name="connsiteY1533" fmla="*/ 1152879 h 3529167"/>
              <a:gd name="connsiteX1534" fmla="*/ 6899966 w 12188651"/>
              <a:gd name="connsiteY1534" fmla="*/ 942463 h 3529167"/>
              <a:gd name="connsiteX1535" fmla="*/ 6888488 w 12188651"/>
              <a:gd name="connsiteY1535" fmla="*/ 914725 h 3529167"/>
              <a:gd name="connsiteX1536" fmla="*/ 6899966 w 12188651"/>
              <a:gd name="connsiteY1536" fmla="*/ 887085 h 3529167"/>
              <a:gd name="connsiteX1537" fmla="*/ 6978446 w 12188651"/>
              <a:gd name="connsiteY1537" fmla="*/ 808345 h 3529167"/>
              <a:gd name="connsiteX1538" fmla="*/ 7006076 w 12188651"/>
              <a:gd name="connsiteY1538" fmla="*/ 796800 h 3529167"/>
              <a:gd name="connsiteX1539" fmla="*/ 4952163 w 12188651"/>
              <a:gd name="connsiteY1539" fmla="*/ 796785 h 3529167"/>
              <a:gd name="connsiteX1540" fmla="*/ 4979931 w 12188651"/>
              <a:gd name="connsiteY1540" fmla="*/ 808330 h 3529167"/>
              <a:gd name="connsiteX1541" fmla="*/ 4999601 w 12188651"/>
              <a:gd name="connsiteY1541" fmla="*/ 828037 h 3529167"/>
              <a:gd name="connsiteX1542" fmla="*/ 5044528 w 12188651"/>
              <a:gd name="connsiteY1542" fmla="*/ 873049 h 3529167"/>
              <a:gd name="connsiteX1543" fmla="*/ 5056083 w 12188651"/>
              <a:gd name="connsiteY1543" fmla="*/ 884723 h 3529167"/>
              <a:gd name="connsiteX1544" fmla="*/ 5056083 w 12188651"/>
              <a:gd name="connsiteY1544" fmla="*/ 884718 h 3529167"/>
              <a:gd name="connsiteX1545" fmla="*/ 5056096 w 12188651"/>
              <a:gd name="connsiteY1545" fmla="*/ 884737 h 3529167"/>
              <a:gd name="connsiteX1546" fmla="*/ 5067648 w 12188651"/>
              <a:gd name="connsiteY1546" fmla="*/ 873062 h 3529167"/>
              <a:gd name="connsiteX1547" fmla="*/ 5132091 w 12188651"/>
              <a:gd name="connsiteY1547" fmla="*/ 808330 h 3529167"/>
              <a:gd name="connsiteX1548" fmla="*/ 5159840 w 12188651"/>
              <a:gd name="connsiteY1548" fmla="*/ 796785 h 3529167"/>
              <a:gd name="connsiteX1549" fmla="*/ 5187487 w 12188651"/>
              <a:gd name="connsiteY1549" fmla="*/ 808327 h 3529167"/>
              <a:gd name="connsiteX1550" fmla="*/ 5260329 w 12188651"/>
              <a:gd name="connsiteY1550" fmla="*/ 881304 h 3529167"/>
              <a:gd name="connsiteX1551" fmla="*/ 5265946 w 12188651"/>
              <a:gd name="connsiteY1551" fmla="*/ 886927 h 3529167"/>
              <a:gd name="connsiteX1552" fmla="*/ 5277479 w 12188651"/>
              <a:gd name="connsiteY1552" fmla="*/ 914688 h 3529167"/>
              <a:gd name="connsiteX1553" fmla="*/ 5266075 w 12188651"/>
              <a:gd name="connsiteY1553" fmla="*/ 942448 h 3529167"/>
              <a:gd name="connsiteX1554" fmla="*/ 5056083 w 12188651"/>
              <a:gd name="connsiteY1554" fmla="*/ 1152860 h 3529167"/>
              <a:gd name="connsiteX1555" fmla="*/ 4940608 w 12188651"/>
              <a:gd name="connsiteY1555" fmla="*/ 1037194 h 3529167"/>
              <a:gd name="connsiteX1556" fmla="*/ 4846044 w 12188651"/>
              <a:gd name="connsiteY1556" fmla="*/ 942452 h 3529167"/>
              <a:gd name="connsiteX1557" fmla="*/ 4834566 w 12188651"/>
              <a:gd name="connsiteY1557" fmla="*/ 914718 h 3529167"/>
              <a:gd name="connsiteX1558" fmla="*/ 4846044 w 12188651"/>
              <a:gd name="connsiteY1558" fmla="*/ 887070 h 3529167"/>
              <a:gd name="connsiteX1559" fmla="*/ 4924518 w 12188651"/>
              <a:gd name="connsiteY1559" fmla="*/ 808330 h 3529167"/>
              <a:gd name="connsiteX1560" fmla="*/ 4952163 w 12188651"/>
              <a:gd name="connsiteY1560" fmla="*/ 796785 h 3529167"/>
              <a:gd name="connsiteX1561" fmla="*/ 2898379 w 12188651"/>
              <a:gd name="connsiteY1561" fmla="*/ 796772 h 3529167"/>
              <a:gd name="connsiteX1562" fmla="*/ 2926124 w 12188651"/>
              <a:gd name="connsiteY1562" fmla="*/ 808309 h 3529167"/>
              <a:gd name="connsiteX1563" fmla="*/ 2990715 w 12188651"/>
              <a:gd name="connsiteY1563" fmla="*/ 873034 h 3529167"/>
              <a:gd name="connsiteX1564" fmla="*/ 3002260 w 12188651"/>
              <a:gd name="connsiteY1564" fmla="*/ 884709 h 3529167"/>
              <a:gd name="connsiteX1565" fmla="*/ 3002266 w 12188651"/>
              <a:gd name="connsiteY1565" fmla="*/ 884703 h 3529167"/>
              <a:gd name="connsiteX1566" fmla="*/ 3002284 w 12188651"/>
              <a:gd name="connsiteY1566" fmla="*/ 884723 h 3529167"/>
              <a:gd name="connsiteX1567" fmla="*/ 3013828 w 12188651"/>
              <a:gd name="connsiteY1567" fmla="*/ 873046 h 3529167"/>
              <a:gd name="connsiteX1568" fmla="*/ 3078300 w 12188651"/>
              <a:gd name="connsiteY1568" fmla="*/ 808316 h 3529167"/>
              <a:gd name="connsiteX1569" fmla="*/ 3106059 w 12188651"/>
              <a:gd name="connsiteY1569" fmla="*/ 796772 h 3529167"/>
              <a:gd name="connsiteX1570" fmla="*/ 3133671 w 12188651"/>
              <a:gd name="connsiteY1570" fmla="*/ 808309 h 3529167"/>
              <a:gd name="connsiteX1571" fmla="*/ 3212143 w 12188651"/>
              <a:gd name="connsiteY1571" fmla="*/ 886914 h 3529167"/>
              <a:gd name="connsiteX1572" fmla="*/ 3223689 w 12188651"/>
              <a:gd name="connsiteY1572" fmla="*/ 914674 h 3529167"/>
              <a:gd name="connsiteX1573" fmla="*/ 3212274 w 12188651"/>
              <a:gd name="connsiteY1573" fmla="*/ 942434 h 3529167"/>
              <a:gd name="connsiteX1574" fmla="*/ 3002266 w 12188651"/>
              <a:gd name="connsiteY1574" fmla="*/ 1152843 h 3529167"/>
              <a:gd name="connsiteX1575" fmla="*/ 2792274 w 12188651"/>
              <a:gd name="connsiteY1575" fmla="*/ 942447 h 3529167"/>
              <a:gd name="connsiteX1576" fmla="*/ 2792274 w 12188651"/>
              <a:gd name="connsiteY1576" fmla="*/ 887057 h 3529167"/>
              <a:gd name="connsiteX1577" fmla="*/ 2870749 w 12188651"/>
              <a:gd name="connsiteY1577" fmla="*/ 808316 h 3529167"/>
              <a:gd name="connsiteX1578" fmla="*/ 2898379 w 12188651"/>
              <a:gd name="connsiteY1578" fmla="*/ 796772 h 3529167"/>
              <a:gd name="connsiteX1579" fmla="*/ 844401 w 12188651"/>
              <a:gd name="connsiteY1579" fmla="*/ 796757 h 3529167"/>
              <a:gd name="connsiteX1580" fmla="*/ 872145 w 12188651"/>
              <a:gd name="connsiteY1580" fmla="*/ 808295 h 3529167"/>
              <a:gd name="connsiteX1581" fmla="*/ 936739 w 12188651"/>
              <a:gd name="connsiteY1581" fmla="*/ 873020 h 3529167"/>
              <a:gd name="connsiteX1582" fmla="*/ 948284 w 12188651"/>
              <a:gd name="connsiteY1582" fmla="*/ 884695 h 3529167"/>
              <a:gd name="connsiteX1583" fmla="*/ 948289 w 12188651"/>
              <a:gd name="connsiteY1583" fmla="*/ 884690 h 3529167"/>
              <a:gd name="connsiteX1584" fmla="*/ 948306 w 12188651"/>
              <a:gd name="connsiteY1584" fmla="*/ 884708 h 3529167"/>
              <a:gd name="connsiteX1585" fmla="*/ 959851 w 12188651"/>
              <a:gd name="connsiteY1585" fmla="*/ 873033 h 3529167"/>
              <a:gd name="connsiteX1586" fmla="*/ 1024320 w 12188651"/>
              <a:gd name="connsiteY1586" fmla="*/ 808302 h 3529167"/>
              <a:gd name="connsiteX1587" fmla="*/ 1052080 w 12188651"/>
              <a:gd name="connsiteY1587" fmla="*/ 796757 h 3529167"/>
              <a:gd name="connsiteX1588" fmla="*/ 1079695 w 12188651"/>
              <a:gd name="connsiteY1588" fmla="*/ 808295 h 3529167"/>
              <a:gd name="connsiteX1589" fmla="*/ 1158166 w 12188651"/>
              <a:gd name="connsiteY1589" fmla="*/ 886900 h 3529167"/>
              <a:gd name="connsiteX1590" fmla="*/ 1169710 w 12188651"/>
              <a:gd name="connsiteY1590" fmla="*/ 914660 h 3529167"/>
              <a:gd name="connsiteX1591" fmla="*/ 1158298 w 12188651"/>
              <a:gd name="connsiteY1591" fmla="*/ 942421 h 3529167"/>
              <a:gd name="connsiteX1592" fmla="*/ 948288 w 12188651"/>
              <a:gd name="connsiteY1592" fmla="*/ 1152829 h 3529167"/>
              <a:gd name="connsiteX1593" fmla="*/ 738294 w 12188651"/>
              <a:gd name="connsiteY1593" fmla="*/ 942434 h 3529167"/>
              <a:gd name="connsiteX1594" fmla="*/ 738294 w 12188651"/>
              <a:gd name="connsiteY1594" fmla="*/ 887043 h 3529167"/>
              <a:gd name="connsiteX1595" fmla="*/ 816772 w 12188651"/>
              <a:gd name="connsiteY1595" fmla="*/ 808302 h 3529167"/>
              <a:gd name="connsiteX1596" fmla="*/ 844401 w 12188651"/>
              <a:gd name="connsiteY1596" fmla="*/ 796757 h 3529167"/>
              <a:gd name="connsiteX1597" fmla="*/ 11113840 w 12188651"/>
              <a:gd name="connsiteY1597" fmla="*/ 780338 h 3529167"/>
              <a:gd name="connsiteX1598" fmla="*/ 11074665 w 12188651"/>
              <a:gd name="connsiteY1598" fmla="*/ 796683 h 3529167"/>
              <a:gd name="connsiteX1599" fmla="*/ 10996186 w 12188651"/>
              <a:gd name="connsiteY1599" fmla="*/ 875425 h 3529167"/>
              <a:gd name="connsiteX1600" fmla="*/ 10979939 w 12188651"/>
              <a:gd name="connsiteY1600" fmla="*/ 914730 h 3529167"/>
              <a:gd name="connsiteX1601" fmla="*/ 10979942 w 12188651"/>
              <a:gd name="connsiteY1601" fmla="*/ 914736 h 3529167"/>
              <a:gd name="connsiteX1602" fmla="*/ 10979939 w 12188651"/>
              <a:gd name="connsiteY1602" fmla="*/ 914744 h 3529167"/>
              <a:gd name="connsiteX1603" fmla="*/ 10996186 w 12188651"/>
              <a:gd name="connsiteY1603" fmla="*/ 954050 h 3529167"/>
              <a:gd name="connsiteX1604" fmla="*/ 11217744 w 12188651"/>
              <a:gd name="connsiteY1604" fmla="*/ 1176145 h 3529167"/>
              <a:gd name="connsiteX1605" fmla="*/ 11439301 w 12188651"/>
              <a:gd name="connsiteY1605" fmla="*/ 954050 h 3529167"/>
              <a:gd name="connsiteX1606" fmla="*/ 11455548 w 12188651"/>
              <a:gd name="connsiteY1606" fmla="*/ 914744 h 3529167"/>
              <a:gd name="connsiteX1607" fmla="*/ 11455545 w 12188651"/>
              <a:gd name="connsiteY1607" fmla="*/ 914736 h 3529167"/>
              <a:gd name="connsiteX1608" fmla="*/ 11455548 w 12188651"/>
              <a:gd name="connsiteY1608" fmla="*/ 914730 h 3529167"/>
              <a:gd name="connsiteX1609" fmla="*/ 11439301 w 12188651"/>
              <a:gd name="connsiteY1609" fmla="*/ 875425 h 3529167"/>
              <a:gd name="connsiteX1610" fmla="*/ 11360822 w 12188651"/>
              <a:gd name="connsiteY1610" fmla="*/ 796812 h 3529167"/>
              <a:gd name="connsiteX1611" fmla="*/ 11321647 w 12188651"/>
              <a:gd name="connsiteY1611" fmla="*/ 780468 h 3529167"/>
              <a:gd name="connsiteX1612" fmla="*/ 11321517 w 12188651"/>
              <a:gd name="connsiteY1612" fmla="*/ 780338 h 3529167"/>
              <a:gd name="connsiteX1613" fmla="*/ 11282213 w 12188651"/>
              <a:gd name="connsiteY1613" fmla="*/ 796812 h 3529167"/>
              <a:gd name="connsiteX1614" fmla="*/ 11217744 w 12188651"/>
              <a:gd name="connsiteY1614" fmla="*/ 861415 h 3529167"/>
              <a:gd name="connsiteX1615" fmla="*/ 11153145 w 12188651"/>
              <a:gd name="connsiteY1615" fmla="*/ 796683 h 3529167"/>
              <a:gd name="connsiteX1616" fmla="*/ 11113840 w 12188651"/>
              <a:gd name="connsiteY1616" fmla="*/ 780338 h 3529167"/>
              <a:gd name="connsiteX1617" fmla="*/ 9059893 w 12188651"/>
              <a:gd name="connsiteY1617" fmla="*/ 780324 h 3529167"/>
              <a:gd name="connsiteX1618" fmla="*/ 9020718 w 12188651"/>
              <a:gd name="connsiteY1618" fmla="*/ 796669 h 3529167"/>
              <a:gd name="connsiteX1619" fmla="*/ 8942239 w 12188651"/>
              <a:gd name="connsiteY1619" fmla="*/ 875411 h 3529167"/>
              <a:gd name="connsiteX1620" fmla="*/ 8925992 w 12188651"/>
              <a:gd name="connsiteY1620" fmla="*/ 914717 h 3529167"/>
              <a:gd name="connsiteX1621" fmla="*/ 8925994 w 12188651"/>
              <a:gd name="connsiteY1621" fmla="*/ 914722 h 3529167"/>
              <a:gd name="connsiteX1622" fmla="*/ 8925991 w 12188651"/>
              <a:gd name="connsiteY1622" fmla="*/ 914730 h 3529167"/>
              <a:gd name="connsiteX1623" fmla="*/ 8942238 w 12188651"/>
              <a:gd name="connsiteY1623" fmla="*/ 954035 h 3529167"/>
              <a:gd name="connsiteX1624" fmla="*/ 9163796 w 12188651"/>
              <a:gd name="connsiteY1624" fmla="*/ 1176130 h 3529167"/>
              <a:gd name="connsiteX1625" fmla="*/ 9385353 w 12188651"/>
              <a:gd name="connsiteY1625" fmla="*/ 954035 h 3529167"/>
              <a:gd name="connsiteX1626" fmla="*/ 9401600 w 12188651"/>
              <a:gd name="connsiteY1626" fmla="*/ 914730 h 3529167"/>
              <a:gd name="connsiteX1627" fmla="*/ 9401598 w 12188651"/>
              <a:gd name="connsiteY1627" fmla="*/ 914725 h 3529167"/>
              <a:gd name="connsiteX1628" fmla="*/ 9401601 w 12188651"/>
              <a:gd name="connsiteY1628" fmla="*/ 914717 h 3529167"/>
              <a:gd name="connsiteX1629" fmla="*/ 9385354 w 12188651"/>
              <a:gd name="connsiteY1629" fmla="*/ 875411 h 3529167"/>
              <a:gd name="connsiteX1630" fmla="*/ 9306876 w 12188651"/>
              <a:gd name="connsiteY1630" fmla="*/ 796800 h 3529167"/>
              <a:gd name="connsiteX1631" fmla="*/ 9267701 w 12188651"/>
              <a:gd name="connsiteY1631" fmla="*/ 780454 h 3529167"/>
              <a:gd name="connsiteX1632" fmla="*/ 9267571 w 12188651"/>
              <a:gd name="connsiteY1632" fmla="*/ 780324 h 3529167"/>
              <a:gd name="connsiteX1633" fmla="*/ 9228266 w 12188651"/>
              <a:gd name="connsiteY1633" fmla="*/ 796800 h 3529167"/>
              <a:gd name="connsiteX1634" fmla="*/ 9163797 w 12188651"/>
              <a:gd name="connsiteY1634" fmla="*/ 861401 h 3529167"/>
              <a:gd name="connsiteX1635" fmla="*/ 9099198 w 12188651"/>
              <a:gd name="connsiteY1635" fmla="*/ 796669 h 3529167"/>
              <a:gd name="connsiteX1636" fmla="*/ 9059893 w 12188651"/>
              <a:gd name="connsiteY1636" fmla="*/ 780324 h 3529167"/>
              <a:gd name="connsiteX1637" fmla="*/ 7006076 w 12188651"/>
              <a:gd name="connsiteY1637" fmla="*/ 780310 h 3529167"/>
              <a:gd name="connsiteX1638" fmla="*/ 6966901 w 12188651"/>
              <a:gd name="connsiteY1638" fmla="*/ 796656 h 3529167"/>
              <a:gd name="connsiteX1639" fmla="*/ 6888421 w 12188651"/>
              <a:gd name="connsiteY1639" fmla="*/ 875397 h 3529167"/>
              <a:gd name="connsiteX1640" fmla="*/ 6872174 w 12188651"/>
              <a:gd name="connsiteY1640" fmla="*/ 914703 h 3529167"/>
              <a:gd name="connsiteX1641" fmla="*/ 6872176 w 12188651"/>
              <a:gd name="connsiteY1641" fmla="*/ 914710 h 3529167"/>
              <a:gd name="connsiteX1642" fmla="*/ 6872174 w 12188651"/>
              <a:gd name="connsiteY1642" fmla="*/ 914717 h 3529167"/>
              <a:gd name="connsiteX1643" fmla="*/ 6888421 w 12188651"/>
              <a:gd name="connsiteY1643" fmla="*/ 954021 h 3529167"/>
              <a:gd name="connsiteX1644" fmla="*/ 7109978 w 12188651"/>
              <a:gd name="connsiteY1644" fmla="*/ 1176113 h 3529167"/>
              <a:gd name="connsiteX1645" fmla="*/ 7331537 w 12188651"/>
              <a:gd name="connsiteY1645" fmla="*/ 954021 h 3529167"/>
              <a:gd name="connsiteX1646" fmla="*/ 7347783 w 12188651"/>
              <a:gd name="connsiteY1646" fmla="*/ 914717 h 3529167"/>
              <a:gd name="connsiteX1647" fmla="*/ 7347780 w 12188651"/>
              <a:gd name="connsiteY1647" fmla="*/ 914710 h 3529167"/>
              <a:gd name="connsiteX1648" fmla="*/ 7347783 w 12188651"/>
              <a:gd name="connsiteY1648" fmla="*/ 914703 h 3529167"/>
              <a:gd name="connsiteX1649" fmla="*/ 7331537 w 12188651"/>
              <a:gd name="connsiteY1649" fmla="*/ 875397 h 3529167"/>
              <a:gd name="connsiteX1650" fmla="*/ 7253057 w 12188651"/>
              <a:gd name="connsiteY1650" fmla="*/ 796785 h 3529167"/>
              <a:gd name="connsiteX1651" fmla="*/ 7213882 w 12188651"/>
              <a:gd name="connsiteY1651" fmla="*/ 780440 h 3529167"/>
              <a:gd name="connsiteX1652" fmla="*/ 7213751 w 12188651"/>
              <a:gd name="connsiteY1652" fmla="*/ 780310 h 3529167"/>
              <a:gd name="connsiteX1653" fmla="*/ 7174449 w 12188651"/>
              <a:gd name="connsiteY1653" fmla="*/ 796785 h 3529167"/>
              <a:gd name="connsiteX1654" fmla="*/ 7109978 w 12188651"/>
              <a:gd name="connsiteY1654" fmla="*/ 861387 h 3529167"/>
              <a:gd name="connsiteX1655" fmla="*/ 7045379 w 12188651"/>
              <a:gd name="connsiteY1655" fmla="*/ 796656 h 3529167"/>
              <a:gd name="connsiteX1656" fmla="*/ 7006076 w 12188651"/>
              <a:gd name="connsiteY1656" fmla="*/ 780310 h 3529167"/>
              <a:gd name="connsiteX1657" fmla="*/ 4952154 w 12188651"/>
              <a:gd name="connsiteY1657" fmla="*/ 780296 h 3529167"/>
              <a:gd name="connsiteX1658" fmla="*/ 4912973 w 12188651"/>
              <a:gd name="connsiteY1658" fmla="*/ 796641 h 3529167"/>
              <a:gd name="connsiteX1659" fmla="*/ 4834497 w 12188651"/>
              <a:gd name="connsiteY1659" fmla="*/ 875382 h 3529167"/>
              <a:gd name="connsiteX1660" fmla="*/ 4834497 w 12188651"/>
              <a:gd name="connsiteY1660" fmla="*/ 953994 h 3529167"/>
              <a:gd name="connsiteX1661" fmla="*/ 4834505 w 12188651"/>
              <a:gd name="connsiteY1661" fmla="*/ 954001 h 3529167"/>
              <a:gd name="connsiteX1662" fmla="*/ 4834511 w 12188651"/>
              <a:gd name="connsiteY1662" fmla="*/ 954008 h 3529167"/>
              <a:gd name="connsiteX1663" fmla="*/ 4925572 w 12188651"/>
              <a:gd name="connsiteY1663" fmla="*/ 1045292 h 3529167"/>
              <a:gd name="connsiteX1664" fmla="*/ 5056083 w 12188651"/>
              <a:gd name="connsiteY1664" fmla="*/ 1176084 h 3529167"/>
              <a:gd name="connsiteX1665" fmla="*/ 5056083 w 12188651"/>
              <a:gd name="connsiteY1665" fmla="*/ 1176081 h 3529167"/>
              <a:gd name="connsiteX1666" fmla="*/ 5056096 w 12188651"/>
              <a:gd name="connsiteY1666" fmla="*/ 1176099 h 3529167"/>
              <a:gd name="connsiteX1667" fmla="*/ 5277619 w 12188651"/>
              <a:gd name="connsiteY1667" fmla="*/ 954008 h 3529167"/>
              <a:gd name="connsiteX1668" fmla="*/ 5277619 w 12188651"/>
              <a:gd name="connsiteY1668" fmla="*/ 875395 h 3529167"/>
              <a:gd name="connsiteX1669" fmla="*/ 5277613 w 12188651"/>
              <a:gd name="connsiteY1669" fmla="*/ 875386 h 3529167"/>
              <a:gd name="connsiteX1670" fmla="*/ 5277613 w 12188651"/>
              <a:gd name="connsiteY1670" fmla="*/ 875382 h 3529167"/>
              <a:gd name="connsiteX1671" fmla="*/ 5199129 w 12188651"/>
              <a:gd name="connsiteY1671" fmla="*/ 796772 h 3529167"/>
              <a:gd name="connsiteX1672" fmla="*/ 5159958 w 12188651"/>
              <a:gd name="connsiteY1672" fmla="*/ 780426 h 3529167"/>
              <a:gd name="connsiteX1673" fmla="*/ 5159834 w 12188651"/>
              <a:gd name="connsiteY1673" fmla="*/ 780296 h 3529167"/>
              <a:gd name="connsiteX1674" fmla="*/ 5120536 w 12188651"/>
              <a:gd name="connsiteY1674" fmla="*/ 796772 h 3529167"/>
              <a:gd name="connsiteX1675" fmla="*/ 5056083 w 12188651"/>
              <a:gd name="connsiteY1675" fmla="*/ 861369 h 3529167"/>
              <a:gd name="connsiteX1676" fmla="*/ 5001140 w 12188651"/>
              <a:gd name="connsiteY1676" fmla="*/ 806336 h 3529167"/>
              <a:gd name="connsiteX1677" fmla="*/ 4991465 w 12188651"/>
              <a:gd name="connsiteY1677" fmla="*/ 796641 h 3529167"/>
              <a:gd name="connsiteX1678" fmla="*/ 4952154 w 12188651"/>
              <a:gd name="connsiteY1678" fmla="*/ 780296 h 3529167"/>
              <a:gd name="connsiteX1679" fmla="*/ 2898359 w 12188651"/>
              <a:gd name="connsiteY1679" fmla="*/ 780282 h 3529167"/>
              <a:gd name="connsiteX1680" fmla="*/ 2859182 w 12188651"/>
              <a:gd name="connsiteY1680" fmla="*/ 796627 h 3529167"/>
              <a:gd name="connsiteX1681" fmla="*/ 2780702 w 12188651"/>
              <a:gd name="connsiteY1681" fmla="*/ 875369 h 3529167"/>
              <a:gd name="connsiteX1682" fmla="*/ 2780702 w 12188651"/>
              <a:gd name="connsiteY1682" fmla="*/ 953981 h 3529167"/>
              <a:gd name="connsiteX1683" fmla="*/ 3002260 w 12188651"/>
              <a:gd name="connsiteY1683" fmla="*/ 1176068 h 3529167"/>
              <a:gd name="connsiteX1684" fmla="*/ 3002266 w 12188651"/>
              <a:gd name="connsiteY1684" fmla="*/ 1176063 h 3529167"/>
              <a:gd name="connsiteX1685" fmla="*/ 3002284 w 12188651"/>
              <a:gd name="connsiteY1685" fmla="*/ 1176082 h 3529167"/>
              <a:gd name="connsiteX1686" fmla="*/ 3223843 w 12188651"/>
              <a:gd name="connsiteY1686" fmla="*/ 953994 h 3529167"/>
              <a:gd name="connsiteX1687" fmla="*/ 3223843 w 12188651"/>
              <a:gd name="connsiteY1687" fmla="*/ 875382 h 3529167"/>
              <a:gd name="connsiteX1688" fmla="*/ 3145363 w 12188651"/>
              <a:gd name="connsiteY1688" fmla="*/ 796772 h 3529167"/>
              <a:gd name="connsiteX1689" fmla="*/ 3126992 w 12188651"/>
              <a:gd name="connsiteY1689" fmla="*/ 784512 h 3529167"/>
              <a:gd name="connsiteX1690" fmla="*/ 3126986 w 12188651"/>
              <a:gd name="connsiteY1690" fmla="*/ 784511 h 3529167"/>
              <a:gd name="connsiteX1691" fmla="*/ 3126967 w 12188651"/>
              <a:gd name="connsiteY1691" fmla="*/ 784499 h 3529167"/>
              <a:gd name="connsiteX1692" fmla="*/ 3106177 w 12188651"/>
              <a:gd name="connsiteY1692" fmla="*/ 780415 h 3529167"/>
              <a:gd name="connsiteX1693" fmla="*/ 3106059 w 12188651"/>
              <a:gd name="connsiteY1693" fmla="*/ 780295 h 3529167"/>
              <a:gd name="connsiteX1694" fmla="*/ 3106051 w 12188651"/>
              <a:gd name="connsiteY1694" fmla="*/ 780298 h 3529167"/>
              <a:gd name="connsiteX1695" fmla="*/ 3106034 w 12188651"/>
              <a:gd name="connsiteY1695" fmla="*/ 780282 h 3529167"/>
              <a:gd name="connsiteX1696" fmla="*/ 3066731 w 12188651"/>
              <a:gd name="connsiteY1696" fmla="*/ 796757 h 3529167"/>
              <a:gd name="connsiteX1697" fmla="*/ 3002266 w 12188651"/>
              <a:gd name="connsiteY1697" fmla="*/ 861353 h 3529167"/>
              <a:gd name="connsiteX1698" fmla="*/ 2937685 w 12188651"/>
              <a:gd name="connsiteY1698" fmla="*/ 796641 h 3529167"/>
              <a:gd name="connsiteX1699" fmla="*/ 2919300 w 12188651"/>
              <a:gd name="connsiteY1699" fmla="*/ 784382 h 3529167"/>
              <a:gd name="connsiteX1700" fmla="*/ 2919293 w 12188651"/>
              <a:gd name="connsiteY1700" fmla="*/ 784381 h 3529167"/>
              <a:gd name="connsiteX1701" fmla="*/ 2919273 w 12188651"/>
              <a:gd name="connsiteY1701" fmla="*/ 784369 h 3529167"/>
              <a:gd name="connsiteX1702" fmla="*/ 2898359 w 12188651"/>
              <a:gd name="connsiteY1702" fmla="*/ 780282 h 3529167"/>
              <a:gd name="connsiteX1703" fmla="*/ 844379 w 12188651"/>
              <a:gd name="connsiteY1703" fmla="*/ 780268 h 3529167"/>
              <a:gd name="connsiteX1704" fmla="*/ 805206 w 12188651"/>
              <a:gd name="connsiteY1704" fmla="*/ 796613 h 3529167"/>
              <a:gd name="connsiteX1705" fmla="*/ 726726 w 12188651"/>
              <a:gd name="connsiteY1705" fmla="*/ 875355 h 3529167"/>
              <a:gd name="connsiteX1706" fmla="*/ 726726 w 12188651"/>
              <a:gd name="connsiteY1706" fmla="*/ 953966 h 3529167"/>
              <a:gd name="connsiteX1707" fmla="*/ 948284 w 12188651"/>
              <a:gd name="connsiteY1707" fmla="*/ 1176053 h 3529167"/>
              <a:gd name="connsiteX1708" fmla="*/ 948288 w 12188651"/>
              <a:gd name="connsiteY1708" fmla="*/ 1176048 h 3529167"/>
              <a:gd name="connsiteX1709" fmla="*/ 948306 w 12188651"/>
              <a:gd name="connsiteY1709" fmla="*/ 1176067 h 3529167"/>
              <a:gd name="connsiteX1710" fmla="*/ 1169863 w 12188651"/>
              <a:gd name="connsiteY1710" fmla="*/ 953980 h 3529167"/>
              <a:gd name="connsiteX1711" fmla="*/ 1169863 w 12188651"/>
              <a:gd name="connsiteY1711" fmla="*/ 875369 h 3529167"/>
              <a:gd name="connsiteX1712" fmla="*/ 1091384 w 12188651"/>
              <a:gd name="connsiteY1712" fmla="*/ 796757 h 3529167"/>
              <a:gd name="connsiteX1713" fmla="*/ 1073012 w 12188651"/>
              <a:gd name="connsiteY1713" fmla="*/ 784498 h 3529167"/>
              <a:gd name="connsiteX1714" fmla="*/ 1073010 w 12188651"/>
              <a:gd name="connsiteY1714" fmla="*/ 784497 h 3529167"/>
              <a:gd name="connsiteX1715" fmla="*/ 1072991 w 12188651"/>
              <a:gd name="connsiteY1715" fmla="*/ 784484 h 3529167"/>
              <a:gd name="connsiteX1716" fmla="*/ 1052198 w 12188651"/>
              <a:gd name="connsiteY1716" fmla="*/ 780401 h 3529167"/>
              <a:gd name="connsiteX1717" fmla="*/ 1052080 w 12188651"/>
              <a:gd name="connsiteY1717" fmla="*/ 780282 h 3529167"/>
              <a:gd name="connsiteX1718" fmla="*/ 1052072 w 12188651"/>
              <a:gd name="connsiteY1718" fmla="*/ 780283 h 3529167"/>
              <a:gd name="connsiteX1719" fmla="*/ 1052057 w 12188651"/>
              <a:gd name="connsiteY1719" fmla="*/ 780268 h 3529167"/>
              <a:gd name="connsiteX1720" fmla="*/ 1012754 w 12188651"/>
              <a:gd name="connsiteY1720" fmla="*/ 796743 h 3529167"/>
              <a:gd name="connsiteX1721" fmla="*/ 948290 w 12188651"/>
              <a:gd name="connsiteY1721" fmla="*/ 861340 h 3529167"/>
              <a:gd name="connsiteX1722" fmla="*/ 883707 w 12188651"/>
              <a:gd name="connsiteY1722" fmla="*/ 796627 h 3529167"/>
              <a:gd name="connsiteX1723" fmla="*/ 865320 w 12188651"/>
              <a:gd name="connsiteY1723" fmla="*/ 784368 h 3529167"/>
              <a:gd name="connsiteX1724" fmla="*/ 865315 w 12188651"/>
              <a:gd name="connsiteY1724" fmla="*/ 784367 h 3529167"/>
              <a:gd name="connsiteX1725" fmla="*/ 865296 w 12188651"/>
              <a:gd name="connsiteY1725" fmla="*/ 784354 h 3529167"/>
              <a:gd name="connsiteX1726" fmla="*/ 844379 w 12188651"/>
              <a:gd name="connsiteY1726" fmla="*/ 780268 h 3529167"/>
              <a:gd name="connsiteX1727" fmla="*/ 11910826 w 12188651"/>
              <a:gd name="connsiteY1727" fmla="*/ 569816 h 3529167"/>
              <a:gd name="connsiteX1728" fmla="*/ 12188651 w 12188651"/>
              <a:gd name="connsiteY1728" fmla="*/ 730603 h 3529167"/>
              <a:gd name="connsiteX1729" fmla="*/ 12188651 w 12188651"/>
              <a:gd name="connsiteY1729" fmla="*/ 1107455 h 3529167"/>
              <a:gd name="connsiteX1730" fmla="*/ 11910826 w 12188651"/>
              <a:gd name="connsiteY1730" fmla="*/ 946654 h 3529167"/>
              <a:gd name="connsiteX1731" fmla="*/ 11894481 w 12188651"/>
              <a:gd name="connsiteY1731" fmla="*/ 569816 h 3529167"/>
              <a:gd name="connsiteX1732" fmla="*/ 11894481 w 12188651"/>
              <a:gd name="connsiteY1732" fmla="*/ 946654 h 3529167"/>
              <a:gd name="connsiteX1733" fmla="*/ 11568890 w 12188651"/>
              <a:gd name="connsiteY1733" fmla="*/ 1135023 h 3529167"/>
              <a:gd name="connsiteX1734" fmla="*/ 11568890 w 12188651"/>
              <a:gd name="connsiteY1734" fmla="*/ 758171 h 3529167"/>
              <a:gd name="connsiteX1735" fmla="*/ 9857006 w 12188651"/>
              <a:gd name="connsiteY1735" fmla="*/ 569803 h 3529167"/>
              <a:gd name="connsiteX1736" fmla="*/ 10182468 w 12188651"/>
              <a:gd name="connsiteY1736" fmla="*/ 758157 h 3529167"/>
              <a:gd name="connsiteX1737" fmla="*/ 10182468 w 12188651"/>
              <a:gd name="connsiteY1737" fmla="*/ 1135005 h 3529167"/>
              <a:gd name="connsiteX1738" fmla="*/ 9857006 w 12188651"/>
              <a:gd name="connsiteY1738" fmla="*/ 946640 h 3529167"/>
              <a:gd name="connsiteX1739" fmla="*/ 9840661 w 12188651"/>
              <a:gd name="connsiteY1739" fmla="*/ 569803 h 3529167"/>
              <a:gd name="connsiteX1740" fmla="*/ 9840661 w 12188651"/>
              <a:gd name="connsiteY1740" fmla="*/ 946640 h 3529167"/>
              <a:gd name="connsiteX1741" fmla="*/ 9515070 w 12188651"/>
              <a:gd name="connsiteY1741" fmla="*/ 1135005 h 3529167"/>
              <a:gd name="connsiteX1742" fmla="*/ 9515070 w 12188651"/>
              <a:gd name="connsiteY1742" fmla="*/ 758157 h 3529167"/>
              <a:gd name="connsiteX1743" fmla="*/ 7803060 w 12188651"/>
              <a:gd name="connsiteY1743" fmla="*/ 569788 h 3529167"/>
              <a:gd name="connsiteX1744" fmla="*/ 8128521 w 12188651"/>
              <a:gd name="connsiteY1744" fmla="*/ 758143 h 3529167"/>
              <a:gd name="connsiteX1745" fmla="*/ 8128521 w 12188651"/>
              <a:gd name="connsiteY1745" fmla="*/ 1134990 h 3529167"/>
              <a:gd name="connsiteX1746" fmla="*/ 7803060 w 12188651"/>
              <a:gd name="connsiteY1746" fmla="*/ 946626 h 3529167"/>
              <a:gd name="connsiteX1747" fmla="*/ 7786715 w 12188651"/>
              <a:gd name="connsiteY1747" fmla="*/ 569788 h 3529167"/>
              <a:gd name="connsiteX1748" fmla="*/ 7786715 w 12188651"/>
              <a:gd name="connsiteY1748" fmla="*/ 946626 h 3529167"/>
              <a:gd name="connsiteX1749" fmla="*/ 7461125 w 12188651"/>
              <a:gd name="connsiteY1749" fmla="*/ 1134990 h 3529167"/>
              <a:gd name="connsiteX1750" fmla="*/ 7461125 w 12188651"/>
              <a:gd name="connsiteY1750" fmla="*/ 758143 h 3529167"/>
              <a:gd name="connsiteX1751" fmla="*/ 5749267 w 12188651"/>
              <a:gd name="connsiteY1751" fmla="*/ 569774 h 3529167"/>
              <a:gd name="connsiteX1752" fmla="*/ 6074705 w 12188651"/>
              <a:gd name="connsiteY1752" fmla="*/ 758130 h 3529167"/>
              <a:gd name="connsiteX1753" fmla="*/ 6074705 w 12188651"/>
              <a:gd name="connsiteY1753" fmla="*/ 1134975 h 3529167"/>
              <a:gd name="connsiteX1754" fmla="*/ 5749267 w 12188651"/>
              <a:gd name="connsiteY1754" fmla="*/ 946613 h 3529167"/>
              <a:gd name="connsiteX1755" fmla="*/ 5732923 w 12188651"/>
              <a:gd name="connsiteY1755" fmla="*/ 569774 h 3529167"/>
              <a:gd name="connsiteX1756" fmla="*/ 5732923 w 12188651"/>
              <a:gd name="connsiteY1756" fmla="*/ 946611 h 3529167"/>
              <a:gd name="connsiteX1757" fmla="*/ 5407356 w 12188651"/>
              <a:gd name="connsiteY1757" fmla="*/ 1134972 h 3529167"/>
              <a:gd name="connsiteX1758" fmla="*/ 5407356 w 12188651"/>
              <a:gd name="connsiteY1758" fmla="*/ 758130 h 3529167"/>
              <a:gd name="connsiteX1759" fmla="*/ 3679146 w 12188651"/>
              <a:gd name="connsiteY1759" fmla="*/ 569764 h 3529167"/>
              <a:gd name="connsiteX1760" fmla="*/ 3679146 w 12188651"/>
              <a:gd name="connsiteY1760" fmla="*/ 946598 h 3529167"/>
              <a:gd name="connsiteX1761" fmla="*/ 3353565 w 12188651"/>
              <a:gd name="connsiteY1761" fmla="*/ 1134955 h 3529167"/>
              <a:gd name="connsiteX1762" fmla="*/ 3353565 w 12188651"/>
              <a:gd name="connsiteY1762" fmla="*/ 758117 h 3529167"/>
              <a:gd name="connsiteX1763" fmla="*/ 3695498 w 12188651"/>
              <a:gd name="connsiteY1763" fmla="*/ 569759 h 3529167"/>
              <a:gd name="connsiteX1764" fmla="*/ 4020947 w 12188651"/>
              <a:gd name="connsiteY1764" fmla="*/ 758112 h 3529167"/>
              <a:gd name="connsiteX1765" fmla="*/ 4020947 w 12188651"/>
              <a:gd name="connsiteY1765" fmla="*/ 1134957 h 3529167"/>
              <a:gd name="connsiteX1766" fmla="*/ 3695498 w 12188651"/>
              <a:gd name="connsiteY1766" fmla="*/ 946601 h 3529167"/>
              <a:gd name="connsiteX1767" fmla="*/ 1625167 w 12188651"/>
              <a:gd name="connsiteY1767" fmla="*/ 569748 h 3529167"/>
              <a:gd name="connsiteX1768" fmla="*/ 1625167 w 12188651"/>
              <a:gd name="connsiteY1768" fmla="*/ 946584 h 3529167"/>
              <a:gd name="connsiteX1769" fmla="*/ 1299584 w 12188651"/>
              <a:gd name="connsiteY1769" fmla="*/ 1134940 h 3529167"/>
              <a:gd name="connsiteX1770" fmla="*/ 1299584 w 12188651"/>
              <a:gd name="connsiteY1770" fmla="*/ 758102 h 3529167"/>
              <a:gd name="connsiteX1771" fmla="*/ 1641516 w 12188651"/>
              <a:gd name="connsiteY1771" fmla="*/ 569745 h 3529167"/>
              <a:gd name="connsiteX1772" fmla="*/ 1966972 w 12188651"/>
              <a:gd name="connsiteY1772" fmla="*/ 758098 h 3529167"/>
              <a:gd name="connsiteX1773" fmla="*/ 1966972 w 12188651"/>
              <a:gd name="connsiteY1773" fmla="*/ 1134943 h 3529167"/>
              <a:gd name="connsiteX1774" fmla="*/ 1641516 w 12188651"/>
              <a:gd name="connsiteY1774" fmla="*/ 946587 h 3529167"/>
              <a:gd name="connsiteX1775" fmla="*/ 10532576 w 12188651"/>
              <a:gd name="connsiteY1775" fmla="*/ 565003 h 3529167"/>
              <a:gd name="connsiteX1776" fmla="*/ 10866339 w 12188651"/>
              <a:gd name="connsiteY1776" fmla="*/ 758157 h 3529167"/>
              <a:gd name="connsiteX1777" fmla="*/ 10866339 w 12188651"/>
              <a:gd name="connsiteY1777" fmla="*/ 1144474 h 3529167"/>
              <a:gd name="connsiteX1778" fmla="*/ 10532706 w 12188651"/>
              <a:gd name="connsiteY1778" fmla="*/ 1337629 h 3529167"/>
              <a:gd name="connsiteX1779" fmla="*/ 10198941 w 12188651"/>
              <a:gd name="connsiteY1779" fmla="*/ 1144474 h 3529167"/>
              <a:gd name="connsiteX1780" fmla="*/ 10198941 w 12188651"/>
              <a:gd name="connsiteY1780" fmla="*/ 758157 h 3529167"/>
              <a:gd name="connsiteX1781" fmla="*/ 8478628 w 12188651"/>
              <a:gd name="connsiteY1781" fmla="*/ 564988 h 3529167"/>
              <a:gd name="connsiteX1782" fmla="*/ 8812392 w 12188651"/>
              <a:gd name="connsiteY1782" fmla="*/ 758143 h 3529167"/>
              <a:gd name="connsiteX1783" fmla="*/ 8812392 w 12188651"/>
              <a:gd name="connsiteY1783" fmla="*/ 1144459 h 3529167"/>
              <a:gd name="connsiteX1784" fmla="*/ 8478758 w 12188651"/>
              <a:gd name="connsiteY1784" fmla="*/ 1337616 h 3529167"/>
              <a:gd name="connsiteX1785" fmla="*/ 8144995 w 12188651"/>
              <a:gd name="connsiteY1785" fmla="*/ 1144459 h 3529167"/>
              <a:gd name="connsiteX1786" fmla="*/ 8144995 w 12188651"/>
              <a:gd name="connsiteY1786" fmla="*/ 758143 h 3529167"/>
              <a:gd name="connsiteX1787" fmla="*/ 6424810 w 12188651"/>
              <a:gd name="connsiteY1787" fmla="*/ 564974 h 3529167"/>
              <a:gd name="connsiteX1788" fmla="*/ 6758573 w 12188651"/>
              <a:gd name="connsiteY1788" fmla="*/ 758130 h 3529167"/>
              <a:gd name="connsiteX1789" fmla="*/ 6758573 w 12188651"/>
              <a:gd name="connsiteY1789" fmla="*/ 1144443 h 3529167"/>
              <a:gd name="connsiteX1790" fmla="*/ 6424940 w 12188651"/>
              <a:gd name="connsiteY1790" fmla="*/ 1337600 h 3529167"/>
              <a:gd name="connsiteX1791" fmla="*/ 6091179 w 12188651"/>
              <a:gd name="connsiteY1791" fmla="*/ 1144443 h 3529167"/>
              <a:gd name="connsiteX1792" fmla="*/ 6091179 w 12188651"/>
              <a:gd name="connsiteY1792" fmla="*/ 758130 h 3529167"/>
              <a:gd name="connsiteX1793" fmla="*/ 4371020 w 12188651"/>
              <a:gd name="connsiteY1793" fmla="*/ 564960 h 3529167"/>
              <a:gd name="connsiteX1794" fmla="*/ 4704777 w 12188651"/>
              <a:gd name="connsiteY1794" fmla="*/ 758114 h 3529167"/>
              <a:gd name="connsiteX1795" fmla="*/ 4704777 w 12188651"/>
              <a:gd name="connsiteY1795" fmla="*/ 1144429 h 3529167"/>
              <a:gd name="connsiteX1796" fmla="*/ 4371146 w 12188651"/>
              <a:gd name="connsiteY1796" fmla="*/ 1337586 h 3529167"/>
              <a:gd name="connsiteX1797" fmla="*/ 4203813 w 12188651"/>
              <a:gd name="connsiteY1797" fmla="*/ 1240748 h 3529167"/>
              <a:gd name="connsiteX1798" fmla="*/ 4037427 w 12188651"/>
              <a:gd name="connsiteY1798" fmla="*/ 1144432 h 3529167"/>
              <a:gd name="connsiteX1799" fmla="*/ 4037427 w 12188651"/>
              <a:gd name="connsiteY1799" fmla="*/ 758117 h 3529167"/>
              <a:gd name="connsiteX1800" fmla="*/ 2317096 w 12188651"/>
              <a:gd name="connsiteY1800" fmla="*/ 564946 h 3529167"/>
              <a:gd name="connsiteX1801" fmla="*/ 2650849 w 12188651"/>
              <a:gd name="connsiteY1801" fmla="*/ 758098 h 3529167"/>
              <a:gd name="connsiteX1802" fmla="*/ 2650849 w 12188651"/>
              <a:gd name="connsiteY1802" fmla="*/ 1144413 h 3529167"/>
              <a:gd name="connsiteX1803" fmla="*/ 2317220 w 12188651"/>
              <a:gd name="connsiteY1803" fmla="*/ 1337570 h 3529167"/>
              <a:gd name="connsiteX1804" fmla="*/ 1983454 w 12188651"/>
              <a:gd name="connsiteY1804" fmla="*/ 1144417 h 3529167"/>
              <a:gd name="connsiteX1805" fmla="*/ 1983454 w 12188651"/>
              <a:gd name="connsiteY1805" fmla="*/ 758102 h 3529167"/>
              <a:gd name="connsiteX1806" fmla="*/ 263248 w 12188651"/>
              <a:gd name="connsiteY1806" fmla="*/ 564931 h 3529167"/>
              <a:gd name="connsiteX1807" fmla="*/ 597003 w 12188651"/>
              <a:gd name="connsiteY1807" fmla="*/ 758084 h 3529167"/>
              <a:gd name="connsiteX1808" fmla="*/ 597003 w 12188651"/>
              <a:gd name="connsiteY1808" fmla="*/ 1144398 h 3529167"/>
              <a:gd name="connsiteX1809" fmla="*/ 263372 w 12188651"/>
              <a:gd name="connsiteY1809" fmla="*/ 1337554 h 3529167"/>
              <a:gd name="connsiteX1810" fmla="*/ 0 w 12188651"/>
              <a:gd name="connsiteY1810" fmla="*/ 1185135 h 3529167"/>
              <a:gd name="connsiteX1811" fmla="*/ 0 w 12188651"/>
              <a:gd name="connsiteY1811" fmla="*/ 717338 h 3529167"/>
              <a:gd name="connsiteX1812" fmla="*/ 11217614 w 12188651"/>
              <a:gd name="connsiteY1812" fmla="*/ 564628 h 3529167"/>
              <a:gd name="connsiteX1813" fmla="*/ 11551377 w 12188651"/>
              <a:gd name="connsiteY1813" fmla="*/ 757782 h 3529167"/>
              <a:gd name="connsiteX1814" fmla="*/ 11551377 w 12188651"/>
              <a:gd name="connsiteY1814" fmla="*/ 1143957 h 3529167"/>
              <a:gd name="connsiteX1815" fmla="*/ 11217614 w 12188651"/>
              <a:gd name="connsiteY1815" fmla="*/ 1337111 h 3529167"/>
              <a:gd name="connsiteX1816" fmla="*/ 10883851 w 12188651"/>
              <a:gd name="connsiteY1816" fmla="*/ 1143959 h 3529167"/>
              <a:gd name="connsiteX1817" fmla="*/ 10883851 w 12188651"/>
              <a:gd name="connsiteY1817" fmla="*/ 757782 h 3529167"/>
              <a:gd name="connsiteX1818" fmla="*/ 9163666 w 12188651"/>
              <a:gd name="connsiteY1818" fmla="*/ 564614 h 3529167"/>
              <a:gd name="connsiteX1819" fmla="*/ 9497429 w 12188651"/>
              <a:gd name="connsiteY1819" fmla="*/ 757768 h 3529167"/>
              <a:gd name="connsiteX1820" fmla="*/ 9497429 w 12188651"/>
              <a:gd name="connsiteY1820" fmla="*/ 1143944 h 3529167"/>
              <a:gd name="connsiteX1821" fmla="*/ 9163666 w 12188651"/>
              <a:gd name="connsiteY1821" fmla="*/ 1337098 h 3529167"/>
              <a:gd name="connsiteX1822" fmla="*/ 8829903 w 12188651"/>
              <a:gd name="connsiteY1822" fmla="*/ 1143941 h 3529167"/>
              <a:gd name="connsiteX1823" fmla="*/ 8829903 w 12188651"/>
              <a:gd name="connsiteY1823" fmla="*/ 757768 h 3529167"/>
              <a:gd name="connsiteX1824" fmla="*/ 7109850 w 12188651"/>
              <a:gd name="connsiteY1824" fmla="*/ 564599 h 3529167"/>
              <a:gd name="connsiteX1825" fmla="*/ 7443613 w 12188651"/>
              <a:gd name="connsiteY1825" fmla="*/ 757755 h 3529167"/>
              <a:gd name="connsiteX1826" fmla="*/ 7443613 w 12188651"/>
              <a:gd name="connsiteY1826" fmla="*/ 1143928 h 3529167"/>
              <a:gd name="connsiteX1827" fmla="*/ 7109850 w 12188651"/>
              <a:gd name="connsiteY1827" fmla="*/ 1337082 h 3529167"/>
              <a:gd name="connsiteX1828" fmla="*/ 6776085 w 12188651"/>
              <a:gd name="connsiteY1828" fmla="*/ 1143928 h 3529167"/>
              <a:gd name="connsiteX1829" fmla="*/ 6776085 w 12188651"/>
              <a:gd name="connsiteY1829" fmla="*/ 757755 h 3529167"/>
              <a:gd name="connsiteX1830" fmla="*/ 5055971 w 12188651"/>
              <a:gd name="connsiteY1830" fmla="*/ 564585 h 3529167"/>
              <a:gd name="connsiteX1831" fmla="*/ 5143887 w 12188651"/>
              <a:gd name="connsiteY1831" fmla="*/ 615477 h 3529167"/>
              <a:gd name="connsiteX1832" fmla="*/ 5389701 w 12188651"/>
              <a:gd name="connsiteY1832" fmla="*/ 757730 h 3529167"/>
              <a:gd name="connsiteX1833" fmla="*/ 5389701 w 12188651"/>
              <a:gd name="connsiteY1833" fmla="*/ 1143911 h 3529167"/>
              <a:gd name="connsiteX1834" fmla="*/ 5055949 w 12188651"/>
              <a:gd name="connsiteY1834" fmla="*/ 1337066 h 3529167"/>
              <a:gd name="connsiteX1835" fmla="*/ 4722183 w 12188651"/>
              <a:gd name="connsiteY1835" fmla="*/ 1143920 h 3529167"/>
              <a:gd name="connsiteX1836" fmla="*/ 4722183 w 12188651"/>
              <a:gd name="connsiteY1836" fmla="*/ 757740 h 3529167"/>
              <a:gd name="connsiteX1837" fmla="*/ 3002159 w 12188651"/>
              <a:gd name="connsiteY1837" fmla="*/ 564571 h 3529167"/>
              <a:gd name="connsiteX1838" fmla="*/ 3016027 w 12188651"/>
              <a:gd name="connsiteY1838" fmla="*/ 572597 h 3529167"/>
              <a:gd name="connsiteX1839" fmla="*/ 3335897 w 12188651"/>
              <a:gd name="connsiteY1839" fmla="*/ 757711 h 3529167"/>
              <a:gd name="connsiteX1840" fmla="*/ 3335897 w 12188651"/>
              <a:gd name="connsiteY1840" fmla="*/ 1143896 h 3529167"/>
              <a:gd name="connsiteX1841" fmla="*/ 3002127 w 12188651"/>
              <a:gd name="connsiteY1841" fmla="*/ 1337052 h 3529167"/>
              <a:gd name="connsiteX1842" fmla="*/ 2668394 w 12188651"/>
              <a:gd name="connsiteY1842" fmla="*/ 1143911 h 3529167"/>
              <a:gd name="connsiteX1843" fmla="*/ 2668394 w 12188651"/>
              <a:gd name="connsiteY1843" fmla="*/ 757727 h 3529167"/>
              <a:gd name="connsiteX1844" fmla="*/ 948179 w 12188651"/>
              <a:gd name="connsiteY1844" fmla="*/ 564556 h 3529167"/>
              <a:gd name="connsiteX1845" fmla="*/ 1281917 w 12188651"/>
              <a:gd name="connsiteY1845" fmla="*/ 757697 h 3529167"/>
              <a:gd name="connsiteX1846" fmla="*/ 1281917 w 12188651"/>
              <a:gd name="connsiteY1846" fmla="*/ 1143881 h 3529167"/>
              <a:gd name="connsiteX1847" fmla="*/ 948154 w 12188651"/>
              <a:gd name="connsiteY1847" fmla="*/ 1337037 h 3529167"/>
              <a:gd name="connsiteX1848" fmla="*/ 740385 w 12188651"/>
              <a:gd name="connsiteY1848" fmla="*/ 1216797 h 3529167"/>
              <a:gd name="connsiteX1849" fmla="*/ 614417 w 12188651"/>
              <a:gd name="connsiteY1849" fmla="*/ 1143897 h 3529167"/>
              <a:gd name="connsiteX1850" fmla="*/ 614417 w 12188651"/>
              <a:gd name="connsiteY1850" fmla="*/ 757713 h 3529167"/>
              <a:gd name="connsiteX1851" fmla="*/ 10875809 w 12188651"/>
              <a:gd name="connsiteY1851" fmla="*/ 366803 h 3529167"/>
              <a:gd name="connsiteX1852" fmla="*/ 11201256 w 12188651"/>
              <a:gd name="connsiteY1852" fmla="*/ 555149 h 3529167"/>
              <a:gd name="connsiteX1853" fmla="*/ 10875678 w 12188651"/>
              <a:gd name="connsiteY1853" fmla="*/ 743498 h 3529167"/>
              <a:gd name="connsiteX1854" fmla="*/ 10550231 w 12188651"/>
              <a:gd name="connsiteY1854" fmla="*/ 555149 h 3529167"/>
              <a:gd name="connsiteX1855" fmla="*/ 8821860 w 12188651"/>
              <a:gd name="connsiteY1855" fmla="*/ 366789 h 3529167"/>
              <a:gd name="connsiteX1856" fmla="*/ 9147308 w 12188651"/>
              <a:gd name="connsiteY1856" fmla="*/ 555135 h 3529167"/>
              <a:gd name="connsiteX1857" fmla="*/ 8821731 w 12188651"/>
              <a:gd name="connsiteY1857" fmla="*/ 743485 h 3529167"/>
              <a:gd name="connsiteX1858" fmla="*/ 8496282 w 12188651"/>
              <a:gd name="connsiteY1858" fmla="*/ 555135 h 3529167"/>
              <a:gd name="connsiteX1859" fmla="*/ 6768043 w 12188651"/>
              <a:gd name="connsiteY1859" fmla="*/ 366774 h 3529167"/>
              <a:gd name="connsiteX1860" fmla="*/ 7093491 w 12188651"/>
              <a:gd name="connsiteY1860" fmla="*/ 555121 h 3529167"/>
              <a:gd name="connsiteX1861" fmla="*/ 6767913 w 12188651"/>
              <a:gd name="connsiteY1861" fmla="*/ 743469 h 3529167"/>
              <a:gd name="connsiteX1862" fmla="*/ 6442466 w 12188651"/>
              <a:gd name="connsiteY1862" fmla="*/ 555121 h 3529167"/>
              <a:gd name="connsiteX1863" fmla="*/ 4714128 w 12188651"/>
              <a:gd name="connsiteY1863" fmla="*/ 366759 h 3529167"/>
              <a:gd name="connsiteX1864" fmla="*/ 5039593 w 12188651"/>
              <a:gd name="connsiteY1864" fmla="*/ 555101 h 3529167"/>
              <a:gd name="connsiteX1865" fmla="*/ 4713993 w 12188651"/>
              <a:gd name="connsiteY1865" fmla="*/ 743455 h 3529167"/>
              <a:gd name="connsiteX1866" fmla="*/ 4388549 w 12188651"/>
              <a:gd name="connsiteY1866" fmla="*/ 555110 h 3529167"/>
              <a:gd name="connsiteX1867" fmla="*/ 2660353 w 12188651"/>
              <a:gd name="connsiteY1867" fmla="*/ 366745 h 3529167"/>
              <a:gd name="connsiteX1868" fmla="*/ 2961041 w 12188651"/>
              <a:gd name="connsiteY1868" fmla="*/ 540764 h 3529167"/>
              <a:gd name="connsiteX1869" fmla="*/ 2985786 w 12188651"/>
              <a:gd name="connsiteY1869" fmla="*/ 555084 h 3529167"/>
              <a:gd name="connsiteX1870" fmla="*/ 2660196 w 12188651"/>
              <a:gd name="connsiteY1870" fmla="*/ 743441 h 3529167"/>
              <a:gd name="connsiteX1871" fmla="*/ 2334766 w 12188651"/>
              <a:gd name="connsiteY1871" fmla="*/ 555101 h 3529167"/>
              <a:gd name="connsiteX1872" fmla="*/ 606375 w 12188651"/>
              <a:gd name="connsiteY1872" fmla="*/ 366730 h 3529167"/>
              <a:gd name="connsiteX1873" fmla="*/ 931808 w 12188651"/>
              <a:gd name="connsiteY1873" fmla="*/ 555071 h 3529167"/>
              <a:gd name="connsiteX1874" fmla="*/ 606218 w 12188651"/>
              <a:gd name="connsiteY1874" fmla="*/ 743426 h 3529167"/>
              <a:gd name="connsiteX1875" fmla="*/ 280784 w 12188651"/>
              <a:gd name="connsiteY1875" fmla="*/ 555086 h 3529167"/>
              <a:gd name="connsiteX1876" fmla="*/ 12140685 w 12188651"/>
              <a:gd name="connsiteY1876" fmla="*/ 202966 h 3529167"/>
              <a:gd name="connsiteX1877" fmla="*/ 12168445 w 12188651"/>
              <a:gd name="connsiteY1877" fmla="*/ 214509 h 3529167"/>
              <a:gd name="connsiteX1878" fmla="*/ 12188651 w 12188651"/>
              <a:gd name="connsiteY1878" fmla="*/ 234757 h 3529167"/>
              <a:gd name="connsiteX1879" fmla="*/ 12188651 w 12188651"/>
              <a:gd name="connsiteY1879" fmla="*/ 503007 h 3529167"/>
              <a:gd name="connsiteX1880" fmla="*/ 12034576 w 12188651"/>
              <a:gd name="connsiteY1880" fmla="*/ 348641 h 3529167"/>
              <a:gd name="connsiteX1881" fmla="*/ 12034576 w 12188651"/>
              <a:gd name="connsiteY1881" fmla="*/ 293253 h 3529167"/>
              <a:gd name="connsiteX1882" fmla="*/ 12113056 w 12188651"/>
              <a:gd name="connsiteY1882" fmla="*/ 214509 h 3529167"/>
              <a:gd name="connsiteX1883" fmla="*/ 12140685 w 12188651"/>
              <a:gd name="connsiteY1883" fmla="*/ 202966 h 3529167"/>
              <a:gd name="connsiteX1884" fmla="*/ 10086867 w 12188651"/>
              <a:gd name="connsiteY1884" fmla="*/ 202950 h 3529167"/>
              <a:gd name="connsiteX1885" fmla="*/ 10114626 w 12188651"/>
              <a:gd name="connsiteY1885" fmla="*/ 214495 h 3529167"/>
              <a:gd name="connsiteX1886" fmla="*/ 10179226 w 12188651"/>
              <a:gd name="connsiteY1886" fmla="*/ 279226 h 3529167"/>
              <a:gd name="connsiteX1887" fmla="*/ 10190770 w 12188651"/>
              <a:gd name="connsiteY1887" fmla="*/ 290903 h 3529167"/>
              <a:gd name="connsiteX1888" fmla="*/ 10202315 w 12188651"/>
              <a:gd name="connsiteY1888" fmla="*/ 279226 h 3529167"/>
              <a:gd name="connsiteX1889" fmla="*/ 10266786 w 12188651"/>
              <a:gd name="connsiteY1889" fmla="*/ 214495 h 3529167"/>
              <a:gd name="connsiteX1890" fmla="*/ 10294543 w 12188651"/>
              <a:gd name="connsiteY1890" fmla="*/ 202950 h 3529167"/>
              <a:gd name="connsiteX1891" fmla="*/ 10322173 w 12188651"/>
              <a:gd name="connsiteY1891" fmla="*/ 214495 h 3529167"/>
              <a:gd name="connsiteX1892" fmla="*/ 10400653 w 12188651"/>
              <a:gd name="connsiteY1892" fmla="*/ 293106 h 3529167"/>
              <a:gd name="connsiteX1893" fmla="*/ 10412198 w 12188651"/>
              <a:gd name="connsiteY1893" fmla="*/ 320867 h 3529167"/>
              <a:gd name="connsiteX1894" fmla="*/ 10400783 w 12188651"/>
              <a:gd name="connsiteY1894" fmla="*/ 348627 h 3529167"/>
              <a:gd name="connsiteX1895" fmla="*/ 10190770 w 12188651"/>
              <a:gd name="connsiteY1895" fmla="*/ 559036 h 3529167"/>
              <a:gd name="connsiteX1896" fmla="*/ 9980757 w 12188651"/>
              <a:gd name="connsiteY1896" fmla="*/ 348627 h 3529167"/>
              <a:gd name="connsiteX1897" fmla="*/ 9980757 w 12188651"/>
              <a:gd name="connsiteY1897" fmla="*/ 293236 h 3529167"/>
              <a:gd name="connsiteX1898" fmla="*/ 10059237 w 12188651"/>
              <a:gd name="connsiteY1898" fmla="*/ 214495 h 3529167"/>
              <a:gd name="connsiteX1899" fmla="*/ 10086867 w 12188651"/>
              <a:gd name="connsiteY1899" fmla="*/ 202950 h 3529167"/>
              <a:gd name="connsiteX1900" fmla="*/ 8032919 w 12188651"/>
              <a:gd name="connsiteY1900" fmla="*/ 202936 h 3529167"/>
              <a:gd name="connsiteX1901" fmla="*/ 8060679 w 12188651"/>
              <a:gd name="connsiteY1901" fmla="*/ 214481 h 3529167"/>
              <a:gd name="connsiteX1902" fmla="*/ 8125278 w 12188651"/>
              <a:gd name="connsiteY1902" fmla="*/ 279212 h 3529167"/>
              <a:gd name="connsiteX1903" fmla="*/ 8136823 w 12188651"/>
              <a:gd name="connsiteY1903" fmla="*/ 290888 h 3529167"/>
              <a:gd name="connsiteX1904" fmla="*/ 8148368 w 12188651"/>
              <a:gd name="connsiteY1904" fmla="*/ 279212 h 3529167"/>
              <a:gd name="connsiteX1905" fmla="*/ 8212837 w 12188651"/>
              <a:gd name="connsiteY1905" fmla="*/ 214481 h 3529167"/>
              <a:gd name="connsiteX1906" fmla="*/ 8240596 w 12188651"/>
              <a:gd name="connsiteY1906" fmla="*/ 202936 h 3529167"/>
              <a:gd name="connsiteX1907" fmla="*/ 8268226 w 12188651"/>
              <a:gd name="connsiteY1907" fmla="*/ 214481 h 3529167"/>
              <a:gd name="connsiteX1908" fmla="*/ 8346707 w 12188651"/>
              <a:gd name="connsiteY1908" fmla="*/ 293091 h 3529167"/>
              <a:gd name="connsiteX1909" fmla="*/ 8358252 w 12188651"/>
              <a:gd name="connsiteY1909" fmla="*/ 320853 h 3529167"/>
              <a:gd name="connsiteX1910" fmla="*/ 8346837 w 12188651"/>
              <a:gd name="connsiteY1910" fmla="*/ 348613 h 3529167"/>
              <a:gd name="connsiteX1911" fmla="*/ 8136823 w 12188651"/>
              <a:gd name="connsiteY1911" fmla="*/ 559021 h 3529167"/>
              <a:gd name="connsiteX1912" fmla="*/ 7926811 w 12188651"/>
              <a:gd name="connsiteY1912" fmla="*/ 348613 h 3529167"/>
              <a:gd name="connsiteX1913" fmla="*/ 7926811 w 12188651"/>
              <a:gd name="connsiteY1913" fmla="*/ 293223 h 3529167"/>
              <a:gd name="connsiteX1914" fmla="*/ 8005289 w 12188651"/>
              <a:gd name="connsiteY1914" fmla="*/ 214481 h 3529167"/>
              <a:gd name="connsiteX1915" fmla="*/ 8032919 w 12188651"/>
              <a:gd name="connsiteY1915" fmla="*/ 202936 h 3529167"/>
              <a:gd name="connsiteX1916" fmla="*/ 5979111 w 12188651"/>
              <a:gd name="connsiteY1916" fmla="*/ 202922 h 3529167"/>
              <a:gd name="connsiteX1917" fmla="*/ 6006869 w 12188651"/>
              <a:gd name="connsiteY1917" fmla="*/ 214466 h 3529167"/>
              <a:gd name="connsiteX1918" fmla="*/ 6071463 w 12188651"/>
              <a:gd name="connsiteY1918" fmla="*/ 279197 h 3529167"/>
              <a:gd name="connsiteX1919" fmla="*/ 6083008 w 12188651"/>
              <a:gd name="connsiteY1919" fmla="*/ 290872 h 3529167"/>
              <a:gd name="connsiteX1920" fmla="*/ 6094550 w 12188651"/>
              <a:gd name="connsiteY1920" fmla="*/ 279197 h 3529167"/>
              <a:gd name="connsiteX1921" fmla="*/ 6159019 w 12188651"/>
              <a:gd name="connsiteY1921" fmla="*/ 214466 h 3529167"/>
              <a:gd name="connsiteX1922" fmla="*/ 6186779 w 12188651"/>
              <a:gd name="connsiteY1922" fmla="*/ 202922 h 3529167"/>
              <a:gd name="connsiteX1923" fmla="*/ 6214409 w 12188651"/>
              <a:gd name="connsiteY1923" fmla="*/ 214466 h 3529167"/>
              <a:gd name="connsiteX1924" fmla="*/ 6292888 w 12188651"/>
              <a:gd name="connsiteY1924" fmla="*/ 293078 h 3529167"/>
              <a:gd name="connsiteX1925" fmla="*/ 6304433 w 12188651"/>
              <a:gd name="connsiteY1925" fmla="*/ 320838 h 3529167"/>
              <a:gd name="connsiteX1926" fmla="*/ 6293017 w 12188651"/>
              <a:gd name="connsiteY1926" fmla="*/ 348599 h 3529167"/>
              <a:gd name="connsiteX1927" fmla="*/ 6083008 w 12188651"/>
              <a:gd name="connsiteY1927" fmla="*/ 559007 h 3529167"/>
              <a:gd name="connsiteX1928" fmla="*/ 5873007 w 12188651"/>
              <a:gd name="connsiteY1928" fmla="*/ 348599 h 3529167"/>
              <a:gd name="connsiteX1929" fmla="*/ 5873007 w 12188651"/>
              <a:gd name="connsiteY1929" fmla="*/ 293208 h 3529167"/>
              <a:gd name="connsiteX1930" fmla="*/ 5951485 w 12188651"/>
              <a:gd name="connsiteY1930" fmla="*/ 214466 h 3529167"/>
              <a:gd name="connsiteX1931" fmla="*/ 5979111 w 12188651"/>
              <a:gd name="connsiteY1931" fmla="*/ 202922 h 3529167"/>
              <a:gd name="connsiteX1932" fmla="*/ 3925350 w 12188651"/>
              <a:gd name="connsiteY1932" fmla="*/ 202907 h 3529167"/>
              <a:gd name="connsiteX1933" fmla="*/ 3953107 w 12188651"/>
              <a:gd name="connsiteY1933" fmla="*/ 214451 h 3529167"/>
              <a:gd name="connsiteX1934" fmla="*/ 4017710 w 12188651"/>
              <a:gd name="connsiteY1934" fmla="*/ 279184 h 3529167"/>
              <a:gd name="connsiteX1935" fmla="*/ 4029255 w 12188651"/>
              <a:gd name="connsiteY1935" fmla="*/ 290858 h 3529167"/>
              <a:gd name="connsiteX1936" fmla="*/ 4040802 w 12188651"/>
              <a:gd name="connsiteY1936" fmla="*/ 279184 h 3529167"/>
              <a:gd name="connsiteX1937" fmla="*/ 4105272 w 12188651"/>
              <a:gd name="connsiteY1937" fmla="*/ 214451 h 3529167"/>
              <a:gd name="connsiteX1938" fmla="*/ 4133033 w 12188651"/>
              <a:gd name="connsiteY1938" fmla="*/ 202907 h 3529167"/>
              <a:gd name="connsiteX1939" fmla="*/ 4160664 w 12188651"/>
              <a:gd name="connsiteY1939" fmla="*/ 214451 h 3529167"/>
              <a:gd name="connsiteX1940" fmla="*/ 4239091 w 12188651"/>
              <a:gd name="connsiteY1940" fmla="*/ 293063 h 3529167"/>
              <a:gd name="connsiteX1941" fmla="*/ 4250643 w 12188651"/>
              <a:gd name="connsiteY1941" fmla="*/ 320823 h 3529167"/>
              <a:gd name="connsiteX1942" fmla="*/ 4239218 w 12188651"/>
              <a:gd name="connsiteY1942" fmla="*/ 348583 h 3529167"/>
              <a:gd name="connsiteX1943" fmla="*/ 4029255 w 12188651"/>
              <a:gd name="connsiteY1943" fmla="*/ 558992 h 3529167"/>
              <a:gd name="connsiteX1944" fmla="*/ 3819236 w 12188651"/>
              <a:gd name="connsiteY1944" fmla="*/ 348583 h 3529167"/>
              <a:gd name="connsiteX1945" fmla="*/ 3819236 w 12188651"/>
              <a:gd name="connsiteY1945" fmla="*/ 293193 h 3529167"/>
              <a:gd name="connsiteX1946" fmla="*/ 3897721 w 12188651"/>
              <a:gd name="connsiteY1946" fmla="*/ 214451 h 3529167"/>
              <a:gd name="connsiteX1947" fmla="*/ 3925350 w 12188651"/>
              <a:gd name="connsiteY1947" fmla="*/ 202907 h 3529167"/>
              <a:gd name="connsiteX1948" fmla="*/ 1871377 w 12188651"/>
              <a:gd name="connsiteY1948" fmla="*/ 202891 h 3529167"/>
              <a:gd name="connsiteX1949" fmla="*/ 1899135 w 12188651"/>
              <a:gd name="connsiteY1949" fmla="*/ 214436 h 3529167"/>
              <a:gd name="connsiteX1950" fmla="*/ 1963735 w 12188651"/>
              <a:gd name="connsiteY1950" fmla="*/ 279169 h 3529167"/>
              <a:gd name="connsiteX1951" fmla="*/ 1975281 w 12188651"/>
              <a:gd name="connsiteY1951" fmla="*/ 290844 h 3529167"/>
              <a:gd name="connsiteX1952" fmla="*/ 1986824 w 12188651"/>
              <a:gd name="connsiteY1952" fmla="*/ 279169 h 3529167"/>
              <a:gd name="connsiteX1953" fmla="*/ 2051295 w 12188651"/>
              <a:gd name="connsiteY1953" fmla="*/ 214436 h 3529167"/>
              <a:gd name="connsiteX1954" fmla="*/ 2079054 w 12188651"/>
              <a:gd name="connsiteY1954" fmla="*/ 202891 h 3529167"/>
              <a:gd name="connsiteX1955" fmla="*/ 2106692 w 12188651"/>
              <a:gd name="connsiteY1955" fmla="*/ 214436 h 3529167"/>
              <a:gd name="connsiteX1956" fmla="*/ 2185175 w 12188651"/>
              <a:gd name="connsiteY1956" fmla="*/ 293048 h 3529167"/>
              <a:gd name="connsiteX1957" fmla="*/ 2196719 w 12188651"/>
              <a:gd name="connsiteY1957" fmla="*/ 320809 h 3529167"/>
              <a:gd name="connsiteX1958" fmla="*/ 2185303 w 12188651"/>
              <a:gd name="connsiteY1958" fmla="*/ 348569 h 3529167"/>
              <a:gd name="connsiteX1959" fmla="*/ 1975281 w 12188651"/>
              <a:gd name="connsiteY1959" fmla="*/ 558978 h 3529167"/>
              <a:gd name="connsiteX1960" fmla="*/ 1765268 w 12188651"/>
              <a:gd name="connsiteY1960" fmla="*/ 348569 h 3529167"/>
              <a:gd name="connsiteX1961" fmla="*/ 1765268 w 12188651"/>
              <a:gd name="connsiteY1961" fmla="*/ 293179 h 3529167"/>
              <a:gd name="connsiteX1962" fmla="*/ 1843747 w 12188651"/>
              <a:gd name="connsiteY1962" fmla="*/ 214436 h 3529167"/>
              <a:gd name="connsiteX1963" fmla="*/ 1871377 w 12188651"/>
              <a:gd name="connsiteY1963" fmla="*/ 202891 h 3529167"/>
              <a:gd name="connsiteX1964" fmla="*/ 25217 w 12188651"/>
              <a:gd name="connsiteY1964" fmla="*/ 202877 h 3529167"/>
              <a:gd name="connsiteX1965" fmla="*/ 52846 w 12188651"/>
              <a:gd name="connsiteY1965" fmla="*/ 214422 h 3529167"/>
              <a:gd name="connsiteX1966" fmla="*/ 131324 w 12188651"/>
              <a:gd name="connsiteY1966" fmla="*/ 293033 h 3529167"/>
              <a:gd name="connsiteX1967" fmla="*/ 142867 w 12188651"/>
              <a:gd name="connsiteY1967" fmla="*/ 320794 h 3529167"/>
              <a:gd name="connsiteX1968" fmla="*/ 131454 w 12188651"/>
              <a:gd name="connsiteY1968" fmla="*/ 348554 h 3529167"/>
              <a:gd name="connsiteX1969" fmla="*/ 0 w 12188651"/>
              <a:gd name="connsiteY1969" fmla="*/ 480257 h 3529167"/>
              <a:gd name="connsiteX1970" fmla="*/ 0 w 12188651"/>
              <a:gd name="connsiteY1970" fmla="*/ 213364 h 3529167"/>
              <a:gd name="connsiteX1971" fmla="*/ 10086867 w 12188651"/>
              <a:gd name="connsiteY1971" fmla="*/ 186475 h 3529167"/>
              <a:gd name="connsiteX1972" fmla="*/ 10047692 w 12188651"/>
              <a:gd name="connsiteY1972" fmla="*/ 202821 h 3529167"/>
              <a:gd name="connsiteX1973" fmla="*/ 9969212 w 12188651"/>
              <a:gd name="connsiteY1973" fmla="*/ 281561 h 3529167"/>
              <a:gd name="connsiteX1974" fmla="*/ 9969212 w 12188651"/>
              <a:gd name="connsiteY1974" fmla="*/ 360173 h 3529167"/>
              <a:gd name="connsiteX1975" fmla="*/ 10190770 w 12188651"/>
              <a:gd name="connsiteY1975" fmla="*/ 582255 h 3529167"/>
              <a:gd name="connsiteX1976" fmla="*/ 10412328 w 12188651"/>
              <a:gd name="connsiteY1976" fmla="*/ 360173 h 3529167"/>
              <a:gd name="connsiteX1977" fmla="*/ 10412328 w 12188651"/>
              <a:gd name="connsiteY1977" fmla="*/ 281561 h 3529167"/>
              <a:gd name="connsiteX1978" fmla="*/ 10333848 w 12188651"/>
              <a:gd name="connsiteY1978" fmla="*/ 202950 h 3529167"/>
              <a:gd name="connsiteX1979" fmla="*/ 10294673 w 12188651"/>
              <a:gd name="connsiteY1979" fmla="*/ 186606 h 3529167"/>
              <a:gd name="connsiteX1980" fmla="*/ 10294543 w 12188651"/>
              <a:gd name="connsiteY1980" fmla="*/ 186475 h 3529167"/>
              <a:gd name="connsiteX1981" fmla="*/ 10255241 w 12188651"/>
              <a:gd name="connsiteY1981" fmla="*/ 202950 h 3529167"/>
              <a:gd name="connsiteX1982" fmla="*/ 10190770 w 12188651"/>
              <a:gd name="connsiteY1982" fmla="*/ 267553 h 3529167"/>
              <a:gd name="connsiteX1983" fmla="*/ 10126171 w 12188651"/>
              <a:gd name="connsiteY1983" fmla="*/ 202821 h 3529167"/>
              <a:gd name="connsiteX1984" fmla="*/ 10086867 w 12188651"/>
              <a:gd name="connsiteY1984" fmla="*/ 186475 h 3529167"/>
              <a:gd name="connsiteX1985" fmla="*/ 8032919 w 12188651"/>
              <a:gd name="connsiteY1985" fmla="*/ 186461 h 3529167"/>
              <a:gd name="connsiteX1986" fmla="*/ 7993744 w 12188651"/>
              <a:gd name="connsiteY1986" fmla="*/ 202806 h 3529167"/>
              <a:gd name="connsiteX1987" fmla="*/ 7915266 w 12188651"/>
              <a:gd name="connsiteY1987" fmla="*/ 281547 h 3529167"/>
              <a:gd name="connsiteX1988" fmla="*/ 7915266 w 12188651"/>
              <a:gd name="connsiteY1988" fmla="*/ 360159 h 3529167"/>
              <a:gd name="connsiteX1989" fmla="*/ 8136823 w 12188651"/>
              <a:gd name="connsiteY1989" fmla="*/ 582242 h 3529167"/>
              <a:gd name="connsiteX1990" fmla="*/ 8358382 w 12188651"/>
              <a:gd name="connsiteY1990" fmla="*/ 360159 h 3529167"/>
              <a:gd name="connsiteX1991" fmla="*/ 8358382 w 12188651"/>
              <a:gd name="connsiteY1991" fmla="*/ 281547 h 3529167"/>
              <a:gd name="connsiteX1992" fmla="*/ 8279902 w 12188651"/>
              <a:gd name="connsiteY1992" fmla="*/ 202936 h 3529167"/>
              <a:gd name="connsiteX1993" fmla="*/ 8240727 w 12188651"/>
              <a:gd name="connsiteY1993" fmla="*/ 186591 h 3529167"/>
              <a:gd name="connsiteX1994" fmla="*/ 8240596 w 12188651"/>
              <a:gd name="connsiteY1994" fmla="*/ 186461 h 3529167"/>
              <a:gd name="connsiteX1995" fmla="*/ 8201292 w 12188651"/>
              <a:gd name="connsiteY1995" fmla="*/ 202936 h 3529167"/>
              <a:gd name="connsiteX1996" fmla="*/ 8136823 w 12188651"/>
              <a:gd name="connsiteY1996" fmla="*/ 267537 h 3529167"/>
              <a:gd name="connsiteX1997" fmla="*/ 8072224 w 12188651"/>
              <a:gd name="connsiteY1997" fmla="*/ 202806 h 3529167"/>
              <a:gd name="connsiteX1998" fmla="*/ 8032919 w 12188651"/>
              <a:gd name="connsiteY1998" fmla="*/ 186461 h 3529167"/>
              <a:gd name="connsiteX1999" fmla="*/ 5979111 w 12188651"/>
              <a:gd name="connsiteY1999" fmla="*/ 186446 h 3529167"/>
              <a:gd name="connsiteX2000" fmla="*/ 5939940 w 12188651"/>
              <a:gd name="connsiteY2000" fmla="*/ 202790 h 3529167"/>
              <a:gd name="connsiteX2001" fmla="*/ 5861464 w 12188651"/>
              <a:gd name="connsiteY2001" fmla="*/ 281532 h 3529167"/>
              <a:gd name="connsiteX2002" fmla="*/ 5861464 w 12188651"/>
              <a:gd name="connsiteY2002" fmla="*/ 360144 h 3529167"/>
              <a:gd name="connsiteX2003" fmla="*/ 6083008 w 12188651"/>
              <a:gd name="connsiteY2003" fmla="*/ 582227 h 3529167"/>
              <a:gd name="connsiteX2004" fmla="*/ 6304562 w 12188651"/>
              <a:gd name="connsiteY2004" fmla="*/ 360144 h 3529167"/>
              <a:gd name="connsiteX2005" fmla="*/ 6304562 w 12188651"/>
              <a:gd name="connsiteY2005" fmla="*/ 281532 h 3529167"/>
              <a:gd name="connsiteX2006" fmla="*/ 6226084 w 12188651"/>
              <a:gd name="connsiteY2006" fmla="*/ 202922 h 3529167"/>
              <a:gd name="connsiteX2007" fmla="*/ 6186909 w 12188651"/>
              <a:gd name="connsiteY2007" fmla="*/ 186576 h 3529167"/>
              <a:gd name="connsiteX2008" fmla="*/ 6186779 w 12188651"/>
              <a:gd name="connsiteY2008" fmla="*/ 186446 h 3529167"/>
              <a:gd name="connsiteX2009" fmla="*/ 6147474 w 12188651"/>
              <a:gd name="connsiteY2009" fmla="*/ 202922 h 3529167"/>
              <a:gd name="connsiteX2010" fmla="*/ 6083008 w 12188651"/>
              <a:gd name="connsiteY2010" fmla="*/ 267522 h 3529167"/>
              <a:gd name="connsiteX2011" fmla="*/ 6018412 w 12188651"/>
              <a:gd name="connsiteY2011" fmla="*/ 202790 h 3529167"/>
              <a:gd name="connsiteX2012" fmla="*/ 5979111 w 12188651"/>
              <a:gd name="connsiteY2012" fmla="*/ 186446 h 3529167"/>
              <a:gd name="connsiteX2013" fmla="*/ 3925350 w 12188651"/>
              <a:gd name="connsiteY2013" fmla="*/ 186431 h 3529167"/>
              <a:gd name="connsiteX2014" fmla="*/ 3886173 w 12188651"/>
              <a:gd name="connsiteY2014" fmla="*/ 202777 h 3529167"/>
              <a:gd name="connsiteX2015" fmla="*/ 3807690 w 12188651"/>
              <a:gd name="connsiteY2015" fmla="*/ 281518 h 3529167"/>
              <a:gd name="connsiteX2016" fmla="*/ 3807690 w 12188651"/>
              <a:gd name="connsiteY2016" fmla="*/ 360128 h 3529167"/>
              <a:gd name="connsiteX2017" fmla="*/ 4029255 w 12188651"/>
              <a:gd name="connsiteY2017" fmla="*/ 582213 h 3529167"/>
              <a:gd name="connsiteX2018" fmla="*/ 4250768 w 12188651"/>
              <a:gd name="connsiteY2018" fmla="*/ 360128 h 3529167"/>
              <a:gd name="connsiteX2019" fmla="*/ 4250768 w 12188651"/>
              <a:gd name="connsiteY2019" fmla="*/ 281518 h 3529167"/>
              <a:gd name="connsiteX2020" fmla="*/ 4172338 w 12188651"/>
              <a:gd name="connsiteY2020" fmla="*/ 202907 h 3529167"/>
              <a:gd name="connsiteX2021" fmla="*/ 4133162 w 12188651"/>
              <a:gd name="connsiteY2021" fmla="*/ 186561 h 3529167"/>
              <a:gd name="connsiteX2022" fmla="*/ 4133033 w 12188651"/>
              <a:gd name="connsiteY2022" fmla="*/ 186431 h 3529167"/>
              <a:gd name="connsiteX2023" fmla="*/ 4093728 w 12188651"/>
              <a:gd name="connsiteY2023" fmla="*/ 202907 h 3529167"/>
              <a:gd name="connsiteX2024" fmla="*/ 4029255 w 12188651"/>
              <a:gd name="connsiteY2024" fmla="*/ 267508 h 3529167"/>
              <a:gd name="connsiteX2025" fmla="*/ 3964656 w 12188651"/>
              <a:gd name="connsiteY2025" fmla="*/ 202777 h 3529167"/>
              <a:gd name="connsiteX2026" fmla="*/ 3925350 w 12188651"/>
              <a:gd name="connsiteY2026" fmla="*/ 186431 h 3529167"/>
              <a:gd name="connsiteX2027" fmla="*/ 1871377 w 12188651"/>
              <a:gd name="connsiteY2027" fmla="*/ 186416 h 3529167"/>
              <a:gd name="connsiteX2028" fmla="*/ 1832202 w 12188651"/>
              <a:gd name="connsiteY2028" fmla="*/ 202761 h 3529167"/>
              <a:gd name="connsiteX2029" fmla="*/ 1753725 w 12188651"/>
              <a:gd name="connsiteY2029" fmla="*/ 281503 h 3529167"/>
              <a:gd name="connsiteX2030" fmla="*/ 1753725 w 12188651"/>
              <a:gd name="connsiteY2030" fmla="*/ 360115 h 3529167"/>
              <a:gd name="connsiteX2031" fmla="*/ 1975281 w 12188651"/>
              <a:gd name="connsiteY2031" fmla="*/ 582199 h 3529167"/>
              <a:gd name="connsiteX2032" fmla="*/ 2196847 w 12188651"/>
              <a:gd name="connsiteY2032" fmla="*/ 360115 h 3529167"/>
              <a:gd name="connsiteX2033" fmla="*/ 2196847 w 12188651"/>
              <a:gd name="connsiteY2033" fmla="*/ 281503 h 3529167"/>
              <a:gd name="connsiteX2034" fmla="*/ 2118368 w 12188651"/>
              <a:gd name="connsiteY2034" fmla="*/ 202891 h 3529167"/>
              <a:gd name="connsiteX2035" fmla="*/ 2079182 w 12188651"/>
              <a:gd name="connsiteY2035" fmla="*/ 186547 h 3529167"/>
              <a:gd name="connsiteX2036" fmla="*/ 2079054 w 12188651"/>
              <a:gd name="connsiteY2036" fmla="*/ 186416 h 3529167"/>
              <a:gd name="connsiteX2037" fmla="*/ 2039750 w 12188651"/>
              <a:gd name="connsiteY2037" fmla="*/ 202891 h 3529167"/>
              <a:gd name="connsiteX2038" fmla="*/ 1975281 w 12188651"/>
              <a:gd name="connsiteY2038" fmla="*/ 267493 h 3529167"/>
              <a:gd name="connsiteX2039" fmla="*/ 1910682 w 12188651"/>
              <a:gd name="connsiteY2039" fmla="*/ 202761 h 3529167"/>
              <a:gd name="connsiteX2040" fmla="*/ 1871377 w 12188651"/>
              <a:gd name="connsiteY2040" fmla="*/ 186416 h 3529167"/>
              <a:gd name="connsiteX2041" fmla="*/ 0 w 12188651"/>
              <a:gd name="connsiteY2041" fmla="*/ 16212 h 3529167"/>
              <a:gd name="connsiteX2042" fmla="*/ 255071 w 12188651"/>
              <a:gd name="connsiteY2042" fmla="*/ 163827 h 3529167"/>
              <a:gd name="connsiteX2043" fmla="*/ 255071 w 12188651"/>
              <a:gd name="connsiteY2043" fmla="*/ 550010 h 3529167"/>
              <a:gd name="connsiteX2044" fmla="*/ 0 w 12188651"/>
              <a:gd name="connsiteY2044" fmla="*/ 697625 h 3529167"/>
              <a:gd name="connsiteX2045" fmla="*/ 0 w 12188651"/>
              <a:gd name="connsiteY2045" fmla="*/ 503439 h 3529167"/>
              <a:gd name="connsiteX2046" fmla="*/ 143000 w 12188651"/>
              <a:gd name="connsiteY2046" fmla="*/ 360100 h 3529167"/>
              <a:gd name="connsiteX2047" fmla="*/ 143000 w 12188651"/>
              <a:gd name="connsiteY2047" fmla="*/ 281489 h 3529167"/>
              <a:gd name="connsiteX2048" fmla="*/ 64519 w 12188651"/>
              <a:gd name="connsiteY2048" fmla="*/ 202877 h 3529167"/>
              <a:gd name="connsiteX2049" fmla="*/ 25344 w 12188651"/>
              <a:gd name="connsiteY2049" fmla="*/ 186532 h 3529167"/>
              <a:gd name="connsiteX2050" fmla="*/ 25217 w 12188651"/>
              <a:gd name="connsiteY2050" fmla="*/ 186401 h 3529167"/>
              <a:gd name="connsiteX2051" fmla="*/ 4299 w 12188651"/>
              <a:gd name="connsiteY2051" fmla="*/ 190504 h 3529167"/>
              <a:gd name="connsiteX2052" fmla="*/ 0 w 12188651"/>
              <a:gd name="connsiteY2052" fmla="*/ 193396 h 3529167"/>
              <a:gd name="connsiteX2053" fmla="*/ 12188651 w 12188651"/>
              <a:gd name="connsiteY2053" fmla="*/ 3063 h 3529167"/>
              <a:gd name="connsiteX2054" fmla="*/ 12188651 w 12188651"/>
              <a:gd name="connsiteY2054" fmla="*/ 211515 h 3529167"/>
              <a:gd name="connsiteX2055" fmla="*/ 12179990 w 12188651"/>
              <a:gd name="connsiteY2055" fmla="*/ 202835 h 3529167"/>
              <a:gd name="connsiteX2056" fmla="*/ 12140685 w 12188651"/>
              <a:gd name="connsiteY2056" fmla="*/ 186490 h 3529167"/>
              <a:gd name="connsiteX2057" fmla="*/ 12101510 w 12188651"/>
              <a:gd name="connsiteY2057" fmla="*/ 202835 h 3529167"/>
              <a:gd name="connsiteX2058" fmla="*/ 12023031 w 12188651"/>
              <a:gd name="connsiteY2058" fmla="*/ 281576 h 3529167"/>
              <a:gd name="connsiteX2059" fmla="*/ 12023031 w 12188651"/>
              <a:gd name="connsiteY2059" fmla="*/ 360188 h 3529167"/>
              <a:gd name="connsiteX2060" fmla="*/ 12188651 w 12188651"/>
              <a:gd name="connsiteY2060" fmla="*/ 526200 h 3529167"/>
              <a:gd name="connsiteX2061" fmla="*/ 12188651 w 12188651"/>
              <a:gd name="connsiteY2061" fmla="*/ 710954 h 3529167"/>
              <a:gd name="connsiteX2062" fmla="*/ 11910696 w 12188651"/>
              <a:gd name="connsiteY2062" fmla="*/ 550094 h 3529167"/>
              <a:gd name="connsiteX2063" fmla="*/ 11910696 w 12188651"/>
              <a:gd name="connsiteY2063" fmla="*/ 163920 h 3529167"/>
              <a:gd name="connsiteX2064" fmla="*/ 11643950 w 12188651"/>
              <a:gd name="connsiteY2064" fmla="*/ 0 h 3529167"/>
              <a:gd name="connsiteX2065" fmla="*/ 12161201 w 12188651"/>
              <a:gd name="connsiteY2065" fmla="*/ 0 h 3529167"/>
              <a:gd name="connsiteX2066" fmla="*/ 11902524 w 12188651"/>
              <a:gd name="connsiteY2066" fmla="*/ 149646 h 3529167"/>
              <a:gd name="connsiteX2067" fmla="*/ 11509496 w 12188651"/>
              <a:gd name="connsiteY2067" fmla="*/ 0 h 3529167"/>
              <a:gd name="connsiteX2068" fmla="*/ 11609622 w 12188651"/>
              <a:gd name="connsiteY2068" fmla="*/ 0 h 3529167"/>
              <a:gd name="connsiteX2069" fmla="*/ 11893312 w 12188651"/>
              <a:gd name="connsiteY2069" fmla="*/ 164177 h 3529167"/>
              <a:gd name="connsiteX2070" fmla="*/ 11893312 w 12188651"/>
              <a:gd name="connsiteY2070" fmla="*/ 550471 h 3529167"/>
              <a:gd name="connsiteX2071" fmla="*/ 11559679 w 12188651"/>
              <a:gd name="connsiteY2071" fmla="*/ 743626 h 3529167"/>
              <a:gd name="connsiteX2072" fmla="*/ 11225916 w 12188651"/>
              <a:gd name="connsiteY2072" fmla="*/ 550471 h 3529167"/>
              <a:gd name="connsiteX2073" fmla="*/ 11225916 w 12188651"/>
              <a:gd name="connsiteY2073" fmla="*/ 164178 h 3529167"/>
              <a:gd name="connsiteX2074" fmla="*/ 10959725 w 12188651"/>
              <a:gd name="connsiteY2074" fmla="*/ 0 h 3529167"/>
              <a:gd name="connsiteX2075" fmla="*/ 11475502 w 12188651"/>
              <a:gd name="connsiteY2075" fmla="*/ 0 h 3529167"/>
              <a:gd name="connsiteX2076" fmla="*/ 11217614 w 12188651"/>
              <a:gd name="connsiteY2076" fmla="*/ 149246 h 3529167"/>
              <a:gd name="connsiteX2077" fmla="*/ 10883981 w 12188651"/>
              <a:gd name="connsiteY2077" fmla="*/ 0 h 3529167"/>
              <a:gd name="connsiteX2078" fmla="*/ 10925760 w 12188651"/>
              <a:gd name="connsiteY2078" fmla="*/ 0 h 3529167"/>
              <a:gd name="connsiteX2079" fmla="*/ 11209441 w 12188651"/>
              <a:gd name="connsiteY2079" fmla="*/ 164177 h 3529167"/>
              <a:gd name="connsiteX2080" fmla="*/ 11209441 w 12188651"/>
              <a:gd name="connsiteY2080" fmla="*/ 541003 h 3529167"/>
              <a:gd name="connsiteX2081" fmla="*/ 10883981 w 12188651"/>
              <a:gd name="connsiteY2081" fmla="*/ 352647 h 3529167"/>
              <a:gd name="connsiteX2082" fmla="*/ 10825841 w 12188651"/>
              <a:gd name="connsiteY2082" fmla="*/ 0 h 3529167"/>
              <a:gd name="connsiteX2083" fmla="*/ 10867636 w 12188651"/>
              <a:gd name="connsiteY2083" fmla="*/ 0 h 3529167"/>
              <a:gd name="connsiteX2084" fmla="*/ 10867636 w 12188651"/>
              <a:gd name="connsiteY2084" fmla="*/ 352647 h 3529167"/>
              <a:gd name="connsiteX2085" fmla="*/ 10542045 w 12188651"/>
              <a:gd name="connsiteY2085" fmla="*/ 541003 h 3529167"/>
              <a:gd name="connsiteX2086" fmla="*/ 10542045 w 12188651"/>
              <a:gd name="connsiteY2086" fmla="*/ 164178 h 3529167"/>
              <a:gd name="connsiteX2087" fmla="*/ 10273927 w 12188651"/>
              <a:gd name="connsiteY2087" fmla="*/ 0 h 3529167"/>
              <a:gd name="connsiteX2088" fmla="*/ 10791383 w 12188651"/>
              <a:gd name="connsiteY2088" fmla="*/ 0 h 3529167"/>
              <a:gd name="connsiteX2089" fmla="*/ 10532706 w 12188651"/>
              <a:gd name="connsiteY2089" fmla="*/ 149760 h 3529167"/>
              <a:gd name="connsiteX2090" fmla="*/ 10140095 w 12188651"/>
              <a:gd name="connsiteY2090" fmla="*/ 0 h 3529167"/>
              <a:gd name="connsiteX2091" fmla="*/ 10241185 w 12188651"/>
              <a:gd name="connsiteY2091" fmla="*/ 0 h 3529167"/>
              <a:gd name="connsiteX2092" fmla="*/ 10524404 w 12188651"/>
              <a:gd name="connsiteY2092" fmla="*/ 163905 h 3529167"/>
              <a:gd name="connsiteX2093" fmla="*/ 10524404 w 12188651"/>
              <a:gd name="connsiteY2093" fmla="*/ 550081 h 3529167"/>
              <a:gd name="connsiteX2094" fmla="*/ 10190640 w 12188651"/>
              <a:gd name="connsiteY2094" fmla="*/ 743237 h 3529167"/>
              <a:gd name="connsiteX2095" fmla="*/ 9856876 w 12188651"/>
              <a:gd name="connsiteY2095" fmla="*/ 550081 h 3529167"/>
              <a:gd name="connsiteX2096" fmla="*/ 9856876 w 12188651"/>
              <a:gd name="connsiteY2096" fmla="*/ 163905 h 3529167"/>
              <a:gd name="connsiteX2097" fmla="*/ 9590156 w 12188651"/>
              <a:gd name="connsiteY2097" fmla="*/ 0 h 3529167"/>
              <a:gd name="connsiteX2098" fmla="*/ 10107355 w 12188651"/>
              <a:gd name="connsiteY2098" fmla="*/ 0 h 3529167"/>
              <a:gd name="connsiteX2099" fmla="*/ 9848703 w 12188651"/>
              <a:gd name="connsiteY2099" fmla="*/ 149632 h 3529167"/>
              <a:gd name="connsiteX2100" fmla="*/ 9455523 w 12188651"/>
              <a:gd name="connsiteY2100" fmla="*/ 0 h 3529167"/>
              <a:gd name="connsiteX2101" fmla="*/ 9555699 w 12188651"/>
              <a:gd name="connsiteY2101" fmla="*/ 0 h 3529167"/>
              <a:gd name="connsiteX2102" fmla="*/ 9839364 w 12188651"/>
              <a:gd name="connsiteY2102" fmla="*/ 164163 h 3529167"/>
              <a:gd name="connsiteX2103" fmla="*/ 9839364 w 12188651"/>
              <a:gd name="connsiteY2103" fmla="*/ 550457 h 3529167"/>
              <a:gd name="connsiteX2104" fmla="*/ 9505732 w 12188651"/>
              <a:gd name="connsiteY2104" fmla="*/ 743612 h 3529167"/>
              <a:gd name="connsiteX2105" fmla="*/ 9171969 w 12188651"/>
              <a:gd name="connsiteY2105" fmla="*/ 550457 h 3529167"/>
              <a:gd name="connsiteX2106" fmla="*/ 9171969 w 12188651"/>
              <a:gd name="connsiteY2106" fmla="*/ 164163 h 3529167"/>
              <a:gd name="connsiteX2107" fmla="*/ 8905803 w 12188651"/>
              <a:gd name="connsiteY2107" fmla="*/ 0 h 3529167"/>
              <a:gd name="connsiteX2108" fmla="*/ 9421530 w 12188651"/>
              <a:gd name="connsiteY2108" fmla="*/ 0 h 3529167"/>
              <a:gd name="connsiteX2109" fmla="*/ 9163666 w 12188651"/>
              <a:gd name="connsiteY2109" fmla="*/ 149231 h 3529167"/>
              <a:gd name="connsiteX2110" fmla="*/ 8830033 w 12188651"/>
              <a:gd name="connsiteY2110" fmla="*/ 0 h 3529167"/>
              <a:gd name="connsiteX2111" fmla="*/ 8871836 w 12188651"/>
              <a:gd name="connsiteY2111" fmla="*/ 0 h 3529167"/>
              <a:gd name="connsiteX2112" fmla="*/ 9155493 w 12188651"/>
              <a:gd name="connsiteY2112" fmla="*/ 164163 h 3529167"/>
              <a:gd name="connsiteX2113" fmla="*/ 9155493 w 12188651"/>
              <a:gd name="connsiteY2113" fmla="*/ 540989 h 3529167"/>
              <a:gd name="connsiteX2114" fmla="*/ 8830033 w 12188651"/>
              <a:gd name="connsiteY2114" fmla="*/ 352632 h 3529167"/>
              <a:gd name="connsiteX2115" fmla="*/ 8771868 w 12188651"/>
              <a:gd name="connsiteY2115" fmla="*/ 0 h 3529167"/>
              <a:gd name="connsiteX2116" fmla="*/ 8813688 w 12188651"/>
              <a:gd name="connsiteY2116" fmla="*/ 0 h 3529167"/>
              <a:gd name="connsiteX2117" fmla="*/ 8813688 w 12188651"/>
              <a:gd name="connsiteY2117" fmla="*/ 352633 h 3529167"/>
              <a:gd name="connsiteX2118" fmla="*/ 8488098 w 12188651"/>
              <a:gd name="connsiteY2118" fmla="*/ 540989 h 3529167"/>
              <a:gd name="connsiteX2119" fmla="*/ 8488098 w 12188651"/>
              <a:gd name="connsiteY2119" fmla="*/ 164163 h 3529167"/>
              <a:gd name="connsiteX2120" fmla="*/ 8220006 w 12188651"/>
              <a:gd name="connsiteY2120" fmla="*/ 0 h 3529167"/>
              <a:gd name="connsiteX2121" fmla="*/ 8737411 w 12188651"/>
              <a:gd name="connsiteY2121" fmla="*/ 0 h 3529167"/>
              <a:gd name="connsiteX2122" fmla="*/ 8478758 w 12188651"/>
              <a:gd name="connsiteY2122" fmla="*/ 149746 h 3529167"/>
              <a:gd name="connsiteX2123" fmla="*/ 8086123 w 12188651"/>
              <a:gd name="connsiteY2123" fmla="*/ 0 h 3529167"/>
              <a:gd name="connsiteX2124" fmla="*/ 8187263 w 12188651"/>
              <a:gd name="connsiteY2124" fmla="*/ 0 h 3529167"/>
              <a:gd name="connsiteX2125" fmla="*/ 8470456 w 12188651"/>
              <a:gd name="connsiteY2125" fmla="*/ 163890 h 3529167"/>
              <a:gd name="connsiteX2126" fmla="*/ 8470456 w 12188651"/>
              <a:gd name="connsiteY2126" fmla="*/ 550066 h 3529167"/>
              <a:gd name="connsiteX2127" fmla="*/ 8136693 w 12188651"/>
              <a:gd name="connsiteY2127" fmla="*/ 743223 h 3529167"/>
              <a:gd name="connsiteX2128" fmla="*/ 7802930 w 12188651"/>
              <a:gd name="connsiteY2128" fmla="*/ 550066 h 3529167"/>
              <a:gd name="connsiteX2129" fmla="*/ 7802930 w 12188651"/>
              <a:gd name="connsiteY2129" fmla="*/ 163890 h 3529167"/>
              <a:gd name="connsiteX2130" fmla="*/ 7536237 w 12188651"/>
              <a:gd name="connsiteY2130" fmla="*/ 0 h 3529167"/>
              <a:gd name="connsiteX2131" fmla="*/ 8053383 w 12188651"/>
              <a:gd name="connsiteY2131" fmla="*/ 0 h 3529167"/>
              <a:gd name="connsiteX2132" fmla="*/ 7794758 w 12188651"/>
              <a:gd name="connsiteY2132" fmla="*/ 149616 h 3529167"/>
              <a:gd name="connsiteX2133" fmla="*/ 7401681 w 12188651"/>
              <a:gd name="connsiteY2133" fmla="*/ 0 h 3529167"/>
              <a:gd name="connsiteX2134" fmla="*/ 7501908 w 12188651"/>
              <a:gd name="connsiteY2134" fmla="*/ 0 h 3529167"/>
              <a:gd name="connsiteX2135" fmla="*/ 7785548 w 12188651"/>
              <a:gd name="connsiteY2135" fmla="*/ 164149 h 3529167"/>
              <a:gd name="connsiteX2136" fmla="*/ 7785548 w 12188651"/>
              <a:gd name="connsiteY2136" fmla="*/ 550443 h 3529167"/>
              <a:gd name="connsiteX2137" fmla="*/ 7451915 w 12188651"/>
              <a:gd name="connsiteY2137" fmla="*/ 743599 h 3529167"/>
              <a:gd name="connsiteX2138" fmla="*/ 7118150 w 12188651"/>
              <a:gd name="connsiteY2138" fmla="*/ 550443 h 3529167"/>
              <a:gd name="connsiteX2139" fmla="*/ 7118150 w 12188651"/>
              <a:gd name="connsiteY2139" fmla="*/ 164149 h 3529167"/>
              <a:gd name="connsiteX2140" fmla="*/ 6852010 w 12188651"/>
              <a:gd name="connsiteY2140" fmla="*/ 0 h 3529167"/>
              <a:gd name="connsiteX2141" fmla="*/ 7367688 w 12188651"/>
              <a:gd name="connsiteY2141" fmla="*/ 0 h 3529167"/>
              <a:gd name="connsiteX2142" fmla="*/ 7109850 w 12188651"/>
              <a:gd name="connsiteY2142" fmla="*/ 149217 h 3529167"/>
              <a:gd name="connsiteX2143" fmla="*/ 6776215 w 12188651"/>
              <a:gd name="connsiteY2143" fmla="*/ 0 h 3529167"/>
              <a:gd name="connsiteX2144" fmla="*/ 6818044 w 12188651"/>
              <a:gd name="connsiteY2144" fmla="*/ 0 h 3529167"/>
              <a:gd name="connsiteX2145" fmla="*/ 7101677 w 12188651"/>
              <a:gd name="connsiteY2145" fmla="*/ 164149 h 3529167"/>
              <a:gd name="connsiteX2146" fmla="*/ 7101677 w 12188651"/>
              <a:gd name="connsiteY2146" fmla="*/ 540974 h 3529167"/>
              <a:gd name="connsiteX2147" fmla="*/ 6776215 w 12188651"/>
              <a:gd name="connsiteY2147" fmla="*/ 352617 h 3529167"/>
              <a:gd name="connsiteX2148" fmla="*/ 6718025 w 12188651"/>
              <a:gd name="connsiteY2148" fmla="*/ 0 h 3529167"/>
              <a:gd name="connsiteX2149" fmla="*/ 6759871 w 12188651"/>
              <a:gd name="connsiteY2149" fmla="*/ 0 h 3529167"/>
              <a:gd name="connsiteX2150" fmla="*/ 6759871 w 12188651"/>
              <a:gd name="connsiteY2150" fmla="*/ 352617 h 3529167"/>
              <a:gd name="connsiteX2151" fmla="*/ 6434280 w 12188651"/>
              <a:gd name="connsiteY2151" fmla="*/ 540974 h 3529167"/>
              <a:gd name="connsiteX2152" fmla="*/ 6434280 w 12188651"/>
              <a:gd name="connsiteY2152" fmla="*/ 164149 h 3529167"/>
              <a:gd name="connsiteX2153" fmla="*/ 6166213 w 12188651"/>
              <a:gd name="connsiteY2153" fmla="*/ 0 h 3529167"/>
              <a:gd name="connsiteX2154" fmla="*/ 6683567 w 12188651"/>
              <a:gd name="connsiteY2154" fmla="*/ 0 h 3529167"/>
              <a:gd name="connsiteX2155" fmla="*/ 6424940 w 12188651"/>
              <a:gd name="connsiteY2155" fmla="*/ 149731 h 3529167"/>
              <a:gd name="connsiteX2156" fmla="*/ 6032286 w 12188651"/>
              <a:gd name="connsiteY2156" fmla="*/ 0 h 3529167"/>
              <a:gd name="connsiteX2157" fmla="*/ 6133471 w 12188651"/>
              <a:gd name="connsiteY2157" fmla="*/ 0 h 3529167"/>
              <a:gd name="connsiteX2158" fmla="*/ 6416638 w 12188651"/>
              <a:gd name="connsiteY2158" fmla="*/ 163875 h 3529167"/>
              <a:gd name="connsiteX2159" fmla="*/ 6416638 w 12188651"/>
              <a:gd name="connsiteY2159" fmla="*/ 550053 h 3529167"/>
              <a:gd name="connsiteX2160" fmla="*/ 6082876 w 12188651"/>
              <a:gd name="connsiteY2160" fmla="*/ 743207 h 3529167"/>
              <a:gd name="connsiteX2161" fmla="*/ 5749140 w 12188651"/>
              <a:gd name="connsiteY2161" fmla="*/ 550054 h 3529167"/>
              <a:gd name="connsiteX2162" fmla="*/ 5749140 w 12188651"/>
              <a:gd name="connsiteY2162" fmla="*/ 163875 h 3529167"/>
              <a:gd name="connsiteX2163" fmla="*/ 5482485 w 12188651"/>
              <a:gd name="connsiteY2163" fmla="*/ 0 h 3529167"/>
              <a:gd name="connsiteX2164" fmla="*/ 5999546 w 12188651"/>
              <a:gd name="connsiteY2164" fmla="*/ 0 h 3529167"/>
              <a:gd name="connsiteX2165" fmla="*/ 5740963 w 12188651"/>
              <a:gd name="connsiteY2165" fmla="*/ 149601 h 3529167"/>
              <a:gd name="connsiteX2166" fmla="*/ 5347761 w 12188651"/>
              <a:gd name="connsiteY2166" fmla="*/ 0 h 3529167"/>
              <a:gd name="connsiteX2167" fmla="*/ 5448034 w 12188651"/>
              <a:gd name="connsiteY2167" fmla="*/ 0 h 3529167"/>
              <a:gd name="connsiteX2168" fmla="*/ 5731618 w 12188651"/>
              <a:gd name="connsiteY2168" fmla="*/ 164130 h 3529167"/>
              <a:gd name="connsiteX2169" fmla="*/ 5731618 w 12188651"/>
              <a:gd name="connsiteY2169" fmla="*/ 550429 h 3529167"/>
              <a:gd name="connsiteX2170" fmla="*/ 5398000 w 12188651"/>
              <a:gd name="connsiteY2170" fmla="*/ 743584 h 3529167"/>
              <a:gd name="connsiteX2171" fmla="*/ 5064275 w 12188651"/>
              <a:gd name="connsiteY2171" fmla="*/ 550443 h 3529167"/>
              <a:gd name="connsiteX2172" fmla="*/ 5064275 w 12188651"/>
              <a:gd name="connsiteY2172" fmla="*/ 164134 h 3529167"/>
              <a:gd name="connsiteX2173" fmla="*/ 4798110 w 12188651"/>
              <a:gd name="connsiteY2173" fmla="*/ 0 h 3529167"/>
              <a:gd name="connsiteX2174" fmla="*/ 5313754 w 12188651"/>
              <a:gd name="connsiteY2174" fmla="*/ 0 h 3529167"/>
              <a:gd name="connsiteX2175" fmla="*/ 5055955 w 12188651"/>
              <a:gd name="connsiteY2175" fmla="*/ 149201 h 3529167"/>
              <a:gd name="connsiteX2176" fmla="*/ 4816718 w 12188651"/>
              <a:gd name="connsiteY2176" fmla="*/ 10771 h 3529167"/>
              <a:gd name="connsiteX2177" fmla="*/ 4722313 w 12188651"/>
              <a:gd name="connsiteY2177" fmla="*/ 0 h 3529167"/>
              <a:gd name="connsiteX2178" fmla="*/ 4764172 w 12188651"/>
              <a:gd name="connsiteY2178" fmla="*/ 0 h 3529167"/>
              <a:gd name="connsiteX2179" fmla="*/ 5047775 w 12188651"/>
              <a:gd name="connsiteY2179" fmla="*/ 164120 h 3529167"/>
              <a:gd name="connsiteX2180" fmla="*/ 5047775 w 12188651"/>
              <a:gd name="connsiteY2180" fmla="*/ 540960 h 3529167"/>
              <a:gd name="connsiteX2181" fmla="*/ 4722313 w 12188651"/>
              <a:gd name="connsiteY2181" fmla="*/ 352611 h 3529167"/>
              <a:gd name="connsiteX2182" fmla="*/ 4664088 w 12188651"/>
              <a:gd name="connsiteY2182" fmla="*/ 0 h 3529167"/>
              <a:gd name="connsiteX2183" fmla="*/ 4705942 w 12188651"/>
              <a:gd name="connsiteY2183" fmla="*/ 0 h 3529167"/>
              <a:gd name="connsiteX2184" fmla="*/ 4705942 w 12188651"/>
              <a:gd name="connsiteY2184" fmla="*/ 352603 h 3529167"/>
              <a:gd name="connsiteX2185" fmla="*/ 4380369 w 12188651"/>
              <a:gd name="connsiteY2185" fmla="*/ 540954 h 3529167"/>
              <a:gd name="connsiteX2186" fmla="*/ 4380369 w 12188651"/>
              <a:gd name="connsiteY2186" fmla="*/ 164134 h 3529167"/>
              <a:gd name="connsiteX2187" fmla="*/ 4112484 w 12188651"/>
              <a:gd name="connsiteY2187" fmla="*/ 0 h 3529167"/>
              <a:gd name="connsiteX2188" fmla="*/ 4629755 w 12188651"/>
              <a:gd name="connsiteY2188" fmla="*/ 0 h 3529167"/>
              <a:gd name="connsiteX2189" fmla="*/ 4371146 w 12188651"/>
              <a:gd name="connsiteY2189" fmla="*/ 149717 h 3529167"/>
              <a:gd name="connsiteX2190" fmla="*/ 3978507 w 12188651"/>
              <a:gd name="connsiteY2190" fmla="*/ 0 h 3529167"/>
              <a:gd name="connsiteX2191" fmla="*/ 4079738 w 12188651"/>
              <a:gd name="connsiteY2191" fmla="*/ 0 h 3529167"/>
              <a:gd name="connsiteX2192" fmla="*/ 4207107 w 12188651"/>
              <a:gd name="connsiteY2192" fmla="*/ 73731 h 3529167"/>
              <a:gd name="connsiteX2193" fmla="*/ 4362838 w 12188651"/>
              <a:gd name="connsiteY2193" fmla="*/ 163859 h 3529167"/>
              <a:gd name="connsiteX2194" fmla="*/ 4362838 w 12188651"/>
              <a:gd name="connsiteY2194" fmla="*/ 550038 h 3529167"/>
              <a:gd name="connsiteX2195" fmla="*/ 4029120 w 12188651"/>
              <a:gd name="connsiteY2195" fmla="*/ 743194 h 3529167"/>
              <a:gd name="connsiteX2196" fmla="*/ 3695368 w 12188651"/>
              <a:gd name="connsiteY2196" fmla="*/ 550042 h 3529167"/>
              <a:gd name="connsiteX2197" fmla="*/ 3695368 w 12188651"/>
              <a:gd name="connsiteY2197" fmla="*/ 163860 h 3529167"/>
              <a:gd name="connsiteX2198" fmla="*/ 3428727 w 12188651"/>
              <a:gd name="connsiteY2198" fmla="*/ 0 h 3529167"/>
              <a:gd name="connsiteX2199" fmla="*/ 3945759 w 12188651"/>
              <a:gd name="connsiteY2199" fmla="*/ 0 h 3529167"/>
              <a:gd name="connsiteX2200" fmla="*/ 3687190 w 12188651"/>
              <a:gd name="connsiteY2200" fmla="*/ 149586 h 3529167"/>
              <a:gd name="connsiteX2201" fmla="*/ 3293942 w 12188651"/>
              <a:gd name="connsiteY2201" fmla="*/ 0 h 3529167"/>
              <a:gd name="connsiteX2202" fmla="*/ 3394267 w 12188651"/>
              <a:gd name="connsiteY2202" fmla="*/ 0 h 3529167"/>
              <a:gd name="connsiteX2203" fmla="*/ 3677828 w 12188651"/>
              <a:gd name="connsiteY2203" fmla="*/ 164102 h 3529167"/>
              <a:gd name="connsiteX2204" fmla="*/ 3677828 w 12188651"/>
              <a:gd name="connsiteY2204" fmla="*/ 550415 h 3529167"/>
              <a:gd name="connsiteX2205" fmla="*/ 3344198 w 12188651"/>
              <a:gd name="connsiteY2205" fmla="*/ 743570 h 3529167"/>
              <a:gd name="connsiteX2206" fmla="*/ 3010461 w 12188651"/>
              <a:gd name="connsiteY2206" fmla="*/ 550429 h 3529167"/>
              <a:gd name="connsiteX2207" fmla="*/ 3010461 w 12188651"/>
              <a:gd name="connsiteY2207" fmla="*/ 164119 h 3529167"/>
              <a:gd name="connsiteX2208" fmla="*/ 2744346 w 12188651"/>
              <a:gd name="connsiteY2208" fmla="*/ 0 h 3529167"/>
              <a:gd name="connsiteX2209" fmla="*/ 3259920 w 12188651"/>
              <a:gd name="connsiteY2209" fmla="*/ 0 h 3529167"/>
              <a:gd name="connsiteX2210" fmla="*/ 3002133 w 12188651"/>
              <a:gd name="connsiteY2210" fmla="*/ 149187 h 3529167"/>
              <a:gd name="connsiteX2211" fmla="*/ 2867142 w 12188651"/>
              <a:gd name="connsiteY2211" fmla="*/ 71063 h 3529167"/>
              <a:gd name="connsiteX2212" fmla="*/ 2668523 w 12188651"/>
              <a:gd name="connsiteY2212" fmla="*/ 0 h 3529167"/>
              <a:gd name="connsiteX2213" fmla="*/ 2710404 w 12188651"/>
              <a:gd name="connsiteY2213" fmla="*/ 0 h 3529167"/>
              <a:gd name="connsiteX2214" fmla="*/ 2993958 w 12188651"/>
              <a:gd name="connsiteY2214" fmla="*/ 164103 h 3529167"/>
              <a:gd name="connsiteX2215" fmla="*/ 2993958 w 12188651"/>
              <a:gd name="connsiteY2215" fmla="*/ 540944 h 3529167"/>
              <a:gd name="connsiteX2216" fmla="*/ 2778118 w 12188651"/>
              <a:gd name="connsiteY2216" fmla="*/ 416029 h 3529167"/>
              <a:gd name="connsiteX2217" fmla="*/ 2737216 w 12188651"/>
              <a:gd name="connsiteY2217" fmla="*/ 392357 h 3529167"/>
              <a:gd name="connsiteX2218" fmla="*/ 2734179 w 12188651"/>
              <a:gd name="connsiteY2218" fmla="*/ 390600 h 3529167"/>
              <a:gd name="connsiteX2219" fmla="*/ 2668523 w 12188651"/>
              <a:gd name="connsiteY2219" fmla="*/ 352604 h 3529167"/>
              <a:gd name="connsiteX2220" fmla="*/ 2610283 w 12188651"/>
              <a:gd name="connsiteY2220" fmla="*/ 0 h 3529167"/>
              <a:gd name="connsiteX2221" fmla="*/ 2652154 w 12188651"/>
              <a:gd name="connsiteY2221" fmla="*/ 0 h 3529167"/>
              <a:gd name="connsiteX2222" fmla="*/ 2652154 w 12188651"/>
              <a:gd name="connsiteY2222" fmla="*/ 352589 h 3529167"/>
              <a:gd name="connsiteX2223" fmla="*/ 2326593 w 12188651"/>
              <a:gd name="connsiteY2223" fmla="*/ 540928 h 3529167"/>
              <a:gd name="connsiteX2224" fmla="*/ 2326593 w 12188651"/>
              <a:gd name="connsiteY2224" fmla="*/ 164119 h 3529167"/>
              <a:gd name="connsiteX2225" fmla="*/ 2058538 w 12188651"/>
              <a:gd name="connsiteY2225" fmla="*/ 0 h 3529167"/>
              <a:gd name="connsiteX2226" fmla="*/ 2575794 w 12188651"/>
              <a:gd name="connsiteY2226" fmla="*/ 0 h 3529167"/>
              <a:gd name="connsiteX2227" fmla="*/ 2317223 w 12188651"/>
              <a:gd name="connsiteY2227" fmla="*/ 149702 h 3529167"/>
              <a:gd name="connsiteX2228" fmla="*/ 2260282 w 12188651"/>
              <a:gd name="connsiteY2228" fmla="*/ 116749 h 3529167"/>
              <a:gd name="connsiteX2229" fmla="*/ 1924507 w 12188651"/>
              <a:gd name="connsiteY2229" fmla="*/ 0 h 3529167"/>
              <a:gd name="connsiteX2230" fmla="*/ 2025801 w 12188651"/>
              <a:gd name="connsiteY2230" fmla="*/ 0 h 3529167"/>
              <a:gd name="connsiteX2231" fmla="*/ 2308919 w 12188651"/>
              <a:gd name="connsiteY2231" fmla="*/ 163842 h 3529167"/>
              <a:gd name="connsiteX2232" fmla="*/ 2308919 w 12188651"/>
              <a:gd name="connsiteY2232" fmla="*/ 550024 h 3529167"/>
              <a:gd name="connsiteX2233" fmla="*/ 1975146 w 12188651"/>
              <a:gd name="connsiteY2233" fmla="*/ 743180 h 3529167"/>
              <a:gd name="connsiteX2234" fmla="*/ 1641391 w 12188651"/>
              <a:gd name="connsiteY2234" fmla="*/ 550028 h 3529167"/>
              <a:gd name="connsiteX2235" fmla="*/ 1641391 w 12188651"/>
              <a:gd name="connsiteY2235" fmla="*/ 163846 h 3529167"/>
              <a:gd name="connsiteX2236" fmla="*/ 1374768 w 12188651"/>
              <a:gd name="connsiteY2236" fmla="*/ 0 h 3529167"/>
              <a:gd name="connsiteX2237" fmla="*/ 1891761 w 12188651"/>
              <a:gd name="connsiteY2237" fmla="*/ 0 h 3529167"/>
              <a:gd name="connsiteX2238" fmla="*/ 1633212 w 12188651"/>
              <a:gd name="connsiteY2238" fmla="*/ 149572 h 3529167"/>
              <a:gd name="connsiteX2239" fmla="*/ 1239933 w 12188651"/>
              <a:gd name="connsiteY2239" fmla="*/ 0 h 3529167"/>
              <a:gd name="connsiteX2240" fmla="*/ 1340313 w 12188651"/>
              <a:gd name="connsiteY2240" fmla="*/ 0 h 3529167"/>
              <a:gd name="connsiteX2241" fmla="*/ 1623852 w 12188651"/>
              <a:gd name="connsiteY2241" fmla="*/ 164090 h 3529167"/>
              <a:gd name="connsiteX2242" fmla="*/ 1623852 w 12188651"/>
              <a:gd name="connsiteY2242" fmla="*/ 550400 h 3529167"/>
              <a:gd name="connsiteX2243" fmla="*/ 1290219 w 12188651"/>
              <a:gd name="connsiteY2243" fmla="*/ 743557 h 3529167"/>
              <a:gd name="connsiteX2244" fmla="*/ 956480 w 12188651"/>
              <a:gd name="connsiteY2244" fmla="*/ 550415 h 3529167"/>
              <a:gd name="connsiteX2245" fmla="*/ 956480 w 12188651"/>
              <a:gd name="connsiteY2245" fmla="*/ 164104 h 3529167"/>
              <a:gd name="connsiteX2246" fmla="*/ 690398 w 12188651"/>
              <a:gd name="connsiteY2246" fmla="*/ 0 h 3529167"/>
              <a:gd name="connsiteX2247" fmla="*/ 1205918 w 12188651"/>
              <a:gd name="connsiteY2247" fmla="*/ 0 h 3529167"/>
              <a:gd name="connsiteX2248" fmla="*/ 948156 w 12188651"/>
              <a:gd name="connsiteY2248" fmla="*/ 149172 h 3529167"/>
              <a:gd name="connsiteX2249" fmla="*/ 614547 w 12188651"/>
              <a:gd name="connsiteY2249" fmla="*/ 0 h 3529167"/>
              <a:gd name="connsiteX2250" fmla="*/ 656453 w 12188651"/>
              <a:gd name="connsiteY2250" fmla="*/ 0 h 3529167"/>
              <a:gd name="connsiteX2251" fmla="*/ 939981 w 12188651"/>
              <a:gd name="connsiteY2251" fmla="*/ 164089 h 3529167"/>
              <a:gd name="connsiteX2252" fmla="*/ 939981 w 12188651"/>
              <a:gd name="connsiteY2252" fmla="*/ 540931 h 3529167"/>
              <a:gd name="connsiteX2253" fmla="*/ 760662 w 12188651"/>
              <a:gd name="connsiteY2253" fmla="*/ 437152 h 3529167"/>
              <a:gd name="connsiteX2254" fmla="*/ 614547 w 12188651"/>
              <a:gd name="connsiteY2254" fmla="*/ 352589 h 3529167"/>
              <a:gd name="connsiteX2255" fmla="*/ 556281 w 12188651"/>
              <a:gd name="connsiteY2255" fmla="*/ 0 h 3529167"/>
              <a:gd name="connsiteX2256" fmla="*/ 598177 w 12188651"/>
              <a:gd name="connsiteY2256" fmla="*/ 0 h 3529167"/>
              <a:gd name="connsiteX2257" fmla="*/ 598177 w 12188651"/>
              <a:gd name="connsiteY2257" fmla="*/ 352574 h 3529167"/>
              <a:gd name="connsiteX2258" fmla="*/ 272612 w 12188651"/>
              <a:gd name="connsiteY2258" fmla="*/ 540915 h 3529167"/>
              <a:gd name="connsiteX2259" fmla="*/ 272612 w 12188651"/>
              <a:gd name="connsiteY2259" fmla="*/ 164104 h 3529167"/>
              <a:gd name="connsiteX2260" fmla="*/ 4723 w 12188651"/>
              <a:gd name="connsiteY2260" fmla="*/ 0 h 3529167"/>
              <a:gd name="connsiteX2261" fmla="*/ 521923 w 12188651"/>
              <a:gd name="connsiteY2261" fmla="*/ 0 h 3529167"/>
              <a:gd name="connsiteX2262" fmla="*/ 263373 w 12188651"/>
              <a:gd name="connsiteY2262" fmla="*/ 149687 h 352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Lst>
            <a:rect l="l" t="t" r="r" b="b"/>
            <a:pathLst>
              <a:path w="12188651" h="3529167">
                <a:moveTo>
                  <a:pt x="11902654" y="3336497"/>
                </a:moveTo>
                <a:lnTo>
                  <a:pt x="12182429" y="3498382"/>
                </a:lnTo>
                <a:lnTo>
                  <a:pt x="12188651" y="3501984"/>
                </a:lnTo>
                <a:lnTo>
                  <a:pt x="12188651" y="3529167"/>
                </a:lnTo>
                <a:lnTo>
                  <a:pt x="11584572" y="3529167"/>
                </a:lnTo>
                <a:lnTo>
                  <a:pt x="11577061" y="3524820"/>
                </a:lnTo>
                <a:close/>
                <a:moveTo>
                  <a:pt x="9848833" y="3336489"/>
                </a:moveTo>
                <a:lnTo>
                  <a:pt x="10174296" y="3524818"/>
                </a:lnTo>
                <a:lnTo>
                  <a:pt x="10166778" y="3529167"/>
                </a:lnTo>
                <a:lnTo>
                  <a:pt x="9530757" y="3529167"/>
                </a:lnTo>
                <a:lnTo>
                  <a:pt x="9523242" y="3524818"/>
                </a:lnTo>
                <a:close/>
                <a:moveTo>
                  <a:pt x="7794888" y="3336477"/>
                </a:moveTo>
                <a:lnTo>
                  <a:pt x="8120348" y="3524813"/>
                </a:lnTo>
                <a:lnTo>
                  <a:pt x="8112822" y="3529167"/>
                </a:lnTo>
                <a:lnTo>
                  <a:pt x="7476821" y="3529167"/>
                </a:lnTo>
                <a:lnTo>
                  <a:pt x="7469297" y="3524813"/>
                </a:lnTo>
                <a:close/>
                <a:moveTo>
                  <a:pt x="5741092" y="3336470"/>
                </a:moveTo>
                <a:lnTo>
                  <a:pt x="6066533" y="3524807"/>
                </a:lnTo>
                <a:lnTo>
                  <a:pt x="6058997" y="3529167"/>
                </a:lnTo>
                <a:lnTo>
                  <a:pt x="5423054" y="3529167"/>
                </a:lnTo>
                <a:lnTo>
                  <a:pt x="5415520" y="3524807"/>
                </a:lnTo>
                <a:close/>
                <a:moveTo>
                  <a:pt x="3687317" y="3336464"/>
                </a:moveTo>
                <a:lnTo>
                  <a:pt x="4012771" y="3524805"/>
                </a:lnTo>
                <a:lnTo>
                  <a:pt x="4005231" y="3529167"/>
                </a:lnTo>
                <a:lnTo>
                  <a:pt x="3369269" y="3529167"/>
                </a:lnTo>
                <a:lnTo>
                  <a:pt x="3361732" y="3524805"/>
                </a:lnTo>
                <a:close/>
                <a:moveTo>
                  <a:pt x="1633340" y="3336454"/>
                </a:moveTo>
                <a:lnTo>
                  <a:pt x="1958796" y="3524804"/>
                </a:lnTo>
                <a:lnTo>
                  <a:pt x="1951254" y="3529167"/>
                </a:lnTo>
                <a:lnTo>
                  <a:pt x="1315290" y="3529167"/>
                </a:lnTo>
                <a:lnTo>
                  <a:pt x="1307751" y="3524804"/>
                </a:lnTo>
                <a:close/>
                <a:moveTo>
                  <a:pt x="11113840" y="3172539"/>
                </a:moveTo>
                <a:cubicBezTo>
                  <a:pt x="11124348" y="3172539"/>
                  <a:pt x="11134206" y="3176691"/>
                  <a:pt x="11141600" y="3184087"/>
                </a:cubicBezTo>
                <a:lnTo>
                  <a:pt x="11206199" y="3248805"/>
                </a:lnTo>
                <a:lnTo>
                  <a:pt x="11217744" y="3260492"/>
                </a:lnTo>
                <a:lnTo>
                  <a:pt x="11229289" y="3248805"/>
                </a:lnTo>
                <a:lnTo>
                  <a:pt x="11293758" y="3184087"/>
                </a:lnTo>
                <a:cubicBezTo>
                  <a:pt x="11301152" y="3176564"/>
                  <a:pt x="11311011" y="3172539"/>
                  <a:pt x="11321517" y="3172539"/>
                </a:cubicBezTo>
                <a:cubicBezTo>
                  <a:pt x="11331896" y="3172539"/>
                  <a:pt x="11341755" y="3176691"/>
                  <a:pt x="11349147" y="3184087"/>
                </a:cubicBezTo>
                <a:lnTo>
                  <a:pt x="11427627" y="3262689"/>
                </a:lnTo>
                <a:lnTo>
                  <a:pt x="11439170" y="3290444"/>
                </a:lnTo>
                <a:lnTo>
                  <a:pt x="11427757" y="3318199"/>
                </a:lnTo>
                <a:lnTo>
                  <a:pt x="11217744" y="3528579"/>
                </a:lnTo>
                <a:lnTo>
                  <a:pt x="11007731" y="3318199"/>
                </a:lnTo>
                <a:lnTo>
                  <a:pt x="10996253" y="3290463"/>
                </a:lnTo>
                <a:lnTo>
                  <a:pt x="11007731" y="3262819"/>
                </a:lnTo>
                <a:lnTo>
                  <a:pt x="11086210" y="3184087"/>
                </a:lnTo>
                <a:cubicBezTo>
                  <a:pt x="11093605" y="3176691"/>
                  <a:pt x="11103333" y="3172539"/>
                  <a:pt x="11113840" y="3172539"/>
                </a:cubicBezTo>
                <a:close/>
                <a:moveTo>
                  <a:pt x="9059892" y="3172530"/>
                </a:moveTo>
                <a:cubicBezTo>
                  <a:pt x="9070398" y="3172530"/>
                  <a:pt x="9080257" y="3176675"/>
                  <a:pt x="9087652" y="3184077"/>
                </a:cubicBezTo>
                <a:lnTo>
                  <a:pt x="9152251" y="3248800"/>
                </a:lnTo>
                <a:lnTo>
                  <a:pt x="9163796" y="3260473"/>
                </a:lnTo>
                <a:lnTo>
                  <a:pt x="9175341" y="3248800"/>
                </a:lnTo>
                <a:lnTo>
                  <a:pt x="9239810" y="3184077"/>
                </a:lnTo>
                <a:cubicBezTo>
                  <a:pt x="9247204" y="3176551"/>
                  <a:pt x="9257062" y="3172530"/>
                  <a:pt x="9267570" y="3172530"/>
                </a:cubicBezTo>
                <a:cubicBezTo>
                  <a:pt x="9277946" y="3172530"/>
                  <a:pt x="9287805" y="3176675"/>
                  <a:pt x="9295200" y="3184077"/>
                </a:cubicBezTo>
                <a:lnTo>
                  <a:pt x="9373678" y="3262679"/>
                </a:lnTo>
                <a:lnTo>
                  <a:pt x="9385222" y="3290436"/>
                </a:lnTo>
                <a:lnTo>
                  <a:pt x="9373809" y="3318189"/>
                </a:lnTo>
                <a:lnTo>
                  <a:pt x="9163797" y="3528578"/>
                </a:lnTo>
                <a:lnTo>
                  <a:pt x="8953784" y="3318189"/>
                </a:lnTo>
                <a:lnTo>
                  <a:pt x="8942306" y="3290451"/>
                </a:lnTo>
                <a:lnTo>
                  <a:pt x="8953783" y="3262809"/>
                </a:lnTo>
                <a:lnTo>
                  <a:pt x="9032263" y="3184077"/>
                </a:lnTo>
                <a:cubicBezTo>
                  <a:pt x="9039655" y="3176675"/>
                  <a:pt x="9049385" y="3172530"/>
                  <a:pt x="9059892" y="3172530"/>
                </a:cubicBezTo>
                <a:close/>
                <a:moveTo>
                  <a:pt x="7006076" y="3172517"/>
                </a:moveTo>
                <a:cubicBezTo>
                  <a:pt x="7016582" y="3172517"/>
                  <a:pt x="7026440" y="3176668"/>
                  <a:pt x="7033834" y="3184064"/>
                </a:cubicBezTo>
                <a:lnTo>
                  <a:pt x="7098434" y="3248792"/>
                </a:lnTo>
                <a:lnTo>
                  <a:pt x="7109978" y="3260467"/>
                </a:lnTo>
                <a:lnTo>
                  <a:pt x="7121523" y="3248792"/>
                </a:lnTo>
                <a:lnTo>
                  <a:pt x="7185994" y="3184064"/>
                </a:lnTo>
                <a:cubicBezTo>
                  <a:pt x="7193387" y="3176541"/>
                  <a:pt x="7203245" y="3172517"/>
                  <a:pt x="7213751" y="3172517"/>
                </a:cubicBezTo>
                <a:cubicBezTo>
                  <a:pt x="7224130" y="3172517"/>
                  <a:pt x="7233989" y="3176668"/>
                  <a:pt x="7241381" y="3184064"/>
                </a:cubicBezTo>
                <a:lnTo>
                  <a:pt x="7319862" y="3262673"/>
                </a:lnTo>
                <a:lnTo>
                  <a:pt x="7331405" y="3290428"/>
                </a:lnTo>
                <a:lnTo>
                  <a:pt x="7319992" y="3318178"/>
                </a:lnTo>
                <a:lnTo>
                  <a:pt x="7109978" y="3528572"/>
                </a:lnTo>
                <a:lnTo>
                  <a:pt x="6899966" y="3318178"/>
                </a:lnTo>
                <a:lnTo>
                  <a:pt x="6888487" y="3290444"/>
                </a:lnTo>
                <a:lnTo>
                  <a:pt x="6899966" y="3262798"/>
                </a:lnTo>
                <a:lnTo>
                  <a:pt x="6978446" y="3184064"/>
                </a:lnTo>
                <a:cubicBezTo>
                  <a:pt x="6985839" y="3176668"/>
                  <a:pt x="6995568" y="3172517"/>
                  <a:pt x="7006076" y="3172517"/>
                </a:cubicBezTo>
                <a:close/>
                <a:moveTo>
                  <a:pt x="4952157" y="3172509"/>
                </a:moveTo>
                <a:lnTo>
                  <a:pt x="4979924" y="3184048"/>
                </a:lnTo>
                <a:lnTo>
                  <a:pt x="5044521" y="3248772"/>
                </a:lnTo>
                <a:lnTo>
                  <a:pt x="5056083" y="3260446"/>
                </a:lnTo>
                <a:lnTo>
                  <a:pt x="5056083" y="3260442"/>
                </a:lnTo>
                <a:lnTo>
                  <a:pt x="5056087" y="3260455"/>
                </a:lnTo>
                <a:lnTo>
                  <a:pt x="5067642" y="3248781"/>
                </a:lnTo>
                <a:lnTo>
                  <a:pt x="5132091" y="3184051"/>
                </a:lnTo>
                <a:cubicBezTo>
                  <a:pt x="5139483" y="3176531"/>
                  <a:pt x="5149330" y="3172509"/>
                  <a:pt x="5159840" y="3172509"/>
                </a:cubicBezTo>
                <a:lnTo>
                  <a:pt x="5187473" y="3184048"/>
                </a:lnTo>
                <a:lnTo>
                  <a:pt x="5265932" y="3262652"/>
                </a:lnTo>
                <a:cubicBezTo>
                  <a:pt x="5273339" y="3270045"/>
                  <a:pt x="5277344" y="3279904"/>
                  <a:pt x="5277479" y="3290410"/>
                </a:cubicBezTo>
                <a:cubicBezTo>
                  <a:pt x="5277479" y="3300919"/>
                  <a:pt x="5273469" y="3310778"/>
                  <a:pt x="5266071" y="3318172"/>
                </a:cubicBezTo>
                <a:lnTo>
                  <a:pt x="5056083" y="3528560"/>
                </a:lnTo>
                <a:lnTo>
                  <a:pt x="4855197" y="3327353"/>
                </a:lnTo>
                <a:lnTo>
                  <a:pt x="4846044" y="3318176"/>
                </a:lnTo>
                <a:lnTo>
                  <a:pt x="4834566" y="3290436"/>
                </a:lnTo>
                <a:cubicBezTo>
                  <a:pt x="4834566" y="3280402"/>
                  <a:pt x="4838398" y="3270380"/>
                  <a:pt x="4846044" y="3262790"/>
                </a:cubicBezTo>
                <a:lnTo>
                  <a:pt x="4924518" y="3184051"/>
                </a:lnTo>
                <a:cubicBezTo>
                  <a:pt x="4931913" y="3176664"/>
                  <a:pt x="4941650" y="3172509"/>
                  <a:pt x="4952157" y="3172509"/>
                </a:cubicBezTo>
                <a:close/>
                <a:moveTo>
                  <a:pt x="2898373" y="3172493"/>
                </a:moveTo>
                <a:lnTo>
                  <a:pt x="2914891" y="3179366"/>
                </a:lnTo>
                <a:lnTo>
                  <a:pt x="2926113" y="3184033"/>
                </a:lnTo>
                <a:lnTo>
                  <a:pt x="2990711" y="3248759"/>
                </a:lnTo>
                <a:lnTo>
                  <a:pt x="3002256" y="3260436"/>
                </a:lnTo>
                <a:lnTo>
                  <a:pt x="3002263" y="3260428"/>
                </a:lnTo>
                <a:lnTo>
                  <a:pt x="3002278" y="3260446"/>
                </a:lnTo>
                <a:lnTo>
                  <a:pt x="3013824" y="3248772"/>
                </a:lnTo>
                <a:lnTo>
                  <a:pt x="3078289" y="3184044"/>
                </a:lnTo>
                <a:lnTo>
                  <a:pt x="3106051" y="3172493"/>
                </a:lnTo>
                <a:lnTo>
                  <a:pt x="3119341" y="3178052"/>
                </a:lnTo>
                <a:lnTo>
                  <a:pt x="3133663" y="3184033"/>
                </a:lnTo>
                <a:lnTo>
                  <a:pt x="3212138" y="3262641"/>
                </a:lnTo>
                <a:cubicBezTo>
                  <a:pt x="3219533" y="3270034"/>
                  <a:pt x="3223554" y="3279898"/>
                  <a:pt x="3223683" y="3290403"/>
                </a:cubicBezTo>
                <a:cubicBezTo>
                  <a:pt x="3223683" y="3300910"/>
                  <a:pt x="3219662" y="3310767"/>
                  <a:pt x="3212269" y="3318161"/>
                </a:cubicBezTo>
                <a:lnTo>
                  <a:pt x="3002266" y="3528555"/>
                </a:lnTo>
                <a:lnTo>
                  <a:pt x="2792268" y="3318172"/>
                </a:lnTo>
                <a:cubicBezTo>
                  <a:pt x="2776958" y="3302864"/>
                  <a:pt x="2776958" y="3277957"/>
                  <a:pt x="2792268" y="3262780"/>
                </a:cubicBezTo>
                <a:lnTo>
                  <a:pt x="2870745" y="3184044"/>
                </a:lnTo>
                <a:close/>
                <a:moveTo>
                  <a:pt x="844397" y="3172485"/>
                </a:moveTo>
                <a:lnTo>
                  <a:pt x="872137" y="3184024"/>
                </a:lnTo>
                <a:lnTo>
                  <a:pt x="936732" y="3248751"/>
                </a:lnTo>
                <a:lnTo>
                  <a:pt x="948278" y="3260428"/>
                </a:lnTo>
                <a:lnTo>
                  <a:pt x="948285" y="3260419"/>
                </a:lnTo>
                <a:lnTo>
                  <a:pt x="948301" y="3260436"/>
                </a:lnTo>
                <a:lnTo>
                  <a:pt x="959846" y="3248759"/>
                </a:lnTo>
                <a:lnTo>
                  <a:pt x="1024315" y="3184033"/>
                </a:lnTo>
                <a:cubicBezTo>
                  <a:pt x="1031711" y="3176508"/>
                  <a:pt x="1041568" y="3172485"/>
                  <a:pt x="1052075" y="3172485"/>
                </a:cubicBezTo>
                <a:lnTo>
                  <a:pt x="1079685" y="3184025"/>
                </a:lnTo>
                <a:lnTo>
                  <a:pt x="1158160" y="3262631"/>
                </a:lnTo>
                <a:cubicBezTo>
                  <a:pt x="1165555" y="3270025"/>
                  <a:pt x="1169576" y="3279886"/>
                  <a:pt x="1169705" y="3290391"/>
                </a:cubicBezTo>
                <a:cubicBezTo>
                  <a:pt x="1169705" y="3300901"/>
                  <a:pt x="1165685" y="3310758"/>
                  <a:pt x="1158290" y="3318153"/>
                </a:cubicBezTo>
                <a:lnTo>
                  <a:pt x="948288" y="3528552"/>
                </a:lnTo>
                <a:lnTo>
                  <a:pt x="738289" y="3318161"/>
                </a:lnTo>
                <a:cubicBezTo>
                  <a:pt x="722982" y="3302855"/>
                  <a:pt x="722982" y="3277949"/>
                  <a:pt x="738289" y="3262772"/>
                </a:cubicBezTo>
                <a:lnTo>
                  <a:pt x="816766" y="3184033"/>
                </a:lnTo>
                <a:cubicBezTo>
                  <a:pt x="824162" y="3176637"/>
                  <a:pt x="833889" y="3172485"/>
                  <a:pt x="844397" y="3172485"/>
                </a:cubicBezTo>
                <a:close/>
                <a:moveTo>
                  <a:pt x="11910826" y="2945539"/>
                </a:moveTo>
                <a:lnTo>
                  <a:pt x="12188651" y="3106326"/>
                </a:lnTo>
                <a:lnTo>
                  <a:pt x="12188651" y="3483113"/>
                </a:lnTo>
                <a:lnTo>
                  <a:pt x="12179669" y="3477916"/>
                </a:lnTo>
                <a:lnTo>
                  <a:pt x="11910826" y="3322357"/>
                </a:lnTo>
                <a:close/>
                <a:moveTo>
                  <a:pt x="11894481" y="2945539"/>
                </a:moveTo>
                <a:lnTo>
                  <a:pt x="11894481" y="3322357"/>
                </a:lnTo>
                <a:lnTo>
                  <a:pt x="11568890" y="3510681"/>
                </a:lnTo>
                <a:lnTo>
                  <a:pt x="11568890" y="3133883"/>
                </a:lnTo>
                <a:close/>
                <a:moveTo>
                  <a:pt x="9857006" y="2945522"/>
                </a:moveTo>
                <a:lnTo>
                  <a:pt x="10182468" y="3133880"/>
                </a:lnTo>
                <a:lnTo>
                  <a:pt x="10182468" y="3510676"/>
                </a:lnTo>
                <a:lnTo>
                  <a:pt x="9857006" y="3322348"/>
                </a:lnTo>
                <a:close/>
                <a:moveTo>
                  <a:pt x="9840661" y="2945522"/>
                </a:moveTo>
                <a:lnTo>
                  <a:pt x="9840661" y="3322348"/>
                </a:lnTo>
                <a:lnTo>
                  <a:pt x="9515070" y="3510676"/>
                </a:lnTo>
                <a:lnTo>
                  <a:pt x="9515070" y="3133880"/>
                </a:lnTo>
                <a:close/>
                <a:moveTo>
                  <a:pt x="7803060" y="2945507"/>
                </a:moveTo>
                <a:lnTo>
                  <a:pt x="8128521" y="3133865"/>
                </a:lnTo>
                <a:lnTo>
                  <a:pt x="8128521" y="3510673"/>
                </a:lnTo>
                <a:lnTo>
                  <a:pt x="7803060" y="3322337"/>
                </a:lnTo>
                <a:close/>
                <a:moveTo>
                  <a:pt x="7786715" y="2945507"/>
                </a:moveTo>
                <a:lnTo>
                  <a:pt x="7786715" y="3322337"/>
                </a:lnTo>
                <a:lnTo>
                  <a:pt x="7461125" y="3510673"/>
                </a:lnTo>
                <a:lnTo>
                  <a:pt x="7461125" y="3133865"/>
                </a:lnTo>
                <a:close/>
                <a:moveTo>
                  <a:pt x="5732923" y="2945499"/>
                </a:moveTo>
                <a:lnTo>
                  <a:pt x="5732923" y="3322330"/>
                </a:lnTo>
                <a:lnTo>
                  <a:pt x="5407352" y="3510667"/>
                </a:lnTo>
                <a:lnTo>
                  <a:pt x="5407352" y="3133857"/>
                </a:lnTo>
                <a:close/>
                <a:moveTo>
                  <a:pt x="5749264" y="2945497"/>
                </a:moveTo>
                <a:lnTo>
                  <a:pt x="6074705" y="3133857"/>
                </a:lnTo>
                <a:lnTo>
                  <a:pt x="6074705" y="3510669"/>
                </a:lnTo>
                <a:lnTo>
                  <a:pt x="6000145" y="3467515"/>
                </a:lnTo>
                <a:lnTo>
                  <a:pt x="5878454" y="3397098"/>
                </a:lnTo>
                <a:lnTo>
                  <a:pt x="5749264" y="3322330"/>
                </a:lnTo>
                <a:close/>
                <a:moveTo>
                  <a:pt x="3679140" y="2945490"/>
                </a:moveTo>
                <a:lnTo>
                  <a:pt x="3679140" y="3322322"/>
                </a:lnTo>
                <a:lnTo>
                  <a:pt x="3353560" y="3510663"/>
                </a:lnTo>
                <a:lnTo>
                  <a:pt x="3353560" y="3133842"/>
                </a:lnTo>
                <a:close/>
                <a:moveTo>
                  <a:pt x="3695488" y="2945487"/>
                </a:moveTo>
                <a:lnTo>
                  <a:pt x="3801286" y="3006724"/>
                </a:lnTo>
                <a:lnTo>
                  <a:pt x="4009955" y="3127481"/>
                </a:lnTo>
                <a:lnTo>
                  <a:pt x="4020941" y="3133840"/>
                </a:lnTo>
                <a:lnTo>
                  <a:pt x="4020941" y="3510665"/>
                </a:lnTo>
                <a:lnTo>
                  <a:pt x="3719511" y="3336225"/>
                </a:lnTo>
                <a:lnTo>
                  <a:pt x="3695488" y="3322325"/>
                </a:lnTo>
                <a:close/>
                <a:moveTo>
                  <a:pt x="1625162" y="2945478"/>
                </a:moveTo>
                <a:lnTo>
                  <a:pt x="1625162" y="3322313"/>
                </a:lnTo>
                <a:lnTo>
                  <a:pt x="1299579" y="3510659"/>
                </a:lnTo>
                <a:lnTo>
                  <a:pt x="1299579" y="3133831"/>
                </a:lnTo>
                <a:close/>
                <a:moveTo>
                  <a:pt x="1641512" y="2945475"/>
                </a:moveTo>
                <a:lnTo>
                  <a:pt x="1828330" y="3053589"/>
                </a:lnTo>
                <a:lnTo>
                  <a:pt x="1966968" y="3133829"/>
                </a:lnTo>
                <a:lnTo>
                  <a:pt x="1966968" y="3510659"/>
                </a:lnTo>
                <a:lnTo>
                  <a:pt x="1641512" y="3322313"/>
                </a:lnTo>
                <a:close/>
                <a:moveTo>
                  <a:pt x="10532576" y="2940723"/>
                </a:moveTo>
                <a:lnTo>
                  <a:pt x="10866339" y="3133880"/>
                </a:lnTo>
                <a:lnTo>
                  <a:pt x="10866339" y="3520144"/>
                </a:lnTo>
                <a:lnTo>
                  <a:pt x="10850754" y="3529167"/>
                </a:lnTo>
                <a:lnTo>
                  <a:pt x="10214532" y="3529167"/>
                </a:lnTo>
                <a:lnTo>
                  <a:pt x="10198941" y="3520144"/>
                </a:lnTo>
                <a:lnTo>
                  <a:pt x="10198941" y="3133880"/>
                </a:lnTo>
                <a:close/>
                <a:moveTo>
                  <a:pt x="8478628" y="2940707"/>
                </a:moveTo>
                <a:lnTo>
                  <a:pt x="8812392" y="3133865"/>
                </a:lnTo>
                <a:lnTo>
                  <a:pt x="8812392" y="3520144"/>
                </a:lnTo>
                <a:lnTo>
                  <a:pt x="8796806" y="3529167"/>
                </a:lnTo>
                <a:lnTo>
                  <a:pt x="8160587" y="3529167"/>
                </a:lnTo>
                <a:lnTo>
                  <a:pt x="8144995" y="3520144"/>
                </a:lnTo>
                <a:lnTo>
                  <a:pt x="8144995" y="3133865"/>
                </a:lnTo>
                <a:close/>
                <a:moveTo>
                  <a:pt x="6424810" y="2940696"/>
                </a:moveTo>
                <a:lnTo>
                  <a:pt x="6758573" y="3133857"/>
                </a:lnTo>
                <a:lnTo>
                  <a:pt x="6758573" y="3520138"/>
                </a:lnTo>
                <a:lnTo>
                  <a:pt x="6742978" y="3529167"/>
                </a:lnTo>
                <a:lnTo>
                  <a:pt x="6106781" y="3529167"/>
                </a:lnTo>
                <a:lnTo>
                  <a:pt x="6091179" y="3520138"/>
                </a:lnTo>
                <a:lnTo>
                  <a:pt x="6091179" y="3133857"/>
                </a:lnTo>
                <a:close/>
                <a:moveTo>
                  <a:pt x="4371020" y="2940688"/>
                </a:moveTo>
                <a:lnTo>
                  <a:pt x="4704773" y="3133840"/>
                </a:lnTo>
                <a:lnTo>
                  <a:pt x="4704773" y="3520136"/>
                </a:lnTo>
                <a:lnTo>
                  <a:pt x="4689174" y="3529167"/>
                </a:lnTo>
                <a:lnTo>
                  <a:pt x="4053028" y="3529167"/>
                </a:lnTo>
                <a:lnTo>
                  <a:pt x="4037424" y="3520136"/>
                </a:lnTo>
                <a:lnTo>
                  <a:pt x="4037424" y="3133842"/>
                </a:lnTo>
                <a:close/>
                <a:moveTo>
                  <a:pt x="2317088" y="2940676"/>
                </a:moveTo>
                <a:lnTo>
                  <a:pt x="2650840" y="3133829"/>
                </a:lnTo>
                <a:lnTo>
                  <a:pt x="2650840" y="3520133"/>
                </a:lnTo>
                <a:lnTo>
                  <a:pt x="2635236" y="3529167"/>
                </a:lnTo>
                <a:lnTo>
                  <a:pt x="1999061" y="3529167"/>
                </a:lnTo>
                <a:lnTo>
                  <a:pt x="1983450" y="3520133"/>
                </a:lnTo>
                <a:lnTo>
                  <a:pt x="1983450" y="3133831"/>
                </a:lnTo>
                <a:close/>
                <a:moveTo>
                  <a:pt x="263242" y="2940664"/>
                </a:moveTo>
                <a:lnTo>
                  <a:pt x="596998" y="3133814"/>
                </a:lnTo>
                <a:lnTo>
                  <a:pt x="596998" y="3520129"/>
                </a:lnTo>
                <a:lnTo>
                  <a:pt x="581387" y="3529167"/>
                </a:lnTo>
                <a:lnTo>
                  <a:pt x="0" y="3529167"/>
                </a:lnTo>
                <a:lnTo>
                  <a:pt x="0" y="3093067"/>
                </a:lnTo>
                <a:close/>
                <a:moveTo>
                  <a:pt x="11217614" y="2940473"/>
                </a:moveTo>
                <a:lnTo>
                  <a:pt x="11551377" y="3133625"/>
                </a:lnTo>
                <a:lnTo>
                  <a:pt x="11551377" y="3519758"/>
                </a:lnTo>
                <a:lnTo>
                  <a:pt x="11535118" y="3529167"/>
                </a:lnTo>
                <a:lnTo>
                  <a:pt x="11240330" y="3529167"/>
                </a:lnTo>
                <a:lnTo>
                  <a:pt x="11439301" y="3329751"/>
                </a:lnTo>
                <a:cubicBezTo>
                  <a:pt x="11450132" y="3318921"/>
                  <a:pt x="11455548" y="3304690"/>
                  <a:pt x="11455548" y="3290449"/>
                </a:cubicBezTo>
                <a:lnTo>
                  <a:pt x="11455546" y="3290444"/>
                </a:lnTo>
                <a:lnTo>
                  <a:pt x="11455548" y="3290444"/>
                </a:lnTo>
                <a:cubicBezTo>
                  <a:pt x="11455548" y="3276205"/>
                  <a:pt x="11450132" y="3261969"/>
                  <a:pt x="11439301" y="3251138"/>
                </a:cubicBezTo>
                <a:lnTo>
                  <a:pt x="11360822" y="3172530"/>
                </a:lnTo>
                <a:cubicBezTo>
                  <a:pt x="11349927" y="3161632"/>
                  <a:pt x="11335787" y="3156189"/>
                  <a:pt x="11321647" y="3156189"/>
                </a:cubicBezTo>
                <a:lnTo>
                  <a:pt x="11321517" y="3156060"/>
                </a:lnTo>
                <a:cubicBezTo>
                  <a:pt x="11307249" y="3156060"/>
                  <a:pt x="11293110" y="3161497"/>
                  <a:pt x="11282213" y="3172530"/>
                </a:cubicBezTo>
                <a:lnTo>
                  <a:pt x="11217744" y="3237128"/>
                </a:lnTo>
                <a:lnTo>
                  <a:pt x="11153145" y="3172394"/>
                </a:lnTo>
                <a:cubicBezTo>
                  <a:pt x="11142248" y="3161497"/>
                  <a:pt x="11128108" y="3156060"/>
                  <a:pt x="11113840" y="3156060"/>
                </a:cubicBezTo>
                <a:cubicBezTo>
                  <a:pt x="11099571" y="3156060"/>
                  <a:pt x="11085432" y="3161497"/>
                  <a:pt x="11074665" y="3172394"/>
                </a:cubicBezTo>
                <a:lnTo>
                  <a:pt x="10996186" y="3251138"/>
                </a:lnTo>
                <a:cubicBezTo>
                  <a:pt x="10985355" y="3261969"/>
                  <a:pt x="10979939" y="3276205"/>
                  <a:pt x="10979939" y="3290444"/>
                </a:cubicBezTo>
                <a:lnTo>
                  <a:pt x="10979941" y="3290444"/>
                </a:lnTo>
                <a:lnTo>
                  <a:pt x="10979939" y="3290449"/>
                </a:lnTo>
                <a:cubicBezTo>
                  <a:pt x="10979939" y="3304690"/>
                  <a:pt x="10985355" y="3318921"/>
                  <a:pt x="10996186" y="3329751"/>
                </a:cubicBezTo>
                <a:lnTo>
                  <a:pt x="11195158" y="3529167"/>
                </a:lnTo>
                <a:lnTo>
                  <a:pt x="10900110" y="3529167"/>
                </a:lnTo>
                <a:lnTo>
                  <a:pt x="10883851" y="3519758"/>
                </a:lnTo>
                <a:lnTo>
                  <a:pt x="10883851" y="3133625"/>
                </a:lnTo>
                <a:close/>
                <a:moveTo>
                  <a:pt x="9163666" y="2940462"/>
                </a:moveTo>
                <a:lnTo>
                  <a:pt x="9497429" y="3133615"/>
                </a:lnTo>
                <a:lnTo>
                  <a:pt x="9497429" y="3519754"/>
                </a:lnTo>
                <a:lnTo>
                  <a:pt x="9481164" y="3529167"/>
                </a:lnTo>
                <a:lnTo>
                  <a:pt x="9186377" y="3529167"/>
                </a:lnTo>
                <a:lnTo>
                  <a:pt x="9385353" y="3329746"/>
                </a:lnTo>
                <a:cubicBezTo>
                  <a:pt x="9396184" y="3318916"/>
                  <a:pt x="9401600" y="3304677"/>
                  <a:pt x="9401600" y="3290444"/>
                </a:cubicBezTo>
                <a:lnTo>
                  <a:pt x="9401599" y="3290436"/>
                </a:lnTo>
                <a:lnTo>
                  <a:pt x="9401601" y="3290430"/>
                </a:lnTo>
                <a:cubicBezTo>
                  <a:pt x="9401601" y="3276194"/>
                  <a:pt x="9396186" y="3261956"/>
                  <a:pt x="9385354" y="3251125"/>
                </a:cubicBezTo>
                <a:lnTo>
                  <a:pt x="9306876" y="3172523"/>
                </a:lnTo>
                <a:cubicBezTo>
                  <a:pt x="9295978" y="3161619"/>
                  <a:pt x="9281840" y="3156175"/>
                  <a:pt x="9267701" y="3156175"/>
                </a:cubicBezTo>
                <a:lnTo>
                  <a:pt x="9267571" y="3156047"/>
                </a:lnTo>
                <a:cubicBezTo>
                  <a:pt x="9253303" y="3156047"/>
                  <a:pt x="9239162" y="3161489"/>
                  <a:pt x="9228266" y="3172523"/>
                </a:cubicBezTo>
                <a:lnTo>
                  <a:pt x="9163797" y="3237116"/>
                </a:lnTo>
                <a:lnTo>
                  <a:pt x="9099198" y="3172391"/>
                </a:lnTo>
                <a:cubicBezTo>
                  <a:pt x="9088300" y="3161489"/>
                  <a:pt x="9074162" y="3156047"/>
                  <a:pt x="9059893" y="3156047"/>
                </a:cubicBezTo>
                <a:cubicBezTo>
                  <a:pt x="9045624" y="3156047"/>
                  <a:pt x="9031484" y="3161489"/>
                  <a:pt x="9020718" y="3172391"/>
                </a:cubicBezTo>
                <a:lnTo>
                  <a:pt x="8942239" y="3251125"/>
                </a:lnTo>
                <a:cubicBezTo>
                  <a:pt x="8931408" y="3261956"/>
                  <a:pt x="8925992" y="3276194"/>
                  <a:pt x="8925992" y="3290430"/>
                </a:cubicBezTo>
                <a:lnTo>
                  <a:pt x="8925993" y="3290435"/>
                </a:lnTo>
                <a:lnTo>
                  <a:pt x="8925991" y="3290444"/>
                </a:lnTo>
                <a:cubicBezTo>
                  <a:pt x="8925991" y="3304677"/>
                  <a:pt x="8931406" y="3318916"/>
                  <a:pt x="8942238" y="3329746"/>
                </a:cubicBezTo>
                <a:lnTo>
                  <a:pt x="9141215" y="3529167"/>
                </a:lnTo>
                <a:lnTo>
                  <a:pt x="8846170" y="3529167"/>
                </a:lnTo>
                <a:lnTo>
                  <a:pt x="8829903" y="3519753"/>
                </a:lnTo>
                <a:lnTo>
                  <a:pt x="8829903" y="3133615"/>
                </a:lnTo>
                <a:close/>
                <a:moveTo>
                  <a:pt x="7109850" y="2940450"/>
                </a:moveTo>
                <a:lnTo>
                  <a:pt x="7443613" y="3133605"/>
                </a:lnTo>
                <a:lnTo>
                  <a:pt x="7443613" y="3519749"/>
                </a:lnTo>
                <a:lnTo>
                  <a:pt x="7427339" y="3529167"/>
                </a:lnTo>
                <a:lnTo>
                  <a:pt x="7132555" y="3529167"/>
                </a:lnTo>
                <a:lnTo>
                  <a:pt x="7331537" y="3329734"/>
                </a:lnTo>
                <a:cubicBezTo>
                  <a:pt x="7342368" y="3318903"/>
                  <a:pt x="7347783" y="3304668"/>
                  <a:pt x="7347783" y="3290430"/>
                </a:cubicBezTo>
                <a:lnTo>
                  <a:pt x="7347782" y="3290428"/>
                </a:lnTo>
                <a:lnTo>
                  <a:pt x="7347783" y="3290423"/>
                </a:lnTo>
                <a:cubicBezTo>
                  <a:pt x="7347783" y="3276185"/>
                  <a:pt x="7342368" y="3261948"/>
                  <a:pt x="7331537" y="3251119"/>
                </a:cubicBezTo>
                <a:lnTo>
                  <a:pt x="7253057" y="3172509"/>
                </a:lnTo>
                <a:cubicBezTo>
                  <a:pt x="7242161" y="3161610"/>
                  <a:pt x="7228022" y="3156164"/>
                  <a:pt x="7213882" y="3156164"/>
                </a:cubicBezTo>
                <a:lnTo>
                  <a:pt x="7213751" y="3156035"/>
                </a:lnTo>
                <a:cubicBezTo>
                  <a:pt x="7199483" y="3156035"/>
                  <a:pt x="7185345" y="3161479"/>
                  <a:pt x="7174449" y="3172509"/>
                </a:cubicBezTo>
                <a:lnTo>
                  <a:pt x="7109978" y="3237109"/>
                </a:lnTo>
                <a:lnTo>
                  <a:pt x="7045379" y="3172384"/>
                </a:lnTo>
                <a:cubicBezTo>
                  <a:pt x="7034483" y="3161479"/>
                  <a:pt x="7020344" y="3156035"/>
                  <a:pt x="7006076" y="3156035"/>
                </a:cubicBezTo>
                <a:cubicBezTo>
                  <a:pt x="6991805" y="3156035"/>
                  <a:pt x="6977666" y="3161479"/>
                  <a:pt x="6966901" y="3172384"/>
                </a:cubicBezTo>
                <a:lnTo>
                  <a:pt x="6888421" y="3251119"/>
                </a:lnTo>
                <a:cubicBezTo>
                  <a:pt x="6877589" y="3261948"/>
                  <a:pt x="6872174" y="3276185"/>
                  <a:pt x="6872174" y="3290423"/>
                </a:cubicBezTo>
                <a:lnTo>
                  <a:pt x="6872175" y="3290428"/>
                </a:lnTo>
                <a:lnTo>
                  <a:pt x="6872174" y="3290430"/>
                </a:lnTo>
                <a:cubicBezTo>
                  <a:pt x="6872174" y="3304668"/>
                  <a:pt x="6877589" y="3318903"/>
                  <a:pt x="6888421" y="3329734"/>
                </a:cubicBezTo>
                <a:lnTo>
                  <a:pt x="7087402" y="3529167"/>
                </a:lnTo>
                <a:lnTo>
                  <a:pt x="6792359" y="3529167"/>
                </a:lnTo>
                <a:lnTo>
                  <a:pt x="6776085" y="3519749"/>
                </a:lnTo>
                <a:lnTo>
                  <a:pt x="6776085" y="3133605"/>
                </a:lnTo>
                <a:close/>
                <a:moveTo>
                  <a:pt x="5055965" y="2940439"/>
                </a:moveTo>
                <a:lnTo>
                  <a:pt x="5389690" y="3133585"/>
                </a:lnTo>
                <a:lnTo>
                  <a:pt x="5389690" y="3519747"/>
                </a:lnTo>
                <a:lnTo>
                  <a:pt x="5373414" y="3529167"/>
                </a:lnTo>
                <a:lnTo>
                  <a:pt x="5078658" y="3529167"/>
                </a:lnTo>
                <a:lnTo>
                  <a:pt x="5277615" y="3329725"/>
                </a:lnTo>
                <a:cubicBezTo>
                  <a:pt x="5299295" y="3308065"/>
                  <a:pt x="5299295" y="3272779"/>
                  <a:pt x="5277615" y="3251119"/>
                </a:cubicBezTo>
                <a:lnTo>
                  <a:pt x="5277613" y="3251108"/>
                </a:lnTo>
                <a:lnTo>
                  <a:pt x="5277613" y="3251103"/>
                </a:lnTo>
                <a:lnTo>
                  <a:pt x="5199129" y="3172495"/>
                </a:lnTo>
                <a:cubicBezTo>
                  <a:pt x="5188240" y="3161597"/>
                  <a:pt x="5174090" y="3156152"/>
                  <a:pt x="5159958" y="3156152"/>
                </a:cubicBezTo>
                <a:lnTo>
                  <a:pt x="5159824" y="3156022"/>
                </a:lnTo>
                <a:cubicBezTo>
                  <a:pt x="5145561" y="3156022"/>
                  <a:pt x="5131424" y="3161471"/>
                  <a:pt x="5120536" y="3172495"/>
                </a:cubicBezTo>
                <a:lnTo>
                  <a:pt x="5056083" y="3237093"/>
                </a:lnTo>
                <a:lnTo>
                  <a:pt x="4991467" y="3172384"/>
                </a:lnTo>
                <a:lnTo>
                  <a:pt x="4991467" y="3172377"/>
                </a:lnTo>
                <a:lnTo>
                  <a:pt x="4991465" y="3172369"/>
                </a:lnTo>
                <a:cubicBezTo>
                  <a:pt x="4980565" y="3161471"/>
                  <a:pt x="4966420" y="3156022"/>
                  <a:pt x="4952148" y="3156022"/>
                </a:cubicBezTo>
                <a:cubicBezTo>
                  <a:pt x="4937875" y="3156022"/>
                  <a:pt x="4923734" y="3161471"/>
                  <a:pt x="4912971" y="3172369"/>
                </a:cubicBezTo>
                <a:lnTo>
                  <a:pt x="4834497" y="3251103"/>
                </a:lnTo>
                <a:cubicBezTo>
                  <a:pt x="4812828" y="3272770"/>
                  <a:pt x="4812828" y="3308054"/>
                  <a:pt x="4834497" y="3329715"/>
                </a:cubicBezTo>
                <a:lnTo>
                  <a:pt x="4834505" y="3329725"/>
                </a:lnTo>
                <a:lnTo>
                  <a:pt x="4843779" y="3339026"/>
                </a:lnTo>
                <a:lnTo>
                  <a:pt x="5033513" y="3529167"/>
                </a:lnTo>
                <a:lnTo>
                  <a:pt x="4738451" y="3529167"/>
                </a:lnTo>
                <a:lnTo>
                  <a:pt x="4722175" y="3519749"/>
                </a:lnTo>
                <a:lnTo>
                  <a:pt x="4722175" y="3133594"/>
                </a:lnTo>
                <a:close/>
                <a:moveTo>
                  <a:pt x="3002150" y="2940429"/>
                </a:moveTo>
                <a:lnTo>
                  <a:pt x="3335888" y="3133567"/>
                </a:lnTo>
                <a:lnTo>
                  <a:pt x="3335888" y="3519745"/>
                </a:lnTo>
                <a:lnTo>
                  <a:pt x="3319607" y="3529167"/>
                </a:lnTo>
                <a:lnTo>
                  <a:pt x="3024845" y="3529167"/>
                </a:lnTo>
                <a:lnTo>
                  <a:pt x="3223834" y="3329715"/>
                </a:lnTo>
                <a:cubicBezTo>
                  <a:pt x="3245501" y="3308054"/>
                  <a:pt x="3245501" y="3272769"/>
                  <a:pt x="3223834" y="3251103"/>
                </a:cubicBezTo>
                <a:lnTo>
                  <a:pt x="3145357" y="3172493"/>
                </a:lnTo>
                <a:cubicBezTo>
                  <a:pt x="3139908" y="3167046"/>
                  <a:pt x="3133650" y="3162961"/>
                  <a:pt x="3126986" y="3160235"/>
                </a:cubicBezTo>
                <a:lnTo>
                  <a:pt x="3126973" y="3160230"/>
                </a:lnTo>
                <a:lnTo>
                  <a:pt x="3126963" y="3160226"/>
                </a:lnTo>
                <a:lnTo>
                  <a:pt x="3106177" y="3156144"/>
                </a:lnTo>
                <a:lnTo>
                  <a:pt x="3106053" y="3156022"/>
                </a:lnTo>
                <a:lnTo>
                  <a:pt x="3106044" y="3156025"/>
                </a:lnTo>
                <a:lnTo>
                  <a:pt x="3106028" y="3156014"/>
                </a:lnTo>
                <a:cubicBezTo>
                  <a:pt x="3091760" y="3156014"/>
                  <a:pt x="3077618" y="3161460"/>
                  <a:pt x="3066725" y="3172485"/>
                </a:cubicBezTo>
                <a:lnTo>
                  <a:pt x="3002263" y="3237081"/>
                </a:lnTo>
                <a:lnTo>
                  <a:pt x="2937680" y="3172367"/>
                </a:lnTo>
                <a:cubicBezTo>
                  <a:pt x="2932232" y="3166917"/>
                  <a:pt x="2925973" y="3162832"/>
                  <a:pt x="2919293" y="3160108"/>
                </a:cubicBezTo>
                <a:lnTo>
                  <a:pt x="2919279" y="3160106"/>
                </a:lnTo>
                <a:lnTo>
                  <a:pt x="2919268" y="3160101"/>
                </a:lnTo>
                <a:cubicBezTo>
                  <a:pt x="2912587" y="3157375"/>
                  <a:pt x="2905485" y="3156014"/>
                  <a:pt x="2898351" y="3156014"/>
                </a:cubicBezTo>
                <a:cubicBezTo>
                  <a:pt x="2884082" y="3156014"/>
                  <a:pt x="2869941" y="3161460"/>
                  <a:pt x="2859177" y="3172357"/>
                </a:cubicBezTo>
                <a:lnTo>
                  <a:pt x="2780697" y="3251097"/>
                </a:lnTo>
                <a:cubicBezTo>
                  <a:pt x="2759034" y="3272765"/>
                  <a:pt x="2759034" y="3308045"/>
                  <a:pt x="2780697" y="3329707"/>
                </a:cubicBezTo>
                <a:lnTo>
                  <a:pt x="2979691" y="3529167"/>
                </a:lnTo>
                <a:lnTo>
                  <a:pt x="2684667" y="3529167"/>
                </a:lnTo>
                <a:lnTo>
                  <a:pt x="2668389" y="3519747"/>
                </a:lnTo>
                <a:lnTo>
                  <a:pt x="2668389" y="3133585"/>
                </a:lnTo>
                <a:close/>
                <a:moveTo>
                  <a:pt x="948172" y="2940415"/>
                </a:moveTo>
                <a:lnTo>
                  <a:pt x="1281911" y="3133560"/>
                </a:lnTo>
                <a:lnTo>
                  <a:pt x="1281911" y="3519738"/>
                </a:lnTo>
                <a:lnTo>
                  <a:pt x="1265618" y="3529167"/>
                </a:lnTo>
                <a:lnTo>
                  <a:pt x="970866" y="3529167"/>
                </a:lnTo>
                <a:lnTo>
                  <a:pt x="1169858" y="3329707"/>
                </a:lnTo>
                <a:cubicBezTo>
                  <a:pt x="1191520" y="3308045"/>
                  <a:pt x="1191520" y="3272765"/>
                  <a:pt x="1169858" y="3251093"/>
                </a:cubicBezTo>
                <a:lnTo>
                  <a:pt x="1091378" y="3172485"/>
                </a:lnTo>
                <a:cubicBezTo>
                  <a:pt x="1085931" y="3167038"/>
                  <a:pt x="1079672" y="3162952"/>
                  <a:pt x="1073007" y="3160226"/>
                </a:cubicBezTo>
                <a:lnTo>
                  <a:pt x="1072995" y="3160222"/>
                </a:lnTo>
                <a:lnTo>
                  <a:pt x="1072985" y="3160218"/>
                </a:lnTo>
                <a:lnTo>
                  <a:pt x="1052200" y="3156135"/>
                </a:lnTo>
                <a:lnTo>
                  <a:pt x="1052075" y="3156010"/>
                </a:lnTo>
                <a:lnTo>
                  <a:pt x="1052063" y="3156012"/>
                </a:lnTo>
                <a:lnTo>
                  <a:pt x="1052052" y="3156001"/>
                </a:lnTo>
                <a:cubicBezTo>
                  <a:pt x="1037783" y="3156001"/>
                  <a:pt x="1023643" y="3161449"/>
                  <a:pt x="1012749" y="3172476"/>
                </a:cubicBezTo>
                <a:lnTo>
                  <a:pt x="948285" y="3237070"/>
                </a:lnTo>
                <a:lnTo>
                  <a:pt x="883702" y="3172357"/>
                </a:lnTo>
                <a:cubicBezTo>
                  <a:pt x="878253" y="3166907"/>
                  <a:pt x="871995" y="3162821"/>
                  <a:pt x="865315" y="3160097"/>
                </a:cubicBezTo>
                <a:lnTo>
                  <a:pt x="865301" y="3160093"/>
                </a:lnTo>
                <a:lnTo>
                  <a:pt x="865290" y="3160088"/>
                </a:lnTo>
                <a:cubicBezTo>
                  <a:pt x="858610" y="3157363"/>
                  <a:pt x="851509" y="3156001"/>
                  <a:pt x="844374" y="3156001"/>
                </a:cubicBezTo>
                <a:cubicBezTo>
                  <a:pt x="830105" y="3156001"/>
                  <a:pt x="815967" y="3161449"/>
                  <a:pt x="805200" y="3172347"/>
                </a:cubicBezTo>
                <a:lnTo>
                  <a:pt x="726720" y="3251087"/>
                </a:lnTo>
                <a:cubicBezTo>
                  <a:pt x="705057" y="3272752"/>
                  <a:pt x="705057" y="3308036"/>
                  <a:pt x="726720" y="3329699"/>
                </a:cubicBezTo>
                <a:lnTo>
                  <a:pt x="925718" y="3529167"/>
                </a:lnTo>
                <a:lnTo>
                  <a:pt x="630693" y="3529167"/>
                </a:lnTo>
                <a:lnTo>
                  <a:pt x="614412" y="3519745"/>
                </a:lnTo>
                <a:lnTo>
                  <a:pt x="614412" y="3133570"/>
                </a:lnTo>
                <a:close/>
                <a:moveTo>
                  <a:pt x="10875809" y="2742645"/>
                </a:moveTo>
                <a:lnTo>
                  <a:pt x="11201258" y="2930995"/>
                </a:lnTo>
                <a:lnTo>
                  <a:pt x="10875678" y="3119343"/>
                </a:lnTo>
                <a:lnTo>
                  <a:pt x="10550229" y="2930995"/>
                </a:lnTo>
                <a:close/>
                <a:moveTo>
                  <a:pt x="8821860" y="2742638"/>
                </a:moveTo>
                <a:lnTo>
                  <a:pt x="9147310" y="2930991"/>
                </a:lnTo>
                <a:lnTo>
                  <a:pt x="8821731" y="3119333"/>
                </a:lnTo>
                <a:lnTo>
                  <a:pt x="8496280" y="2930985"/>
                </a:lnTo>
                <a:close/>
                <a:moveTo>
                  <a:pt x="6768043" y="2742623"/>
                </a:moveTo>
                <a:lnTo>
                  <a:pt x="7093493" y="2930975"/>
                </a:lnTo>
                <a:lnTo>
                  <a:pt x="6767913" y="3119325"/>
                </a:lnTo>
                <a:lnTo>
                  <a:pt x="6442464" y="2930975"/>
                </a:lnTo>
                <a:close/>
                <a:moveTo>
                  <a:pt x="4714128" y="2742613"/>
                </a:moveTo>
                <a:lnTo>
                  <a:pt x="5016384" y="2917526"/>
                </a:lnTo>
                <a:lnTo>
                  <a:pt x="5039593" y="2930956"/>
                </a:lnTo>
                <a:lnTo>
                  <a:pt x="4713985" y="3119313"/>
                </a:lnTo>
                <a:lnTo>
                  <a:pt x="4388545" y="2930963"/>
                </a:lnTo>
                <a:close/>
                <a:moveTo>
                  <a:pt x="2660343" y="2742602"/>
                </a:moveTo>
                <a:lnTo>
                  <a:pt x="2985782" y="2930946"/>
                </a:lnTo>
                <a:lnTo>
                  <a:pt x="2660193" y="3119300"/>
                </a:lnTo>
                <a:lnTo>
                  <a:pt x="2617605" y="3094653"/>
                </a:lnTo>
                <a:lnTo>
                  <a:pt x="2334759" y="2930956"/>
                </a:lnTo>
                <a:close/>
                <a:moveTo>
                  <a:pt x="606366" y="2742589"/>
                </a:moveTo>
                <a:lnTo>
                  <a:pt x="931803" y="2930932"/>
                </a:lnTo>
                <a:lnTo>
                  <a:pt x="606216" y="3119286"/>
                </a:lnTo>
                <a:lnTo>
                  <a:pt x="280778" y="2930946"/>
                </a:lnTo>
                <a:close/>
                <a:moveTo>
                  <a:pt x="12140685" y="2578699"/>
                </a:moveTo>
                <a:cubicBezTo>
                  <a:pt x="12151191" y="2578699"/>
                  <a:pt x="12161050" y="2582849"/>
                  <a:pt x="12168445" y="2590244"/>
                </a:cubicBezTo>
                <a:lnTo>
                  <a:pt x="12188651" y="2610493"/>
                </a:lnTo>
                <a:lnTo>
                  <a:pt x="12188651" y="2878728"/>
                </a:lnTo>
                <a:lnTo>
                  <a:pt x="12034576" y="2724359"/>
                </a:lnTo>
                <a:cubicBezTo>
                  <a:pt x="12019270" y="2709048"/>
                  <a:pt x="12019270" y="2684139"/>
                  <a:pt x="12034576" y="2668969"/>
                </a:cubicBezTo>
                <a:lnTo>
                  <a:pt x="12113056" y="2590244"/>
                </a:lnTo>
                <a:cubicBezTo>
                  <a:pt x="12120448" y="2582849"/>
                  <a:pt x="12130178" y="2578699"/>
                  <a:pt x="12140685" y="2578699"/>
                </a:cubicBezTo>
                <a:close/>
                <a:moveTo>
                  <a:pt x="10086867" y="2578676"/>
                </a:moveTo>
                <a:cubicBezTo>
                  <a:pt x="10097374" y="2578676"/>
                  <a:pt x="10107232" y="2582834"/>
                  <a:pt x="10114626" y="2590227"/>
                </a:cubicBezTo>
                <a:lnTo>
                  <a:pt x="10179226" y="2654952"/>
                </a:lnTo>
                <a:lnTo>
                  <a:pt x="10190770" y="2666628"/>
                </a:lnTo>
                <a:lnTo>
                  <a:pt x="10202315" y="2654952"/>
                </a:lnTo>
                <a:lnTo>
                  <a:pt x="10266786" y="2590227"/>
                </a:lnTo>
                <a:cubicBezTo>
                  <a:pt x="10274178" y="2582702"/>
                  <a:pt x="10284037" y="2578676"/>
                  <a:pt x="10294543" y="2578676"/>
                </a:cubicBezTo>
                <a:cubicBezTo>
                  <a:pt x="10304922" y="2578676"/>
                  <a:pt x="10314781" y="2582834"/>
                  <a:pt x="10322173" y="2590227"/>
                </a:cubicBezTo>
                <a:lnTo>
                  <a:pt x="10400653" y="2668833"/>
                </a:lnTo>
                <a:cubicBezTo>
                  <a:pt x="10408047" y="2676224"/>
                  <a:pt x="10412068" y="2686069"/>
                  <a:pt x="10412198" y="2696581"/>
                </a:cubicBezTo>
                <a:cubicBezTo>
                  <a:pt x="10412198" y="2707087"/>
                  <a:pt x="10408176" y="2716950"/>
                  <a:pt x="10400783" y="2724349"/>
                </a:cubicBezTo>
                <a:lnTo>
                  <a:pt x="10190770" y="2934758"/>
                </a:lnTo>
                <a:lnTo>
                  <a:pt x="9980757" y="2724349"/>
                </a:lnTo>
                <a:cubicBezTo>
                  <a:pt x="9965450" y="2709025"/>
                  <a:pt x="9965450" y="2684132"/>
                  <a:pt x="9980757" y="2668961"/>
                </a:cubicBezTo>
                <a:lnTo>
                  <a:pt x="10059237" y="2590227"/>
                </a:lnTo>
                <a:cubicBezTo>
                  <a:pt x="10066631" y="2582834"/>
                  <a:pt x="10076359" y="2578676"/>
                  <a:pt x="10086867" y="2578676"/>
                </a:cubicBezTo>
                <a:close/>
                <a:moveTo>
                  <a:pt x="8032919" y="2578668"/>
                </a:moveTo>
                <a:cubicBezTo>
                  <a:pt x="8043427" y="2578668"/>
                  <a:pt x="8053285" y="2582821"/>
                  <a:pt x="8060679" y="2590216"/>
                </a:cubicBezTo>
                <a:lnTo>
                  <a:pt x="8125278" y="2654936"/>
                </a:lnTo>
                <a:lnTo>
                  <a:pt x="8136823" y="2666615"/>
                </a:lnTo>
                <a:lnTo>
                  <a:pt x="8148368" y="2654936"/>
                </a:lnTo>
                <a:lnTo>
                  <a:pt x="8212837" y="2590216"/>
                </a:lnTo>
                <a:cubicBezTo>
                  <a:pt x="8220232" y="2582687"/>
                  <a:pt x="8230090" y="2578668"/>
                  <a:pt x="8240596" y="2578668"/>
                </a:cubicBezTo>
                <a:cubicBezTo>
                  <a:pt x="8250975" y="2578668"/>
                  <a:pt x="8260834" y="2582821"/>
                  <a:pt x="8268226" y="2590216"/>
                </a:cubicBezTo>
                <a:lnTo>
                  <a:pt x="8346707" y="2668813"/>
                </a:lnTo>
                <a:cubicBezTo>
                  <a:pt x="8354100" y="2676206"/>
                  <a:pt x="8358121" y="2686067"/>
                  <a:pt x="8358252" y="2696569"/>
                </a:cubicBezTo>
                <a:cubicBezTo>
                  <a:pt x="8358252" y="2707074"/>
                  <a:pt x="8354229" y="2716935"/>
                  <a:pt x="8346837" y="2724335"/>
                </a:cubicBezTo>
                <a:lnTo>
                  <a:pt x="8136823" y="2934740"/>
                </a:lnTo>
                <a:lnTo>
                  <a:pt x="7926811" y="2724335"/>
                </a:lnTo>
                <a:cubicBezTo>
                  <a:pt x="7911503" y="2709022"/>
                  <a:pt x="7911503" y="2684118"/>
                  <a:pt x="7926811" y="2668949"/>
                </a:cubicBezTo>
                <a:lnTo>
                  <a:pt x="8005289" y="2590216"/>
                </a:lnTo>
                <a:cubicBezTo>
                  <a:pt x="8012684" y="2582821"/>
                  <a:pt x="8022413" y="2578668"/>
                  <a:pt x="8032919" y="2578668"/>
                </a:cubicBezTo>
                <a:close/>
                <a:moveTo>
                  <a:pt x="5979110" y="2578647"/>
                </a:moveTo>
                <a:cubicBezTo>
                  <a:pt x="5989617" y="2578647"/>
                  <a:pt x="5999474" y="2582804"/>
                  <a:pt x="6006867" y="2590201"/>
                </a:cubicBezTo>
                <a:lnTo>
                  <a:pt x="6071463" y="2654925"/>
                </a:lnTo>
                <a:lnTo>
                  <a:pt x="6083008" y="2666599"/>
                </a:lnTo>
                <a:lnTo>
                  <a:pt x="6094550" y="2654925"/>
                </a:lnTo>
                <a:lnTo>
                  <a:pt x="6159019" y="2590201"/>
                </a:lnTo>
                <a:cubicBezTo>
                  <a:pt x="6166413" y="2582677"/>
                  <a:pt x="6176271" y="2578647"/>
                  <a:pt x="6186779" y="2578647"/>
                </a:cubicBezTo>
                <a:cubicBezTo>
                  <a:pt x="6197156" y="2578647"/>
                  <a:pt x="6207014" y="2582804"/>
                  <a:pt x="6214409" y="2590201"/>
                </a:cubicBezTo>
                <a:lnTo>
                  <a:pt x="6292888" y="2668806"/>
                </a:lnTo>
                <a:cubicBezTo>
                  <a:pt x="6300282" y="2676195"/>
                  <a:pt x="6304303" y="2686054"/>
                  <a:pt x="6304433" y="2696558"/>
                </a:cubicBezTo>
                <a:cubicBezTo>
                  <a:pt x="6304433" y="2707064"/>
                  <a:pt x="6300412" y="2716922"/>
                  <a:pt x="6293017" y="2724322"/>
                </a:cubicBezTo>
                <a:lnTo>
                  <a:pt x="6083008" y="2934732"/>
                </a:lnTo>
                <a:lnTo>
                  <a:pt x="5873007" y="2724322"/>
                </a:lnTo>
                <a:cubicBezTo>
                  <a:pt x="5857702" y="2709013"/>
                  <a:pt x="5857702" y="2684109"/>
                  <a:pt x="5873007" y="2668929"/>
                </a:cubicBezTo>
                <a:lnTo>
                  <a:pt x="5951483" y="2590201"/>
                </a:lnTo>
                <a:cubicBezTo>
                  <a:pt x="5958874" y="2582804"/>
                  <a:pt x="5968603" y="2578647"/>
                  <a:pt x="5979110" y="2578647"/>
                </a:cubicBezTo>
                <a:close/>
                <a:moveTo>
                  <a:pt x="3925347" y="2578637"/>
                </a:moveTo>
                <a:cubicBezTo>
                  <a:pt x="3935849" y="2578637"/>
                  <a:pt x="3945711" y="2582791"/>
                  <a:pt x="3953105" y="2590185"/>
                </a:cubicBezTo>
                <a:lnTo>
                  <a:pt x="4017704" y="2654916"/>
                </a:lnTo>
                <a:lnTo>
                  <a:pt x="4029249" y="2666587"/>
                </a:lnTo>
                <a:lnTo>
                  <a:pt x="4040796" y="2654916"/>
                </a:lnTo>
                <a:lnTo>
                  <a:pt x="4105266" y="2590185"/>
                </a:lnTo>
                <a:cubicBezTo>
                  <a:pt x="4112662" y="2582657"/>
                  <a:pt x="4122521" y="2578637"/>
                  <a:pt x="4133029" y="2578637"/>
                </a:cubicBezTo>
                <a:cubicBezTo>
                  <a:pt x="4143402" y="2578637"/>
                  <a:pt x="4153264" y="2582791"/>
                  <a:pt x="4160658" y="2590185"/>
                </a:cubicBezTo>
                <a:lnTo>
                  <a:pt x="4239088" y="2668790"/>
                </a:lnTo>
                <a:cubicBezTo>
                  <a:pt x="4246485" y="2676182"/>
                  <a:pt x="4250503" y="2686043"/>
                  <a:pt x="4250643" y="2696546"/>
                </a:cubicBezTo>
                <a:cubicBezTo>
                  <a:pt x="4250643" y="2707054"/>
                  <a:pt x="4246615" y="2716914"/>
                  <a:pt x="4239218" y="2724312"/>
                </a:cubicBezTo>
                <a:lnTo>
                  <a:pt x="4029249" y="2934721"/>
                </a:lnTo>
                <a:lnTo>
                  <a:pt x="3819228" y="2724312"/>
                </a:lnTo>
                <a:cubicBezTo>
                  <a:pt x="3803920" y="2709004"/>
                  <a:pt x="3803920" y="2684099"/>
                  <a:pt x="3819228" y="2668922"/>
                </a:cubicBezTo>
                <a:lnTo>
                  <a:pt x="3897713" y="2590185"/>
                </a:lnTo>
                <a:cubicBezTo>
                  <a:pt x="3905113" y="2582791"/>
                  <a:pt x="3914841" y="2578637"/>
                  <a:pt x="3925347" y="2578637"/>
                </a:cubicBezTo>
                <a:close/>
                <a:moveTo>
                  <a:pt x="1871372" y="2578623"/>
                </a:moveTo>
                <a:cubicBezTo>
                  <a:pt x="1881880" y="2578623"/>
                  <a:pt x="1891738" y="2582776"/>
                  <a:pt x="1899133" y="2590172"/>
                </a:cubicBezTo>
                <a:lnTo>
                  <a:pt x="1963731" y="2654901"/>
                </a:lnTo>
                <a:lnTo>
                  <a:pt x="1975277" y="2666574"/>
                </a:lnTo>
                <a:lnTo>
                  <a:pt x="1986820" y="2654901"/>
                </a:lnTo>
                <a:lnTo>
                  <a:pt x="2051290" y="2590172"/>
                </a:lnTo>
                <a:cubicBezTo>
                  <a:pt x="2058684" y="2582643"/>
                  <a:pt x="2068543" y="2578623"/>
                  <a:pt x="2079050" y="2578623"/>
                </a:cubicBezTo>
                <a:cubicBezTo>
                  <a:pt x="2089428" y="2578623"/>
                  <a:pt x="2099292" y="2582776"/>
                  <a:pt x="2106688" y="2590172"/>
                </a:cubicBezTo>
                <a:lnTo>
                  <a:pt x="2185169" y="2668781"/>
                </a:lnTo>
                <a:cubicBezTo>
                  <a:pt x="2192563" y="2676170"/>
                  <a:pt x="2196582" y="2686028"/>
                  <a:pt x="2196712" y="2696534"/>
                </a:cubicBezTo>
                <a:cubicBezTo>
                  <a:pt x="2196712" y="2707042"/>
                  <a:pt x="2192692" y="2716901"/>
                  <a:pt x="2185297" y="2724297"/>
                </a:cubicBezTo>
                <a:lnTo>
                  <a:pt x="1975277" y="2934709"/>
                </a:lnTo>
                <a:lnTo>
                  <a:pt x="1765263" y="2724297"/>
                </a:lnTo>
                <a:cubicBezTo>
                  <a:pt x="1749956" y="2708988"/>
                  <a:pt x="1749956" y="2684084"/>
                  <a:pt x="1765263" y="2668910"/>
                </a:cubicBezTo>
                <a:lnTo>
                  <a:pt x="1843742" y="2590172"/>
                </a:lnTo>
                <a:cubicBezTo>
                  <a:pt x="1851137" y="2582776"/>
                  <a:pt x="1860865" y="2578623"/>
                  <a:pt x="1871372" y="2578623"/>
                </a:cubicBezTo>
                <a:close/>
                <a:moveTo>
                  <a:pt x="25211" y="2578608"/>
                </a:moveTo>
                <a:cubicBezTo>
                  <a:pt x="35587" y="2578608"/>
                  <a:pt x="45446" y="2582760"/>
                  <a:pt x="52840" y="2590156"/>
                </a:cubicBezTo>
                <a:lnTo>
                  <a:pt x="131319" y="2668766"/>
                </a:lnTo>
                <a:cubicBezTo>
                  <a:pt x="138713" y="2676158"/>
                  <a:pt x="142735" y="2686019"/>
                  <a:pt x="142863" y="2696524"/>
                </a:cubicBezTo>
                <a:cubicBezTo>
                  <a:pt x="142863" y="2707032"/>
                  <a:pt x="138842" y="2716891"/>
                  <a:pt x="131448" y="2724284"/>
                </a:cubicBezTo>
                <a:lnTo>
                  <a:pt x="0" y="2855984"/>
                </a:lnTo>
                <a:lnTo>
                  <a:pt x="0" y="2589096"/>
                </a:lnTo>
                <a:close/>
                <a:moveTo>
                  <a:pt x="10086867" y="2562208"/>
                </a:moveTo>
                <a:cubicBezTo>
                  <a:pt x="10072597" y="2562208"/>
                  <a:pt x="10058458" y="2567658"/>
                  <a:pt x="10047692" y="2578552"/>
                </a:cubicBezTo>
                <a:lnTo>
                  <a:pt x="9969212" y="2657287"/>
                </a:lnTo>
                <a:cubicBezTo>
                  <a:pt x="9947549" y="2678945"/>
                  <a:pt x="9947549" y="2714223"/>
                  <a:pt x="9969212" y="2735892"/>
                </a:cubicBezTo>
                <a:lnTo>
                  <a:pt x="10190770" y="2957977"/>
                </a:lnTo>
                <a:lnTo>
                  <a:pt x="10412328" y="2735892"/>
                </a:lnTo>
                <a:cubicBezTo>
                  <a:pt x="10433990" y="2714223"/>
                  <a:pt x="10433990" y="2678945"/>
                  <a:pt x="10412328" y="2657287"/>
                </a:cubicBezTo>
                <a:lnTo>
                  <a:pt x="10333848" y="2578676"/>
                </a:lnTo>
                <a:cubicBezTo>
                  <a:pt x="10322953" y="2567787"/>
                  <a:pt x="10308813" y="2562337"/>
                  <a:pt x="10294673" y="2562337"/>
                </a:cubicBezTo>
                <a:lnTo>
                  <a:pt x="10294543" y="2562208"/>
                </a:lnTo>
                <a:cubicBezTo>
                  <a:pt x="10280275" y="2562208"/>
                  <a:pt x="10266136" y="2567658"/>
                  <a:pt x="10255241" y="2578676"/>
                </a:cubicBezTo>
                <a:lnTo>
                  <a:pt x="10190770" y="2643284"/>
                </a:lnTo>
                <a:lnTo>
                  <a:pt x="10126171" y="2578552"/>
                </a:lnTo>
                <a:cubicBezTo>
                  <a:pt x="10115274" y="2567658"/>
                  <a:pt x="10101136" y="2562208"/>
                  <a:pt x="10086867" y="2562208"/>
                </a:cubicBezTo>
                <a:close/>
                <a:moveTo>
                  <a:pt x="8032919" y="2562187"/>
                </a:moveTo>
                <a:cubicBezTo>
                  <a:pt x="8018650" y="2562187"/>
                  <a:pt x="8004511" y="2567640"/>
                  <a:pt x="7993744" y="2578533"/>
                </a:cubicBezTo>
                <a:lnTo>
                  <a:pt x="7915266" y="2657273"/>
                </a:lnTo>
                <a:cubicBezTo>
                  <a:pt x="7893603" y="2678932"/>
                  <a:pt x="7893603" y="2714210"/>
                  <a:pt x="7915266" y="2735878"/>
                </a:cubicBezTo>
                <a:lnTo>
                  <a:pt x="8136823" y="2957963"/>
                </a:lnTo>
                <a:lnTo>
                  <a:pt x="8358382" y="2735878"/>
                </a:lnTo>
                <a:cubicBezTo>
                  <a:pt x="8380044" y="2714210"/>
                  <a:pt x="8380044" y="2678932"/>
                  <a:pt x="8358382" y="2657273"/>
                </a:cubicBezTo>
                <a:lnTo>
                  <a:pt x="8279902" y="2578668"/>
                </a:lnTo>
                <a:cubicBezTo>
                  <a:pt x="8269006" y="2567767"/>
                  <a:pt x="8254866" y="2562324"/>
                  <a:pt x="8240727" y="2562324"/>
                </a:cubicBezTo>
                <a:lnTo>
                  <a:pt x="8240596" y="2562187"/>
                </a:lnTo>
                <a:cubicBezTo>
                  <a:pt x="8226328" y="2562187"/>
                  <a:pt x="8212190" y="2567640"/>
                  <a:pt x="8201292" y="2578668"/>
                </a:cubicBezTo>
                <a:lnTo>
                  <a:pt x="8136823" y="2643266"/>
                </a:lnTo>
                <a:lnTo>
                  <a:pt x="8072224" y="2578533"/>
                </a:lnTo>
                <a:cubicBezTo>
                  <a:pt x="8061328" y="2567640"/>
                  <a:pt x="8047187" y="2562187"/>
                  <a:pt x="8032919" y="2562187"/>
                </a:cubicBezTo>
                <a:close/>
                <a:moveTo>
                  <a:pt x="5979110" y="2562181"/>
                </a:moveTo>
                <a:cubicBezTo>
                  <a:pt x="5964843" y="2562181"/>
                  <a:pt x="5950702" y="2567620"/>
                  <a:pt x="5939938" y="2578524"/>
                </a:cubicBezTo>
                <a:lnTo>
                  <a:pt x="5861462" y="2657262"/>
                </a:lnTo>
                <a:cubicBezTo>
                  <a:pt x="5839806" y="2678919"/>
                  <a:pt x="5839806" y="2714205"/>
                  <a:pt x="5861462" y="2735865"/>
                </a:cubicBezTo>
                <a:lnTo>
                  <a:pt x="6083008" y="2957948"/>
                </a:lnTo>
                <a:lnTo>
                  <a:pt x="6304562" y="2735865"/>
                </a:lnTo>
                <a:cubicBezTo>
                  <a:pt x="6326226" y="2714205"/>
                  <a:pt x="6326226" y="2678919"/>
                  <a:pt x="6304562" y="2657262"/>
                </a:cubicBezTo>
                <a:lnTo>
                  <a:pt x="6226084" y="2578647"/>
                </a:lnTo>
                <a:cubicBezTo>
                  <a:pt x="6215186" y="2567753"/>
                  <a:pt x="6201048" y="2562308"/>
                  <a:pt x="6186909" y="2562308"/>
                </a:cubicBezTo>
                <a:lnTo>
                  <a:pt x="6186779" y="2562181"/>
                </a:lnTo>
                <a:cubicBezTo>
                  <a:pt x="6172511" y="2562181"/>
                  <a:pt x="6158370" y="2567620"/>
                  <a:pt x="6147474" y="2578647"/>
                </a:cubicBezTo>
                <a:lnTo>
                  <a:pt x="6083008" y="2643253"/>
                </a:lnTo>
                <a:lnTo>
                  <a:pt x="6018412" y="2578524"/>
                </a:lnTo>
                <a:cubicBezTo>
                  <a:pt x="6007516" y="2567620"/>
                  <a:pt x="5993378" y="2562181"/>
                  <a:pt x="5979110" y="2562181"/>
                </a:cubicBezTo>
                <a:close/>
                <a:moveTo>
                  <a:pt x="3925347" y="2562165"/>
                </a:moveTo>
                <a:cubicBezTo>
                  <a:pt x="3911078" y="2562165"/>
                  <a:pt x="3896938" y="2567612"/>
                  <a:pt x="3886170" y="2578508"/>
                </a:cubicBezTo>
                <a:lnTo>
                  <a:pt x="3807684" y="2657243"/>
                </a:lnTo>
                <a:cubicBezTo>
                  <a:pt x="3786024" y="2678908"/>
                  <a:pt x="3786024" y="2714191"/>
                  <a:pt x="3807684" y="2735855"/>
                </a:cubicBezTo>
                <a:lnTo>
                  <a:pt x="4029249" y="2957936"/>
                </a:lnTo>
                <a:lnTo>
                  <a:pt x="4250768" y="2735855"/>
                </a:lnTo>
                <a:cubicBezTo>
                  <a:pt x="4272427" y="2714191"/>
                  <a:pt x="4272427" y="2678908"/>
                  <a:pt x="4250768" y="2657243"/>
                </a:cubicBezTo>
                <a:lnTo>
                  <a:pt x="4172332" y="2578637"/>
                </a:lnTo>
                <a:cubicBezTo>
                  <a:pt x="4161436" y="2567737"/>
                  <a:pt x="4147297" y="2562295"/>
                  <a:pt x="4133157" y="2562295"/>
                </a:cubicBezTo>
                <a:lnTo>
                  <a:pt x="4133029" y="2562165"/>
                </a:lnTo>
                <a:cubicBezTo>
                  <a:pt x="4118756" y="2562165"/>
                  <a:pt x="4104617" y="2567612"/>
                  <a:pt x="4093722" y="2578637"/>
                </a:cubicBezTo>
                <a:lnTo>
                  <a:pt x="4029249" y="2643240"/>
                </a:lnTo>
                <a:lnTo>
                  <a:pt x="3964652" y="2578508"/>
                </a:lnTo>
                <a:cubicBezTo>
                  <a:pt x="3953753" y="2567612"/>
                  <a:pt x="3939615" y="2562165"/>
                  <a:pt x="3925347" y="2562165"/>
                </a:cubicBezTo>
                <a:close/>
                <a:moveTo>
                  <a:pt x="1871372" y="2562148"/>
                </a:moveTo>
                <a:cubicBezTo>
                  <a:pt x="1857104" y="2562148"/>
                  <a:pt x="1842964" y="2567596"/>
                  <a:pt x="1832197" y="2578496"/>
                </a:cubicBezTo>
                <a:lnTo>
                  <a:pt x="1753719" y="2657236"/>
                </a:lnTo>
                <a:cubicBezTo>
                  <a:pt x="1732057" y="2678896"/>
                  <a:pt x="1732057" y="2714180"/>
                  <a:pt x="1753719" y="2735841"/>
                </a:cubicBezTo>
                <a:lnTo>
                  <a:pt x="1975277" y="2957928"/>
                </a:lnTo>
                <a:lnTo>
                  <a:pt x="2196842" y="2735841"/>
                </a:lnTo>
                <a:cubicBezTo>
                  <a:pt x="2218507" y="2714180"/>
                  <a:pt x="2218507" y="2678896"/>
                  <a:pt x="2196842" y="2657236"/>
                </a:cubicBezTo>
                <a:lnTo>
                  <a:pt x="2118362" y="2578623"/>
                </a:lnTo>
                <a:cubicBezTo>
                  <a:pt x="2107467" y="2567726"/>
                  <a:pt x="2093319" y="2562279"/>
                  <a:pt x="2079180" y="2562279"/>
                </a:cubicBezTo>
                <a:lnTo>
                  <a:pt x="2079050" y="2562148"/>
                </a:lnTo>
                <a:cubicBezTo>
                  <a:pt x="2064781" y="2562148"/>
                  <a:pt x="2050642" y="2567596"/>
                  <a:pt x="2039746" y="2578623"/>
                </a:cubicBezTo>
                <a:lnTo>
                  <a:pt x="1975277" y="2643223"/>
                </a:lnTo>
                <a:lnTo>
                  <a:pt x="1910677" y="2578496"/>
                </a:lnTo>
                <a:cubicBezTo>
                  <a:pt x="1899779" y="2567596"/>
                  <a:pt x="1885640" y="2562148"/>
                  <a:pt x="1871372" y="2562148"/>
                </a:cubicBezTo>
                <a:close/>
                <a:moveTo>
                  <a:pt x="0" y="2391946"/>
                </a:moveTo>
                <a:lnTo>
                  <a:pt x="255065" y="2539561"/>
                </a:lnTo>
                <a:lnTo>
                  <a:pt x="255065" y="2925743"/>
                </a:lnTo>
                <a:lnTo>
                  <a:pt x="0" y="3073355"/>
                </a:lnTo>
                <a:lnTo>
                  <a:pt x="0" y="2879166"/>
                </a:lnTo>
                <a:lnTo>
                  <a:pt x="142993" y="2735832"/>
                </a:lnTo>
                <a:cubicBezTo>
                  <a:pt x="164657" y="2714167"/>
                  <a:pt x="164657" y="2678883"/>
                  <a:pt x="142993" y="2657222"/>
                </a:cubicBezTo>
                <a:lnTo>
                  <a:pt x="64513" y="2578608"/>
                </a:lnTo>
                <a:cubicBezTo>
                  <a:pt x="53617" y="2567713"/>
                  <a:pt x="39478" y="2562265"/>
                  <a:pt x="25338" y="2562265"/>
                </a:cubicBezTo>
                <a:lnTo>
                  <a:pt x="25211" y="2562134"/>
                </a:lnTo>
                <a:cubicBezTo>
                  <a:pt x="18075" y="2562134"/>
                  <a:pt x="10973" y="2563497"/>
                  <a:pt x="4293" y="2566237"/>
                </a:cubicBezTo>
                <a:lnTo>
                  <a:pt x="0" y="2569125"/>
                </a:lnTo>
                <a:close/>
                <a:moveTo>
                  <a:pt x="12188651" y="2378785"/>
                </a:moveTo>
                <a:lnTo>
                  <a:pt x="12188651" y="2587244"/>
                </a:lnTo>
                <a:lnTo>
                  <a:pt x="12179990" y="2578566"/>
                </a:lnTo>
                <a:cubicBezTo>
                  <a:pt x="12169092" y="2567669"/>
                  <a:pt x="12154954" y="2562222"/>
                  <a:pt x="12140685" y="2562222"/>
                </a:cubicBezTo>
                <a:cubicBezTo>
                  <a:pt x="12126416" y="2562222"/>
                  <a:pt x="12112276" y="2567669"/>
                  <a:pt x="12101510" y="2578566"/>
                </a:cubicBezTo>
                <a:lnTo>
                  <a:pt x="12023031" y="2657304"/>
                </a:lnTo>
                <a:cubicBezTo>
                  <a:pt x="12001368" y="2678954"/>
                  <a:pt x="12001368" y="2714236"/>
                  <a:pt x="12023031" y="2735902"/>
                </a:cubicBezTo>
                <a:lnTo>
                  <a:pt x="12188651" y="2901917"/>
                </a:lnTo>
                <a:lnTo>
                  <a:pt x="12188651" y="3086666"/>
                </a:lnTo>
                <a:lnTo>
                  <a:pt x="11910696" y="2925817"/>
                </a:lnTo>
                <a:lnTo>
                  <a:pt x="11910696" y="2539653"/>
                </a:lnTo>
                <a:close/>
                <a:moveTo>
                  <a:pt x="10883981" y="2351688"/>
                </a:moveTo>
                <a:lnTo>
                  <a:pt x="11209441" y="2540032"/>
                </a:lnTo>
                <a:lnTo>
                  <a:pt x="11209441" y="2916853"/>
                </a:lnTo>
                <a:lnTo>
                  <a:pt x="10883981" y="2728491"/>
                </a:lnTo>
                <a:close/>
                <a:moveTo>
                  <a:pt x="10867636" y="2351688"/>
                </a:moveTo>
                <a:lnTo>
                  <a:pt x="10867636" y="2728491"/>
                </a:lnTo>
                <a:lnTo>
                  <a:pt x="10542045" y="2916853"/>
                </a:lnTo>
                <a:lnTo>
                  <a:pt x="10542045" y="2540032"/>
                </a:lnTo>
                <a:close/>
                <a:moveTo>
                  <a:pt x="8830033" y="2351669"/>
                </a:moveTo>
                <a:lnTo>
                  <a:pt x="9155493" y="2540021"/>
                </a:lnTo>
                <a:lnTo>
                  <a:pt x="9155493" y="2916842"/>
                </a:lnTo>
                <a:lnTo>
                  <a:pt x="8830033" y="2728478"/>
                </a:lnTo>
                <a:close/>
                <a:moveTo>
                  <a:pt x="8813688" y="2351669"/>
                </a:moveTo>
                <a:lnTo>
                  <a:pt x="8813688" y="2728481"/>
                </a:lnTo>
                <a:lnTo>
                  <a:pt x="8488098" y="2916842"/>
                </a:lnTo>
                <a:lnTo>
                  <a:pt x="8488098" y="2540021"/>
                </a:lnTo>
                <a:close/>
                <a:moveTo>
                  <a:pt x="6776215" y="2351657"/>
                </a:moveTo>
                <a:lnTo>
                  <a:pt x="7101677" y="2540012"/>
                </a:lnTo>
                <a:lnTo>
                  <a:pt x="7101677" y="2916827"/>
                </a:lnTo>
                <a:lnTo>
                  <a:pt x="6776215" y="2728471"/>
                </a:lnTo>
                <a:close/>
                <a:moveTo>
                  <a:pt x="6759871" y="2351657"/>
                </a:moveTo>
                <a:lnTo>
                  <a:pt x="6759871" y="2728471"/>
                </a:lnTo>
                <a:lnTo>
                  <a:pt x="6434280" y="2916827"/>
                </a:lnTo>
                <a:lnTo>
                  <a:pt x="6434280" y="2540012"/>
                </a:lnTo>
                <a:close/>
                <a:moveTo>
                  <a:pt x="4705942" y="2351645"/>
                </a:moveTo>
                <a:lnTo>
                  <a:pt x="4705942" y="2728455"/>
                </a:lnTo>
                <a:lnTo>
                  <a:pt x="4380369" y="2916811"/>
                </a:lnTo>
                <a:lnTo>
                  <a:pt x="4380369" y="2539997"/>
                </a:lnTo>
                <a:close/>
                <a:moveTo>
                  <a:pt x="2652144" y="2351640"/>
                </a:moveTo>
                <a:lnTo>
                  <a:pt x="2652144" y="2728447"/>
                </a:lnTo>
                <a:lnTo>
                  <a:pt x="2326587" y="2916788"/>
                </a:lnTo>
                <a:lnTo>
                  <a:pt x="2326587" y="2539980"/>
                </a:lnTo>
                <a:close/>
                <a:moveTo>
                  <a:pt x="4722303" y="2351638"/>
                </a:moveTo>
                <a:lnTo>
                  <a:pt x="5047773" y="2539983"/>
                </a:lnTo>
                <a:lnTo>
                  <a:pt x="5047773" y="2916816"/>
                </a:lnTo>
                <a:lnTo>
                  <a:pt x="4722303" y="2728468"/>
                </a:lnTo>
                <a:close/>
                <a:moveTo>
                  <a:pt x="2668516" y="2351626"/>
                </a:moveTo>
                <a:lnTo>
                  <a:pt x="2748692" y="2398022"/>
                </a:lnTo>
                <a:lnTo>
                  <a:pt x="2939844" y="2508648"/>
                </a:lnTo>
                <a:lnTo>
                  <a:pt x="2993954" y="2539966"/>
                </a:lnTo>
                <a:lnTo>
                  <a:pt x="2993954" y="2916805"/>
                </a:lnTo>
                <a:lnTo>
                  <a:pt x="2938907" y="2884945"/>
                </a:lnTo>
                <a:lnTo>
                  <a:pt x="2668516" y="2728456"/>
                </a:lnTo>
                <a:close/>
                <a:moveTo>
                  <a:pt x="598171" y="2351626"/>
                </a:moveTo>
                <a:lnTo>
                  <a:pt x="598171" y="2728434"/>
                </a:lnTo>
                <a:lnTo>
                  <a:pt x="272607" y="2916778"/>
                </a:lnTo>
                <a:lnTo>
                  <a:pt x="272607" y="2539968"/>
                </a:lnTo>
                <a:close/>
                <a:moveTo>
                  <a:pt x="614543" y="2351612"/>
                </a:moveTo>
                <a:lnTo>
                  <a:pt x="939976" y="2539953"/>
                </a:lnTo>
                <a:lnTo>
                  <a:pt x="939976" y="2916793"/>
                </a:lnTo>
                <a:lnTo>
                  <a:pt x="614543" y="2728448"/>
                </a:lnTo>
                <a:close/>
                <a:moveTo>
                  <a:pt x="11559549" y="2346879"/>
                </a:moveTo>
                <a:lnTo>
                  <a:pt x="11893312" y="2540032"/>
                </a:lnTo>
                <a:lnTo>
                  <a:pt x="11893312" y="2926321"/>
                </a:lnTo>
                <a:lnTo>
                  <a:pt x="11559679" y="3119473"/>
                </a:lnTo>
                <a:lnTo>
                  <a:pt x="11225916" y="2926321"/>
                </a:lnTo>
                <a:lnTo>
                  <a:pt x="11225916" y="2540032"/>
                </a:lnTo>
                <a:close/>
                <a:moveTo>
                  <a:pt x="9505601" y="2346870"/>
                </a:moveTo>
                <a:lnTo>
                  <a:pt x="9839364" y="2540021"/>
                </a:lnTo>
                <a:lnTo>
                  <a:pt x="9839364" y="2926315"/>
                </a:lnTo>
                <a:lnTo>
                  <a:pt x="9505732" y="3119464"/>
                </a:lnTo>
                <a:lnTo>
                  <a:pt x="9171969" y="2926315"/>
                </a:lnTo>
                <a:lnTo>
                  <a:pt x="9171969" y="2540021"/>
                </a:lnTo>
                <a:close/>
                <a:moveTo>
                  <a:pt x="7451785" y="2346860"/>
                </a:moveTo>
                <a:lnTo>
                  <a:pt x="7785548" y="2540012"/>
                </a:lnTo>
                <a:lnTo>
                  <a:pt x="7785548" y="2926298"/>
                </a:lnTo>
                <a:lnTo>
                  <a:pt x="7451915" y="3119455"/>
                </a:lnTo>
                <a:lnTo>
                  <a:pt x="7118150" y="2926298"/>
                </a:lnTo>
                <a:lnTo>
                  <a:pt x="7118150" y="2540012"/>
                </a:lnTo>
                <a:close/>
                <a:moveTo>
                  <a:pt x="5397883" y="2346843"/>
                </a:moveTo>
                <a:lnTo>
                  <a:pt x="5731616" y="2539987"/>
                </a:lnTo>
                <a:lnTo>
                  <a:pt x="5731616" y="2926288"/>
                </a:lnTo>
                <a:lnTo>
                  <a:pt x="5397992" y="3119437"/>
                </a:lnTo>
                <a:lnTo>
                  <a:pt x="5293503" y="3058968"/>
                </a:lnTo>
                <a:lnTo>
                  <a:pt x="5064269" y="2926298"/>
                </a:lnTo>
                <a:lnTo>
                  <a:pt x="5064269" y="2539997"/>
                </a:lnTo>
                <a:close/>
                <a:moveTo>
                  <a:pt x="3344089" y="2346826"/>
                </a:moveTo>
                <a:lnTo>
                  <a:pt x="3412199" y="2386238"/>
                </a:lnTo>
                <a:lnTo>
                  <a:pt x="3665295" y="2532714"/>
                </a:lnTo>
                <a:lnTo>
                  <a:pt x="3677820" y="2539966"/>
                </a:lnTo>
                <a:lnTo>
                  <a:pt x="3677820" y="2926275"/>
                </a:lnTo>
                <a:lnTo>
                  <a:pt x="3344194" y="3119426"/>
                </a:lnTo>
                <a:lnTo>
                  <a:pt x="3184341" y="3026916"/>
                </a:lnTo>
                <a:lnTo>
                  <a:pt x="3010455" y="2926288"/>
                </a:lnTo>
                <a:lnTo>
                  <a:pt x="3010455" y="2539980"/>
                </a:lnTo>
                <a:close/>
                <a:moveTo>
                  <a:pt x="1290108" y="2346810"/>
                </a:moveTo>
                <a:lnTo>
                  <a:pt x="1351079" y="2382092"/>
                </a:lnTo>
                <a:lnTo>
                  <a:pt x="1535796" y="2488993"/>
                </a:lnTo>
                <a:lnTo>
                  <a:pt x="1623847" y="2539954"/>
                </a:lnTo>
                <a:lnTo>
                  <a:pt x="1623847" y="2926261"/>
                </a:lnTo>
                <a:lnTo>
                  <a:pt x="1290218" y="3119416"/>
                </a:lnTo>
                <a:lnTo>
                  <a:pt x="1213315" y="3074912"/>
                </a:lnTo>
                <a:lnTo>
                  <a:pt x="963641" y="2930424"/>
                </a:lnTo>
                <a:lnTo>
                  <a:pt x="956477" y="2926279"/>
                </a:lnTo>
                <a:lnTo>
                  <a:pt x="956477" y="2539968"/>
                </a:lnTo>
                <a:close/>
                <a:moveTo>
                  <a:pt x="10190640" y="2346481"/>
                </a:moveTo>
                <a:lnTo>
                  <a:pt x="10524404" y="2539629"/>
                </a:lnTo>
                <a:lnTo>
                  <a:pt x="10524404" y="2925801"/>
                </a:lnTo>
                <a:lnTo>
                  <a:pt x="10190640" y="3118955"/>
                </a:lnTo>
                <a:lnTo>
                  <a:pt x="9856876" y="2925801"/>
                </a:lnTo>
                <a:lnTo>
                  <a:pt x="9856876" y="2539629"/>
                </a:lnTo>
                <a:close/>
                <a:moveTo>
                  <a:pt x="8136693" y="2346470"/>
                </a:moveTo>
                <a:lnTo>
                  <a:pt x="8470456" y="2539621"/>
                </a:lnTo>
                <a:lnTo>
                  <a:pt x="8470456" y="2925792"/>
                </a:lnTo>
                <a:lnTo>
                  <a:pt x="8136693" y="3118942"/>
                </a:lnTo>
                <a:lnTo>
                  <a:pt x="7802930" y="2925792"/>
                </a:lnTo>
                <a:lnTo>
                  <a:pt x="7802930" y="2539621"/>
                </a:lnTo>
                <a:close/>
                <a:moveTo>
                  <a:pt x="6082876" y="2346447"/>
                </a:moveTo>
                <a:lnTo>
                  <a:pt x="6416638" y="2539608"/>
                </a:lnTo>
                <a:lnTo>
                  <a:pt x="6416638" y="2925780"/>
                </a:lnTo>
                <a:lnTo>
                  <a:pt x="6082876" y="3118929"/>
                </a:lnTo>
                <a:lnTo>
                  <a:pt x="5749138" y="2925780"/>
                </a:lnTo>
                <a:lnTo>
                  <a:pt x="5749138" y="2539608"/>
                </a:lnTo>
                <a:close/>
                <a:moveTo>
                  <a:pt x="4029122" y="2346439"/>
                </a:moveTo>
                <a:lnTo>
                  <a:pt x="4326678" y="2518660"/>
                </a:lnTo>
                <a:lnTo>
                  <a:pt x="4362838" y="2539591"/>
                </a:lnTo>
                <a:lnTo>
                  <a:pt x="4362838" y="2925766"/>
                </a:lnTo>
                <a:lnTo>
                  <a:pt x="4029115" y="3118919"/>
                </a:lnTo>
                <a:lnTo>
                  <a:pt x="3695364" y="2925772"/>
                </a:lnTo>
                <a:lnTo>
                  <a:pt x="3695364" y="2539591"/>
                </a:lnTo>
                <a:close/>
                <a:moveTo>
                  <a:pt x="1975147" y="2346423"/>
                </a:moveTo>
                <a:lnTo>
                  <a:pt x="2308913" y="2539575"/>
                </a:lnTo>
                <a:lnTo>
                  <a:pt x="2308913" y="2925753"/>
                </a:lnTo>
                <a:lnTo>
                  <a:pt x="1975142" y="3118908"/>
                </a:lnTo>
                <a:lnTo>
                  <a:pt x="1641385" y="2925755"/>
                </a:lnTo>
                <a:lnTo>
                  <a:pt x="1641385" y="2539579"/>
                </a:lnTo>
                <a:close/>
                <a:moveTo>
                  <a:pt x="11902654" y="2148664"/>
                </a:moveTo>
                <a:lnTo>
                  <a:pt x="12188651" y="2314149"/>
                </a:lnTo>
                <a:lnTo>
                  <a:pt x="12188651" y="2359849"/>
                </a:lnTo>
                <a:lnTo>
                  <a:pt x="11902524" y="2525372"/>
                </a:lnTo>
                <a:lnTo>
                  <a:pt x="11577065" y="2337021"/>
                </a:lnTo>
                <a:close/>
                <a:moveTo>
                  <a:pt x="9848833" y="2148651"/>
                </a:moveTo>
                <a:lnTo>
                  <a:pt x="10174292" y="2337004"/>
                </a:lnTo>
                <a:lnTo>
                  <a:pt x="9848703" y="2525360"/>
                </a:lnTo>
                <a:lnTo>
                  <a:pt x="9523246" y="2337004"/>
                </a:lnTo>
                <a:close/>
                <a:moveTo>
                  <a:pt x="7794888" y="2148635"/>
                </a:moveTo>
                <a:lnTo>
                  <a:pt x="8120344" y="2336987"/>
                </a:lnTo>
                <a:lnTo>
                  <a:pt x="7794758" y="2525343"/>
                </a:lnTo>
                <a:lnTo>
                  <a:pt x="7469301" y="2336987"/>
                </a:lnTo>
                <a:close/>
                <a:moveTo>
                  <a:pt x="5741092" y="2148623"/>
                </a:moveTo>
                <a:lnTo>
                  <a:pt x="6066529" y="2336977"/>
                </a:lnTo>
                <a:lnTo>
                  <a:pt x="5740963" y="2525334"/>
                </a:lnTo>
                <a:lnTo>
                  <a:pt x="5415529" y="2336977"/>
                </a:lnTo>
                <a:close/>
                <a:moveTo>
                  <a:pt x="3687323" y="2148612"/>
                </a:moveTo>
                <a:lnTo>
                  <a:pt x="4012773" y="2336961"/>
                </a:lnTo>
                <a:lnTo>
                  <a:pt x="3687187" y="2525317"/>
                </a:lnTo>
                <a:lnTo>
                  <a:pt x="3465770" y="2397169"/>
                </a:lnTo>
                <a:lnTo>
                  <a:pt x="3361734" y="2336966"/>
                </a:lnTo>
                <a:close/>
                <a:moveTo>
                  <a:pt x="1633341" y="2148592"/>
                </a:moveTo>
                <a:lnTo>
                  <a:pt x="1958797" y="2336948"/>
                </a:lnTo>
                <a:lnTo>
                  <a:pt x="1633208" y="2525303"/>
                </a:lnTo>
                <a:lnTo>
                  <a:pt x="1561718" y="2483930"/>
                </a:lnTo>
                <a:lnTo>
                  <a:pt x="1307753" y="2336948"/>
                </a:lnTo>
                <a:close/>
                <a:moveTo>
                  <a:pt x="11113840" y="1984709"/>
                </a:moveTo>
                <a:cubicBezTo>
                  <a:pt x="11124348" y="1984709"/>
                  <a:pt x="11134206" y="1988860"/>
                  <a:pt x="11141600" y="1996254"/>
                </a:cubicBezTo>
                <a:lnTo>
                  <a:pt x="11206199" y="2060984"/>
                </a:lnTo>
                <a:lnTo>
                  <a:pt x="11217744" y="2072657"/>
                </a:lnTo>
                <a:lnTo>
                  <a:pt x="11229289" y="2060984"/>
                </a:lnTo>
                <a:lnTo>
                  <a:pt x="11293758" y="1996254"/>
                </a:lnTo>
                <a:cubicBezTo>
                  <a:pt x="11301152" y="1988728"/>
                  <a:pt x="11311011" y="1984709"/>
                  <a:pt x="11321517" y="1984709"/>
                </a:cubicBezTo>
                <a:cubicBezTo>
                  <a:pt x="11331896" y="1984709"/>
                  <a:pt x="11341755" y="1988860"/>
                  <a:pt x="11349147" y="1996254"/>
                </a:cubicBezTo>
                <a:lnTo>
                  <a:pt x="11427627" y="2074862"/>
                </a:lnTo>
                <a:lnTo>
                  <a:pt x="11439169" y="2102615"/>
                </a:lnTo>
                <a:lnTo>
                  <a:pt x="11427757" y="2130362"/>
                </a:lnTo>
                <a:lnTo>
                  <a:pt x="11217744" y="2340772"/>
                </a:lnTo>
                <a:lnTo>
                  <a:pt x="11007731" y="2130362"/>
                </a:lnTo>
                <a:lnTo>
                  <a:pt x="10996254" y="2102632"/>
                </a:lnTo>
                <a:lnTo>
                  <a:pt x="11007731" y="2074992"/>
                </a:lnTo>
                <a:lnTo>
                  <a:pt x="11086210" y="1996254"/>
                </a:lnTo>
                <a:cubicBezTo>
                  <a:pt x="11093605" y="1988860"/>
                  <a:pt x="11103333" y="1984709"/>
                  <a:pt x="11113840" y="1984709"/>
                </a:cubicBezTo>
                <a:close/>
                <a:moveTo>
                  <a:pt x="9059892" y="1984692"/>
                </a:moveTo>
                <a:cubicBezTo>
                  <a:pt x="9070398" y="1984692"/>
                  <a:pt x="9080257" y="1988843"/>
                  <a:pt x="9087652" y="1996238"/>
                </a:cubicBezTo>
                <a:lnTo>
                  <a:pt x="9152251" y="2060967"/>
                </a:lnTo>
                <a:lnTo>
                  <a:pt x="9163796" y="2072641"/>
                </a:lnTo>
                <a:lnTo>
                  <a:pt x="9175341" y="2060967"/>
                </a:lnTo>
                <a:lnTo>
                  <a:pt x="9239810" y="1996238"/>
                </a:lnTo>
                <a:cubicBezTo>
                  <a:pt x="9247204" y="1988714"/>
                  <a:pt x="9257062" y="1984692"/>
                  <a:pt x="9267570" y="1984692"/>
                </a:cubicBezTo>
                <a:cubicBezTo>
                  <a:pt x="9277946" y="1984692"/>
                  <a:pt x="9287805" y="1988843"/>
                  <a:pt x="9295200" y="1996238"/>
                </a:cubicBezTo>
                <a:lnTo>
                  <a:pt x="9373678" y="2074846"/>
                </a:lnTo>
                <a:lnTo>
                  <a:pt x="9385220" y="2102601"/>
                </a:lnTo>
                <a:lnTo>
                  <a:pt x="9373809" y="2130340"/>
                </a:lnTo>
                <a:lnTo>
                  <a:pt x="9163797" y="2340755"/>
                </a:lnTo>
                <a:lnTo>
                  <a:pt x="8953784" y="2130340"/>
                </a:lnTo>
                <a:lnTo>
                  <a:pt x="8942307" y="2102615"/>
                </a:lnTo>
                <a:lnTo>
                  <a:pt x="8953783" y="2074978"/>
                </a:lnTo>
                <a:lnTo>
                  <a:pt x="9032263" y="1996238"/>
                </a:lnTo>
                <a:cubicBezTo>
                  <a:pt x="9039655" y="1988843"/>
                  <a:pt x="9049385" y="1984692"/>
                  <a:pt x="9059892" y="1984692"/>
                </a:cubicBezTo>
                <a:close/>
                <a:moveTo>
                  <a:pt x="7006076" y="1984677"/>
                </a:moveTo>
                <a:cubicBezTo>
                  <a:pt x="7016582" y="1984677"/>
                  <a:pt x="7026440" y="1988828"/>
                  <a:pt x="7033834" y="1996221"/>
                </a:cubicBezTo>
                <a:lnTo>
                  <a:pt x="7098434" y="2060951"/>
                </a:lnTo>
                <a:lnTo>
                  <a:pt x="7109978" y="2072625"/>
                </a:lnTo>
                <a:lnTo>
                  <a:pt x="7121523" y="2060951"/>
                </a:lnTo>
                <a:lnTo>
                  <a:pt x="7185994" y="1996221"/>
                </a:lnTo>
                <a:cubicBezTo>
                  <a:pt x="7193387" y="1988696"/>
                  <a:pt x="7203245" y="1984677"/>
                  <a:pt x="7213751" y="1984677"/>
                </a:cubicBezTo>
                <a:cubicBezTo>
                  <a:pt x="7224130" y="1984677"/>
                  <a:pt x="7233989" y="1988828"/>
                  <a:pt x="7241381" y="1996221"/>
                </a:cubicBezTo>
                <a:lnTo>
                  <a:pt x="7319862" y="2074831"/>
                </a:lnTo>
                <a:lnTo>
                  <a:pt x="7331403" y="2102583"/>
                </a:lnTo>
                <a:lnTo>
                  <a:pt x="7319992" y="2130329"/>
                </a:lnTo>
                <a:lnTo>
                  <a:pt x="7109978" y="2340739"/>
                </a:lnTo>
                <a:lnTo>
                  <a:pt x="6899966" y="2130329"/>
                </a:lnTo>
                <a:lnTo>
                  <a:pt x="6888488" y="2102601"/>
                </a:lnTo>
                <a:lnTo>
                  <a:pt x="6899966" y="2074961"/>
                </a:lnTo>
                <a:lnTo>
                  <a:pt x="6978446" y="1996221"/>
                </a:lnTo>
                <a:cubicBezTo>
                  <a:pt x="6985839" y="1988828"/>
                  <a:pt x="6995568" y="1984677"/>
                  <a:pt x="7006076" y="1984677"/>
                </a:cubicBezTo>
                <a:close/>
                <a:moveTo>
                  <a:pt x="4952163" y="1984659"/>
                </a:moveTo>
                <a:cubicBezTo>
                  <a:pt x="4962672" y="1984659"/>
                  <a:pt x="4972539" y="1988810"/>
                  <a:pt x="4979931" y="1996205"/>
                </a:cubicBezTo>
                <a:lnTo>
                  <a:pt x="5021209" y="2037554"/>
                </a:lnTo>
                <a:lnTo>
                  <a:pt x="5044521" y="2060919"/>
                </a:lnTo>
                <a:lnTo>
                  <a:pt x="5056083" y="2072595"/>
                </a:lnTo>
                <a:lnTo>
                  <a:pt x="5056083" y="2072592"/>
                </a:lnTo>
                <a:lnTo>
                  <a:pt x="5056095" y="2072609"/>
                </a:lnTo>
                <a:lnTo>
                  <a:pt x="5067642" y="2060935"/>
                </a:lnTo>
                <a:lnTo>
                  <a:pt x="5132091" y="1996205"/>
                </a:lnTo>
                <a:cubicBezTo>
                  <a:pt x="5139483" y="1988680"/>
                  <a:pt x="5149338" y="1984659"/>
                  <a:pt x="5159840" y="1984659"/>
                </a:cubicBezTo>
                <a:lnTo>
                  <a:pt x="5187487" y="1996203"/>
                </a:lnTo>
                <a:lnTo>
                  <a:pt x="5234645" y="2043461"/>
                </a:lnTo>
                <a:lnTo>
                  <a:pt x="5265946" y="2074804"/>
                </a:lnTo>
                <a:lnTo>
                  <a:pt x="5277479" y="2102560"/>
                </a:lnTo>
                <a:cubicBezTo>
                  <a:pt x="5277479" y="2113068"/>
                  <a:pt x="5273469" y="2122919"/>
                  <a:pt x="5266071" y="2130322"/>
                </a:cubicBezTo>
                <a:lnTo>
                  <a:pt x="5056083" y="2340720"/>
                </a:lnTo>
                <a:lnTo>
                  <a:pt x="4969669" y="2254172"/>
                </a:lnTo>
                <a:lnTo>
                  <a:pt x="4846040" y="2130322"/>
                </a:lnTo>
                <a:lnTo>
                  <a:pt x="4834566" y="2102591"/>
                </a:lnTo>
                <a:cubicBezTo>
                  <a:pt x="4834566" y="2092554"/>
                  <a:pt x="4838398" y="2082533"/>
                  <a:pt x="4846044" y="2074945"/>
                </a:cubicBezTo>
                <a:lnTo>
                  <a:pt x="4924518" y="1996205"/>
                </a:lnTo>
                <a:cubicBezTo>
                  <a:pt x="4931917" y="1988810"/>
                  <a:pt x="4941650" y="1984659"/>
                  <a:pt x="4952163" y="1984659"/>
                </a:cubicBezTo>
                <a:close/>
                <a:moveTo>
                  <a:pt x="2898379" y="1984642"/>
                </a:moveTo>
                <a:lnTo>
                  <a:pt x="2926124" y="1996183"/>
                </a:lnTo>
                <a:lnTo>
                  <a:pt x="2990712" y="2060903"/>
                </a:lnTo>
                <a:lnTo>
                  <a:pt x="3002260" y="2072579"/>
                </a:lnTo>
                <a:lnTo>
                  <a:pt x="3002262" y="2072574"/>
                </a:lnTo>
                <a:lnTo>
                  <a:pt x="3002282" y="2072593"/>
                </a:lnTo>
                <a:lnTo>
                  <a:pt x="3013824" y="2060919"/>
                </a:lnTo>
                <a:lnTo>
                  <a:pt x="3078292" y="1996188"/>
                </a:lnTo>
                <a:cubicBezTo>
                  <a:pt x="3085693" y="1988664"/>
                  <a:pt x="3095547" y="1984642"/>
                  <a:pt x="3106058" y="1984642"/>
                </a:cubicBezTo>
                <a:lnTo>
                  <a:pt x="3133671" y="1996183"/>
                </a:lnTo>
                <a:lnTo>
                  <a:pt x="3212141" y="2074784"/>
                </a:lnTo>
                <a:cubicBezTo>
                  <a:pt x="3219535" y="2082179"/>
                  <a:pt x="3223556" y="2092036"/>
                  <a:pt x="3223687" y="2102544"/>
                </a:cubicBezTo>
                <a:cubicBezTo>
                  <a:pt x="3223687" y="2113052"/>
                  <a:pt x="3219666" y="2122906"/>
                  <a:pt x="3212272" y="2130304"/>
                </a:cubicBezTo>
                <a:lnTo>
                  <a:pt x="3002263" y="2340706"/>
                </a:lnTo>
                <a:lnTo>
                  <a:pt x="2792272" y="2130322"/>
                </a:lnTo>
                <a:cubicBezTo>
                  <a:pt x="2776962" y="2115013"/>
                  <a:pt x="2776962" y="2090107"/>
                  <a:pt x="2792272" y="2074929"/>
                </a:cubicBezTo>
                <a:lnTo>
                  <a:pt x="2870746" y="1996188"/>
                </a:lnTo>
                <a:cubicBezTo>
                  <a:pt x="2878142" y="1988794"/>
                  <a:pt x="2887867" y="1984642"/>
                  <a:pt x="2898379" y="1984642"/>
                </a:cubicBezTo>
                <a:close/>
                <a:moveTo>
                  <a:pt x="844398" y="1984626"/>
                </a:moveTo>
                <a:lnTo>
                  <a:pt x="872148" y="1996168"/>
                </a:lnTo>
                <a:lnTo>
                  <a:pt x="936736" y="2060888"/>
                </a:lnTo>
                <a:lnTo>
                  <a:pt x="948281" y="2072562"/>
                </a:lnTo>
                <a:lnTo>
                  <a:pt x="948285" y="2072558"/>
                </a:lnTo>
                <a:lnTo>
                  <a:pt x="948304" y="2072577"/>
                </a:lnTo>
                <a:lnTo>
                  <a:pt x="959848" y="2060903"/>
                </a:lnTo>
                <a:lnTo>
                  <a:pt x="1024318" y="1996172"/>
                </a:lnTo>
                <a:cubicBezTo>
                  <a:pt x="1031712" y="1988648"/>
                  <a:pt x="1041571" y="1984626"/>
                  <a:pt x="1052077" y="1984626"/>
                </a:cubicBezTo>
                <a:lnTo>
                  <a:pt x="1079695" y="1996168"/>
                </a:lnTo>
                <a:lnTo>
                  <a:pt x="1158163" y="2074768"/>
                </a:lnTo>
                <a:cubicBezTo>
                  <a:pt x="1165557" y="2082163"/>
                  <a:pt x="1169579" y="2092021"/>
                  <a:pt x="1169708" y="2102528"/>
                </a:cubicBezTo>
                <a:cubicBezTo>
                  <a:pt x="1169708" y="2113036"/>
                  <a:pt x="1165688" y="2122893"/>
                  <a:pt x="1158294" y="2130289"/>
                </a:cubicBezTo>
                <a:lnTo>
                  <a:pt x="948285" y="2340695"/>
                </a:lnTo>
                <a:lnTo>
                  <a:pt x="738292" y="2130304"/>
                </a:lnTo>
                <a:cubicBezTo>
                  <a:pt x="722985" y="2114996"/>
                  <a:pt x="722985" y="2090090"/>
                  <a:pt x="738292" y="2074914"/>
                </a:cubicBezTo>
                <a:lnTo>
                  <a:pt x="816770" y="1996172"/>
                </a:lnTo>
                <a:cubicBezTo>
                  <a:pt x="824164" y="1988778"/>
                  <a:pt x="833892" y="1984626"/>
                  <a:pt x="844398" y="1984626"/>
                </a:cubicBezTo>
                <a:close/>
                <a:moveTo>
                  <a:pt x="11113840" y="1968219"/>
                </a:moveTo>
                <a:cubicBezTo>
                  <a:pt x="11099571" y="1968219"/>
                  <a:pt x="11085432" y="1973667"/>
                  <a:pt x="11074665" y="1984563"/>
                </a:cubicBezTo>
                <a:lnTo>
                  <a:pt x="10996186" y="2063301"/>
                </a:lnTo>
                <a:cubicBezTo>
                  <a:pt x="10985354" y="2074134"/>
                  <a:pt x="10979939" y="2088370"/>
                  <a:pt x="10979939" y="2102607"/>
                </a:cubicBezTo>
                <a:lnTo>
                  <a:pt x="10979942" y="2102615"/>
                </a:lnTo>
                <a:lnTo>
                  <a:pt x="10979939" y="2102624"/>
                </a:lnTo>
                <a:cubicBezTo>
                  <a:pt x="10979939" y="2116849"/>
                  <a:pt x="10985354" y="2131085"/>
                  <a:pt x="10996186" y="2141922"/>
                </a:cubicBezTo>
                <a:lnTo>
                  <a:pt x="11217744" y="2364005"/>
                </a:lnTo>
                <a:lnTo>
                  <a:pt x="11439301" y="2141922"/>
                </a:lnTo>
                <a:cubicBezTo>
                  <a:pt x="11450132" y="2131085"/>
                  <a:pt x="11455548" y="2116849"/>
                  <a:pt x="11455548" y="2102624"/>
                </a:cubicBezTo>
                <a:lnTo>
                  <a:pt x="11455545" y="2102615"/>
                </a:lnTo>
                <a:lnTo>
                  <a:pt x="11455548" y="2102607"/>
                </a:lnTo>
                <a:cubicBezTo>
                  <a:pt x="11455548" y="2088370"/>
                  <a:pt x="11450132" y="2074134"/>
                  <a:pt x="11439301" y="2063301"/>
                </a:cubicBezTo>
                <a:lnTo>
                  <a:pt x="11360822" y="1984693"/>
                </a:lnTo>
                <a:cubicBezTo>
                  <a:pt x="11349927" y="1973797"/>
                  <a:pt x="11335787" y="1968348"/>
                  <a:pt x="11321647" y="1968348"/>
                </a:cubicBezTo>
                <a:lnTo>
                  <a:pt x="11321517" y="1968219"/>
                </a:lnTo>
                <a:cubicBezTo>
                  <a:pt x="11307249" y="1968219"/>
                  <a:pt x="11293110" y="1973667"/>
                  <a:pt x="11282213" y="1984693"/>
                </a:cubicBezTo>
                <a:lnTo>
                  <a:pt x="11217744" y="2049294"/>
                </a:lnTo>
                <a:lnTo>
                  <a:pt x="11153145" y="1984563"/>
                </a:lnTo>
                <a:cubicBezTo>
                  <a:pt x="11142248" y="1973667"/>
                  <a:pt x="11128108" y="1968219"/>
                  <a:pt x="11113840" y="1968219"/>
                </a:cubicBezTo>
                <a:close/>
                <a:moveTo>
                  <a:pt x="9059893" y="1968203"/>
                </a:moveTo>
                <a:cubicBezTo>
                  <a:pt x="9045624" y="1968203"/>
                  <a:pt x="9031484" y="1973653"/>
                  <a:pt x="9020718" y="1984547"/>
                </a:cubicBezTo>
                <a:lnTo>
                  <a:pt x="8942239" y="2063287"/>
                </a:lnTo>
                <a:cubicBezTo>
                  <a:pt x="8931408" y="2074118"/>
                  <a:pt x="8925992" y="2088355"/>
                  <a:pt x="8925992" y="2102593"/>
                </a:cubicBezTo>
                <a:lnTo>
                  <a:pt x="8925994" y="2102598"/>
                </a:lnTo>
                <a:lnTo>
                  <a:pt x="8925991" y="2102606"/>
                </a:lnTo>
                <a:cubicBezTo>
                  <a:pt x="8925991" y="2116838"/>
                  <a:pt x="8931406" y="2131068"/>
                  <a:pt x="8942238" y="2141902"/>
                </a:cubicBezTo>
                <a:lnTo>
                  <a:pt x="9163796" y="2363983"/>
                </a:lnTo>
                <a:lnTo>
                  <a:pt x="9385353" y="2141902"/>
                </a:lnTo>
                <a:cubicBezTo>
                  <a:pt x="9396185" y="2131068"/>
                  <a:pt x="9401600" y="2116838"/>
                  <a:pt x="9401600" y="2102606"/>
                </a:cubicBezTo>
                <a:lnTo>
                  <a:pt x="9401598" y="2102601"/>
                </a:lnTo>
                <a:lnTo>
                  <a:pt x="9401601" y="2102593"/>
                </a:lnTo>
                <a:cubicBezTo>
                  <a:pt x="9401601" y="2088355"/>
                  <a:pt x="9396185" y="2074118"/>
                  <a:pt x="9385354" y="2063287"/>
                </a:cubicBezTo>
                <a:lnTo>
                  <a:pt x="9306876" y="1984677"/>
                </a:lnTo>
                <a:cubicBezTo>
                  <a:pt x="9295978" y="1973780"/>
                  <a:pt x="9281840" y="1968333"/>
                  <a:pt x="9267701" y="1968333"/>
                </a:cubicBezTo>
                <a:lnTo>
                  <a:pt x="9267571" y="1968203"/>
                </a:lnTo>
                <a:cubicBezTo>
                  <a:pt x="9253303" y="1968203"/>
                  <a:pt x="9239162" y="1973653"/>
                  <a:pt x="9228266" y="1984677"/>
                </a:cubicBezTo>
                <a:lnTo>
                  <a:pt x="9163797" y="2049278"/>
                </a:lnTo>
                <a:lnTo>
                  <a:pt x="9099198" y="1984547"/>
                </a:lnTo>
                <a:cubicBezTo>
                  <a:pt x="9088300" y="1973653"/>
                  <a:pt x="9074162" y="1968203"/>
                  <a:pt x="9059893" y="1968203"/>
                </a:cubicBezTo>
                <a:close/>
                <a:moveTo>
                  <a:pt x="7006076" y="1968186"/>
                </a:moveTo>
                <a:cubicBezTo>
                  <a:pt x="6991805" y="1968186"/>
                  <a:pt x="6977666" y="1973634"/>
                  <a:pt x="6966901" y="1984530"/>
                </a:cubicBezTo>
                <a:lnTo>
                  <a:pt x="6888421" y="2063270"/>
                </a:lnTo>
                <a:cubicBezTo>
                  <a:pt x="6877589" y="2074102"/>
                  <a:pt x="6872173" y="2088339"/>
                  <a:pt x="6872173" y="2102577"/>
                </a:cubicBezTo>
                <a:lnTo>
                  <a:pt x="6872176" y="2102583"/>
                </a:lnTo>
                <a:lnTo>
                  <a:pt x="6872173" y="2102591"/>
                </a:lnTo>
                <a:cubicBezTo>
                  <a:pt x="6872173" y="2116819"/>
                  <a:pt x="6877589" y="2131060"/>
                  <a:pt x="6888421" y="2141896"/>
                </a:cubicBezTo>
                <a:lnTo>
                  <a:pt x="7109978" y="2363976"/>
                </a:lnTo>
                <a:lnTo>
                  <a:pt x="7331537" y="2141896"/>
                </a:lnTo>
                <a:cubicBezTo>
                  <a:pt x="7342368" y="2131060"/>
                  <a:pt x="7347783" y="2116819"/>
                  <a:pt x="7347783" y="2102591"/>
                </a:cubicBezTo>
                <a:lnTo>
                  <a:pt x="7347780" y="2102583"/>
                </a:lnTo>
                <a:lnTo>
                  <a:pt x="7347783" y="2102577"/>
                </a:lnTo>
                <a:cubicBezTo>
                  <a:pt x="7347783" y="2088339"/>
                  <a:pt x="7342368" y="2074102"/>
                  <a:pt x="7331537" y="2063270"/>
                </a:cubicBezTo>
                <a:lnTo>
                  <a:pt x="7253057" y="1984660"/>
                </a:lnTo>
                <a:cubicBezTo>
                  <a:pt x="7242161" y="1973763"/>
                  <a:pt x="7228022" y="1968316"/>
                  <a:pt x="7213882" y="1968316"/>
                </a:cubicBezTo>
                <a:lnTo>
                  <a:pt x="7213751" y="1968186"/>
                </a:lnTo>
                <a:cubicBezTo>
                  <a:pt x="7199483" y="1968186"/>
                  <a:pt x="7185345" y="1973634"/>
                  <a:pt x="7174449" y="1984660"/>
                </a:cubicBezTo>
                <a:lnTo>
                  <a:pt x="7109978" y="2049261"/>
                </a:lnTo>
                <a:lnTo>
                  <a:pt x="7045379" y="1984530"/>
                </a:lnTo>
                <a:cubicBezTo>
                  <a:pt x="7034483" y="1973634"/>
                  <a:pt x="7020344" y="1968186"/>
                  <a:pt x="7006076" y="1968186"/>
                </a:cubicBezTo>
                <a:close/>
                <a:moveTo>
                  <a:pt x="4952154" y="1968169"/>
                </a:moveTo>
                <a:cubicBezTo>
                  <a:pt x="4937883" y="1968169"/>
                  <a:pt x="4923734" y="1973618"/>
                  <a:pt x="4912971" y="1984514"/>
                </a:cubicBezTo>
                <a:lnTo>
                  <a:pt x="4834497" y="2063254"/>
                </a:lnTo>
                <a:cubicBezTo>
                  <a:pt x="4812828" y="2084919"/>
                  <a:pt x="4812828" y="2120198"/>
                  <a:pt x="4834497" y="2141866"/>
                </a:cubicBezTo>
                <a:lnTo>
                  <a:pt x="4834505" y="2141879"/>
                </a:lnTo>
                <a:lnTo>
                  <a:pt x="4969761" y="2277444"/>
                </a:lnTo>
                <a:lnTo>
                  <a:pt x="5056083" y="2363949"/>
                </a:lnTo>
                <a:lnTo>
                  <a:pt x="5056083" y="2363940"/>
                </a:lnTo>
                <a:lnTo>
                  <a:pt x="5056095" y="2363964"/>
                </a:lnTo>
                <a:lnTo>
                  <a:pt x="5277619" y="2141879"/>
                </a:lnTo>
                <a:cubicBezTo>
                  <a:pt x="5299295" y="2120214"/>
                  <a:pt x="5299295" y="2084933"/>
                  <a:pt x="5277619" y="2063270"/>
                </a:cubicBezTo>
                <a:lnTo>
                  <a:pt x="5277615" y="2063260"/>
                </a:lnTo>
                <a:lnTo>
                  <a:pt x="5277613" y="2063254"/>
                </a:lnTo>
                <a:lnTo>
                  <a:pt x="5199129" y="1984644"/>
                </a:lnTo>
                <a:cubicBezTo>
                  <a:pt x="5188240" y="1973748"/>
                  <a:pt x="5174094" y="1968300"/>
                  <a:pt x="5159958" y="1968300"/>
                </a:cubicBezTo>
                <a:lnTo>
                  <a:pt x="5159834" y="1968169"/>
                </a:lnTo>
                <a:cubicBezTo>
                  <a:pt x="5145563" y="1968169"/>
                  <a:pt x="5131430" y="1973618"/>
                  <a:pt x="5120536" y="1984644"/>
                </a:cubicBezTo>
                <a:lnTo>
                  <a:pt x="5056083" y="2049243"/>
                </a:lnTo>
                <a:lnTo>
                  <a:pt x="5013371" y="2006464"/>
                </a:lnTo>
                <a:lnTo>
                  <a:pt x="4991465" y="1984514"/>
                </a:lnTo>
                <a:cubicBezTo>
                  <a:pt x="4980565" y="1973618"/>
                  <a:pt x="4966420" y="1968169"/>
                  <a:pt x="4952154" y="1968169"/>
                </a:cubicBezTo>
                <a:close/>
                <a:moveTo>
                  <a:pt x="2898356" y="1968153"/>
                </a:moveTo>
                <a:cubicBezTo>
                  <a:pt x="2884084" y="1968153"/>
                  <a:pt x="2869945" y="1973601"/>
                  <a:pt x="2859181" y="1984498"/>
                </a:cubicBezTo>
                <a:lnTo>
                  <a:pt x="2780699" y="2063238"/>
                </a:lnTo>
                <a:cubicBezTo>
                  <a:pt x="2759037" y="2084901"/>
                  <a:pt x="2759037" y="2120185"/>
                  <a:pt x="2780699" y="2141849"/>
                </a:cubicBezTo>
                <a:lnTo>
                  <a:pt x="3002260" y="2363931"/>
                </a:lnTo>
                <a:lnTo>
                  <a:pt x="3002263" y="2363925"/>
                </a:lnTo>
                <a:lnTo>
                  <a:pt x="3002282" y="2363946"/>
                </a:lnTo>
                <a:lnTo>
                  <a:pt x="3223840" y="2141866"/>
                </a:lnTo>
                <a:cubicBezTo>
                  <a:pt x="3245503" y="2120198"/>
                  <a:pt x="3245503" y="2084918"/>
                  <a:pt x="3223840" y="2063254"/>
                </a:cubicBezTo>
                <a:lnTo>
                  <a:pt x="3145359" y="1984642"/>
                </a:lnTo>
                <a:cubicBezTo>
                  <a:pt x="3139911" y="1979194"/>
                  <a:pt x="3133652" y="1975108"/>
                  <a:pt x="3126988" y="1972385"/>
                </a:cubicBezTo>
                <a:lnTo>
                  <a:pt x="3126965" y="1972369"/>
                </a:lnTo>
                <a:lnTo>
                  <a:pt x="3106173" y="1968284"/>
                </a:lnTo>
                <a:lnTo>
                  <a:pt x="3106058" y="1968169"/>
                </a:lnTo>
                <a:lnTo>
                  <a:pt x="3106050" y="1968170"/>
                </a:lnTo>
                <a:lnTo>
                  <a:pt x="3106032" y="1968153"/>
                </a:lnTo>
                <a:cubicBezTo>
                  <a:pt x="3091763" y="1968153"/>
                  <a:pt x="3077624" y="1973601"/>
                  <a:pt x="3066728" y="1984627"/>
                </a:cubicBezTo>
                <a:lnTo>
                  <a:pt x="3002263" y="2049224"/>
                </a:lnTo>
                <a:lnTo>
                  <a:pt x="2937683" y="1984514"/>
                </a:lnTo>
                <a:cubicBezTo>
                  <a:pt x="2932237" y="1979065"/>
                  <a:pt x="2925973" y="1974980"/>
                  <a:pt x="2919295" y="1972255"/>
                </a:cubicBezTo>
                <a:lnTo>
                  <a:pt x="2919269" y="1972239"/>
                </a:lnTo>
                <a:cubicBezTo>
                  <a:pt x="2912591" y="1969515"/>
                  <a:pt x="2905489" y="1968153"/>
                  <a:pt x="2898356" y="1968153"/>
                </a:cubicBezTo>
                <a:close/>
                <a:moveTo>
                  <a:pt x="844377" y="1968136"/>
                </a:moveTo>
                <a:cubicBezTo>
                  <a:pt x="830108" y="1968136"/>
                  <a:pt x="815969" y="1973585"/>
                  <a:pt x="805203" y="1984482"/>
                </a:cubicBezTo>
                <a:lnTo>
                  <a:pt x="726723" y="2063222"/>
                </a:lnTo>
                <a:cubicBezTo>
                  <a:pt x="705060" y="2084887"/>
                  <a:pt x="705060" y="2120170"/>
                  <a:pt x="726723" y="2141834"/>
                </a:cubicBezTo>
                <a:lnTo>
                  <a:pt x="948281" y="2363918"/>
                </a:lnTo>
                <a:lnTo>
                  <a:pt x="948286" y="2363911"/>
                </a:lnTo>
                <a:lnTo>
                  <a:pt x="948304" y="2363931"/>
                </a:lnTo>
                <a:lnTo>
                  <a:pt x="1169859" y="2141849"/>
                </a:lnTo>
                <a:cubicBezTo>
                  <a:pt x="1191522" y="2120185"/>
                  <a:pt x="1191522" y="2084901"/>
                  <a:pt x="1169859" y="2063237"/>
                </a:cubicBezTo>
                <a:lnTo>
                  <a:pt x="1091381" y="1984626"/>
                </a:lnTo>
                <a:lnTo>
                  <a:pt x="1087230" y="1981855"/>
                </a:lnTo>
                <a:lnTo>
                  <a:pt x="1072988" y="1972352"/>
                </a:lnTo>
                <a:lnTo>
                  <a:pt x="1052193" y="1968268"/>
                </a:lnTo>
                <a:lnTo>
                  <a:pt x="1052077" y="1968152"/>
                </a:lnTo>
                <a:lnTo>
                  <a:pt x="1052071" y="1968153"/>
                </a:lnTo>
                <a:lnTo>
                  <a:pt x="1052055" y="1968136"/>
                </a:lnTo>
                <a:cubicBezTo>
                  <a:pt x="1037785" y="1968136"/>
                  <a:pt x="1023647" y="1973585"/>
                  <a:pt x="1012751" y="1984611"/>
                </a:cubicBezTo>
                <a:lnTo>
                  <a:pt x="948285" y="2049209"/>
                </a:lnTo>
                <a:lnTo>
                  <a:pt x="883704" y="1984497"/>
                </a:lnTo>
                <a:lnTo>
                  <a:pt x="883682" y="1984482"/>
                </a:lnTo>
                <a:lnTo>
                  <a:pt x="883681" y="1984482"/>
                </a:lnTo>
                <a:cubicBezTo>
                  <a:pt x="872785" y="1973585"/>
                  <a:pt x="858645" y="1968136"/>
                  <a:pt x="844377" y="1968136"/>
                </a:cubicBezTo>
                <a:close/>
                <a:moveTo>
                  <a:pt x="11910826" y="1757693"/>
                </a:moveTo>
                <a:lnTo>
                  <a:pt x="12188651" y="1918485"/>
                </a:lnTo>
                <a:lnTo>
                  <a:pt x="12188651" y="2295294"/>
                </a:lnTo>
                <a:lnTo>
                  <a:pt x="11910826" y="2134524"/>
                </a:lnTo>
                <a:close/>
                <a:moveTo>
                  <a:pt x="11894481" y="1757693"/>
                </a:moveTo>
                <a:lnTo>
                  <a:pt x="11894481" y="2134524"/>
                </a:lnTo>
                <a:lnTo>
                  <a:pt x="11568890" y="2322864"/>
                </a:lnTo>
                <a:lnTo>
                  <a:pt x="11568890" y="1946054"/>
                </a:lnTo>
                <a:close/>
                <a:moveTo>
                  <a:pt x="9857006" y="1757678"/>
                </a:moveTo>
                <a:lnTo>
                  <a:pt x="10182468" y="1946038"/>
                </a:lnTo>
                <a:lnTo>
                  <a:pt x="10182468" y="2322844"/>
                </a:lnTo>
                <a:lnTo>
                  <a:pt x="9857006" y="2134505"/>
                </a:lnTo>
                <a:close/>
                <a:moveTo>
                  <a:pt x="9840661" y="1757678"/>
                </a:moveTo>
                <a:lnTo>
                  <a:pt x="9840661" y="2134505"/>
                </a:lnTo>
                <a:lnTo>
                  <a:pt x="9515070" y="2322844"/>
                </a:lnTo>
                <a:lnTo>
                  <a:pt x="9515070" y="1946038"/>
                </a:lnTo>
                <a:close/>
                <a:moveTo>
                  <a:pt x="7803060" y="1757662"/>
                </a:moveTo>
                <a:lnTo>
                  <a:pt x="8128521" y="1946022"/>
                </a:lnTo>
                <a:lnTo>
                  <a:pt x="8128521" y="2322839"/>
                </a:lnTo>
                <a:lnTo>
                  <a:pt x="7803060" y="2134492"/>
                </a:lnTo>
                <a:close/>
                <a:moveTo>
                  <a:pt x="7786715" y="1757662"/>
                </a:moveTo>
                <a:lnTo>
                  <a:pt x="7786715" y="2134492"/>
                </a:lnTo>
                <a:lnTo>
                  <a:pt x="7461125" y="2322839"/>
                </a:lnTo>
                <a:lnTo>
                  <a:pt x="7461125" y="1946022"/>
                </a:lnTo>
                <a:close/>
                <a:moveTo>
                  <a:pt x="5732923" y="1757647"/>
                </a:moveTo>
                <a:lnTo>
                  <a:pt x="5732923" y="2134484"/>
                </a:lnTo>
                <a:lnTo>
                  <a:pt x="5407352" y="2322830"/>
                </a:lnTo>
                <a:lnTo>
                  <a:pt x="5407352" y="1946005"/>
                </a:lnTo>
                <a:close/>
                <a:moveTo>
                  <a:pt x="5749266" y="1757646"/>
                </a:moveTo>
                <a:lnTo>
                  <a:pt x="6074705" y="1946005"/>
                </a:lnTo>
                <a:lnTo>
                  <a:pt x="6074705" y="2322830"/>
                </a:lnTo>
                <a:lnTo>
                  <a:pt x="5749266" y="2134484"/>
                </a:lnTo>
                <a:close/>
                <a:moveTo>
                  <a:pt x="3679144" y="1757633"/>
                </a:moveTo>
                <a:lnTo>
                  <a:pt x="3679144" y="2134464"/>
                </a:lnTo>
                <a:lnTo>
                  <a:pt x="3353563" y="2322807"/>
                </a:lnTo>
                <a:lnTo>
                  <a:pt x="3353563" y="1945988"/>
                </a:lnTo>
                <a:close/>
                <a:moveTo>
                  <a:pt x="3695494" y="1757631"/>
                </a:moveTo>
                <a:lnTo>
                  <a:pt x="4020945" y="1945986"/>
                </a:lnTo>
                <a:lnTo>
                  <a:pt x="4020945" y="2322809"/>
                </a:lnTo>
                <a:lnTo>
                  <a:pt x="3733755" y="2156613"/>
                </a:lnTo>
                <a:lnTo>
                  <a:pt x="3695494" y="2134468"/>
                </a:lnTo>
                <a:close/>
                <a:moveTo>
                  <a:pt x="1625166" y="1757617"/>
                </a:moveTo>
                <a:lnTo>
                  <a:pt x="1625166" y="2134450"/>
                </a:lnTo>
                <a:lnTo>
                  <a:pt x="1299581" y="2322797"/>
                </a:lnTo>
                <a:lnTo>
                  <a:pt x="1299581" y="1945972"/>
                </a:lnTo>
                <a:close/>
                <a:moveTo>
                  <a:pt x="1641515" y="1757615"/>
                </a:moveTo>
                <a:lnTo>
                  <a:pt x="1966969" y="1945969"/>
                </a:lnTo>
                <a:lnTo>
                  <a:pt x="1966969" y="2322802"/>
                </a:lnTo>
                <a:lnTo>
                  <a:pt x="1914926" y="2292686"/>
                </a:lnTo>
                <a:lnTo>
                  <a:pt x="1641515" y="2134455"/>
                </a:lnTo>
                <a:close/>
                <a:moveTo>
                  <a:pt x="10532576" y="1752878"/>
                </a:moveTo>
                <a:lnTo>
                  <a:pt x="10866339" y="1946038"/>
                </a:lnTo>
                <a:lnTo>
                  <a:pt x="10866339" y="2332329"/>
                </a:lnTo>
                <a:lnTo>
                  <a:pt x="10532706" y="2525485"/>
                </a:lnTo>
                <a:lnTo>
                  <a:pt x="10198941" y="2332329"/>
                </a:lnTo>
                <a:lnTo>
                  <a:pt x="10198941" y="1946038"/>
                </a:lnTo>
                <a:close/>
                <a:moveTo>
                  <a:pt x="8478628" y="1752864"/>
                </a:moveTo>
                <a:lnTo>
                  <a:pt x="8812392" y="1946022"/>
                </a:lnTo>
                <a:lnTo>
                  <a:pt x="8812392" y="2332319"/>
                </a:lnTo>
                <a:lnTo>
                  <a:pt x="8478758" y="2525474"/>
                </a:lnTo>
                <a:lnTo>
                  <a:pt x="8144995" y="2332319"/>
                </a:lnTo>
                <a:lnTo>
                  <a:pt x="8144995" y="1946022"/>
                </a:lnTo>
                <a:close/>
                <a:moveTo>
                  <a:pt x="6424810" y="1752847"/>
                </a:moveTo>
                <a:lnTo>
                  <a:pt x="6758573" y="1946005"/>
                </a:lnTo>
                <a:lnTo>
                  <a:pt x="6758573" y="2332304"/>
                </a:lnTo>
                <a:lnTo>
                  <a:pt x="6424940" y="2525464"/>
                </a:lnTo>
                <a:lnTo>
                  <a:pt x="6091179" y="2332304"/>
                </a:lnTo>
                <a:lnTo>
                  <a:pt x="6091179" y="1946005"/>
                </a:lnTo>
                <a:close/>
                <a:moveTo>
                  <a:pt x="4371020" y="1752830"/>
                </a:moveTo>
                <a:lnTo>
                  <a:pt x="4704777" y="1945988"/>
                </a:lnTo>
                <a:lnTo>
                  <a:pt x="4704777" y="2332286"/>
                </a:lnTo>
                <a:lnTo>
                  <a:pt x="4371146" y="2525446"/>
                </a:lnTo>
                <a:lnTo>
                  <a:pt x="4037427" y="2332293"/>
                </a:lnTo>
                <a:lnTo>
                  <a:pt x="4037427" y="1945988"/>
                </a:lnTo>
                <a:close/>
                <a:moveTo>
                  <a:pt x="2317092" y="1752815"/>
                </a:moveTo>
                <a:lnTo>
                  <a:pt x="2650846" y="1945968"/>
                </a:lnTo>
                <a:lnTo>
                  <a:pt x="2650846" y="2332273"/>
                </a:lnTo>
                <a:lnTo>
                  <a:pt x="2317216" y="2525431"/>
                </a:lnTo>
                <a:lnTo>
                  <a:pt x="2153844" y="2430884"/>
                </a:lnTo>
                <a:lnTo>
                  <a:pt x="1983452" y="2332275"/>
                </a:lnTo>
                <a:lnTo>
                  <a:pt x="1983452" y="1945972"/>
                </a:lnTo>
                <a:close/>
                <a:moveTo>
                  <a:pt x="263245" y="1752799"/>
                </a:moveTo>
                <a:lnTo>
                  <a:pt x="597001" y="1945952"/>
                </a:lnTo>
                <a:lnTo>
                  <a:pt x="597001" y="2332264"/>
                </a:lnTo>
                <a:lnTo>
                  <a:pt x="263368" y="2525419"/>
                </a:lnTo>
                <a:lnTo>
                  <a:pt x="83447" y="2421295"/>
                </a:lnTo>
                <a:lnTo>
                  <a:pt x="0" y="2373002"/>
                </a:lnTo>
                <a:lnTo>
                  <a:pt x="0" y="1905204"/>
                </a:lnTo>
                <a:close/>
                <a:moveTo>
                  <a:pt x="11217614" y="1752635"/>
                </a:moveTo>
                <a:lnTo>
                  <a:pt x="11551377" y="1945795"/>
                </a:lnTo>
                <a:lnTo>
                  <a:pt x="11551377" y="2331944"/>
                </a:lnTo>
                <a:lnTo>
                  <a:pt x="11217614" y="2525105"/>
                </a:lnTo>
                <a:lnTo>
                  <a:pt x="10883851" y="2331944"/>
                </a:lnTo>
                <a:lnTo>
                  <a:pt x="10883851" y="1945795"/>
                </a:lnTo>
                <a:close/>
                <a:moveTo>
                  <a:pt x="9163666" y="1752617"/>
                </a:moveTo>
                <a:lnTo>
                  <a:pt x="9497429" y="1945779"/>
                </a:lnTo>
                <a:lnTo>
                  <a:pt x="9497429" y="2331929"/>
                </a:lnTo>
                <a:lnTo>
                  <a:pt x="9163666" y="2525089"/>
                </a:lnTo>
                <a:lnTo>
                  <a:pt x="8829903" y="2331929"/>
                </a:lnTo>
                <a:lnTo>
                  <a:pt x="8829903" y="1945778"/>
                </a:lnTo>
                <a:close/>
                <a:moveTo>
                  <a:pt x="7109850" y="1752603"/>
                </a:moveTo>
                <a:lnTo>
                  <a:pt x="7443613" y="1945761"/>
                </a:lnTo>
                <a:lnTo>
                  <a:pt x="7443613" y="2331916"/>
                </a:lnTo>
                <a:lnTo>
                  <a:pt x="7109850" y="2525078"/>
                </a:lnTo>
                <a:lnTo>
                  <a:pt x="6776085" y="2331916"/>
                </a:lnTo>
                <a:lnTo>
                  <a:pt x="6776085" y="1945761"/>
                </a:lnTo>
                <a:close/>
                <a:moveTo>
                  <a:pt x="5055971" y="1752586"/>
                </a:moveTo>
                <a:lnTo>
                  <a:pt x="5262114" y="1871903"/>
                </a:lnTo>
                <a:lnTo>
                  <a:pt x="5389698" y="1945736"/>
                </a:lnTo>
                <a:lnTo>
                  <a:pt x="5389698" y="2331901"/>
                </a:lnTo>
                <a:lnTo>
                  <a:pt x="5055949" y="2525062"/>
                </a:lnTo>
                <a:lnTo>
                  <a:pt x="4722181" y="2331905"/>
                </a:lnTo>
                <a:lnTo>
                  <a:pt x="4722181" y="1945745"/>
                </a:lnTo>
                <a:close/>
                <a:moveTo>
                  <a:pt x="3002152" y="1752570"/>
                </a:moveTo>
                <a:lnTo>
                  <a:pt x="3335890" y="1945712"/>
                </a:lnTo>
                <a:lnTo>
                  <a:pt x="3335890" y="2331889"/>
                </a:lnTo>
                <a:lnTo>
                  <a:pt x="3002127" y="2525047"/>
                </a:lnTo>
                <a:lnTo>
                  <a:pt x="2731183" y="2368243"/>
                </a:lnTo>
                <a:lnTo>
                  <a:pt x="2668390" y="2331903"/>
                </a:lnTo>
                <a:lnTo>
                  <a:pt x="2668390" y="1945729"/>
                </a:lnTo>
                <a:close/>
                <a:moveTo>
                  <a:pt x="948175" y="1752555"/>
                </a:moveTo>
                <a:lnTo>
                  <a:pt x="1281914" y="1945698"/>
                </a:lnTo>
                <a:lnTo>
                  <a:pt x="1281914" y="2331876"/>
                </a:lnTo>
                <a:lnTo>
                  <a:pt x="948153" y="2525032"/>
                </a:lnTo>
                <a:lnTo>
                  <a:pt x="940570" y="2520648"/>
                </a:lnTo>
                <a:lnTo>
                  <a:pt x="614414" y="2331889"/>
                </a:lnTo>
                <a:lnTo>
                  <a:pt x="614414" y="1945713"/>
                </a:lnTo>
                <a:close/>
                <a:moveTo>
                  <a:pt x="10875809" y="1554804"/>
                </a:moveTo>
                <a:lnTo>
                  <a:pt x="11201255" y="1743155"/>
                </a:lnTo>
                <a:lnTo>
                  <a:pt x="10875678" y="1931508"/>
                </a:lnTo>
                <a:lnTo>
                  <a:pt x="10550231" y="1743155"/>
                </a:lnTo>
                <a:close/>
                <a:moveTo>
                  <a:pt x="8821860" y="1554788"/>
                </a:moveTo>
                <a:lnTo>
                  <a:pt x="9147308" y="1743140"/>
                </a:lnTo>
                <a:lnTo>
                  <a:pt x="8821731" y="1931491"/>
                </a:lnTo>
                <a:lnTo>
                  <a:pt x="8496282" y="1743140"/>
                </a:lnTo>
                <a:close/>
                <a:moveTo>
                  <a:pt x="6768043" y="1554775"/>
                </a:moveTo>
                <a:lnTo>
                  <a:pt x="7093491" y="1743124"/>
                </a:lnTo>
                <a:lnTo>
                  <a:pt x="6767913" y="1931475"/>
                </a:lnTo>
                <a:lnTo>
                  <a:pt x="6442466" y="1743125"/>
                </a:lnTo>
                <a:close/>
                <a:moveTo>
                  <a:pt x="4714128" y="1554758"/>
                </a:moveTo>
                <a:lnTo>
                  <a:pt x="4997319" y="1718649"/>
                </a:lnTo>
                <a:lnTo>
                  <a:pt x="5039593" y="1743102"/>
                </a:lnTo>
                <a:lnTo>
                  <a:pt x="4713993" y="1931459"/>
                </a:lnTo>
                <a:lnTo>
                  <a:pt x="4512543" y="1814871"/>
                </a:lnTo>
                <a:lnTo>
                  <a:pt x="4388549" y="1743112"/>
                </a:lnTo>
                <a:close/>
                <a:moveTo>
                  <a:pt x="2660349" y="1554742"/>
                </a:moveTo>
                <a:lnTo>
                  <a:pt x="2985784" y="1743084"/>
                </a:lnTo>
                <a:lnTo>
                  <a:pt x="2660193" y="1931442"/>
                </a:lnTo>
                <a:lnTo>
                  <a:pt x="2334764" y="1743101"/>
                </a:lnTo>
                <a:close/>
                <a:moveTo>
                  <a:pt x="606372" y="1554728"/>
                </a:moveTo>
                <a:lnTo>
                  <a:pt x="931804" y="1743069"/>
                </a:lnTo>
                <a:lnTo>
                  <a:pt x="606216" y="1931425"/>
                </a:lnTo>
                <a:lnTo>
                  <a:pt x="280783" y="1743083"/>
                </a:lnTo>
                <a:close/>
                <a:moveTo>
                  <a:pt x="12140685" y="1390835"/>
                </a:moveTo>
                <a:cubicBezTo>
                  <a:pt x="12151191" y="1390835"/>
                  <a:pt x="12161050" y="1394985"/>
                  <a:pt x="12168445" y="1402380"/>
                </a:cubicBezTo>
                <a:lnTo>
                  <a:pt x="12188651" y="1422630"/>
                </a:lnTo>
                <a:lnTo>
                  <a:pt x="12188651" y="1690880"/>
                </a:lnTo>
                <a:lnTo>
                  <a:pt x="12034576" y="1536513"/>
                </a:lnTo>
                <a:cubicBezTo>
                  <a:pt x="12019270" y="1521207"/>
                  <a:pt x="12019270" y="1496299"/>
                  <a:pt x="12034576" y="1481120"/>
                </a:cubicBezTo>
                <a:lnTo>
                  <a:pt x="12113056" y="1402380"/>
                </a:lnTo>
                <a:cubicBezTo>
                  <a:pt x="12120448" y="1394985"/>
                  <a:pt x="12130178" y="1390835"/>
                  <a:pt x="12140685" y="1390835"/>
                </a:cubicBezTo>
                <a:close/>
                <a:moveTo>
                  <a:pt x="10086867" y="1390817"/>
                </a:moveTo>
                <a:cubicBezTo>
                  <a:pt x="10097374" y="1390817"/>
                  <a:pt x="10107232" y="1394971"/>
                  <a:pt x="10114626" y="1402365"/>
                </a:cubicBezTo>
                <a:lnTo>
                  <a:pt x="10179226" y="1467099"/>
                </a:lnTo>
                <a:lnTo>
                  <a:pt x="10190770" y="1478768"/>
                </a:lnTo>
                <a:lnTo>
                  <a:pt x="10202315" y="1467099"/>
                </a:lnTo>
                <a:lnTo>
                  <a:pt x="10266786" y="1402365"/>
                </a:lnTo>
                <a:cubicBezTo>
                  <a:pt x="10274178" y="1394840"/>
                  <a:pt x="10284037" y="1390817"/>
                  <a:pt x="10294543" y="1390817"/>
                </a:cubicBezTo>
                <a:cubicBezTo>
                  <a:pt x="10304922" y="1390817"/>
                  <a:pt x="10314781" y="1394971"/>
                  <a:pt x="10322173" y="1402365"/>
                </a:cubicBezTo>
                <a:lnTo>
                  <a:pt x="10400653" y="1480975"/>
                </a:lnTo>
                <a:cubicBezTo>
                  <a:pt x="10408047" y="1488369"/>
                  <a:pt x="10412068" y="1498230"/>
                  <a:pt x="10412198" y="1508734"/>
                </a:cubicBezTo>
                <a:cubicBezTo>
                  <a:pt x="10412198" y="1519244"/>
                  <a:pt x="10408176" y="1529101"/>
                  <a:pt x="10400783" y="1536497"/>
                </a:cubicBezTo>
                <a:lnTo>
                  <a:pt x="10190770" y="1746909"/>
                </a:lnTo>
                <a:lnTo>
                  <a:pt x="9980757" y="1536497"/>
                </a:lnTo>
                <a:cubicBezTo>
                  <a:pt x="9965450" y="1521189"/>
                  <a:pt x="9965450" y="1496283"/>
                  <a:pt x="9980757" y="1481104"/>
                </a:cubicBezTo>
                <a:lnTo>
                  <a:pt x="10059237" y="1402365"/>
                </a:lnTo>
                <a:cubicBezTo>
                  <a:pt x="10066631" y="1394971"/>
                  <a:pt x="10076359" y="1390817"/>
                  <a:pt x="10086867" y="1390817"/>
                </a:cubicBezTo>
                <a:close/>
                <a:moveTo>
                  <a:pt x="8032919" y="1390801"/>
                </a:moveTo>
                <a:cubicBezTo>
                  <a:pt x="8043427" y="1390801"/>
                  <a:pt x="8053285" y="1394955"/>
                  <a:pt x="8060679" y="1402350"/>
                </a:cubicBezTo>
                <a:lnTo>
                  <a:pt x="8125278" y="1467080"/>
                </a:lnTo>
                <a:lnTo>
                  <a:pt x="8136823" y="1478755"/>
                </a:lnTo>
                <a:lnTo>
                  <a:pt x="8148368" y="1467080"/>
                </a:lnTo>
                <a:lnTo>
                  <a:pt x="8212837" y="1402350"/>
                </a:lnTo>
                <a:cubicBezTo>
                  <a:pt x="8220232" y="1394825"/>
                  <a:pt x="8230090" y="1390801"/>
                  <a:pt x="8240596" y="1390801"/>
                </a:cubicBezTo>
                <a:cubicBezTo>
                  <a:pt x="8250975" y="1390801"/>
                  <a:pt x="8260834" y="1394955"/>
                  <a:pt x="8268226" y="1402350"/>
                </a:cubicBezTo>
                <a:lnTo>
                  <a:pt x="8346707" y="1480959"/>
                </a:lnTo>
                <a:cubicBezTo>
                  <a:pt x="8354100" y="1488355"/>
                  <a:pt x="8358121" y="1498213"/>
                  <a:pt x="8358252" y="1508720"/>
                </a:cubicBezTo>
                <a:cubicBezTo>
                  <a:pt x="8358252" y="1519228"/>
                  <a:pt x="8354229" y="1529085"/>
                  <a:pt x="8346837" y="1536482"/>
                </a:cubicBezTo>
                <a:lnTo>
                  <a:pt x="8136823" y="1746895"/>
                </a:lnTo>
                <a:lnTo>
                  <a:pt x="7926811" y="1536482"/>
                </a:lnTo>
                <a:cubicBezTo>
                  <a:pt x="7911503" y="1521173"/>
                  <a:pt x="7911503" y="1496269"/>
                  <a:pt x="7926811" y="1481089"/>
                </a:cubicBezTo>
                <a:lnTo>
                  <a:pt x="8005289" y="1402350"/>
                </a:lnTo>
                <a:cubicBezTo>
                  <a:pt x="8012684" y="1394955"/>
                  <a:pt x="8022413" y="1390801"/>
                  <a:pt x="8032919" y="1390801"/>
                </a:cubicBezTo>
                <a:close/>
                <a:moveTo>
                  <a:pt x="5979110" y="1390787"/>
                </a:moveTo>
                <a:cubicBezTo>
                  <a:pt x="5989617" y="1390787"/>
                  <a:pt x="5999474" y="1394939"/>
                  <a:pt x="6006869" y="1402333"/>
                </a:cubicBezTo>
                <a:lnTo>
                  <a:pt x="6071463" y="1467065"/>
                </a:lnTo>
                <a:lnTo>
                  <a:pt x="6083008" y="1478738"/>
                </a:lnTo>
                <a:lnTo>
                  <a:pt x="6094550" y="1467065"/>
                </a:lnTo>
                <a:lnTo>
                  <a:pt x="6159019" y="1402333"/>
                </a:lnTo>
                <a:cubicBezTo>
                  <a:pt x="6166413" y="1394810"/>
                  <a:pt x="6176271" y="1390787"/>
                  <a:pt x="6186779" y="1390787"/>
                </a:cubicBezTo>
                <a:cubicBezTo>
                  <a:pt x="6197156" y="1390787"/>
                  <a:pt x="6207014" y="1394939"/>
                  <a:pt x="6214409" y="1402333"/>
                </a:cubicBezTo>
                <a:lnTo>
                  <a:pt x="6292888" y="1480945"/>
                </a:lnTo>
                <a:cubicBezTo>
                  <a:pt x="6300282" y="1488339"/>
                  <a:pt x="6304303" y="1498198"/>
                  <a:pt x="6304433" y="1508704"/>
                </a:cubicBezTo>
                <a:cubicBezTo>
                  <a:pt x="6304433" y="1519214"/>
                  <a:pt x="6300412" y="1529070"/>
                  <a:pt x="6293017" y="1536467"/>
                </a:cubicBezTo>
                <a:lnTo>
                  <a:pt x="6083008" y="1746878"/>
                </a:lnTo>
                <a:lnTo>
                  <a:pt x="5873007" y="1536467"/>
                </a:lnTo>
                <a:cubicBezTo>
                  <a:pt x="5857705" y="1521159"/>
                  <a:pt x="5857705" y="1496252"/>
                  <a:pt x="5873007" y="1481074"/>
                </a:cubicBezTo>
                <a:lnTo>
                  <a:pt x="5951483" y="1402333"/>
                </a:lnTo>
                <a:cubicBezTo>
                  <a:pt x="5958875" y="1394939"/>
                  <a:pt x="5968603" y="1390787"/>
                  <a:pt x="5979110" y="1390787"/>
                </a:cubicBezTo>
                <a:close/>
                <a:moveTo>
                  <a:pt x="3925347" y="1390772"/>
                </a:moveTo>
                <a:cubicBezTo>
                  <a:pt x="3935853" y="1390772"/>
                  <a:pt x="3945714" y="1394924"/>
                  <a:pt x="3953107" y="1402317"/>
                </a:cubicBezTo>
                <a:lnTo>
                  <a:pt x="4017707" y="1467050"/>
                </a:lnTo>
                <a:lnTo>
                  <a:pt x="4029252" y="1478722"/>
                </a:lnTo>
                <a:lnTo>
                  <a:pt x="4040800" y="1467050"/>
                </a:lnTo>
                <a:lnTo>
                  <a:pt x="4105268" y="1402317"/>
                </a:lnTo>
                <a:cubicBezTo>
                  <a:pt x="4112666" y="1394793"/>
                  <a:pt x="4122523" y="1390772"/>
                  <a:pt x="4133031" y="1390772"/>
                </a:cubicBezTo>
                <a:cubicBezTo>
                  <a:pt x="4143406" y="1390772"/>
                  <a:pt x="4153268" y="1394924"/>
                  <a:pt x="4160659" y="1402317"/>
                </a:cubicBezTo>
                <a:lnTo>
                  <a:pt x="4239088" y="1480930"/>
                </a:lnTo>
                <a:cubicBezTo>
                  <a:pt x="4246485" y="1488324"/>
                  <a:pt x="4250503" y="1498183"/>
                  <a:pt x="4250643" y="1508688"/>
                </a:cubicBezTo>
                <a:cubicBezTo>
                  <a:pt x="4250643" y="1519197"/>
                  <a:pt x="4246615" y="1529056"/>
                  <a:pt x="4239218" y="1536452"/>
                </a:cubicBezTo>
                <a:lnTo>
                  <a:pt x="4029252" y="1746862"/>
                </a:lnTo>
                <a:lnTo>
                  <a:pt x="3819232" y="1536452"/>
                </a:lnTo>
                <a:cubicBezTo>
                  <a:pt x="3803923" y="1521143"/>
                  <a:pt x="3803923" y="1496236"/>
                  <a:pt x="3819232" y="1481059"/>
                </a:cubicBezTo>
                <a:lnTo>
                  <a:pt x="3897719" y="1402317"/>
                </a:lnTo>
                <a:cubicBezTo>
                  <a:pt x="3905115" y="1394924"/>
                  <a:pt x="3914843" y="1390772"/>
                  <a:pt x="3925347" y="1390772"/>
                </a:cubicBezTo>
                <a:close/>
                <a:moveTo>
                  <a:pt x="1871374" y="1390756"/>
                </a:moveTo>
                <a:cubicBezTo>
                  <a:pt x="1881884" y="1390756"/>
                  <a:pt x="1891739" y="1394908"/>
                  <a:pt x="1899135" y="1402302"/>
                </a:cubicBezTo>
                <a:lnTo>
                  <a:pt x="1963733" y="1467034"/>
                </a:lnTo>
                <a:lnTo>
                  <a:pt x="1975278" y="1478707"/>
                </a:lnTo>
                <a:lnTo>
                  <a:pt x="1986823" y="1467034"/>
                </a:lnTo>
                <a:lnTo>
                  <a:pt x="2051293" y="1402302"/>
                </a:lnTo>
                <a:cubicBezTo>
                  <a:pt x="2058686" y="1394779"/>
                  <a:pt x="2068545" y="1390756"/>
                  <a:pt x="2079052" y="1390756"/>
                </a:cubicBezTo>
                <a:cubicBezTo>
                  <a:pt x="2089431" y="1390756"/>
                  <a:pt x="2099298" y="1394908"/>
                  <a:pt x="2106690" y="1402302"/>
                </a:cubicBezTo>
                <a:lnTo>
                  <a:pt x="2185169" y="1480915"/>
                </a:lnTo>
                <a:cubicBezTo>
                  <a:pt x="2192565" y="1488309"/>
                  <a:pt x="2196587" y="1498167"/>
                  <a:pt x="2196714" y="1508674"/>
                </a:cubicBezTo>
                <a:cubicBezTo>
                  <a:pt x="2196714" y="1519182"/>
                  <a:pt x="2192696" y="1529039"/>
                  <a:pt x="2185300" y="1536435"/>
                </a:cubicBezTo>
                <a:lnTo>
                  <a:pt x="1975278" y="1746846"/>
                </a:lnTo>
                <a:lnTo>
                  <a:pt x="1765266" y="1536435"/>
                </a:lnTo>
                <a:cubicBezTo>
                  <a:pt x="1749958" y="1521128"/>
                  <a:pt x="1749958" y="1496221"/>
                  <a:pt x="1765266" y="1481044"/>
                </a:cubicBezTo>
                <a:lnTo>
                  <a:pt x="1843744" y="1402302"/>
                </a:lnTo>
                <a:cubicBezTo>
                  <a:pt x="1851138" y="1394908"/>
                  <a:pt x="1860867" y="1390756"/>
                  <a:pt x="1871374" y="1390756"/>
                </a:cubicBezTo>
                <a:close/>
                <a:moveTo>
                  <a:pt x="25213" y="1390741"/>
                </a:moveTo>
                <a:cubicBezTo>
                  <a:pt x="35590" y="1390741"/>
                  <a:pt x="45448" y="1394893"/>
                  <a:pt x="52843" y="1402286"/>
                </a:cubicBezTo>
                <a:lnTo>
                  <a:pt x="131322" y="1480899"/>
                </a:lnTo>
                <a:cubicBezTo>
                  <a:pt x="138716" y="1488293"/>
                  <a:pt x="142738" y="1498151"/>
                  <a:pt x="142866" y="1508658"/>
                </a:cubicBezTo>
                <a:cubicBezTo>
                  <a:pt x="142866" y="1519167"/>
                  <a:pt x="138845" y="1529025"/>
                  <a:pt x="131451" y="1536419"/>
                </a:cubicBezTo>
                <a:lnTo>
                  <a:pt x="0" y="1668120"/>
                </a:lnTo>
                <a:lnTo>
                  <a:pt x="0" y="1401227"/>
                </a:lnTo>
                <a:close/>
                <a:moveTo>
                  <a:pt x="10086867" y="1374341"/>
                </a:moveTo>
                <a:cubicBezTo>
                  <a:pt x="10072597" y="1374341"/>
                  <a:pt x="10058458" y="1379791"/>
                  <a:pt x="10047692" y="1390688"/>
                </a:cubicBezTo>
                <a:lnTo>
                  <a:pt x="9969212" y="1469432"/>
                </a:lnTo>
                <a:cubicBezTo>
                  <a:pt x="9947549" y="1491094"/>
                  <a:pt x="9947549" y="1526379"/>
                  <a:pt x="9969212" y="1548042"/>
                </a:cubicBezTo>
                <a:lnTo>
                  <a:pt x="10190770" y="1770130"/>
                </a:lnTo>
                <a:lnTo>
                  <a:pt x="10412328" y="1548042"/>
                </a:lnTo>
                <a:cubicBezTo>
                  <a:pt x="10433990" y="1526379"/>
                  <a:pt x="10433990" y="1491094"/>
                  <a:pt x="10412328" y="1469432"/>
                </a:cubicBezTo>
                <a:lnTo>
                  <a:pt x="10333848" y="1390817"/>
                </a:lnTo>
                <a:cubicBezTo>
                  <a:pt x="10322953" y="1379920"/>
                  <a:pt x="10308813" y="1374473"/>
                  <a:pt x="10294673" y="1374473"/>
                </a:cubicBezTo>
                <a:lnTo>
                  <a:pt x="10294543" y="1374341"/>
                </a:lnTo>
                <a:cubicBezTo>
                  <a:pt x="10280275" y="1374341"/>
                  <a:pt x="10266136" y="1379791"/>
                  <a:pt x="10255241" y="1390817"/>
                </a:cubicBezTo>
                <a:lnTo>
                  <a:pt x="10190770" y="1455423"/>
                </a:lnTo>
                <a:lnTo>
                  <a:pt x="10126171" y="1390688"/>
                </a:lnTo>
                <a:cubicBezTo>
                  <a:pt x="10115274" y="1379791"/>
                  <a:pt x="10101136" y="1374341"/>
                  <a:pt x="10086867" y="1374341"/>
                </a:cubicBezTo>
                <a:close/>
                <a:moveTo>
                  <a:pt x="8032919" y="1374327"/>
                </a:moveTo>
                <a:cubicBezTo>
                  <a:pt x="8018650" y="1374327"/>
                  <a:pt x="8004511" y="1379776"/>
                  <a:pt x="7993744" y="1390674"/>
                </a:cubicBezTo>
                <a:lnTo>
                  <a:pt x="7915266" y="1469418"/>
                </a:lnTo>
                <a:cubicBezTo>
                  <a:pt x="7893603" y="1491079"/>
                  <a:pt x="7893603" y="1526364"/>
                  <a:pt x="7915266" y="1548027"/>
                </a:cubicBezTo>
                <a:lnTo>
                  <a:pt x="8136823" y="1770114"/>
                </a:lnTo>
                <a:lnTo>
                  <a:pt x="8358382" y="1548027"/>
                </a:lnTo>
                <a:cubicBezTo>
                  <a:pt x="8380044" y="1526364"/>
                  <a:pt x="8380044" y="1491079"/>
                  <a:pt x="8358382" y="1469418"/>
                </a:cubicBezTo>
                <a:lnTo>
                  <a:pt x="8279902" y="1390801"/>
                </a:lnTo>
                <a:cubicBezTo>
                  <a:pt x="8269006" y="1379905"/>
                  <a:pt x="8254866" y="1374457"/>
                  <a:pt x="8240727" y="1374457"/>
                </a:cubicBezTo>
                <a:lnTo>
                  <a:pt x="8240596" y="1374327"/>
                </a:lnTo>
                <a:cubicBezTo>
                  <a:pt x="8226328" y="1374327"/>
                  <a:pt x="8212190" y="1379776"/>
                  <a:pt x="8201292" y="1390801"/>
                </a:cubicBezTo>
                <a:lnTo>
                  <a:pt x="8136823" y="1455407"/>
                </a:lnTo>
                <a:lnTo>
                  <a:pt x="8072224" y="1390674"/>
                </a:lnTo>
                <a:cubicBezTo>
                  <a:pt x="8061328" y="1379776"/>
                  <a:pt x="8047187" y="1374327"/>
                  <a:pt x="8032919" y="1374327"/>
                </a:cubicBezTo>
                <a:close/>
                <a:moveTo>
                  <a:pt x="5979110" y="1374312"/>
                </a:moveTo>
                <a:cubicBezTo>
                  <a:pt x="5964843" y="1374312"/>
                  <a:pt x="5950704" y="1379761"/>
                  <a:pt x="5939938" y="1390658"/>
                </a:cubicBezTo>
                <a:lnTo>
                  <a:pt x="5861464" y="1469401"/>
                </a:lnTo>
                <a:cubicBezTo>
                  <a:pt x="5839806" y="1491064"/>
                  <a:pt x="5839806" y="1526348"/>
                  <a:pt x="5861464" y="1548011"/>
                </a:cubicBezTo>
                <a:lnTo>
                  <a:pt x="6083008" y="1770098"/>
                </a:lnTo>
                <a:lnTo>
                  <a:pt x="6304562" y="1548011"/>
                </a:lnTo>
                <a:cubicBezTo>
                  <a:pt x="6326226" y="1526348"/>
                  <a:pt x="6326226" y="1491064"/>
                  <a:pt x="6304562" y="1469401"/>
                </a:cubicBezTo>
                <a:lnTo>
                  <a:pt x="6226084" y="1390787"/>
                </a:lnTo>
                <a:cubicBezTo>
                  <a:pt x="6215186" y="1379889"/>
                  <a:pt x="6201048" y="1374443"/>
                  <a:pt x="6186909" y="1374443"/>
                </a:cubicBezTo>
                <a:lnTo>
                  <a:pt x="6186779" y="1374312"/>
                </a:lnTo>
                <a:cubicBezTo>
                  <a:pt x="6172511" y="1374312"/>
                  <a:pt x="6158370" y="1379761"/>
                  <a:pt x="6147474" y="1390787"/>
                </a:cubicBezTo>
                <a:lnTo>
                  <a:pt x="6083008" y="1455390"/>
                </a:lnTo>
                <a:lnTo>
                  <a:pt x="6018412" y="1390658"/>
                </a:lnTo>
                <a:cubicBezTo>
                  <a:pt x="6007516" y="1379761"/>
                  <a:pt x="5993378" y="1374312"/>
                  <a:pt x="5979110" y="1374312"/>
                </a:cubicBezTo>
                <a:close/>
                <a:moveTo>
                  <a:pt x="3925347" y="1374297"/>
                </a:moveTo>
                <a:cubicBezTo>
                  <a:pt x="3911080" y="1374297"/>
                  <a:pt x="3896940" y="1379746"/>
                  <a:pt x="3886173" y="1390643"/>
                </a:cubicBezTo>
                <a:lnTo>
                  <a:pt x="3807688" y="1469387"/>
                </a:lnTo>
                <a:cubicBezTo>
                  <a:pt x="3786026" y="1491048"/>
                  <a:pt x="3786026" y="1526333"/>
                  <a:pt x="3807688" y="1547996"/>
                </a:cubicBezTo>
                <a:lnTo>
                  <a:pt x="4029252" y="1770082"/>
                </a:lnTo>
                <a:lnTo>
                  <a:pt x="4250768" y="1547996"/>
                </a:lnTo>
                <a:cubicBezTo>
                  <a:pt x="4272427" y="1526333"/>
                  <a:pt x="4272427" y="1491048"/>
                  <a:pt x="4250768" y="1469387"/>
                </a:cubicBezTo>
                <a:lnTo>
                  <a:pt x="4172334" y="1390772"/>
                </a:lnTo>
                <a:cubicBezTo>
                  <a:pt x="4161438" y="1379874"/>
                  <a:pt x="4147299" y="1374426"/>
                  <a:pt x="4133161" y="1374426"/>
                </a:cubicBezTo>
                <a:lnTo>
                  <a:pt x="4133031" y="1374297"/>
                </a:lnTo>
                <a:cubicBezTo>
                  <a:pt x="4118761" y="1374297"/>
                  <a:pt x="4104622" y="1379746"/>
                  <a:pt x="4093725" y="1390772"/>
                </a:cubicBezTo>
                <a:lnTo>
                  <a:pt x="4029252" y="1455376"/>
                </a:lnTo>
                <a:lnTo>
                  <a:pt x="3964654" y="1390643"/>
                </a:lnTo>
                <a:cubicBezTo>
                  <a:pt x="3953756" y="1379746"/>
                  <a:pt x="3939615" y="1374297"/>
                  <a:pt x="3925347" y="1374297"/>
                </a:cubicBezTo>
                <a:close/>
                <a:moveTo>
                  <a:pt x="1871374" y="1374282"/>
                </a:moveTo>
                <a:cubicBezTo>
                  <a:pt x="1857106" y="1374282"/>
                  <a:pt x="1842966" y="1379731"/>
                  <a:pt x="1832200" y="1390627"/>
                </a:cubicBezTo>
                <a:lnTo>
                  <a:pt x="1753721" y="1469369"/>
                </a:lnTo>
                <a:cubicBezTo>
                  <a:pt x="1732059" y="1491033"/>
                  <a:pt x="1732059" y="1526317"/>
                  <a:pt x="1753721" y="1547980"/>
                </a:cubicBezTo>
                <a:lnTo>
                  <a:pt x="1975278" y="1770066"/>
                </a:lnTo>
                <a:lnTo>
                  <a:pt x="2196846" y="1547980"/>
                </a:lnTo>
                <a:cubicBezTo>
                  <a:pt x="2218508" y="1526317"/>
                  <a:pt x="2218508" y="1491033"/>
                  <a:pt x="2196846" y="1469369"/>
                </a:cubicBezTo>
                <a:lnTo>
                  <a:pt x="2118368" y="1390756"/>
                </a:lnTo>
                <a:cubicBezTo>
                  <a:pt x="2107469" y="1379859"/>
                  <a:pt x="2093321" y="1374411"/>
                  <a:pt x="2079181" y="1374411"/>
                </a:cubicBezTo>
                <a:lnTo>
                  <a:pt x="2079052" y="1374282"/>
                </a:lnTo>
                <a:cubicBezTo>
                  <a:pt x="2064784" y="1374282"/>
                  <a:pt x="2050643" y="1379731"/>
                  <a:pt x="2039748" y="1390756"/>
                </a:cubicBezTo>
                <a:lnTo>
                  <a:pt x="1975278" y="1455359"/>
                </a:lnTo>
                <a:lnTo>
                  <a:pt x="1910679" y="1390627"/>
                </a:lnTo>
                <a:cubicBezTo>
                  <a:pt x="1899781" y="1379731"/>
                  <a:pt x="1885643" y="1374282"/>
                  <a:pt x="1871374" y="1374282"/>
                </a:cubicBezTo>
                <a:close/>
                <a:moveTo>
                  <a:pt x="0" y="1204081"/>
                </a:moveTo>
                <a:lnTo>
                  <a:pt x="186352" y="1311926"/>
                </a:lnTo>
                <a:lnTo>
                  <a:pt x="255068" y="1351694"/>
                </a:lnTo>
                <a:lnTo>
                  <a:pt x="255068" y="1737878"/>
                </a:lnTo>
                <a:lnTo>
                  <a:pt x="0" y="1885492"/>
                </a:lnTo>
                <a:lnTo>
                  <a:pt x="0" y="1691301"/>
                </a:lnTo>
                <a:lnTo>
                  <a:pt x="142995" y="1547965"/>
                </a:lnTo>
                <a:cubicBezTo>
                  <a:pt x="164660" y="1526302"/>
                  <a:pt x="164660" y="1491018"/>
                  <a:pt x="142995" y="1469353"/>
                </a:cubicBezTo>
                <a:lnTo>
                  <a:pt x="64516" y="1390741"/>
                </a:lnTo>
                <a:cubicBezTo>
                  <a:pt x="53620" y="1379844"/>
                  <a:pt x="39481" y="1374396"/>
                  <a:pt x="25341" y="1374396"/>
                </a:cubicBezTo>
                <a:lnTo>
                  <a:pt x="25213" y="1374267"/>
                </a:lnTo>
                <a:cubicBezTo>
                  <a:pt x="18079" y="1374267"/>
                  <a:pt x="10976" y="1375628"/>
                  <a:pt x="4296" y="1378369"/>
                </a:cubicBezTo>
                <a:lnTo>
                  <a:pt x="0" y="1381259"/>
                </a:lnTo>
                <a:close/>
                <a:moveTo>
                  <a:pt x="12188651" y="1190935"/>
                </a:moveTo>
                <a:lnTo>
                  <a:pt x="12188651" y="1399384"/>
                </a:lnTo>
                <a:lnTo>
                  <a:pt x="12179990" y="1390703"/>
                </a:lnTo>
                <a:cubicBezTo>
                  <a:pt x="12169092" y="1379806"/>
                  <a:pt x="12154954" y="1374358"/>
                  <a:pt x="12140685" y="1374358"/>
                </a:cubicBezTo>
                <a:cubicBezTo>
                  <a:pt x="12126416" y="1374358"/>
                  <a:pt x="12112276" y="1379806"/>
                  <a:pt x="12101510" y="1390703"/>
                </a:cubicBezTo>
                <a:lnTo>
                  <a:pt x="12023031" y="1469451"/>
                </a:lnTo>
                <a:cubicBezTo>
                  <a:pt x="12001368" y="1491111"/>
                  <a:pt x="12001368" y="1526394"/>
                  <a:pt x="12023031" y="1548057"/>
                </a:cubicBezTo>
                <a:lnTo>
                  <a:pt x="12188651" y="1714074"/>
                </a:lnTo>
                <a:lnTo>
                  <a:pt x="12188651" y="1898836"/>
                </a:lnTo>
                <a:lnTo>
                  <a:pt x="11910696" y="1737973"/>
                </a:lnTo>
                <a:lnTo>
                  <a:pt x="11910696" y="1351792"/>
                </a:lnTo>
                <a:close/>
                <a:moveTo>
                  <a:pt x="10883981" y="1163824"/>
                </a:moveTo>
                <a:lnTo>
                  <a:pt x="11209441" y="1352175"/>
                </a:lnTo>
                <a:lnTo>
                  <a:pt x="11209441" y="1729007"/>
                </a:lnTo>
                <a:lnTo>
                  <a:pt x="10883981" y="1540647"/>
                </a:lnTo>
                <a:close/>
                <a:moveTo>
                  <a:pt x="10867636" y="1163824"/>
                </a:moveTo>
                <a:lnTo>
                  <a:pt x="10867636" y="1540647"/>
                </a:lnTo>
                <a:lnTo>
                  <a:pt x="10542045" y="1729007"/>
                </a:lnTo>
                <a:lnTo>
                  <a:pt x="10542045" y="1352175"/>
                </a:lnTo>
                <a:close/>
                <a:moveTo>
                  <a:pt x="8830033" y="1163807"/>
                </a:moveTo>
                <a:lnTo>
                  <a:pt x="9155493" y="1352160"/>
                </a:lnTo>
                <a:lnTo>
                  <a:pt x="9155493" y="1728992"/>
                </a:lnTo>
                <a:lnTo>
                  <a:pt x="8830033" y="1540632"/>
                </a:lnTo>
                <a:close/>
                <a:moveTo>
                  <a:pt x="8813688" y="1163807"/>
                </a:moveTo>
                <a:lnTo>
                  <a:pt x="8813688" y="1540632"/>
                </a:lnTo>
                <a:lnTo>
                  <a:pt x="8488098" y="1728992"/>
                </a:lnTo>
                <a:lnTo>
                  <a:pt x="8488098" y="1352159"/>
                </a:lnTo>
                <a:close/>
                <a:moveTo>
                  <a:pt x="6776215" y="1163791"/>
                </a:moveTo>
                <a:lnTo>
                  <a:pt x="7101677" y="1352145"/>
                </a:lnTo>
                <a:lnTo>
                  <a:pt x="7101677" y="1728975"/>
                </a:lnTo>
                <a:lnTo>
                  <a:pt x="6776215" y="1540617"/>
                </a:lnTo>
                <a:close/>
                <a:moveTo>
                  <a:pt x="6759871" y="1163791"/>
                </a:moveTo>
                <a:lnTo>
                  <a:pt x="6759871" y="1540617"/>
                </a:lnTo>
                <a:lnTo>
                  <a:pt x="6434280" y="1728975"/>
                </a:lnTo>
                <a:lnTo>
                  <a:pt x="6434280" y="1352145"/>
                </a:lnTo>
                <a:close/>
                <a:moveTo>
                  <a:pt x="4705942" y="1163780"/>
                </a:moveTo>
                <a:lnTo>
                  <a:pt x="4705942" y="1540601"/>
                </a:lnTo>
                <a:lnTo>
                  <a:pt x="4380369" y="1728954"/>
                </a:lnTo>
                <a:lnTo>
                  <a:pt x="4380369" y="1352132"/>
                </a:lnTo>
                <a:close/>
                <a:moveTo>
                  <a:pt x="4722303" y="1163775"/>
                </a:moveTo>
                <a:lnTo>
                  <a:pt x="5047773" y="1352118"/>
                </a:lnTo>
                <a:lnTo>
                  <a:pt x="5047773" y="1728959"/>
                </a:lnTo>
                <a:lnTo>
                  <a:pt x="5020104" y="1712952"/>
                </a:lnTo>
                <a:lnTo>
                  <a:pt x="4722303" y="1540609"/>
                </a:lnTo>
                <a:close/>
                <a:moveTo>
                  <a:pt x="2652150" y="1163775"/>
                </a:moveTo>
                <a:lnTo>
                  <a:pt x="2652150" y="1540587"/>
                </a:lnTo>
                <a:lnTo>
                  <a:pt x="2326589" y="1728927"/>
                </a:lnTo>
                <a:lnTo>
                  <a:pt x="2326589" y="1352115"/>
                </a:lnTo>
                <a:close/>
                <a:moveTo>
                  <a:pt x="2668521" y="1163761"/>
                </a:moveTo>
                <a:lnTo>
                  <a:pt x="2993956" y="1352102"/>
                </a:lnTo>
                <a:lnTo>
                  <a:pt x="2993956" y="1728943"/>
                </a:lnTo>
                <a:lnTo>
                  <a:pt x="2668521" y="1540601"/>
                </a:lnTo>
                <a:close/>
                <a:moveTo>
                  <a:pt x="598173" y="1163759"/>
                </a:moveTo>
                <a:lnTo>
                  <a:pt x="598173" y="1540571"/>
                </a:lnTo>
                <a:lnTo>
                  <a:pt x="272611" y="1728912"/>
                </a:lnTo>
                <a:lnTo>
                  <a:pt x="272611" y="1352101"/>
                </a:lnTo>
                <a:close/>
                <a:moveTo>
                  <a:pt x="614544" y="1163745"/>
                </a:moveTo>
                <a:lnTo>
                  <a:pt x="939978" y="1352086"/>
                </a:lnTo>
                <a:lnTo>
                  <a:pt x="939978" y="1728928"/>
                </a:lnTo>
                <a:lnTo>
                  <a:pt x="614544" y="1540585"/>
                </a:lnTo>
                <a:close/>
                <a:moveTo>
                  <a:pt x="11559549" y="1159023"/>
                </a:moveTo>
                <a:lnTo>
                  <a:pt x="11893312" y="1352175"/>
                </a:lnTo>
                <a:lnTo>
                  <a:pt x="11893312" y="1738478"/>
                </a:lnTo>
                <a:lnTo>
                  <a:pt x="11559679" y="1931637"/>
                </a:lnTo>
                <a:lnTo>
                  <a:pt x="11225916" y="1738478"/>
                </a:lnTo>
                <a:lnTo>
                  <a:pt x="11225916" y="1352175"/>
                </a:lnTo>
                <a:close/>
                <a:moveTo>
                  <a:pt x="9505601" y="1159008"/>
                </a:moveTo>
                <a:lnTo>
                  <a:pt x="9839364" y="1352160"/>
                </a:lnTo>
                <a:lnTo>
                  <a:pt x="9839364" y="1738464"/>
                </a:lnTo>
                <a:lnTo>
                  <a:pt x="9505732" y="1931620"/>
                </a:lnTo>
                <a:lnTo>
                  <a:pt x="9171969" y="1738463"/>
                </a:lnTo>
                <a:lnTo>
                  <a:pt x="9171969" y="1352159"/>
                </a:lnTo>
                <a:close/>
                <a:moveTo>
                  <a:pt x="7451785" y="1158991"/>
                </a:moveTo>
                <a:lnTo>
                  <a:pt x="7785548" y="1352145"/>
                </a:lnTo>
                <a:lnTo>
                  <a:pt x="7785548" y="1738447"/>
                </a:lnTo>
                <a:lnTo>
                  <a:pt x="7451915" y="1931604"/>
                </a:lnTo>
                <a:lnTo>
                  <a:pt x="7118150" y="1738447"/>
                </a:lnTo>
                <a:lnTo>
                  <a:pt x="7118150" y="1352145"/>
                </a:lnTo>
                <a:close/>
                <a:moveTo>
                  <a:pt x="5397886" y="1158976"/>
                </a:moveTo>
                <a:lnTo>
                  <a:pt x="5452129" y="1190368"/>
                </a:lnTo>
                <a:lnTo>
                  <a:pt x="5731616" y="1352126"/>
                </a:lnTo>
                <a:lnTo>
                  <a:pt x="5731616" y="1738431"/>
                </a:lnTo>
                <a:lnTo>
                  <a:pt x="5397992" y="1931587"/>
                </a:lnTo>
                <a:lnTo>
                  <a:pt x="5182218" y="1806716"/>
                </a:lnTo>
                <a:lnTo>
                  <a:pt x="5064275" y="1738445"/>
                </a:lnTo>
                <a:lnTo>
                  <a:pt x="5064275" y="1352132"/>
                </a:lnTo>
                <a:close/>
                <a:moveTo>
                  <a:pt x="3344093" y="1158962"/>
                </a:moveTo>
                <a:lnTo>
                  <a:pt x="3677824" y="1352102"/>
                </a:lnTo>
                <a:lnTo>
                  <a:pt x="3677824" y="1738415"/>
                </a:lnTo>
                <a:lnTo>
                  <a:pt x="3344194" y="1931571"/>
                </a:lnTo>
                <a:lnTo>
                  <a:pt x="3010459" y="1738430"/>
                </a:lnTo>
                <a:lnTo>
                  <a:pt x="3010459" y="1352115"/>
                </a:lnTo>
                <a:close/>
                <a:moveTo>
                  <a:pt x="1290110" y="1158945"/>
                </a:moveTo>
                <a:lnTo>
                  <a:pt x="1623849" y="1352087"/>
                </a:lnTo>
                <a:lnTo>
                  <a:pt x="1623849" y="1738399"/>
                </a:lnTo>
                <a:lnTo>
                  <a:pt x="1290217" y="1931555"/>
                </a:lnTo>
                <a:lnTo>
                  <a:pt x="956479" y="1738413"/>
                </a:lnTo>
                <a:lnTo>
                  <a:pt x="956479" y="1352101"/>
                </a:lnTo>
                <a:close/>
                <a:moveTo>
                  <a:pt x="10190640" y="1158620"/>
                </a:moveTo>
                <a:lnTo>
                  <a:pt x="10524404" y="1351774"/>
                </a:lnTo>
                <a:lnTo>
                  <a:pt x="10524404" y="1737958"/>
                </a:lnTo>
                <a:lnTo>
                  <a:pt x="10190640" y="1931118"/>
                </a:lnTo>
                <a:lnTo>
                  <a:pt x="9856876" y="1737958"/>
                </a:lnTo>
                <a:lnTo>
                  <a:pt x="9856876" y="1351774"/>
                </a:lnTo>
                <a:close/>
                <a:moveTo>
                  <a:pt x="8136693" y="1158604"/>
                </a:moveTo>
                <a:lnTo>
                  <a:pt x="8470456" y="1351760"/>
                </a:lnTo>
                <a:lnTo>
                  <a:pt x="8470456" y="1737941"/>
                </a:lnTo>
                <a:lnTo>
                  <a:pt x="8136693" y="1931100"/>
                </a:lnTo>
                <a:lnTo>
                  <a:pt x="7802930" y="1737941"/>
                </a:lnTo>
                <a:lnTo>
                  <a:pt x="7802930" y="1351760"/>
                </a:lnTo>
                <a:close/>
                <a:moveTo>
                  <a:pt x="6082876" y="1158588"/>
                </a:moveTo>
                <a:lnTo>
                  <a:pt x="6416638" y="1351744"/>
                </a:lnTo>
                <a:lnTo>
                  <a:pt x="6416638" y="1737925"/>
                </a:lnTo>
                <a:lnTo>
                  <a:pt x="6082876" y="1931085"/>
                </a:lnTo>
                <a:lnTo>
                  <a:pt x="5749138" y="1737927"/>
                </a:lnTo>
                <a:lnTo>
                  <a:pt x="5749138" y="1351744"/>
                </a:lnTo>
                <a:close/>
                <a:moveTo>
                  <a:pt x="4029124" y="1158575"/>
                </a:moveTo>
                <a:lnTo>
                  <a:pt x="4362838" y="1351727"/>
                </a:lnTo>
                <a:lnTo>
                  <a:pt x="4362838" y="1737910"/>
                </a:lnTo>
                <a:lnTo>
                  <a:pt x="4029120" y="1931068"/>
                </a:lnTo>
                <a:lnTo>
                  <a:pt x="3695368" y="1737913"/>
                </a:lnTo>
                <a:lnTo>
                  <a:pt x="3695368" y="1351729"/>
                </a:lnTo>
                <a:close/>
                <a:moveTo>
                  <a:pt x="1975151" y="1158559"/>
                </a:moveTo>
                <a:lnTo>
                  <a:pt x="2252090" y="1318821"/>
                </a:lnTo>
                <a:lnTo>
                  <a:pt x="2308917" y="1351709"/>
                </a:lnTo>
                <a:lnTo>
                  <a:pt x="2308917" y="1737894"/>
                </a:lnTo>
                <a:lnTo>
                  <a:pt x="1975144" y="1931051"/>
                </a:lnTo>
                <a:lnTo>
                  <a:pt x="1641388" y="1737898"/>
                </a:lnTo>
                <a:lnTo>
                  <a:pt x="1641388" y="1351714"/>
                </a:lnTo>
                <a:close/>
                <a:moveTo>
                  <a:pt x="11902654" y="960799"/>
                </a:moveTo>
                <a:lnTo>
                  <a:pt x="12188651" y="1126327"/>
                </a:lnTo>
                <a:lnTo>
                  <a:pt x="12188651" y="1171992"/>
                </a:lnTo>
                <a:lnTo>
                  <a:pt x="11902524" y="1337516"/>
                </a:lnTo>
                <a:lnTo>
                  <a:pt x="11577065" y="1149161"/>
                </a:lnTo>
                <a:close/>
                <a:moveTo>
                  <a:pt x="9848833" y="960784"/>
                </a:moveTo>
                <a:lnTo>
                  <a:pt x="10174292" y="1149145"/>
                </a:lnTo>
                <a:lnTo>
                  <a:pt x="9848703" y="1337499"/>
                </a:lnTo>
                <a:lnTo>
                  <a:pt x="9523246" y="1149145"/>
                </a:lnTo>
                <a:close/>
                <a:moveTo>
                  <a:pt x="7794888" y="960771"/>
                </a:moveTo>
                <a:lnTo>
                  <a:pt x="8120344" y="1149132"/>
                </a:lnTo>
                <a:lnTo>
                  <a:pt x="7794758" y="1337484"/>
                </a:lnTo>
                <a:lnTo>
                  <a:pt x="7469301" y="1149132"/>
                </a:lnTo>
                <a:close/>
                <a:moveTo>
                  <a:pt x="5741094" y="960756"/>
                </a:moveTo>
                <a:lnTo>
                  <a:pt x="6066529" y="1149115"/>
                </a:lnTo>
                <a:lnTo>
                  <a:pt x="5740963" y="1337471"/>
                </a:lnTo>
                <a:lnTo>
                  <a:pt x="5504553" y="1200643"/>
                </a:lnTo>
                <a:lnTo>
                  <a:pt x="5415532" y="1149117"/>
                </a:lnTo>
                <a:close/>
                <a:moveTo>
                  <a:pt x="3687323" y="960742"/>
                </a:moveTo>
                <a:lnTo>
                  <a:pt x="4012774" y="1149098"/>
                </a:lnTo>
                <a:lnTo>
                  <a:pt x="3687188" y="1337454"/>
                </a:lnTo>
                <a:lnTo>
                  <a:pt x="3361738" y="1149102"/>
                </a:lnTo>
                <a:close/>
                <a:moveTo>
                  <a:pt x="1633346" y="960729"/>
                </a:moveTo>
                <a:lnTo>
                  <a:pt x="1958798" y="1149083"/>
                </a:lnTo>
                <a:lnTo>
                  <a:pt x="1633210" y="1337440"/>
                </a:lnTo>
                <a:lnTo>
                  <a:pt x="1307756" y="1149086"/>
                </a:lnTo>
                <a:close/>
                <a:moveTo>
                  <a:pt x="11113840" y="796828"/>
                </a:moveTo>
                <a:cubicBezTo>
                  <a:pt x="11124348" y="796828"/>
                  <a:pt x="11134206" y="800978"/>
                  <a:pt x="11141600" y="808373"/>
                </a:cubicBezTo>
                <a:lnTo>
                  <a:pt x="11206199" y="873104"/>
                </a:lnTo>
                <a:lnTo>
                  <a:pt x="11217744" y="884778"/>
                </a:lnTo>
                <a:lnTo>
                  <a:pt x="11229289" y="873104"/>
                </a:lnTo>
                <a:lnTo>
                  <a:pt x="11293758" y="808373"/>
                </a:lnTo>
                <a:cubicBezTo>
                  <a:pt x="11301152" y="800848"/>
                  <a:pt x="11311011" y="796828"/>
                  <a:pt x="11321517" y="796828"/>
                </a:cubicBezTo>
                <a:cubicBezTo>
                  <a:pt x="11331896" y="796828"/>
                  <a:pt x="11341755" y="800978"/>
                  <a:pt x="11349147" y="808373"/>
                </a:cubicBezTo>
                <a:lnTo>
                  <a:pt x="11427627" y="886983"/>
                </a:lnTo>
                <a:lnTo>
                  <a:pt x="11439169" y="914736"/>
                </a:lnTo>
                <a:lnTo>
                  <a:pt x="11427757" y="942490"/>
                </a:lnTo>
                <a:lnTo>
                  <a:pt x="11217744" y="1152909"/>
                </a:lnTo>
                <a:lnTo>
                  <a:pt x="11007731" y="942490"/>
                </a:lnTo>
                <a:lnTo>
                  <a:pt x="10996253" y="914754"/>
                </a:lnTo>
                <a:lnTo>
                  <a:pt x="11007731" y="887113"/>
                </a:lnTo>
                <a:lnTo>
                  <a:pt x="11086210" y="808373"/>
                </a:lnTo>
                <a:cubicBezTo>
                  <a:pt x="11093605" y="800978"/>
                  <a:pt x="11103333" y="796828"/>
                  <a:pt x="11113840" y="796828"/>
                </a:cubicBezTo>
                <a:close/>
                <a:moveTo>
                  <a:pt x="9059892" y="796812"/>
                </a:moveTo>
                <a:cubicBezTo>
                  <a:pt x="9070398" y="796812"/>
                  <a:pt x="9080257" y="800965"/>
                  <a:pt x="9087652" y="808358"/>
                </a:cubicBezTo>
                <a:lnTo>
                  <a:pt x="9152251" y="873089"/>
                </a:lnTo>
                <a:lnTo>
                  <a:pt x="9163796" y="884763"/>
                </a:lnTo>
                <a:lnTo>
                  <a:pt x="9175341" y="873089"/>
                </a:lnTo>
                <a:lnTo>
                  <a:pt x="9239810" y="808358"/>
                </a:lnTo>
                <a:cubicBezTo>
                  <a:pt x="9247204" y="800835"/>
                  <a:pt x="9257062" y="796812"/>
                  <a:pt x="9267570" y="796812"/>
                </a:cubicBezTo>
                <a:cubicBezTo>
                  <a:pt x="9277946" y="796812"/>
                  <a:pt x="9287805" y="800965"/>
                  <a:pt x="9295200" y="808358"/>
                </a:cubicBezTo>
                <a:lnTo>
                  <a:pt x="9373678" y="886967"/>
                </a:lnTo>
                <a:lnTo>
                  <a:pt x="9385221" y="914725"/>
                </a:lnTo>
                <a:lnTo>
                  <a:pt x="9373809" y="942476"/>
                </a:lnTo>
                <a:lnTo>
                  <a:pt x="9163797" y="1152894"/>
                </a:lnTo>
                <a:lnTo>
                  <a:pt x="8953784" y="942476"/>
                </a:lnTo>
                <a:lnTo>
                  <a:pt x="8942307" y="914737"/>
                </a:lnTo>
                <a:lnTo>
                  <a:pt x="8953783" y="887100"/>
                </a:lnTo>
                <a:lnTo>
                  <a:pt x="9032263" y="808358"/>
                </a:lnTo>
                <a:cubicBezTo>
                  <a:pt x="9039655" y="800965"/>
                  <a:pt x="9049385" y="796812"/>
                  <a:pt x="9059892" y="796812"/>
                </a:cubicBezTo>
                <a:close/>
                <a:moveTo>
                  <a:pt x="7006076" y="796800"/>
                </a:moveTo>
                <a:cubicBezTo>
                  <a:pt x="7016582" y="796800"/>
                  <a:pt x="7026440" y="800950"/>
                  <a:pt x="7033834" y="808345"/>
                </a:cubicBezTo>
                <a:lnTo>
                  <a:pt x="7098434" y="873075"/>
                </a:lnTo>
                <a:lnTo>
                  <a:pt x="7109978" y="884750"/>
                </a:lnTo>
                <a:lnTo>
                  <a:pt x="7121523" y="873075"/>
                </a:lnTo>
                <a:lnTo>
                  <a:pt x="7185994" y="808345"/>
                </a:lnTo>
                <a:cubicBezTo>
                  <a:pt x="7193387" y="800820"/>
                  <a:pt x="7203245" y="796800"/>
                  <a:pt x="7213751" y="796800"/>
                </a:cubicBezTo>
                <a:cubicBezTo>
                  <a:pt x="7224130" y="796800"/>
                  <a:pt x="7233989" y="800950"/>
                  <a:pt x="7241381" y="808345"/>
                </a:cubicBezTo>
                <a:lnTo>
                  <a:pt x="7319862" y="886956"/>
                </a:lnTo>
                <a:lnTo>
                  <a:pt x="7331404" y="914710"/>
                </a:lnTo>
                <a:lnTo>
                  <a:pt x="7319992" y="942463"/>
                </a:lnTo>
                <a:lnTo>
                  <a:pt x="7109978" y="1152879"/>
                </a:lnTo>
                <a:lnTo>
                  <a:pt x="6899966" y="942463"/>
                </a:lnTo>
                <a:lnTo>
                  <a:pt x="6888488" y="914725"/>
                </a:lnTo>
                <a:lnTo>
                  <a:pt x="6899966" y="887085"/>
                </a:lnTo>
                <a:lnTo>
                  <a:pt x="6978446" y="808345"/>
                </a:lnTo>
                <a:cubicBezTo>
                  <a:pt x="6985839" y="800950"/>
                  <a:pt x="6995568" y="796800"/>
                  <a:pt x="7006076" y="796800"/>
                </a:cubicBezTo>
                <a:close/>
                <a:moveTo>
                  <a:pt x="4952163" y="796785"/>
                </a:moveTo>
                <a:cubicBezTo>
                  <a:pt x="4962672" y="796785"/>
                  <a:pt x="4972539" y="800935"/>
                  <a:pt x="4979931" y="808330"/>
                </a:cubicBezTo>
                <a:lnTo>
                  <a:pt x="4999601" y="828037"/>
                </a:lnTo>
                <a:lnTo>
                  <a:pt x="5044528" y="873049"/>
                </a:lnTo>
                <a:lnTo>
                  <a:pt x="5056083" y="884723"/>
                </a:lnTo>
                <a:lnTo>
                  <a:pt x="5056083" y="884718"/>
                </a:lnTo>
                <a:lnTo>
                  <a:pt x="5056096" y="884737"/>
                </a:lnTo>
                <a:lnTo>
                  <a:pt x="5067648" y="873062"/>
                </a:lnTo>
                <a:lnTo>
                  <a:pt x="5132091" y="808330"/>
                </a:lnTo>
                <a:cubicBezTo>
                  <a:pt x="5139483" y="800806"/>
                  <a:pt x="5149338" y="796785"/>
                  <a:pt x="5159840" y="796785"/>
                </a:cubicBezTo>
                <a:lnTo>
                  <a:pt x="5187487" y="808327"/>
                </a:lnTo>
                <a:lnTo>
                  <a:pt x="5260329" y="881304"/>
                </a:lnTo>
                <a:lnTo>
                  <a:pt x="5265946" y="886927"/>
                </a:lnTo>
                <a:lnTo>
                  <a:pt x="5277479" y="914688"/>
                </a:lnTo>
                <a:cubicBezTo>
                  <a:pt x="5277479" y="925196"/>
                  <a:pt x="5273469" y="935054"/>
                  <a:pt x="5266075" y="942448"/>
                </a:cubicBezTo>
                <a:lnTo>
                  <a:pt x="5056083" y="1152860"/>
                </a:lnTo>
                <a:lnTo>
                  <a:pt x="4940608" y="1037194"/>
                </a:lnTo>
                <a:lnTo>
                  <a:pt x="4846044" y="942452"/>
                </a:lnTo>
                <a:lnTo>
                  <a:pt x="4834566" y="914718"/>
                </a:lnTo>
                <a:cubicBezTo>
                  <a:pt x="4834566" y="904680"/>
                  <a:pt x="4838398" y="894660"/>
                  <a:pt x="4846044" y="887070"/>
                </a:cubicBezTo>
                <a:lnTo>
                  <a:pt x="4924518" y="808330"/>
                </a:lnTo>
                <a:cubicBezTo>
                  <a:pt x="4931917" y="800935"/>
                  <a:pt x="4941652" y="796785"/>
                  <a:pt x="4952163" y="796785"/>
                </a:cubicBezTo>
                <a:close/>
                <a:moveTo>
                  <a:pt x="2898379" y="796772"/>
                </a:moveTo>
                <a:lnTo>
                  <a:pt x="2926124" y="808309"/>
                </a:lnTo>
                <a:lnTo>
                  <a:pt x="2990715" y="873034"/>
                </a:lnTo>
                <a:lnTo>
                  <a:pt x="3002260" y="884709"/>
                </a:lnTo>
                <a:lnTo>
                  <a:pt x="3002266" y="884703"/>
                </a:lnTo>
                <a:lnTo>
                  <a:pt x="3002284" y="884723"/>
                </a:lnTo>
                <a:lnTo>
                  <a:pt x="3013828" y="873046"/>
                </a:lnTo>
                <a:lnTo>
                  <a:pt x="3078300" y="808316"/>
                </a:lnTo>
                <a:cubicBezTo>
                  <a:pt x="3085695" y="800793"/>
                  <a:pt x="3095551" y="796772"/>
                  <a:pt x="3106059" y="796772"/>
                </a:cubicBezTo>
                <a:lnTo>
                  <a:pt x="3133671" y="808309"/>
                </a:lnTo>
                <a:lnTo>
                  <a:pt x="3212143" y="886914"/>
                </a:lnTo>
                <a:cubicBezTo>
                  <a:pt x="3219537" y="894308"/>
                  <a:pt x="3223561" y="904167"/>
                  <a:pt x="3223689" y="914674"/>
                </a:cubicBezTo>
                <a:cubicBezTo>
                  <a:pt x="3223689" y="925182"/>
                  <a:pt x="3219668" y="935041"/>
                  <a:pt x="3212274" y="942434"/>
                </a:cubicBezTo>
                <a:lnTo>
                  <a:pt x="3002266" y="1152843"/>
                </a:lnTo>
                <a:lnTo>
                  <a:pt x="2792274" y="942447"/>
                </a:lnTo>
                <a:cubicBezTo>
                  <a:pt x="2776962" y="927141"/>
                  <a:pt x="2776962" y="902234"/>
                  <a:pt x="2792274" y="887057"/>
                </a:cubicBezTo>
                <a:lnTo>
                  <a:pt x="2870749" y="808316"/>
                </a:lnTo>
                <a:cubicBezTo>
                  <a:pt x="2878144" y="800921"/>
                  <a:pt x="2887873" y="796772"/>
                  <a:pt x="2898379" y="796772"/>
                </a:cubicBezTo>
                <a:close/>
                <a:moveTo>
                  <a:pt x="844401" y="796757"/>
                </a:moveTo>
                <a:lnTo>
                  <a:pt x="872145" y="808295"/>
                </a:lnTo>
                <a:lnTo>
                  <a:pt x="936739" y="873020"/>
                </a:lnTo>
                <a:lnTo>
                  <a:pt x="948284" y="884695"/>
                </a:lnTo>
                <a:lnTo>
                  <a:pt x="948289" y="884690"/>
                </a:lnTo>
                <a:lnTo>
                  <a:pt x="948306" y="884708"/>
                </a:lnTo>
                <a:lnTo>
                  <a:pt x="959851" y="873033"/>
                </a:lnTo>
                <a:lnTo>
                  <a:pt x="1024320" y="808302"/>
                </a:lnTo>
                <a:cubicBezTo>
                  <a:pt x="1031715" y="800778"/>
                  <a:pt x="1041574" y="796757"/>
                  <a:pt x="1052080" y="796757"/>
                </a:cubicBezTo>
                <a:lnTo>
                  <a:pt x="1079695" y="808295"/>
                </a:lnTo>
                <a:lnTo>
                  <a:pt x="1158166" y="886900"/>
                </a:lnTo>
                <a:cubicBezTo>
                  <a:pt x="1165560" y="894294"/>
                  <a:pt x="1169581" y="904152"/>
                  <a:pt x="1169710" y="914660"/>
                </a:cubicBezTo>
                <a:cubicBezTo>
                  <a:pt x="1169710" y="925168"/>
                  <a:pt x="1165691" y="935027"/>
                  <a:pt x="1158298" y="942421"/>
                </a:cubicBezTo>
                <a:lnTo>
                  <a:pt x="948288" y="1152829"/>
                </a:lnTo>
                <a:lnTo>
                  <a:pt x="738294" y="942434"/>
                </a:lnTo>
                <a:cubicBezTo>
                  <a:pt x="722988" y="927127"/>
                  <a:pt x="722988" y="902221"/>
                  <a:pt x="738294" y="887043"/>
                </a:cubicBezTo>
                <a:lnTo>
                  <a:pt x="816772" y="808302"/>
                </a:lnTo>
                <a:cubicBezTo>
                  <a:pt x="824166" y="800907"/>
                  <a:pt x="833895" y="796757"/>
                  <a:pt x="844401" y="796757"/>
                </a:cubicBezTo>
                <a:close/>
                <a:moveTo>
                  <a:pt x="11113840" y="780338"/>
                </a:moveTo>
                <a:cubicBezTo>
                  <a:pt x="11099571" y="780338"/>
                  <a:pt x="11085432" y="785787"/>
                  <a:pt x="11074665" y="796683"/>
                </a:cubicBezTo>
                <a:lnTo>
                  <a:pt x="10996186" y="875425"/>
                </a:lnTo>
                <a:cubicBezTo>
                  <a:pt x="10985355" y="886258"/>
                  <a:pt x="10979939" y="900495"/>
                  <a:pt x="10979939" y="914730"/>
                </a:cubicBezTo>
                <a:lnTo>
                  <a:pt x="10979942" y="914736"/>
                </a:lnTo>
                <a:lnTo>
                  <a:pt x="10979939" y="914744"/>
                </a:lnTo>
                <a:cubicBezTo>
                  <a:pt x="10979939" y="928981"/>
                  <a:pt x="10985355" y="943218"/>
                  <a:pt x="10996186" y="954050"/>
                </a:cubicBezTo>
                <a:lnTo>
                  <a:pt x="11217744" y="1176145"/>
                </a:lnTo>
                <a:lnTo>
                  <a:pt x="11439301" y="954050"/>
                </a:lnTo>
                <a:cubicBezTo>
                  <a:pt x="11450132" y="943218"/>
                  <a:pt x="11455548" y="928981"/>
                  <a:pt x="11455548" y="914744"/>
                </a:cubicBezTo>
                <a:lnTo>
                  <a:pt x="11455545" y="914736"/>
                </a:lnTo>
                <a:lnTo>
                  <a:pt x="11455548" y="914730"/>
                </a:lnTo>
                <a:cubicBezTo>
                  <a:pt x="11455548" y="900495"/>
                  <a:pt x="11450132" y="886258"/>
                  <a:pt x="11439301" y="875425"/>
                </a:cubicBezTo>
                <a:lnTo>
                  <a:pt x="11360822" y="796812"/>
                </a:lnTo>
                <a:cubicBezTo>
                  <a:pt x="11349927" y="785916"/>
                  <a:pt x="11335787" y="780468"/>
                  <a:pt x="11321647" y="780468"/>
                </a:cubicBezTo>
                <a:lnTo>
                  <a:pt x="11321517" y="780338"/>
                </a:lnTo>
                <a:cubicBezTo>
                  <a:pt x="11307249" y="780338"/>
                  <a:pt x="11293110" y="785787"/>
                  <a:pt x="11282213" y="796812"/>
                </a:cubicBezTo>
                <a:lnTo>
                  <a:pt x="11217744" y="861415"/>
                </a:lnTo>
                <a:lnTo>
                  <a:pt x="11153145" y="796683"/>
                </a:lnTo>
                <a:cubicBezTo>
                  <a:pt x="11142248" y="785787"/>
                  <a:pt x="11128108" y="780338"/>
                  <a:pt x="11113840" y="780338"/>
                </a:cubicBezTo>
                <a:close/>
                <a:moveTo>
                  <a:pt x="9059893" y="780324"/>
                </a:moveTo>
                <a:cubicBezTo>
                  <a:pt x="9045624" y="780324"/>
                  <a:pt x="9031484" y="785773"/>
                  <a:pt x="9020718" y="796669"/>
                </a:cubicBezTo>
                <a:lnTo>
                  <a:pt x="8942239" y="875411"/>
                </a:lnTo>
                <a:cubicBezTo>
                  <a:pt x="8931408" y="886243"/>
                  <a:pt x="8925992" y="900480"/>
                  <a:pt x="8925992" y="914717"/>
                </a:cubicBezTo>
                <a:lnTo>
                  <a:pt x="8925994" y="914722"/>
                </a:lnTo>
                <a:lnTo>
                  <a:pt x="8925991" y="914730"/>
                </a:lnTo>
                <a:cubicBezTo>
                  <a:pt x="8925991" y="928969"/>
                  <a:pt x="8931406" y="943203"/>
                  <a:pt x="8942238" y="954035"/>
                </a:cubicBezTo>
                <a:lnTo>
                  <a:pt x="9163796" y="1176130"/>
                </a:lnTo>
                <a:lnTo>
                  <a:pt x="9385353" y="954035"/>
                </a:lnTo>
                <a:cubicBezTo>
                  <a:pt x="9396184" y="943203"/>
                  <a:pt x="9401600" y="928969"/>
                  <a:pt x="9401600" y="914730"/>
                </a:cubicBezTo>
                <a:lnTo>
                  <a:pt x="9401598" y="914725"/>
                </a:lnTo>
                <a:lnTo>
                  <a:pt x="9401601" y="914717"/>
                </a:lnTo>
                <a:cubicBezTo>
                  <a:pt x="9401601" y="900480"/>
                  <a:pt x="9396185" y="886243"/>
                  <a:pt x="9385354" y="875411"/>
                </a:cubicBezTo>
                <a:lnTo>
                  <a:pt x="9306876" y="796800"/>
                </a:lnTo>
                <a:cubicBezTo>
                  <a:pt x="9295978" y="785903"/>
                  <a:pt x="9281840" y="780454"/>
                  <a:pt x="9267701" y="780454"/>
                </a:cubicBezTo>
                <a:lnTo>
                  <a:pt x="9267571" y="780324"/>
                </a:lnTo>
                <a:cubicBezTo>
                  <a:pt x="9253303" y="780324"/>
                  <a:pt x="9239162" y="785773"/>
                  <a:pt x="9228266" y="796800"/>
                </a:cubicBezTo>
                <a:lnTo>
                  <a:pt x="9163797" y="861401"/>
                </a:lnTo>
                <a:lnTo>
                  <a:pt x="9099198" y="796669"/>
                </a:lnTo>
                <a:cubicBezTo>
                  <a:pt x="9088300" y="785773"/>
                  <a:pt x="9074162" y="780324"/>
                  <a:pt x="9059893" y="780324"/>
                </a:cubicBezTo>
                <a:close/>
                <a:moveTo>
                  <a:pt x="7006076" y="780310"/>
                </a:moveTo>
                <a:cubicBezTo>
                  <a:pt x="6991805" y="780310"/>
                  <a:pt x="6977666" y="785759"/>
                  <a:pt x="6966901" y="796656"/>
                </a:cubicBezTo>
                <a:lnTo>
                  <a:pt x="6888421" y="875397"/>
                </a:lnTo>
                <a:cubicBezTo>
                  <a:pt x="6877589" y="886228"/>
                  <a:pt x="6872174" y="900465"/>
                  <a:pt x="6872174" y="914703"/>
                </a:cubicBezTo>
                <a:lnTo>
                  <a:pt x="6872176" y="914710"/>
                </a:lnTo>
                <a:lnTo>
                  <a:pt x="6872174" y="914717"/>
                </a:lnTo>
                <a:cubicBezTo>
                  <a:pt x="6872174" y="928953"/>
                  <a:pt x="6877589" y="943189"/>
                  <a:pt x="6888421" y="954021"/>
                </a:cubicBezTo>
                <a:lnTo>
                  <a:pt x="7109978" y="1176113"/>
                </a:lnTo>
                <a:lnTo>
                  <a:pt x="7331537" y="954021"/>
                </a:lnTo>
                <a:cubicBezTo>
                  <a:pt x="7342368" y="943189"/>
                  <a:pt x="7347783" y="928953"/>
                  <a:pt x="7347783" y="914717"/>
                </a:cubicBezTo>
                <a:lnTo>
                  <a:pt x="7347780" y="914710"/>
                </a:lnTo>
                <a:lnTo>
                  <a:pt x="7347783" y="914703"/>
                </a:lnTo>
                <a:cubicBezTo>
                  <a:pt x="7347783" y="900465"/>
                  <a:pt x="7342368" y="886228"/>
                  <a:pt x="7331537" y="875397"/>
                </a:cubicBezTo>
                <a:lnTo>
                  <a:pt x="7253057" y="796785"/>
                </a:lnTo>
                <a:cubicBezTo>
                  <a:pt x="7242161" y="785888"/>
                  <a:pt x="7228022" y="780440"/>
                  <a:pt x="7213882" y="780440"/>
                </a:cubicBezTo>
                <a:lnTo>
                  <a:pt x="7213751" y="780310"/>
                </a:lnTo>
                <a:cubicBezTo>
                  <a:pt x="7199483" y="780310"/>
                  <a:pt x="7185345" y="785759"/>
                  <a:pt x="7174449" y="796785"/>
                </a:cubicBezTo>
                <a:lnTo>
                  <a:pt x="7109978" y="861387"/>
                </a:lnTo>
                <a:lnTo>
                  <a:pt x="7045379" y="796656"/>
                </a:lnTo>
                <a:cubicBezTo>
                  <a:pt x="7034483" y="785759"/>
                  <a:pt x="7020344" y="780310"/>
                  <a:pt x="7006076" y="780310"/>
                </a:cubicBezTo>
                <a:close/>
                <a:moveTo>
                  <a:pt x="4952154" y="780296"/>
                </a:moveTo>
                <a:cubicBezTo>
                  <a:pt x="4937883" y="780296"/>
                  <a:pt x="4923734" y="785745"/>
                  <a:pt x="4912973" y="796641"/>
                </a:cubicBezTo>
                <a:lnTo>
                  <a:pt x="4834497" y="875382"/>
                </a:lnTo>
                <a:cubicBezTo>
                  <a:pt x="4812828" y="897046"/>
                  <a:pt x="4812828" y="932332"/>
                  <a:pt x="4834497" y="953994"/>
                </a:cubicBezTo>
                <a:lnTo>
                  <a:pt x="4834505" y="954001"/>
                </a:lnTo>
                <a:lnTo>
                  <a:pt x="4834511" y="954008"/>
                </a:lnTo>
                <a:lnTo>
                  <a:pt x="4925572" y="1045292"/>
                </a:lnTo>
                <a:lnTo>
                  <a:pt x="5056083" y="1176084"/>
                </a:lnTo>
                <a:lnTo>
                  <a:pt x="5056083" y="1176081"/>
                </a:lnTo>
                <a:lnTo>
                  <a:pt x="5056096" y="1176099"/>
                </a:lnTo>
                <a:lnTo>
                  <a:pt x="5277619" y="954008"/>
                </a:lnTo>
                <a:cubicBezTo>
                  <a:pt x="5299298" y="932344"/>
                  <a:pt x="5299298" y="897060"/>
                  <a:pt x="5277619" y="875395"/>
                </a:cubicBezTo>
                <a:lnTo>
                  <a:pt x="5277613" y="875386"/>
                </a:lnTo>
                <a:lnTo>
                  <a:pt x="5277613" y="875382"/>
                </a:lnTo>
                <a:lnTo>
                  <a:pt x="5199129" y="796772"/>
                </a:lnTo>
                <a:cubicBezTo>
                  <a:pt x="5188240" y="785874"/>
                  <a:pt x="5174094" y="780426"/>
                  <a:pt x="5159958" y="780426"/>
                </a:cubicBezTo>
                <a:lnTo>
                  <a:pt x="5159834" y="780296"/>
                </a:lnTo>
                <a:cubicBezTo>
                  <a:pt x="5145563" y="780296"/>
                  <a:pt x="5131434" y="785745"/>
                  <a:pt x="5120536" y="796772"/>
                </a:cubicBezTo>
                <a:lnTo>
                  <a:pt x="5056083" y="861369"/>
                </a:lnTo>
                <a:lnTo>
                  <a:pt x="5001140" y="806336"/>
                </a:lnTo>
                <a:lnTo>
                  <a:pt x="4991465" y="796641"/>
                </a:lnTo>
                <a:cubicBezTo>
                  <a:pt x="4980570" y="785745"/>
                  <a:pt x="4966424" y="780296"/>
                  <a:pt x="4952154" y="780296"/>
                </a:cubicBezTo>
                <a:close/>
                <a:moveTo>
                  <a:pt x="2898359" y="780282"/>
                </a:moveTo>
                <a:cubicBezTo>
                  <a:pt x="2884086" y="780282"/>
                  <a:pt x="2869949" y="785730"/>
                  <a:pt x="2859182" y="796627"/>
                </a:cubicBezTo>
                <a:lnTo>
                  <a:pt x="2780702" y="875369"/>
                </a:lnTo>
                <a:cubicBezTo>
                  <a:pt x="2759040" y="897032"/>
                  <a:pt x="2759040" y="932316"/>
                  <a:pt x="2780702" y="953981"/>
                </a:cubicBezTo>
                <a:lnTo>
                  <a:pt x="3002260" y="1176068"/>
                </a:lnTo>
                <a:lnTo>
                  <a:pt x="3002266" y="1176063"/>
                </a:lnTo>
                <a:lnTo>
                  <a:pt x="3002284" y="1176082"/>
                </a:lnTo>
                <a:lnTo>
                  <a:pt x="3223843" y="953994"/>
                </a:lnTo>
                <a:cubicBezTo>
                  <a:pt x="3245509" y="932331"/>
                  <a:pt x="3245509" y="897046"/>
                  <a:pt x="3223843" y="875382"/>
                </a:cubicBezTo>
                <a:lnTo>
                  <a:pt x="3145363" y="796772"/>
                </a:lnTo>
                <a:cubicBezTo>
                  <a:pt x="3139913" y="791323"/>
                  <a:pt x="3133654" y="787234"/>
                  <a:pt x="3126992" y="784512"/>
                </a:cubicBezTo>
                <a:lnTo>
                  <a:pt x="3126986" y="784511"/>
                </a:lnTo>
                <a:lnTo>
                  <a:pt x="3126967" y="784499"/>
                </a:lnTo>
                <a:lnTo>
                  <a:pt x="3106177" y="780415"/>
                </a:lnTo>
                <a:lnTo>
                  <a:pt x="3106059" y="780295"/>
                </a:lnTo>
                <a:lnTo>
                  <a:pt x="3106051" y="780298"/>
                </a:lnTo>
                <a:lnTo>
                  <a:pt x="3106034" y="780282"/>
                </a:lnTo>
                <a:cubicBezTo>
                  <a:pt x="3091767" y="780282"/>
                  <a:pt x="3077626" y="785730"/>
                  <a:pt x="3066731" y="796757"/>
                </a:cubicBezTo>
                <a:lnTo>
                  <a:pt x="3002266" y="861353"/>
                </a:lnTo>
                <a:lnTo>
                  <a:pt x="2937685" y="796641"/>
                </a:lnTo>
                <a:cubicBezTo>
                  <a:pt x="2932238" y="791192"/>
                  <a:pt x="2925979" y="787106"/>
                  <a:pt x="2919300" y="784382"/>
                </a:cubicBezTo>
                <a:lnTo>
                  <a:pt x="2919293" y="784381"/>
                </a:lnTo>
                <a:lnTo>
                  <a:pt x="2919273" y="784369"/>
                </a:lnTo>
                <a:cubicBezTo>
                  <a:pt x="2912591" y="781644"/>
                  <a:pt x="2905489" y="780282"/>
                  <a:pt x="2898359" y="780282"/>
                </a:cubicBezTo>
                <a:close/>
                <a:moveTo>
                  <a:pt x="844379" y="780268"/>
                </a:moveTo>
                <a:cubicBezTo>
                  <a:pt x="830112" y="780268"/>
                  <a:pt x="815972" y="785717"/>
                  <a:pt x="805206" y="796613"/>
                </a:cubicBezTo>
                <a:lnTo>
                  <a:pt x="726726" y="875355"/>
                </a:lnTo>
                <a:cubicBezTo>
                  <a:pt x="705063" y="897019"/>
                  <a:pt x="705063" y="932303"/>
                  <a:pt x="726726" y="953966"/>
                </a:cubicBezTo>
                <a:lnTo>
                  <a:pt x="948284" y="1176053"/>
                </a:lnTo>
                <a:lnTo>
                  <a:pt x="948288" y="1176048"/>
                </a:lnTo>
                <a:lnTo>
                  <a:pt x="948306" y="1176067"/>
                </a:lnTo>
                <a:lnTo>
                  <a:pt x="1169863" y="953980"/>
                </a:lnTo>
                <a:cubicBezTo>
                  <a:pt x="1191525" y="932316"/>
                  <a:pt x="1191525" y="897032"/>
                  <a:pt x="1169863" y="875369"/>
                </a:cubicBezTo>
                <a:lnTo>
                  <a:pt x="1091384" y="796757"/>
                </a:lnTo>
                <a:cubicBezTo>
                  <a:pt x="1085937" y="791309"/>
                  <a:pt x="1079676" y="787222"/>
                  <a:pt x="1073012" y="784498"/>
                </a:cubicBezTo>
                <a:lnTo>
                  <a:pt x="1073010" y="784497"/>
                </a:lnTo>
                <a:lnTo>
                  <a:pt x="1072991" y="784484"/>
                </a:lnTo>
                <a:lnTo>
                  <a:pt x="1052198" y="780401"/>
                </a:lnTo>
                <a:lnTo>
                  <a:pt x="1052080" y="780282"/>
                </a:lnTo>
                <a:lnTo>
                  <a:pt x="1052072" y="780283"/>
                </a:lnTo>
                <a:lnTo>
                  <a:pt x="1052057" y="780268"/>
                </a:lnTo>
                <a:cubicBezTo>
                  <a:pt x="1037789" y="780268"/>
                  <a:pt x="1023649" y="785717"/>
                  <a:pt x="1012754" y="796743"/>
                </a:cubicBezTo>
                <a:lnTo>
                  <a:pt x="948290" y="861340"/>
                </a:lnTo>
                <a:lnTo>
                  <a:pt x="883707" y="796627"/>
                </a:lnTo>
                <a:cubicBezTo>
                  <a:pt x="878259" y="791178"/>
                  <a:pt x="872000" y="787092"/>
                  <a:pt x="865320" y="784368"/>
                </a:cubicBezTo>
                <a:lnTo>
                  <a:pt x="865315" y="784367"/>
                </a:lnTo>
                <a:lnTo>
                  <a:pt x="865296" y="784354"/>
                </a:lnTo>
                <a:cubicBezTo>
                  <a:pt x="858616" y="781630"/>
                  <a:pt x="851515" y="780268"/>
                  <a:pt x="844379" y="780268"/>
                </a:cubicBezTo>
                <a:close/>
                <a:moveTo>
                  <a:pt x="11910826" y="569816"/>
                </a:moveTo>
                <a:lnTo>
                  <a:pt x="12188651" y="730603"/>
                </a:lnTo>
                <a:lnTo>
                  <a:pt x="12188651" y="1107455"/>
                </a:lnTo>
                <a:lnTo>
                  <a:pt x="11910826" y="946654"/>
                </a:lnTo>
                <a:close/>
                <a:moveTo>
                  <a:pt x="11894481" y="569816"/>
                </a:moveTo>
                <a:lnTo>
                  <a:pt x="11894481" y="946654"/>
                </a:lnTo>
                <a:lnTo>
                  <a:pt x="11568890" y="1135023"/>
                </a:lnTo>
                <a:lnTo>
                  <a:pt x="11568890" y="758171"/>
                </a:lnTo>
                <a:close/>
                <a:moveTo>
                  <a:pt x="9857006" y="569803"/>
                </a:moveTo>
                <a:lnTo>
                  <a:pt x="10182468" y="758157"/>
                </a:lnTo>
                <a:lnTo>
                  <a:pt x="10182468" y="1135005"/>
                </a:lnTo>
                <a:lnTo>
                  <a:pt x="9857006" y="946640"/>
                </a:lnTo>
                <a:close/>
                <a:moveTo>
                  <a:pt x="9840661" y="569803"/>
                </a:moveTo>
                <a:lnTo>
                  <a:pt x="9840661" y="946640"/>
                </a:lnTo>
                <a:lnTo>
                  <a:pt x="9515070" y="1135005"/>
                </a:lnTo>
                <a:lnTo>
                  <a:pt x="9515070" y="758157"/>
                </a:lnTo>
                <a:close/>
                <a:moveTo>
                  <a:pt x="7803060" y="569788"/>
                </a:moveTo>
                <a:lnTo>
                  <a:pt x="8128521" y="758143"/>
                </a:lnTo>
                <a:lnTo>
                  <a:pt x="8128521" y="1134990"/>
                </a:lnTo>
                <a:lnTo>
                  <a:pt x="7803060" y="946626"/>
                </a:lnTo>
                <a:close/>
                <a:moveTo>
                  <a:pt x="7786715" y="569788"/>
                </a:moveTo>
                <a:lnTo>
                  <a:pt x="7786715" y="946626"/>
                </a:lnTo>
                <a:lnTo>
                  <a:pt x="7461125" y="1134990"/>
                </a:lnTo>
                <a:lnTo>
                  <a:pt x="7461125" y="758143"/>
                </a:lnTo>
                <a:close/>
                <a:moveTo>
                  <a:pt x="5749267" y="569774"/>
                </a:moveTo>
                <a:lnTo>
                  <a:pt x="6074705" y="758130"/>
                </a:lnTo>
                <a:lnTo>
                  <a:pt x="6074705" y="1134975"/>
                </a:lnTo>
                <a:lnTo>
                  <a:pt x="5749267" y="946613"/>
                </a:lnTo>
                <a:close/>
                <a:moveTo>
                  <a:pt x="5732923" y="569774"/>
                </a:moveTo>
                <a:lnTo>
                  <a:pt x="5732923" y="946611"/>
                </a:lnTo>
                <a:lnTo>
                  <a:pt x="5407356" y="1134972"/>
                </a:lnTo>
                <a:lnTo>
                  <a:pt x="5407356" y="758130"/>
                </a:lnTo>
                <a:close/>
                <a:moveTo>
                  <a:pt x="3679146" y="569764"/>
                </a:moveTo>
                <a:lnTo>
                  <a:pt x="3679146" y="946598"/>
                </a:lnTo>
                <a:lnTo>
                  <a:pt x="3353565" y="1134955"/>
                </a:lnTo>
                <a:lnTo>
                  <a:pt x="3353565" y="758117"/>
                </a:lnTo>
                <a:close/>
                <a:moveTo>
                  <a:pt x="3695498" y="569759"/>
                </a:moveTo>
                <a:lnTo>
                  <a:pt x="4020947" y="758112"/>
                </a:lnTo>
                <a:lnTo>
                  <a:pt x="4020947" y="1134957"/>
                </a:lnTo>
                <a:lnTo>
                  <a:pt x="3695498" y="946601"/>
                </a:lnTo>
                <a:close/>
                <a:moveTo>
                  <a:pt x="1625167" y="569748"/>
                </a:moveTo>
                <a:lnTo>
                  <a:pt x="1625167" y="946584"/>
                </a:lnTo>
                <a:lnTo>
                  <a:pt x="1299584" y="1134940"/>
                </a:lnTo>
                <a:lnTo>
                  <a:pt x="1299584" y="758102"/>
                </a:lnTo>
                <a:close/>
                <a:moveTo>
                  <a:pt x="1641516" y="569745"/>
                </a:moveTo>
                <a:lnTo>
                  <a:pt x="1966972" y="758098"/>
                </a:lnTo>
                <a:lnTo>
                  <a:pt x="1966972" y="1134943"/>
                </a:lnTo>
                <a:lnTo>
                  <a:pt x="1641516" y="946587"/>
                </a:lnTo>
                <a:close/>
                <a:moveTo>
                  <a:pt x="10532576" y="565003"/>
                </a:moveTo>
                <a:lnTo>
                  <a:pt x="10866339" y="758157"/>
                </a:lnTo>
                <a:lnTo>
                  <a:pt x="10866339" y="1144474"/>
                </a:lnTo>
                <a:lnTo>
                  <a:pt x="10532706" y="1337629"/>
                </a:lnTo>
                <a:lnTo>
                  <a:pt x="10198941" y="1144474"/>
                </a:lnTo>
                <a:lnTo>
                  <a:pt x="10198941" y="758157"/>
                </a:lnTo>
                <a:close/>
                <a:moveTo>
                  <a:pt x="8478628" y="564988"/>
                </a:moveTo>
                <a:lnTo>
                  <a:pt x="8812392" y="758143"/>
                </a:lnTo>
                <a:lnTo>
                  <a:pt x="8812392" y="1144459"/>
                </a:lnTo>
                <a:lnTo>
                  <a:pt x="8478758" y="1337616"/>
                </a:lnTo>
                <a:lnTo>
                  <a:pt x="8144995" y="1144459"/>
                </a:lnTo>
                <a:lnTo>
                  <a:pt x="8144995" y="758143"/>
                </a:lnTo>
                <a:close/>
                <a:moveTo>
                  <a:pt x="6424810" y="564974"/>
                </a:moveTo>
                <a:lnTo>
                  <a:pt x="6758573" y="758130"/>
                </a:lnTo>
                <a:lnTo>
                  <a:pt x="6758573" y="1144443"/>
                </a:lnTo>
                <a:lnTo>
                  <a:pt x="6424940" y="1337600"/>
                </a:lnTo>
                <a:lnTo>
                  <a:pt x="6091179" y="1144443"/>
                </a:lnTo>
                <a:lnTo>
                  <a:pt x="6091179" y="758130"/>
                </a:lnTo>
                <a:close/>
                <a:moveTo>
                  <a:pt x="4371020" y="564960"/>
                </a:moveTo>
                <a:lnTo>
                  <a:pt x="4704777" y="758114"/>
                </a:lnTo>
                <a:lnTo>
                  <a:pt x="4704777" y="1144429"/>
                </a:lnTo>
                <a:lnTo>
                  <a:pt x="4371146" y="1337586"/>
                </a:lnTo>
                <a:lnTo>
                  <a:pt x="4203813" y="1240748"/>
                </a:lnTo>
                <a:lnTo>
                  <a:pt x="4037427" y="1144432"/>
                </a:lnTo>
                <a:lnTo>
                  <a:pt x="4037427" y="758117"/>
                </a:lnTo>
                <a:close/>
                <a:moveTo>
                  <a:pt x="2317096" y="564946"/>
                </a:moveTo>
                <a:lnTo>
                  <a:pt x="2650849" y="758098"/>
                </a:lnTo>
                <a:lnTo>
                  <a:pt x="2650849" y="1144413"/>
                </a:lnTo>
                <a:lnTo>
                  <a:pt x="2317220" y="1337570"/>
                </a:lnTo>
                <a:lnTo>
                  <a:pt x="1983454" y="1144417"/>
                </a:lnTo>
                <a:lnTo>
                  <a:pt x="1983454" y="758102"/>
                </a:lnTo>
                <a:close/>
                <a:moveTo>
                  <a:pt x="263248" y="564931"/>
                </a:moveTo>
                <a:lnTo>
                  <a:pt x="597003" y="758084"/>
                </a:lnTo>
                <a:lnTo>
                  <a:pt x="597003" y="1144398"/>
                </a:lnTo>
                <a:lnTo>
                  <a:pt x="263372" y="1337554"/>
                </a:lnTo>
                <a:lnTo>
                  <a:pt x="0" y="1185135"/>
                </a:lnTo>
                <a:lnTo>
                  <a:pt x="0" y="717338"/>
                </a:lnTo>
                <a:close/>
                <a:moveTo>
                  <a:pt x="11217614" y="564628"/>
                </a:moveTo>
                <a:lnTo>
                  <a:pt x="11551377" y="757782"/>
                </a:lnTo>
                <a:lnTo>
                  <a:pt x="11551377" y="1143957"/>
                </a:lnTo>
                <a:lnTo>
                  <a:pt x="11217614" y="1337111"/>
                </a:lnTo>
                <a:lnTo>
                  <a:pt x="10883851" y="1143959"/>
                </a:lnTo>
                <a:lnTo>
                  <a:pt x="10883851" y="757782"/>
                </a:lnTo>
                <a:close/>
                <a:moveTo>
                  <a:pt x="9163666" y="564614"/>
                </a:moveTo>
                <a:lnTo>
                  <a:pt x="9497429" y="757768"/>
                </a:lnTo>
                <a:lnTo>
                  <a:pt x="9497429" y="1143944"/>
                </a:lnTo>
                <a:lnTo>
                  <a:pt x="9163666" y="1337098"/>
                </a:lnTo>
                <a:lnTo>
                  <a:pt x="8829903" y="1143941"/>
                </a:lnTo>
                <a:lnTo>
                  <a:pt x="8829903" y="757768"/>
                </a:lnTo>
                <a:close/>
                <a:moveTo>
                  <a:pt x="7109850" y="564599"/>
                </a:moveTo>
                <a:lnTo>
                  <a:pt x="7443613" y="757755"/>
                </a:lnTo>
                <a:lnTo>
                  <a:pt x="7443613" y="1143928"/>
                </a:lnTo>
                <a:lnTo>
                  <a:pt x="7109850" y="1337082"/>
                </a:lnTo>
                <a:lnTo>
                  <a:pt x="6776085" y="1143928"/>
                </a:lnTo>
                <a:lnTo>
                  <a:pt x="6776085" y="757755"/>
                </a:lnTo>
                <a:close/>
                <a:moveTo>
                  <a:pt x="5055971" y="564585"/>
                </a:moveTo>
                <a:lnTo>
                  <a:pt x="5143887" y="615477"/>
                </a:lnTo>
                <a:lnTo>
                  <a:pt x="5389701" y="757730"/>
                </a:lnTo>
                <a:lnTo>
                  <a:pt x="5389701" y="1143911"/>
                </a:lnTo>
                <a:lnTo>
                  <a:pt x="5055949" y="1337066"/>
                </a:lnTo>
                <a:lnTo>
                  <a:pt x="4722183" y="1143920"/>
                </a:lnTo>
                <a:lnTo>
                  <a:pt x="4722183" y="757740"/>
                </a:lnTo>
                <a:close/>
                <a:moveTo>
                  <a:pt x="3002159" y="564571"/>
                </a:moveTo>
                <a:lnTo>
                  <a:pt x="3016027" y="572597"/>
                </a:lnTo>
                <a:lnTo>
                  <a:pt x="3335897" y="757711"/>
                </a:lnTo>
                <a:lnTo>
                  <a:pt x="3335897" y="1143896"/>
                </a:lnTo>
                <a:lnTo>
                  <a:pt x="3002127" y="1337052"/>
                </a:lnTo>
                <a:lnTo>
                  <a:pt x="2668394" y="1143911"/>
                </a:lnTo>
                <a:lnTo>
                  <a:pt x="2668394" y="757727"/>
                </a:lnTo>
                <a:close/>
                <a:moveTo>
                  <a:pt x="948179" y="564556"/>
                </a:moveTo>
                <a:lnTo>
                  <a:pt x="1281917" y="757697"/>
                </a:lnTo>
                <a:lnTo>
                  <a:pt x="1281917" y="1143881"/>
                </a:lnTo>
                <a:lnTo>
                  <a:pt x="948154" y="1337037"/>
                </a:lnTo>
                <a:lnTo>
                  <a:pt x="740385" y="1216797"/>
                </a:lnTo>
                <a:lnTo>
                  <a:pt x="614417" y="1143897"/>
                </a:lnTo>
                <a:lnTo>
                  <a:pt x="614417" y="757713"/>
                </a:lnTo>
                <a:close/>
                <a:moveTo>
                  <a:pt x="10875809" y="366803"/>
                </a:moveTo>
                <a:lnTo>
                  <a:pt x="11201256" y="555149"/>
                </a:lnTo>
                <a:lnTo>
                  <a:pt x="10875678" y="743498"/>
                </a:lnTo>
                <a:lnTo>
                  <a:pt x="10550231" y="555149"/>
                </a:lnTo>
                <a:close/>
                <a:moveTo>
                  <a:pt x="8821860" y="366789"/>
                </a:moveTo>
                <a:lnTo>
                  <a:pt x="9147308" y="555135"/>
                </a:lnTo>
                <a:lnTo>
                  <a:pt x="8821731" y="743485"/>
                </a:lnTo>
                <a:lnTo>
                  <a:pt x="8496282" y="555135"/>
                </a:lnTo>
                <a:close/>
                <a:moveTo>
                  <a:pt x="6768043" y="366774"/>
                </a:moveTo>
                <a:lnTo>
                  <a:pt x="7093491" y="555121"/>
                </a:lnTo>
                <a:lnTo>
                  <a:pt x="6767913" y="743469"/>
                </a:lnTo>
                <a:lnTo>
                  <a:pt x="6442466" y="555121"/>
                </a:lnTo>
                <a:close/>
                <a:moveTo>
                  <a:pt x="4714128" y="366759"/>
                </a:moveTo>
                <a:lnTo>
                  <a:pt x="5039593" y="555101"/>
                </a:lnTo>
                <a:lnTo>
                  <a:pt x="4713993" y="743455"/>
                </a:lnTo>
                <a:lnTo>
                  <a:pt x="4388549" y="555110"/>
                </a:lnTo>
                <a:close/>
                <a:moveTo>
                  <a:pt x="2660353" y="366745"/>
                </a:moveTo>
                <a:lnTo>
                  <a:pt x="2961041" y="540764"/>
                </a:lnTo>
                <a:lnTo>
                  <a:pt x="2985786" y="555084"/>
                </a:lnTo>
                <a:lnTo>
                  <a:pt x="2660196" y="743441"/>
                </a:lnTo>
                <a:lnTo>
                  <a:pt x="2334766" y="555101"/>
                </a:lnTo>
                <a:close/>
                <a:moveTo>
                  <a:pt x="606375" y="366730"/>
                </a:moveTo>
                <a:lnTo>
                  <a:pt x="931808" y="555071"/>
                </a:lnTo>
                <a:lnTo>
                  <a:pt x="606218" y="743426"/>
                </a:lnTo>
                <a:lnTo>
                  <a:pt x="280784" y="555086"/>
                </a:lnTo>
                <a:close/>
                <a:moveTo>
                  <a:pt x="12140685" y="202966"/>
                </a:moveTo>
                <a:cubicBezTo>
                  <a:pt x="12151191" y="202966"/>
                  <a:pt x="12161050" y="207115"/>
                  <a:pt x="12168445" y="214509"/>
                </a:cubicBezTo>
                <a:lnTo>
                  <a:pt x="12188651" y="234757"/>
                </a:lnTo>
                <a:lnTo>
                  <a:pt x="12188651" y="503007"/>
                </a:lnTo>
                <a:lnTo>
                  <a:pt x="12034576" y="348641"/>
                </a:lnTo>
                <a:cubicBezTo>
                  <a:pt x="12019270" y="333336"/>
                  <a:pt x="12019270" y="308429"/>
                  <a:pt x="12034576" y="293253"/>
                </a:cubicBezTo>
                <a:lnTo>
                  <a:pt x="12113056" y="214509"/>
                </a:lnTo>
                <a:cubicBezTo>
                  <a:pt x="12120448" y="207115"/>
                  <a:pt x="12130178" y="202966"/>
                  <a:pt x="12140685" y="202966"/>
                </a:cubicBezTo>
                <a:close/>
                <a:moveTo>
                  <a:pt x="10086867" y="202950"/>
                </a:moveTo>
                <a:cubicBezTo>
                  <a:pt x="10097374" y="202950"/>
                  <a:pt x="10107232" y="207102"/>
                  <a:pt x="10114626" y="214495"/>
                </a:cubicBezTo>
                <a:lnTo>
                  <a:pt x="10179226" y="279226"/>
                </a:lnTo>
                <a:lnTo>
                  <a:pt x="10190770" y="290903"/>
                </a:lnTo>
                <a:lnTo>
                  <a:pt x="10202315" y="279226"/>
                </a:lnTo>
                <a:lnTo>
                  <a:pt x="10266786" y="214495"/>
                </a:lnTo>
                <a:cubicBezTo>
                  <a:pt x="10274178" y="206971"/>
                  <a:pt x="10284037" y="202950"/>
                  <a:pt x="10294543" y="202950"/>
                </a:cubicBezTo>
                <a:cubicBezTo>
                  <a:pt x="10304922" y="202950"/>
                  <a:pt x="10314781" y="207102"/>
                  <a:pt x="10322173" y="214495"/>
                </a:cubicBezTo>
                <a:lnTo>
                  <a:pt x="10400653" y="293106"/>
                </a:lnTo>
                <a:cubicBezTo>
                  <a:pt x="10408047" y="300500"/>
                  <a:pt x="10412068" y="310360"/>
                  <a:pt x="10412198" y="320867"/>
                </a:cubicBezTo>
                <a:cubicBezTo>
                  <a:pt x="10412198" y="331375"/>
                  <a:pt x="10408176" y="341234"/>
                  <a:pt x="10400783" y="348627"/>
                </a:cubicBezTo>
                <a:lnTo>
                  <a:pt x="10190770" y="559036"/>
                </a:lnTo>
                <a:lnTo>
                  <a:pt x="9980757" y="348627"/>
                </a:lnTo>
                <a:cubicBezTo>
                  <a:pt x="9965450" y="333321"/>
                  <a:pt x="9965450" y="308414"/>
                  <a:pt x="9980757" y="293236"/>
                </a:cubicBezTo>
                <a:lnTo>
                  <a:pt x="10059237" y="214495"/>
                </a:lnTo>
                <a:cubicBezTo>
                  <a:pt x="10066631" y="207102"/>
                  <a:pt x="10076359" y="202950"/>
                  <a:pt x="10086867" y="202950"/>
                </a:cubicBezTo>
                <a:close/>
                <a:moveTo>
                  <a:pt x="8032919" y="202936"/>
                </a:moveTo>
                <a:cubicBezTo>
                  <a:pt x="8043427" y="202936"/>
                  <a:pt x="8053285" y="207087"/>
                  <a:pt x="8060679" y="214481"/>
                </a:cubicBezTo>
                <a:lnTo>
                  <a:pt x="8125278" y="279212"/>
                </a:lnTo>
                <a:lnTo>
                  <a:pt x="8136823" y="290888"/>
                </a:lnTo>
                <a:lnTo>
                  <a:pt x="8148368" y="279212"/>
                </a:lnTo>
                <a:lnTo>
                  <a:pt x="8212837" y="214481"/>
                </a:lnTo>
                <a:cubicBezTo>
                  <a:pt x="8220232" y="206957"/>
                  <a:pt x="8230090" y="202936"/>
                  <a:pt x="8240596" y="202936"/>
                </a:cubicBezTo>
                <a:cubicBezTo>
                  <a:pt x="8250975" y="202936"/>
                  <a:pt x="8260834" y="207087"/>
                  <a:pt x="8268226" y="214481"/>
                </a:cubicBezTo>
                <a:lnTo>
                  <a:pt x="8346707" y="293091"/>
                </a:lnTo>
                <a:cubicBezTo>
                  <a:pt x="8354100" y="300487"/>
                  <a:pt x="8358121" y="310344"/>
                  <a:pt x="8358252" y="320853"/>
                </a:cubicBezTo>
                <a:cubicBezTo>
                  <a:pt x="8358252" y="331360"/>
                  <a:pt x="8354229" y="341220"/>
                  <a:pt x="8346837" y="348613"/>
                </a:cubicBezTo>
                <a:lnTo>
                  <a:pt x="8136823" y="559021"/>
                </a:lnTo>
                <a:lnTo>
                  <a:pt x="7926811" y="348613"/>
                </a:lnTo>
                <a:cubicBezTo>
                  <a:pt x="7911503" y="333305"/>
                  <a:pt x="7911503" y="308399"/>
                  <a:pt x="7926811" y="293223"/>
                </a:cubicBezTo>
                <a:lnTo>
                  <a:pt x="8005289" y="214481"/>
                </a:lnTo>
                <a:cubicBezTo>
                  <a:pt x="8012684" y="207087"/>
                  <a:pt x="8022413" y="202936"/>
                  <a:pt x="8032919" y="202936"/>
                </a:cubicBezTo>
                <a:close/>
                <a:moveTo>
                  <a:pt x="5979111" y="202922"/>
                </a:moveTo>
                <a:cubicBezTo>
                  <a:pt x="5989617" y="202922"/>
                  <a:pt x="5999474" y="207071"/>
                  <a:pt x="6006869" y="214466"/>
                </a:cubicBezTo>
                <a:lnTo>
                  <a:pt x="6071463" y="279197"/>
                </a:lnTo>
                <a:lnTo>
                  <a:pt x="6083008" y="290872"/>
                </a:lnTo>
                <a:lnTo>
                  <a:pt x="6094550" y="279197"/>
                </a:lnTo>
                <a:lnTo>
                  <a:pt x="6159019" y="214466"/>
                </a:lnTo>
                <a:cubicBezTo>
                  <a:pt x="6166413" y="206942"/>
                  <a:pt x="6176271" y="202922"/>
                  <a:pt x="6186779" y="202922"/>
                </a:cubicBezTo>
                <a:cubicBezTo>
                  <a:pt x="6197156" y="202922"/>
                  <a:pt x="6207014" y="207071"/>
                  <a:pt x="6214409" y="214466"/>
                </a:cubicBezTo>
                <a:lnTo>
                  <a:pt x="6292888" y="293078"/>
                </a:lnTo>
                <a:cubicBezTo>
                  <a:pt x="6300282" y="300473"/>
                  <a:pt x="6304303" y="310331"/>
                  <a:pt x="6304433" y="320838"/>
                </a:cubicBezTo>
                <a:cubicBezTo>
                  <a:pt x="6304433" y="331345"/>
                  <a:pt x="6300412" y="341204"/>
                  <a:pt x="6293017" y="348599"/>
                </a:cubicBezTo>
                <a:lnTo>
                  <a:pt x="6083008" y="559007"/>
                </a:lnTo>
                <a:lnTo>
                  <a:pt x="5873007" y="348599"/>
                </a:lnTo>
                <a:cubicBezTo>
                  <a:pt x="5857705" y="333290"/>
                  <a:pt x="5857705" y="308385"/>
                  <a:pt x="5873007" y="293208"/>
                </a:cubicBezTo>
                <a:lnTo>
                  <a:pt x="5951485" y="214466"/>
                </a:lnTo>
                <a:cubicBezTo>
                  <a:pt x="5958875" y="207071"/>
                  <a:pt x="5968605" y="202922"/>
                  <a:pt x="5979111" y="202922"/>
                </a:cubicBezTo>
                <a:close/>
                <a:moveTo>
                  <a:pt x="3925350" y="202907"/>
                </a:moveTo>
                <a:cubicBezTo>
                  <a:pt x="3935853" y="202907"/>
                  <a:pt x="3945719" y="207057"/>
                  <a:pt x="3953107" y="214451"/>
                </a:cubicBezTo>
                <a:lnTo>
                  <a:pt x="4017710" y="279184"/>
                </a:lnTo>
                <a:lnTo>
                  <a:pt x="4029255" y="290858"/>
                </a:lnTo>
                <a:lnTo>
                  <a:pt x="4040802" y="279184"/>
                </a:lnTo>
                <a:lnTo>
                  <a:pt x="4105272" y="214451"/>
                </a:lnTo>
                <a:cubicBezTo>
                  <a:pt x="4112668" y="206928"/>
                  <a:pt x="4122525" y="202907"/>
                  <a:pt x="4133033" y="202907"/>
                </a:cubicBezTo>
                <a:cubicBezTo>
                  <a:pt x="4143410" y="202907"/>
                  <a:pt x="4153270" y="207057"/>
                  <a:pt x="4160664" y="214451"/>
                </a:cubicBezTo>
                <a:lnTo>
                  <a:pt x="4239091" y="293063"/>
                </a:lnTo>
                <a:cubicBezTo>
                  <a:pt x="4246485" y="300458"/>
                  <a:pt x="4250509" y="310316"/>
                  <a:pt x="4250643" y="320823"/>
                </a:cubicBezTo>
                <a:cubicBezTo>
                  <a:pt x="4250643" y="331330"/>
                  <a:pt x="4246615" y="341189"/>
                  <a:pt x="4239218" y="348583"/>
                </a:cubicBezTo>
                <a:lnTo>
                  <a:pt x="4029255" y="558992"/>
                </a:lnTo>
                <a:lnTo>
                  <a:pt x="3819236" y="348583"/>
                </a:lnTo>
                <a:cubicBezTo>
                  <a:pt x="3803926" y="333277"/>
                  <a:pt x="3803926" y="308369"/>
                  <a:pt x="3819236" y="293193"/>
                </a:cubicBezTo>
                <a:lnTo>
                  <a:pt x="3897721" y="214451"/>
                </a:lnTo>
                <a:cubicBezTo>
                  <a:pt x="3905117" y="207057"/>
                  <a:pt x="3914844" y="202907"/>
                  <a:pt x="3925350" y="202907"/>
                </a:cubicBezTo>
                <a:close/>
                <a:moveTo>
                  <a:pt x="1871377" y="202891"/>
                </a:moveTo>
                <a:cubicBezTo>
                  <a:pt x="1881884" y="202891"/>
                  <a:pt x="1891742" y="207042"/>
                  <a:pt x="1899135" y="214436"/>
                </a:cubicBezTo>
                <a:lnTo>
                  <a:pt x="1963735" y="279169"/>
                </a:lnTo>
                <a:lnTo>
                  <a:pt x="1975281" y="290844"/>
                </a:lnTo>
                <a:lnTo>
                  <a:pt x="1986824" y="279169"/>
                </a:lnTo>
                <a:lnTo>
                  <a:pt x="2051295" y="214436"/>
                </a:lnTo>
                <a:cubicBezTo>
                  <a:pt x="2058689" y="206913"/>
                  <a:pt x="2068548" y="202891"/>
                  <a:pt x="2079054" y="202891"/>
                </a:cubicBezTo>
                <a:cubicBezTo>
                  <a:pt x="2089433" y="202891"/>
                  <a:pt x="2099298" y="207042"/>
                  <a:pt x="2106692" y="214436"/>
                </a:cubicBezTo>
                <a:lnTo>
                  <a:pt x="2185175" y="293048"/>
                </a:lnTo>
                <a:cubicBezTo>
                  <a:pt x="2192567" y="300443"/>
                  <a:pt x="2196589" y="310301"/>
                  <a:pt x="2196719" y="320809"/>
                </a:cubicBezTo>
                <a:cubicBezTo>
                  <a:pt x="2196719" y="331317"/>
                  <a:pt x="2192698" y="341175"/>
                  <a:pt x="2185303" y="348569"/>
                </a:cubicBezTo>
                <a:lnTo>
                  <a:pt x="1975281" y="558978"/>
                </a:lnTo>
                <a:lnTo>
                  <a:pt x="1765268" y="348569"/>
                </a:lnTo>
                <a:cubicBezTo>
                  <a:pt x="1749960" y="333262"/>
                  <a:pt x="1749960" y="308355"/>
                  <a:pt x="1765268" y="293179"/>
                </a:cubicBezTo>
                <a:lnTo>
                  <a:pt x="1843747" y="214436"/>
                </a:lnTo>
                <a:cubicBezTo>
                  <a:pt x="1851141" y="207042"/>
                  <a:pt x="1860869" y="202891"/>
                  <a:pt x="1871377" y="202891"/>
                </a:cubicBezTo>
                <a:close/>
                <a:moveTo>
                  <a:pt x="25217" y="202877"/>
                </a:moveTo>
                <a:cubicBezTo>
                  <a:pt x="35592" y="202877"/>
                  <a:pt x="45451" y="207028"/>
                  <a:pt x="52846" y="214422"/>
                </a:cubicBezTo>
                <a:lnTo>
                  <a:pt x="131324" y="293033"/>
                </a:lnTo>
                <a:cubicBezTo>
                  <a:pt x="138719" y="300428"/>
                  <a:pt x="142740" y="310286"/>
                  <a:pt x="142867" y="320794"/>
                </a:cubicBezTo>
                <a:cubicBezTo>
                  <a:pt x="142867" y="331302"/>
                  <a:pt x="138848" y="341161"/>
                  <a:pt x="131454" y="348554"/>
                </a:cubicBezTo>
                <a:lnTo>
                  <a:pt x="0" y="480257"/>
                </a:lnTo>
                <a:lnTo>
                  <a:pt x="0" y="213364"/>
                </a:lnTo>
                <a:close/>
                <a:moveTo>
                  <a:pt x="10086867" y="186475"/>
                </a:moveTo>
                <a:cubicBezTo>
                  <a:pt x="10072597" y="186475"/>
                  <a:pt x="10058458" y="191923"/>
                  <a:pt x="10047692" y="202821"/>
                </a:cubicBezTo>
                <a:lnTo>
                  <a:pt x="9969212" y="281561"/>
                </a:lnTo>
                <a:cubicBezTo>
                  <a:pt x="9947549" y="303225"/>
                  <a:pt x="9947549" y="338510"/>
                  <a:pt x="9969212" y="360173"/>
                </a:cubicBezTo>
                <a:lnTo>
                  <a:pt x="10190770" y="582255"/>
                </a:lnTo>
                <a:lnTo>
                  <a:pt x="10412328" y="360173"/>
                </a:lnTo>
                <a:cubicBezTo>
                  <a:pt x="10433990" y="338510"/>
                  <a:pt x="10433990" y="303225"/>
                  <a:pt x="10412328" y="281561"/>
                </a:cubicBezTo>
                <a:lnTo>
                  <a:pt x="10333848" y="202950"/>
                </a:lnTo>
                <a:cubicBezTo>
                  <a:pt x="10322953" y="192053"/>
                  <a:pt x="10308813" y="186606"/>
                  <a:pt x="10294673" y="186606"/>
                </a:cubicBezTo>
                <a:lnTo>
                  <a:pt x="10294543" y="186475"/>
                </a:lnTo>
                <a:cubicBezTo>
                  <a:pt x="10280275" y="186475"/>
                  <a:pt x="10266136" y="191923"/>
                  <a:pt x="10255241" y="202950"/>
                </a:cubicBezTo>
                <a:lnTo>
                  <a:pt x="10190770" y="267553"/>
                </a:lnTo>
                <a:lnTo>
                  <a:pt x="10126171" y="202821"/>
                </a:lnTo>
                <a:cubicBezTo>
                  <a:pt x="10115274" y="191923"/>
                  <a:pt x="10101136" y="186475"/>
                  <a:pt x="10086867" y="186475"/>
                </a:cubicBezTo>
                <a:close/>
                <a:moveTo>
                  <a:pt x="8032919" y="186461"/>
                </a:moveTo>
                <a:cubicBezTo>
                  <a:pt x="8018650" y="186461"/>
                  <a:pt x="8004511" y="191909"/>
                  <a:pt x="7993744" y="202806"/>
                </a:cubicBezTo>
                <a:lnTo>
                  <a:pt x="7915266" y="281547"/>
                </a:lnTo>
                <a:cubicBezTo>
                  <a:pt x="7893603" y="303211"/>
                  <a:pt x="7893603" y="338495"/>
                  <a:pt x="7915266" y="360159"/>
                </a:cubicBezTo>
                <a:lnTo>
                  <a:pt x="8136823" y="582242"/>
                </a:lnTo>
                <a:lnTo>
                  <a:pt x="8358382" y="360159"/>
                </a:lnTo>
                <a:cubicBezTo>
                  <a:pt x="8380044" y="338495"/>
                  <a:pt x="8380044" y="303211"/>
                  <a:pt x="8358382" y="281547"/>
                </a:cubicBezTo>
                <a:lnTo>
                  <a:pt x="8279902" y="202936"/>
                </a:lnTo>
                <a:cubicBezTo>
                  <a:pt x="8269006" y="192038"/>
                  <a:pt x="8254866" y="186591"/>
                  <a:pt x="8240727" y="186591"/>
                </a:cubicBezTo>
                <a:lnTo>
                  <a:pt x="8240596" y="186461"/>
                </a:lnTo>
                <a:cubicBezTo>
                  <a:pt x="8226328" y="186461"/>
                  <a:pt x="8212190" y="191909"/>
                  <a:pt x="8201292" y="202936"/>
                </a:cubicBezTo>
                <a:lnTo>
                  <a:pt x="8136823" y="267537"/>
                </a:lnTo>
                <a:lnTo>
                  <a:pt x="8072224" y="202806"/>
                </a:lnTo>
                <a:cubicBezTo>
                  <a:pt x="8061328" y="191909"/>
                  <a:pt x="8047187" y="186461"/>
                  <a:pt x="8032919" y="186461"/>
                </a:cubicBezTo>
                <a:close/>
                <a:moveTo>
                  <a:pt x="5979111" y="186446"/>
                </a:moveTo>
                <a:cubicBezTo>
                  <a:pt x="5964843" y="186446"/>
                  <a:pt x="5950704" y="191896"/>
                  <a:pt x="5939940" y="202790"/>
                </a:cubicBezTo>
                <a:lnTo>
                  <a:pt x="5861464" y="281532"/>
                </a:lnTo>
                <a:cubicBezTo>
                  <a:pt x="5839806" y="303196"/>
                  <a:pt x="5839806" y="338481"/>
                  <a:pt x="5861464" y="360144"/>
                </a:cubicBezTo>
                <a:lnTo>
                  <a:pt x="6083008" y="582227"/>
                </a:lnTo>
                <a:lnTo>
                  <a:pt x="6304562" y="360144"/>
                </a:lnTo>
                <a:cubicBezTo>
                  <a:pt x="6326226" y="338481"/>
                  <a:pt x="6326226" y="303196"/>
                  <a:pt x="6304562" y="281532"/>
                </a:cubicBezTo>
                <a:lnTo>
                  <a:pt x="6226084" y="202922"/>
                </a:lnTo>
                <a:cubicBezTo>
                  <a:pt x="6215186" y="192023"/>
                  <a:pt x="6201048" y="186576"/>
                  <a:pt x="6186909" y="186576"/>
                </a:cubicBezTo>
                <a:lnTo>
                  <a:pt x="6186779" y="186446"/>
                </a:lnTo>
                <a:cubicBezTo>
                  <a:pt x="6172511" y="186446"/>
                  <a:pt x="6158370" y="191896"/>
                  <a:pt x="6147474" y="202922"/>
                </a:cubicBezTo>
                <a:lnTo>
                  <a:pt x="6083008" y="267522"/>
                </a:lnTo>
                <a:lnTo>
                  <a:pt x="6018412" y="202790"/>
                </a:lnTo>
                <a:cubicBezTo>
                  <a:pt x="6007516" y="191896"/>
                  <a:pt x="5993380" y="186446"/>
                  <a:pt x="5979111" y="186446"/>
                </a:cubicBezTo>
                <a:close/>
                <a:moveTo>
                  <a:pt x="3925350" y="186431"/>
                </a:moveTo>
                <a:cubicBezTo>
                  <a:pt x="3911082" y="186431"/>
                  <a:pt x="3896942" y="191880"/>
                  <a:pt x="3886173" y="202777"/>
                </a:cubicBezTo>
                <a:lnTo>
                  <a:pt x="3807690" y="281518"/>
                </a:lnTo>
                <a:cubicBezTo>
                  <a:pt x="3786026" y="303181"/>
                  <a:pt x="3786026" y="338465"/>
                  <a:pt x="3807690" y="360128"/>
                </a:cubicBezTo>
                <a:lnTo>
                  <a:pt x="4029255" y="582213"/>
                </a:lnTo>
                <a:lnTo>
                  <a:pt x="4250768" y="360128"/>
                </a:lnTo>
                <a:cubicBezTo>
                  <a:pt x="4272427" y="338465"/>
                  <a:pt x="4272427" y="303181"/>
                  <a:pt x="4250768" y="281518"/>
                </a:cubicBezTo>
                <a:lnTo>
                  <a:pt x="4172338" y="202907"/>
                </a:lnTo>
                <a:cubicBezTo>
                  <a:pt x="4161440" y="192009"/>
                  <a:pt x="4147303" y="186561"/>
                  <a:pt x="4133162" y="186561"/>
                </a:cubicBezTo>
                <a:lnTo>
                  <a:pt x="4133033" y="186431"/>
                </a:lnTo>
                <a:cubicBezTo>
                  <a:pt x="4118762" y="186431"/>
                  <a:pt x="4104625" y="191880"/>
                  <a:pt x="4093728" y="202907"/>
                </a:cubicBezTo>
                <a:lnTo>
                  <a:pt x="4029255" y="267508"/>
                </a:lnTo>
                <a:lnTo>
                  <a:pt x="3964656" y="202777"/>
                </a:lnTo>
                <a:cubicBezTo>
                  <a:pt x="3953756" y="191880"/>
                  <a:pt x="3939617" y="186431"/>
                  <a:pt x="3925350" y="186431"/>
                </a:cubicBezTo>
                <a:close/>
                <a:moveTo>
                  <a:pt x="1871377" y="186416"/>
                </a:moveTo>
                <a:cubicBezTo>
                  <a:pt x="1857110" y="186416"/>
                  <a:pt x="1842970" y="191865"/>
                  <a:pt x="1832202" y="202761"/>
                </a:cubicBezTo>
                <a:lnTo>
                  <a:pt x="1753725" y="281503"/>
                </a:lnTo>
                <a:cubicBezTo>
                  <a:pt x="1732061" y="303167"/>
                  <a:pt x="1732061" y="338451"/>
                  <a:pt x="1753725" y="360115"/>
                </a:cubicBezTo>
                <a:lnTo>
                  <a:pt x="1975281" y="582199"/>
                </a:lnTo>
                <a:lnTo>
                  <a:pt x="2196847" y="360115"/>
                </a:lnTo>
                <a:cubicBezTo>
                  <a:pt x="2218511" y="338451"/>
                  <a:pt x="2218511" y="303167"/>
                  <a:pt x="2196847" y="281503"/>
                </a:cubicBezTo>
                <a:lnTo>
                  <a:pt x="2118368" y="202891"/>
                </a:lnTo>
                <a:cubicBezTo>
                  <a:pt x="2107471" y="191994"/>
                  <a:pt x="2093325" y="186547"/>
                  <a:pt x="2079182" y="186547"/>
                </a:cubicBezTo>
                <a:lnTo>
                  <a:pt x="2079054" y="186416"/>
                </a:lnTo>
                <a:cubicBezTo>
                  <a:pt x="2064785" y="186416"/>
                  <a:pt x="2050647" y="191865"/>
                  <a:pt x="2039750" y="202891"/>
                </a:cubicBezTo>
                <a:lnTo>
                  <a:pt x="1975281" y="267493"/>
                </a:lnTo>
                <a:lnTo>
                  <a:pt x="1910682" y="202761"/>
                </a:lnTo>
                <a:cubicBezTo>
                  <a:pt x="1899785" y="191865"/>
                  <a:pt x="1885645" y="186416"/>
                  <a:pt x="1871377" y="186416"/>
                </a:cubicBezTo>
                <a:close/>
                <a:moveTo>
                  <a:pt x="0" y="16212"/>
                </a:moveTo>
                <a:lnTo>
                  <a:pt x="255071" y="163827"/>
                </a:lnTo>
                <a:lnTo>
                  <a:pt x="255071" y="550010"/>
                </a:lnTo>
                <a:lnTo>
                  <a:pt x="0" y="697625"/>
                </a:lnTo>
                <a:lnTo>
                  <a:pt x="0" y="503439"/>
                </a:lnTo>
                <a:lnTo>
                  <a:pt x="143000" y="360100"/>
                </a:lnTo>
                <a:cubicBezTo>
                  <a:pt x="164663" y="338436"/>
                  <a:pt x="164663" y="303152"/>
                  <a:pt x="143000" y="281489"/>
                </a:cubicBezTo>
                <a:lnTo>
                  <a:pt x="64519" y="202877"/>
                </a:lnTo>
                <a:cubicBezTo>
                  <a:pt x="53623" y="191979"/>
                  <a:pt x="39484" y="186532"/>
                  <a:pt x="25344" y="186532"/>
                </a:cubicBezTo>
                <a:lnTo>
                  <a:pt x="25217" y="186401"/>
                </a:lnTo>
                <a:cubicBezTo>
                  <a:pt x="18081" y="186401"/>
                  <a:pt x="10979" y="187764"/>
                  <a:pt x="4299" y="190504"/>
                </a:cubicBezTo>
                <a:lnTo>
                  <a:pt x="0" y="193396"/>
                </a:lnTo>
                <a:close/>
                <a:moveTo>
                  <a:pt x="12188651" y="3063"/>
                </a:moveTo>
                <a:lnTo>
                  <a:pt x="12188651" y="211515"/>
                </a:lnTo>
                <a:lnTo>
                  <a:pt x="12179990" y="202835"/>
                </a:lnTo>
                <a:cubicBezTo>
                  <a:pt x="12169092" y="191938"/>
                  <a:pt x="12154954" y="186490"/>
                  <a:pt x="12140685" y="186490"/>
                </a:cubicBezTo>
                <a:cubicBezTo>
                  <a:pt x="12126416" y="186490"/>
                  <a:pt x="12112276" y="191938"/>
                  <a:pt x="12101510" y="202835"/>
                </a:cubicBezTo>
                <a:lnTo>
                  <a:pt x="12023031" y="281576"/>
                </a:lnTo>
                <a:cubicBezTo>
                  <a:pt x="12001368" y="303240"/>
                  <a:pt x="12001368" y="338524"/>
                  <a:pt x="12023031" y="360188"/>
                </a:cubicBezTo>
                <a:lnTo>
                  <a:pt x="12188651" y="526200"/>
                </a:lnTo>
                <a:lnTo>
                  <a:pt x="12188651" y="710954"/>
                </a:lnTo>
                <a:lnTo>
                  <a:pt x="11910696" y="550094"/>
                </a:lnTo>
                <a:lnTo>
                  <a:pt x="11910696" y="163920"/>
                </a:lnTo>
                <a:close/>
                <a:moveTo>
                  <a:pt x="11643950" y="0"/>
                </a:moveTo>
                <a:lnTo>
                  <a:pt x="12161201" y="0"/>
                </a:lnTo>
                <a:lnTo>
                  <a:pt x="11902524" y="149646"/>
                </a:lnTo>
                <a:close/>
                <a:moveTo>
                  <a:pt x="11509496" y="0"/>
                </a:moveTo>
                <a:lnTo>
                  <a:pt x="11609622" y="0"/>
                </a:lnTo>
                <a:lnTo>
                  <a:pt x="11893312" y="164177"/>
                </a:lnTo>
                <a:lnTo>
                  <a:pt x="11893312" y="550471"/>
                </a:lnTo>
                <a:lnTo>
                  <a:pt x="11559679" y="743626"/>
                </a:lnTo>
                <a:lnTo>
                  <a:pt x="11225916" y="550471"/>
                </a:lnTo>
                <a:lnTo>
                  <a:pt x="11225916" y="164178"/>
                </a:lnTo>
                <a:close/>
                <a:moveTo>
                  <a:pt x="10959725" y="0"/>
                </a:moveTo>
                <a:lnTo>
                  <a:pt x="11475502" y="0"/>
                </a:lnTo>
                <a:lnTo>
                  <a:pt x="11217614" y="149246"/>
                </a:lnTo>
                <a:close/>
                <a:moveTo>
                  <a:pt x="10883981" y="0"/>
                </a:moveTo>
                <a:lnTo>
                  <a:pt x="10925760" y="0"/>
                </a:lnTo>
                <a:lnTo>
                  <a:pt x="11209441" y="164177"/>
                </a:lnTo>
                <a:lnTo>
                  <a:pt x="11209441" y="541003"/>
                </a:lnTo>
                <a:lnTo>
                  <a:pt x="10883981" y="352647"/>
                </a:lnTo>
                <a:close/>
                <a:moveTo>
                  <a:pt x="10825841" y="0"/>
                </a:moveTo>
                <a:lnTo>
                  <a:pt x="10867636" y="0"/>
                </a:lnTo>
                <a:lnTo>
                  <a:pt x="10867636" y="352647"/>
                </a:lnTo>
                <a:lnTo>
                  <a:pt x="10542045" y="541003"/>
                </a:lnTo>
                <a:lnTo>
                  <a:pt x="10542045" y="164178"/>
                </a:lnTo>
                <a:close/>
                <a:moveTo>
                  <a:pt x="10273927" y="0"/>
                </a:moveTo>
                <a:lnTo>
                  <a:pt x="10791383" y="0"/>
                </a:lnTo>
                <a:lnTo>
                  <a:pt x="10532706" y="149760"/>
                </a:lnTo>
                <a:close/>
                <a:moveTo>
                  <a:pt x="10140095" y="0"/>
                </a:moveTo>
                <a:lnTo>
                  <a:pt x="10241185" y="0"/>
                </a:lnTo>
                <a:lnTo>
                  <a:pt x="10524404" y="163905"/>
                </a:lnTo>
                <a:lnTo>
                  <a:pt x="10524404" y="550081"/>
                </a:lnTo>
                <a:lnTo>
                  <a:pt x="10190640" y="743237"/>
                </a:lnTo>
                <a:lnTo>
                  <a:pt x="9856876" y="550081"/>
                </a:lnTo>
                <a:lnTo>
                  <a:pt x="9856876" y="163905"/>
                </a:lnTo>
                <a:close/>
                <a:moveTo>
                  <a:pt x="9590156" y="0"/>
                </a:moveTo>
                <a:lnTo>
                  <a:pt x="10107355" y="0"/>
                </a:lnTo>
                <a:lnTo>
                  <a:pt x="9848703" y="149632"/>
                </a:lnTo>
                <a:close/>
                <a:moveTo>
                  <a:pt x="9455523" y="0"/>
                </a:moveTo>
                <a:lnTo>
                  <a:pt x="9555699" y="0"/>
                </a:lnTo>
                <a:lnTo>
                  <a:pt x="9839364" y="164163"/>
                </a:lnTo>
                <a:lnTo>
                  <a:pt x="9839364" y="550457"/>
                </a:lnTo>
                <a:lnTo>
                  <a:pt x="9505732" y="743612"/>
                </a:lnTo>
                <a:lnTo>
                  <a:pt x="9171969" y="550457"/>
                </a:lnTo>
                <a:lnTo>
                  <a:pt x="9171969" y="164163"/>
                </a:lnTo>
                <a:close/>
                <a:moveTo>
                  <a:pt x="8905803" y="0"/>
                </a:moveTo>
                <a:lnTo>
                  <a:pt x="9421530" y="0"/>
                </a:lnTo>
                <a:lnTo>
                  <a:pt x="9163666" y="149231"/>
                </a:lnTo>
                <a:close/>
                <a:moveTo>
                  <a:pt x="8830033" y="0"/>
                </a:moveTo>
                <a:lnTo>
                  <a:pt x="8871836" y="0"/>
                </a:lnTo>
                <a:lnTo>
                  <a:pt x="9155493" y="164163"/>
                </a:lnTo>
                <a:lnTo>
                  <a:pt x="9155493" y="540989"/>
                </a:lnTo>
                <a:lnTo>
                  <a:pt x="8830033" y="352632"/>
                </a:lnTo>
                <a:close/>
                <a:moveTo>
                  <a:pt x="8771868" y="0"/>
                </a:moveTo>
                <a:lnTo>
                  <a:pt x="8813688" y="0"/>
                </a:lnTo>
                <a:lnTo>
                  <a:pt x="8813688" y="352633"/>
                </a:lnTo>
                <a:lnTo>
                  <a:pt x="8488098" y="540989"/>
                </a:lnTo>
                <a:lnTo>
                  <a:pt x="8488098" y="164163"/>
                </a:lnTo>
                <a:close/>
                <a:moveTo>
                  <a:pt x="8220006" y="0"/>
                </a:moveTo>
                <a:lnTo>
                  <a:pt x="8737411" y="0"/>
                </a:lnTo>
                <a:lnTo>
                  <a:pt x="8478758" y="149746"/>
                </a:lnTo>
                <a:close/>
                <a:moveTo>
                  <a:pt x="8086123" y="0"/>
                </a:moveTo>
                <a:lnTo>
                  <a:pt x="8187263" y="0"/>
                </a:lnTo>
                <a:lnTo>
                  <a:pt x="8470456" y="163890"/>
                </a:lnTo>
                <a:lnTo>
                  <a:pt x="8470456" y="550066"/>
                </a:lnTo>
                <a:lnTo>
                  <a:pt x="8136693" y="743223"/>
                </a:lnTo>
                <a:lnTo>
                  <a:pt x="7802930" y="550066"/>
                </a:lnTo>
                <a:lnTo>
                  <a:pt x="7802930" y="163890"/>
                </a:lnTo>
                <a:close/>
                <a:moveTo>
                  <a:pt x="7536237" y="0"/>
                </a:moveTo>
                <a:lnTo>
                  <a:pt x="8053383" y="0"/>
                </a:lnTo>
                <a:lnTo>
                  <a:pt x="7794758" y="149616"/>
                </a:lnTo>
                <a:close/>
                <a:moveTo>
                  <a:pt x="7401681" y="0"/>
                </a:moveTo>
                <a:lnTo>
                  <a:pt x="7501908" y="0"/>
                </a:lnTo>
                <a:lnTo>
                  <a:pt x="7785548" y="164149"/>
                </a:lnTo>
                <a:lnTo>
                  <a:pt x="7785548" y="550443"/>
                </a:lnTo>
                <a:lnTo>
                  <a:pt x="7451915" y="743599"/>
                </a:lnTo>
                <a:lnTo>
                  <a:pt x="7118150" y="550443"/>
                </a:lnTo>
                <a:lnTo>
                  <a:pt x="7118150" y="164149"/>
                </a:lnTo>
                <a:close/>
                <a:moveTo>
                  <a:pt x="6852010" y="0"/>
                </a:moveTo>
                <a:lnTo>
                  <a:pt x="7367688" y="0"/>
                </a:lnTo>
                <a:lnTo>
                  <a:pt x="7109850" y="149217"/>
                </a:lnTo>
                <a:close/>
                <a:moveTo>
                  <a:pt x="6776215" y="0"/>
                </a:moveTo>
                <a:lnTo>
                  <a:pt x="6818044" y="0"/>
                </a:lnTo>
                <a:lnTo>
                  <a:pt x="7101677" y="164149"/>
                </a:lnTo>
                <a:lnTo>
                  <a:pt x="7101677" y="540974"/>
                </a:lnTo>
                <a:lnTo>
                  <a:pt x="6776215" y="352617"/>
                </a:lnTo>
                <a:close/>
                <a:moveTo>
                  <a:pt x="6718025" y="0"/>
                </a:moveTo>
                <a:lnTo>
                  <a:pt x="6759871" y="0"/>
                </a:lnTo>
                <a:lnTo>
                  <a:pt x="6759871" y="352617"/>
                </a:lnTo>
                <a:lnTo>
                  <a:pt x="6434280" y="540974"/>
                </a:lnTo>
                <a:lnTo>
                  <a:pt x="6434280" y="164149"/>
                </a:lnTo>
                <a:close/>
                <a:moveTo>
                  <a:pt x="6166213" y="0"/>
                </a:moveTo>
                <a:lnTo>
                  <a:pt x="6683567" y="0"/>
                </a:lnTo>
                <a:lnTo>
                  <a:pt x="6424940" y="149731"/>
                </a:lnTo>
                <a:close/>
                <a:moveTo>
                  <a:pt x="6032286" y="0"/>
                </a:moveTo>
                <a:lnTo>
                  <a:pt x="6133471" y="0"/>
                </a:lnTo>
                <a:lnTo>
                  <a:pt x="6416638" y="163875"/>
                </a:lnTo>
                <a:lnTo>
                  <a:pt x="6416638" y="550053"/>
                </a:lnTo>
                <a:lnTo>
                  <a:pt x="6082876" y="743207"/>
                </a:lnTo>
                <a:lnTo>
                  <a:pt x="5749140" y="550054"/>
                </a:lnTo>
                <a:lnTo>
                  <a:pt x="5749140" y="163875"/>
                </a:lnTo>
                <a:close/>
                <a:moveTo>
                  <a:pt x="5482485" y="0"/>
                </a:moveTo>
                <a:lnTo>
                  <a:pt x="5999546" y="0"/>
                </a:lnTo>
                <a:lnTo>
                  <a:pt x="5740963" y="149601"/>
                </a:lnTo>
                <a:close/>
                <a:moveTo>
                  <a:pt x="5347761" y="0"/>
                </a:moveTo>
                <a:lnTo>
                  <a:pt x="5448034" y="0"/>
                </a:lnTo>
                <a:lnTo>
                  <a:pt x="5731618" y="164130"/>
                </a:lnTo>
                <a:lnTo>
                  <a:pt x="5731618" y="550429"/>
                </a:lnTo>
                <a:lnTo>
                  <a:pt x="5398000" y="743584"/>
                </a:lnTo>
                <a:lnTo>
                  <a:pt x="5064275" y="550443"/>
                </a:lnTo>
                <a:lnTo>
                  <a:pt x="5064275" y="164134"/>
                </a:lnTo>
                <a:close/>
                <a:moveTo>
                  <a:pt x="4798110" y="0"/>
                </a:moveTo>
                <a:lnTo>
                  <a:pt x="5313754" y="0"/>
                </a:lnTo>
                <a:lnTo>
                  <a:pt x="5055955" y="149201"/>
                </a:lnTo>
                <a:lnTo>
                  <a:pt x="4816718" y="10771"/>
                </a:lnTo>
                <a:close/>
                <a:moveTo>
                  <a:pt x="4722313" y="0"/>
                </a:moveTo>
                <a:lnTo>
                  <a:pt x="4764172" y="0"/>
                </a:lnTo>
                <a:lnTo>
                  <a:pt x="5047775" y="164120"/>
                </a:lnTo>
                <a:lnTo>
                  <a:pt x="5047775" y="540960"/>
                </a:lnTo>
                <a:lnTo>
                  <a:pt x="4722313" y="352611"/>
                </a:lnTo>
                <a:close/>
                <a:moveTo>
                  <a:pt x="4664088" y="0"/>
                </a:moveTo>
                <a:lnTo>
                  <a:pt x="4705942" y="0"/>
                </a:lnTo>
                <a:lnTo>
                  <a:pt x="4705942" y="352603"/>
                </a:lnTo>
                <a:lnTo>
                  <a:pt x="4380369" y="540954"/>
                </a:lnTo>
                <a:lnTo>
                  <a:pt x="4380369" y="164134"/>
                </a:lnTo>
                <a:close/>
                <a:moveTo>
                  <a:pt x="4112484" y="0"/>
                </a:moveTo>
                <a:lnTo>
                  <a:pt x="4629755" y="0"/>
                </a:lnTo>
                <a:lnTo>
                  <a:pt x="4371146" y="149717"/>
                </a:lnTo>
                <a:close/>
                <a:moveTo>
                  <a:pt x="3978507" y="0"/>
                </a:moveTo>
                <a:lnTo>
                  <a:pt x="4079738" y="0"/>
                </a:lnTo>
                <a:lnTo>
                  <a:pt x="4207107" y="73731"/>
                </a:lnTo>
                <a:lnTo>
                  <a:pt x="4362838" y="163859"/>
                </a:lnTo>
                <a:lnTo>
                  <a:pt x="4362838" y="550038"/>
                </a:lnTo>
                <a:lnTo>
                  <a:pt x="4029120" y="743194"/>
                </a:lnTo>
                <a:lnTo>
                  <a:pt x="3695368" y="550042"/>
                </a:lnTo>
                <a:lnTo>
                  <a:pt x="3695368" y="163860"/>
                </a:lnTo>
                <a:close/>
                <a:moveTo>
                  <a:pt x="3428727" y="0"/>
                </a:moveTo>
                <a:lnTo>
                  <a:pt x="3945759" y="0"/>
                </a:lnTo>
                <a:lnTo>
                  <a:pt x="3687190" y="149586"/>
                </a:lnTo>
                <a:close/>
                <a:moveTo>
                  <a:pt x="3293942" y="0"/>
                </a:moveTo>
                <a:lnTo>
                  <a:pt x="3394267" y="0"/>
                </a:lnTo>
                <a:lnTo>
                  <a:pt x="3677828" y="164102"/>
                </a:lnTo>
                <a:lnTo>
                  <a:pt x="3677828" y="550415"/>
                </a:lnTo>
                <a:lnTo>
                  <a:pt x="3344198" y="743570"/>
                </a:lnTo>
                <a:lnTo>
                  <a:pt x="3010461" y="550429"/>
                </a:lnTo>
                <a:lnTo>
                  <a:pt x="3010461" y="164119"/>
                </a:lnTo>
                <a:close/>
                <a:moveTo>
                  <a:pt x="2744346" y="0"/>
                </a:moveTo>
                <a:lnTo>
                  <a:pt x="3259920" y="0"/>
                </a:lnTo>
                <a:lnTo>
                  <a:pt x="3002133" y="149187"/>
                </a:lnTo>
                <a:lnTo>
                  <a:pt x="2867142" y="71063"/>
                </a:lnTo>
                <a:close/>
                <a:moveTo>
                  <a:pt x="2668523" y="0"/>
                </a:moveTo>
                <a:lnTo>
                  <a:pt x="2710404" y="0"/>
                </a:lnTo>
                <a:lnTo>
                  <a:pt x="2993958" y="164103"/>
                </a:lnTo>
                <a:lnTo>
                  <a:pt x="2993958" y="540944"/>
                </a:lnTo>
                <a:lnTo>
                  <a:pt x="2778118" y="416029"/>
                </a:lnTo>
                <a:lnTo>
                  <a:pt x="2737216" y="392357"/>
                </a:lnTo>
                <a:lnTo>
                  <a:pt x="2734179" y="390600"/>
                </a:lnTo>
                <a:lnTo>
                  <a:pt x="2668523" y="352604"/>
                </a:lnTo>
                <a:close/>
                <a:moveTo>
                  <a:pt x="2610283" y="0"/>
                </a:moveTo>
                <a:lnTo>
                  <a:pt x="2652154" y="0"/>
                </a:lnTo>
                <a:lnTo>
                  <a:pt x="2652154" y="352589"/>
                </a:lnTo>
                <a:lnTo>
                  <a:pt x="2326593" y="540928"/>
                </a:lnTo>
                <a:lnTo>
                  <a:pt x="2326593" y="164119"/>
                </a:lnTo>
                <a:close/>
                <a:moveTo>
                  <a:pt x="2058538" y="0"/>
                </a:moveTo>
                <a:lnTo>
                  <a:pt x="2575794" y="0"/>
                </a:lnTo>
                <a:lnTo>
                  <a:pt x="2317223" y="149702"/>
                </a:lnTo>
                <a:lnTo>
                  <a:pt x="2260282" y="116749"/>
                </a:lnTo>
                <a:close/>
                <a:moveTo>
                  <a:pt x="1924507" y="0"/>
                </a:moveTo>
                <a:lnTo>
                  <a:pt x="2025801" y="0"/>
                </a:lnTo>
                <a:lnTo>
                  <a:pt x="2308919" y="163842"/>
                </a:lnTo>
                <a:lnTo>
                  <a:pt x="2308919" y="550024"/>
                </a:lnTo>
                <a:lnTo>
                  <a:pt x="1975146" y="743180"/>
                </a:lnTo>
                <a:lnTo>
                  <a:pt x="1641391" y="550028"/>
                </a:lnTo>
                <a:lnTo>
                  <a:pt x="1641391" y="163846"/>
                </a:lnTo>
                <a:close/>
                <a:moveTo>
                  <a:pt x="1374768" y="0"/>
                </a:moveTo>
                <a:lnTo>
                  <a:pt x="1891761" y="0"/>
                </a:lnTo>
                <a:lnTo>
                  <a:pt x="1633212" y="149572"/>
                </a:lnTo>
                <a:close/>
                <a:moveTo>
                  <a:pt x="1239933" y="0"/>
                </a:moveTo>
                <a:lnTo>
                  <a:pt x="1340313" y="0"/>
                </a:lnTo>
                <a:lnTo>
                  <a:pt x="1623852" y="164090"/>
                </a:lnTo>
                <a:lnTo>
                  <a:pt x="1623852" y="550400"/>
                </a:lnTo>
                <a:lnTo>
                  <a:pt x="1290219" y="743557"/>
                </a:lnTo>
                <a:lnTo>
                  <a:pt x="956480" y="550415"/>
                </a:lnTo>
                <a:lnTo>
                  <a:pt x="956480" y="164104"/>
                </a:lnTo>
                <a:close/>
                <a:moveTo>
                  <a:pt x="690398" y="0"/>
                </a:moveTo>
                <a:lnTo>
                  <a:pt x="1205918" y="0"/>
                </a:lnTo>
                <a:lnTo>
                  <a:pt x="948156" y="149172"/>
                </a:lnTo>
                <a:close/>
                <a:moveTo>
                  <a:pt x="614547" y="0"/>
                </a:moveTo>
                <a:lnTo>
                  <a:pt x="656453" y="0"/>
                </a:lnTo>
                <a:lnTo>
                  <a:pt x="939981" y="164089"/>
                </a:lnTo>
                <a:lnTo>
                  <a:pt x="939981" y="540931"/>
                </a:lnTo>
                <a:lnTo>
                  <a:pt x="760662" y="437152"/>
                </a:lnTo>
                <a:lnTo>
                  <a:pt x="614547" y="352589"/>
                </a:lnTo>
                <a:close/>
                <a:moveTo>
                  <a:pt x="556281" y="0"/>
                </a:moveTo>
                <a:lnTo>
                  <a:pt x="598177" y="0"/>
                </a:lnTo>
                <a:lnTo>
                  <a:pt x="598177" y="352574"/>
                </a:lnTo>
                <a:lnTo>
                  <a:pt x="272612" y="540915"/>
                </a:lnTo>
                <a:lnTo>
                  <a:pt x="272612" y="164104"/>
                </a:lnTo>
                <a:close/>
                <a:moveTo>
                  <a:pt x="4723" y="0"/>
                </a:moveTo>
                <a:lnTo>
                  <a:pt x="521923" y="0"/>
                </a:lnTo>
                <a:lnTo>
                  <a:pt x="263373" y="149687"/>
                </a:lnTo>
                <a:close/>
              </a:path>
            </a:pathLst>
          </a:cu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EDA59710-C20A-0EFF-FA78-6187B75560DB}"/>
              </a:ext>
            </a:extLst>
          </p:cNvPr>
          <p:cNvSpPr>
            <a:spLocks noGrp="1"/>
          </p:cNvSpPr>
          <p:nvPr>
            <p:ph type="title"/>
          </p:nvPr>
        </p:nvSpPr>
        <p:spPr>
          <a:xfrm>
            <a:off x="557929" y="1225296"/>
            <a:ext cx="3249749" cy="931098"/>
          </a:xfrm>
        </p:spPr>
        <p:txBody>
          <a:bodyPr anchor="t"/>
          <a:lstStyle>
            <a:lvl1pPr>
              <a:defRPr>
                <a:solidFill>
                  <a:schemeClr val="bg1"/>
                </a:solidFill>
              </a:defRPr>
            </a:lvl1p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F068C10A-36AA-C08B-E085-3B5E3DEEDACF}"/>
              </a:ext>
            </a:extLst>
          </p:cNvPr>
          <p:cNvSpPr>
            <a:spLocks noGrp="1"/>
          </p:cNvSpPr>
          <p:nvPr>
            <p:ph idx="22" hasCustomPrompt="1"/>
          </p:nvPr>
        </p:nvSpPr>
        <p:spPr bwMode="gray">
          <a:xfrm>
            <a:off x="3636966" y="3872692"/>
            <a:ext cx="2039643" cy="2151888"/>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3038">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10" name="Content Placeholder 2">
            <a:extLst>
              <a:ext uri="{FF2B5EF4-FFF2-40B4-BE49-F238E27FC236}">
                <a16:creationId xmlns:a16="http://schemas.microsoft.com/office/drawing/2014/main" id="{D6898760-01F7-5B08-074E-9BBC871E28C2}"/>
              </a:ext>
            </a:extLst>
          </p:cNvPr>
          <p:cNvSpPr>
            <a:spLocks noGrp="1"/>
          </p:cNvSpPr>
          <p:nvPr>
            <p:ph idx="23" hasCustomPrompt="1"/>
          </p:nvPr>
        </p:nvSpPr>
        <p:spPr bwMode="gray">
          <a:xfrm>
            <a:off x="6231613" y="3872692"/>
            <a:ext cx="2039643" cy="2151888"/>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baseline="0"/>
            </a:lvl6pPr>
            <a:lvl7pPr marL="857250" indent="-174625">
              <a:spcBef>
                <a:spcPts val="600"/>
              </a:spcBef>
              <a:buFont typeface="Arial" panose="020B0604020202020204" pitchFamily="34" charset="0"/>
              <a:buChar char="•"/>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
        <p:nvSpPr>
          <p:cNvPr id="11" name="Content Placeholder 2">
            <a:extLst>
              <a:ext uri="{FF2B5EF4-FFF2-40B4-BE49-F238E27FC236}">
                <a16:creationId xmlns:a16="http://schemas.microsoft.com/office/drawing/2014/main" id="{18CDC76C-1117-381A-3FDE-D9F4A849889D}"/>
              </a:ext>
            </a:extLst>
          </p:cNvPr>
          <p:cNvSpPr>
            <a:spLocks noGrp="1"/>
          </p:cNvSpPr>
          <p:nvPr>
            <p:ph idx="17" hasCustomPrompt="1"/>
          </p:nvPr>
        </p:nvSpPr>
        <p:spPr bwMode="gray">
          <a:xfrm>
            <a:off x="8826259" y="3872692"/>
            <a:ext cx="2039643" cy="2151888"/>
          </a:xfrm>
        </p:spPr>
        <p:txBody>
          <a:bodyPr/>
          <a:lstStyle>
            <a:lvl1pPr>
              <a:defRPr sz="1800" b="1" cap="none" baseline="0">
                <a:solidFill>
                  <a:schemeClr val="tx2"/>
                </a:solidFill>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300">
                <a:solidFill>
                  <a:schemeClr val="tx2"/>
                </a:solidFill>
              </a:defRPr>
            </a:lvl3pPr>
            <a:lvl4pPr marL="347663" indent="-174625">
              <a:spcBef>
                <a:spcPts val="600"/>
              </a:spcBef>
              <a:buFont typeface="Arial" panose="020B0604020202020204" pitchFamily="34" charset="0"/>
              <a:buChar char="–"/>
              <a:defRPr sz="1300">
                <a:solidFill>
                  <a:schemeClr val="tx2"/>
                </a:solidFill>
              </a:defRPr>
            </a:lvl4pPr>
            <a:lvl5pPr marL="509588" indent="-161925">
              <a:spcBef>
                <a:spcPts val="600"/>
              </a:spcBef>
              <a:buFont typeface="Arial" panose="020B0604020202020204" pitchFamily="34" charset="0"/>
              <a:buChar char="•"/>
              <a:defRPr sz="1300">
                <a:solidFill>
                  <a:schemeClr val="tx2"/>
                </a:solidFill>
              </a:defRPr>
            </a:lvl5pPr>
            <a:lvl6pPr marL="682625" indent="-173038">
              <a:buFont typeface="Arial" panose="020B0604020202020204" pitchFamily="34" charset="0"/>
              <a:buChar char="–"/>
              <a:defRPr sz="1300"/>
            </a:lvl6pPr>
            <a:lvl7pPr marL="682625" indent="0">
              <a:spcBef>
                <a:spcPts val="600"/>
              </a:spcBef>
              <a:buFont typeface="Arial" panose="020B0604020202020204" pitchFamily="34" charset="0"/>
              <a:buNone/>
              <a:defRPr sz="1600">
                <a:solidFill>
                  <a:schemeClr val="tx2"/>
                </a:solidFill>
              </a:defRPr>
            </a:lvl7pPr>
            <a:lvl8pPr marL="1030288" indent="-173038">
              <a:spcBef>
                <a:spcPts val="600"/>
              </a:spcBef>
              <a:buFont typeface="Arial" panose="020B0604020202020204" pitchFamily="34" charset="0"/>
              <a:buChar char="–"/>
              <a:defRPr sz="1600">
                <a:solidFill>
                  <a:schemeClr val="tx2"/>
                </a:solidFill>
              </a:defRPr>
            </a:lvl8pPr>
            <a:lvl9pPr marL="1203325" indent="-174625">
              <a:spcBef>
                <a:spcPts val="600"/>
              </a:spcBef>
              <a:buFont typeface="Arial" panose="020B0604020202020204" pitchFamily="34" charset="0"/>
              <a:buChar char="•"/>
              <a:defRPr sz="1600" baseline="0">
                <a:solidFill>
                  <a:schemeClr val="tx2"/>
                </a:solidFill>
              </a:defRPr>
            </a:lvl9pPr>
          </a:lstStyle>
          <a:p>
            <a:pPr lvl="0"/>
            <a:r>
              <a:rPr lang="en-US" dirty="0"/>
              <a:t>Header</a:t>
            </a:r>
          </a:p>
          <a:p>
            <a:pPr lvl="1"/>
            <a:r>
              <a:rPr lang="en-US" dirty="0"/>
              <a:t>Body text</a:t>
            </a:r>
          </a:p>
          <a:p>
            <a:pPr lvl="2"/>
            <a:r>
              <a:rPr lang="en-US" dirty="0"/>
              <a:t>First-level bullet</a:t>
            </a:r>
          </a:p>
          <a:p>
            <a:pPr lvl="3"/>
            <a:r>
              <a:rPr lang="en-US" dirty="0"/>
              <a:t>Second-level bullet</a:t>
            </a:r>
          </a:p>
          <a:p>
            <a:pPr lvl="4"/>
            <a:r>
              <a:rPr lang="en-US" dirty="0"/>
              <a:t>Third-level bullet</a:t>
            </a:r>
          </a:p>
          <a:p>
            <a:pPr lvl="5"/>
            <a:r>
              <a:rPr lang="en-US" dirty="0"/>
              <a:t>Fourth-level bullet</a:t>
            </a:r>
          </a:p>
        </p:txBody>
      </p:sp>
    </p:spTree>
    <p:extLst>
      <p:ext uri="{BB962C8B-B14F-4D97-AF65-F5344CB8AC3E}">
        <p14:creationId xmlns:p14="http://schemas.microsoft.com/office/powerpoint/2010/main" val="31575280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96D899DD-F7BA-603E-C3C1-8B1028330B58}"/>
              </a:ext>
            </a:extLst>
          </p:cNvPr>
          <p:cNvSpPr>
            <a:spLocks noGrp="1"/>
          </p:cNvSpPr>
          <p:nvPr>
            <p:ph type="pic" sz="quarter" idx="15"/>
          </p:nvPr>
        </p:nvSpPr>
        <p:spPr>
          <a:xfrm>
            <a:off x="1" y="0"/>
            <a:ext cx="12192000" cy="6858000"/>
          </a:xfrm>
          <a:solidFill>
            <a:schemeClr val="bg1">
              <a:lumMod val="75000"/>
            </a:schemeClr>
          </a:solidFill>
        </p:spPr>
        <p:txBody>
          <a:bodyPr/>
          <a:lstStyle>
            <a:lvl1pPr algn="ctr">
              <a:defRPr b="1" baseline="0">
                <a:solidFill>
                  <a:schemeClr val="bg1"/>
                </a:solidFill>
              </a:defRPr>
            </a:lvl1pPr>
          </a:lstStyle>
          <a:p>
            <a:r>
              <a:rPr lang="en-US"/>
              <a:t>Click icon to add picture</a:t>
            </a:r>
            <a:endParaRPr lang="en-US" dirty="0"/>
          </a:p>
        </p:txBody>
      </p:sp>
      <p:sp>
        <p:nvSpPr>
          <p:cNvPr id="22" name="Title 21">
            <a:extLst>
              <a:ext uri="{FF2B5EF4-FFF2-40B4-BE49-F238E27FC236}">
                <a16:creationId xmlns:a16="http://schemas.microsoft.com/office/drawing/2014/main" id="{A22B9D54-9177-44F5-A17C-A60585ED95D9}"/>
              </a:ext>
            </a:extLst>
          </p:cNvPr>
          <p:cNvSpPr>
            <a:spLocks noGrp="1"/>
          </p:cNvSpPr>
          <p:nvPr>
            <p:ph type="title" hasCustomPrompt="1"/>
          </p:nvPr>
        </p:nvSpPr>
        <p:spPr>
          <a:xfrm>
            <a:off x="0" y="-2382"/>
            <a:ext cx="9109796" cy="6860381"/>
          </a:xfrm>
          <a:custGeom>
            <a:avLst/>
            <a:gdLst>
              <a:gd name="connsiteX0" fmla="*/ 0 w 8942832"/>
              <a:gd name="connsiteY0" fmla="*/ 0 h 6858000"/>
              <a:gd name="connsiteX1" fmla="*/ 2094063 w 8942832"/>
              <a:gd name="connsiteY1" fmla="*/ 0 h 6858000"/>
              <a:gd name="connsiteX2" fmla="*/ 8942832 w 8942832"/>
              <a:gd name="connsiteY2" fmla="*/ 6856638 h 6858000"/>
              <a:gd name="connsiteX3" fmla="*/ 8942832 w 8942832"/>
              <a:gd name="connsiteY3" fmla="*/ 6858000 h 6858000"/>
              <a:gd name="connsiteX4" fmla="*/ 0 w 8942832"/>
              <a:gd name="connsiteY4" fmla="*/ 6858000 h 6858000"/>
              <a:gd name="connsiteX0" fmla="*/ 0 w 8942832"/>
              <a:gd name="connsiteY0" fmla="*/ 2381 h 6860381"/>
              <a:gd name="connsiteX1" fmla="*/ 2203959 w 8942832"/>
              <a:gd name="connsiteY1" fmla="*/ 0 h 6860381"/>
              <a:gd name="connsiteX2" fmla="*/ 8942832 w 8942832"/>
              <a:gd name="connsiteY2" fmla="*/ 6859019 h 6860381"/>
              <a:gd name="connsiteX3" fmla="*/ 8942832 w 8942832"/>
              <a:gd name="connsiteY3" fmla="*/ 6860381 h 6860381"/>
              <a:gd name="connsiteX4" fmla="*/ 0 w 8942832"/>
              <a:gd name="connsiteY4" fmla="*/ 6860381 h 6860381"/>
              <a:gd name="connsiteX5" fmla="*/ 0 w 8942832"/>
              <a:gd name="connsiteY5"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2832" h="6860381">
                <a:moveTo>
                  <a:pt x="0" y="2381"/>
                </a:moveTo>
                <a:lnTo>
                  <a:pt x="2203959" y="0"/>
                </a:lnTo>
                <a:lnTo>
                  <a:pt x="8942832" y="6859019"/>
                </a:lnTo>
                <a:lnTo>
                  <a:pt x="8942832" y="6860381"/>
                </a:lnTo>
                <a:lnTo>
                  <a:pt x="0" y="6860381"/>
                </a:lnTo>
                <a:lnTo>
                  <a:pt x="0" y="2381"/>
                </a:lnTo>
                <a:close/>
              </a:path>
            </a:pathLst>
          </a:custGeom>
          <a:solidFill>
            <a:srgbClr val="0A4B8C">
              <a:alpha val="89804"/>
            </a:srgbClr>
          </a:solidFill>
        </p:spPr>
        <p:txBody>
          <a:bodyPr wrap="square" lIns="859536" rIns="3108960" bIns="0" anchor="ctr">
            <a:noAutofit/>
          </a:bodyPr>
          <a:lstStyle>
            <a:lvl1pPr algn="l">
              <a:defRPr sz="4000">
                <a:solidFill>
                  <a:schemeClr val="bg1"/>
                </a:solidFill>
                <a:latin typeface="+mj-lt"/>
              </a:defRPr>
            </a:lvl1pPr>
          </a:lstStyle>
          <a:p>
            <a:r>
              <a:rPr lang="en-US" dirty="0"/>
              <a:t>Click to edit  </a:t>
            </a:r>
            <a:br>
              <a:rPr lang="en-US" dirty="0"/>
            </a:br>
            <a:r>
              <a:rPr lang="en-US" dirty="0"/>
              <a:t>title for divider</a:t>
            </a:r>
            <a:br>
              <a:rPr lang="en-US" dirty="0"/>
            </a:br>
            <a:endParaRPr lang="en-US" dirty="0"/>
          </a:p>
        </p:txBody>
      </p:sp>
      <p:grpSp>
        <p:nvGrpSpPr>
          <p:cNvPr id="5" name="Group 4">
            <a:extLst>
              <a:ext uri="{FF2B5EF4-FFF2-40B4-BE49-F238E27FC236}">
                <a16:creationId xmlns:a16="http://schemas.microsoft.com/office/drawing/2014/main" id="{DB97FEFE-6700-2B57-BDF5-39939D5DAAED}"/>
              </a:ext>
            </a:extLst>
          </p:cNvPr>
          <p:cNvGrpSpPr/>
          <p:nvPr userDrawn="1"/>
        </p:nvGrpSpPr>
        <p:grpSpPr>
          <a:xfrm>
            <a:off x="9112232" y="3805238"/>
            <a:ext cx="3079768" cy="3052762"/>
            <a:chOff x="9109859" y="3805238"/>
            <a:chExt cx="3078966" cy="3052762"/>
          </a:xfrm>
        </p:grpSpPr>
        <p:sp>
          <p:nvSpPr>
            <p:cNvPr id="2" name="Freeform: Shape 1">
              <a:extLst>
                <a:ext uri="{FF2B5EF4-FFF2-40B4-BE49-F238E27FC236}">
                  <a16:creationId xmlns:a16="http://schemas.microsoft.com/office/drawing/2014/main" id="{20A099C2-72F1-D293-6164-29506A0D559D}"/>
                </a:ext>
              </a:extLst>
            </p:cNvPr>
            <p:cNvSpPr/>
            <p:nvPr userDrawn="1"/>
          </p:nvSpPr>
          <p:spPr bwMode="gray">
            <a:xfrm>
              <a:off x="9109859" y="3805238"/>
              <a:ext cx="3078966" cy="3052762"/>
            </a:xfrm>
            <a:custGeom>
              <a:avLst/>
              <a:gdLst>
                <a:gd name="connsiteX0" fmla="*/ 2664697 w 2664697"/>
                <a:gd name="connsiteY0" fmla="*/ 0 h 2750947"/>
                <a:gd name="connsiteX1" fmla="*/ 2664697 w 2664697"/>
                <a:gd name="connsiteY1" fmla="*/ 2750947 h 2750947"/>
                <a:gd name="connsiteX2" fmla="*/ 0 w 2664697"/>
                <a:gd name="connsiteY2" fmla="*/ 2750947 h 2750947"/>
                <a:gd name="connsiteX3" fmla="*/ 2664697 w 2664697"/>
                <a:gd name="connsiteY3" fmla="*/ 0 h 2750947"/>
              </a:gdLst>
              <a:ahLst/>
              <a:cxnLst>
                <a:cxn ang="0">
                  <a:pos x="connsiteX0" y="connsiteY0"/>
                </a:cxn>
                <a:cxn ang="0">
                  <a:pos x="connsiteX1" y="connsiteY1"/>
                </a:cxn>
                <a:cxn ang="0">
                  <a:pos x="connsiteX2" y="connsiteY2"/>
                </a:cxn>
                <a:cxn ang="0">
                  <a:pos x="connsiteX3" y="connsiteY3"/>
                </a:cxn>
              </a:cxnLst>
              <a:rect l="l" t="t" r="r" b="b"/>
              <a:pathLst>
                <a:path w="2664697" h="2750947">
                  <a:moveTo>
                    <a:pt x="2664697" y="0"/>
                  </a:moveTo>
                  <a:lnTo>
                    <a:pt x="2664697" y="2750947"/>
                  </a:lnTo>
                  <a:lnTo>
                    <a:pt x="0" y="2750947"/>
                  </a:lnTo>
                  <a:lnTo>
                    <a:pt x="2664697" y="0"/>
                  </a:lnTo>
                  <a:close/>
                </a:path>
              </a:pathLst>
            </a:custGeom>
            <a:solidFill>
              <a:srgbClr val="0073E3">
                <a:alpha val="85098"/>
              </a:srgbClr>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pic>
          <p:nvPicPr>
            <p:cNvPr id="12" name="Graphic 11" descr="CVS Caremark logo in white.">
              <a:extLst>
                <a:ext uri="{FF2B5EF4-FFF2-40B4-BE49-F238E27FC236}">
                  <a16:creationId xmlns:a16="http://schemas.microsoft.com/office/drawing/2014/main" id="{A0CDF391-7A22-4508-A40C-E09B87D3AB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5662" y="6373368"/>
              <a:ext cx="1382188" cy="156078"/>
            </a:xfrm>
            <a:prstGeom prst="rect">
              <a:avLst/>
            </a:prstGeom>
          </p:spPr>
        </p:pic>
      </p:grpSp>
      <p:sp>
        <p:nvSpPr>
          <p:cNvPr id="4" name="Content Placeholder 8">
            <a:extLst>
              <a:ext uri="{FF2B5EF4-FFF2-40B4-BE49-F238E27FC236}">
                <a16:creationId xmlns:a16="http://schemas.microsoft.com/office/drawing/2014/main" id="{25506ECA-3FF6-A67B-DB1A-F96D9D21E385}"/>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95508CA-95B3-332B-4253-3BD9202FBA24}"/>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1288379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with image_soli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A22B9D54-9177-44F5-A17C-A60585ED95D9}"/>
              </a:ext>
            </a:extLst>
          </p:cNvPr>
          <p:cNvSpPr>
            <a:spLocks noGrp="1"/>
          </p:cNvSpPr>
          <p:nvPr>
            <p:ph type="title" hasCustomPrompt="1"/>
          </p:nvPr>
        </p:nvSpPr>
        <p:spPr>
          <a:xfrm>
            <a:off x="0" y="-2382"/>
            <a:ext cx="9109796" cy="6860381"/>
          </a:xfrm>
          <a:prstGeom prst="rect">
            <a:avLst/>
          </a:prstGeom>
          <a:solidFill>
            <a:srgbClr val="0A4B8C"/>
          </a:solidFill>
        </p:spPr>
        <p:txBody>
          <a:bodyPr wrap="square" lIns="859536" rIns="3108960" bIns="0" anchor="ctr">
            <a:noAutofit/>
          </a:bodyPr>
          <a:lstStyle>
            <a:lvl1pPr algn="l">
              <a:defRPr sz="4000">
                <a:solidFill>
                  <a:schemeClr val="bg1"/>
                </a:solidFill>
                <a:latin typeface="+mj-lt"/>
              </a:defRPr>
            </a:lvl1pPr>
          </a:lstStyle>
          <a:p>
            <a:r>
              <a:rPr lang="en-US" dirty="0"/>
              <a:t>Click to edit  </a:t>
            </a:r>
            <a:br>
              <a:rPr lang="en-US" dirty="0"/>
            </a:br>
            <a:r>
              <a:rPr lang="en-US" dirty="0"/>
              <a:t>title for divider</a:t>
            </a:r>
            <a:br>
              <a:rPr lang="en-US" dirty="0"/>
            </a:br>
            <a:endParaRPr lang="en-US" dirty="0"/>
          </a:p>
        </p:txBody>
      </p:sp>
      <p:sp>
        <p:nvSpPr>
          <p:cNvPr id="2" name="Freeform: Shape 1">
            <a:extLst>
              <a:ext uri="{FF2B5EF4-FFF2-40B4-BE49-F238E27FC236}">
                <a16:creationId xmlns:a16="http://schemas.microsoft.com/office/drawing/2014/main" id="{20A099C2-72F1-D293-6164-29506A0D559D}"/>
              </a:ext>
            </a:extLst>
          </p:cNvPr>
          <p:cNvSpPr/>
          <p:nvPr userDrawn="1"/>
        </p:nvSpPr>
        <p:spPr bwMode="gray">
          <a:xfrm>
            <a:off x="9112232" y="3805238"/>
            <a:ext cx="3079768" cy="3052762"/>
          </a:xfrm>
          <a:custGeom>
            <a:avLst/>
            <a:gdLst>
              <a:gd name="connsiteX0" fmla="*/ 2664697 w 2664697"/>
              <a:gd name="connsiteY0" fmla="*/ 0 h 2750947"/>
              <a:gd name="connsiteX1" fmla="*/ 2664697 w 2664697"/>
              <a:gd name="connsiteY1" fmla="*/ 2750947 h 2750947"/>
              <a:gd name="connsiteX2" fmla="*/ 0 w 2664697"/>
              <a:gd name="connsiteY2" fmla="*/ 2750947 h 2750947"/>
              <a:gd name="connsiteX3" fmla="*/ 2664697 w 2664697"/>
              <a:gd name="connsiteY3" fmla="*/ 0 h 2750947"/>
            </a:gdLst>
            <a:ahLst/>
            <a:cxnLst>
              <a:cxn ang="0">
                <a:pos x="connsiteX0" y="connsiteY0"/>
              </a:cxn>
              <a:cxn ang="0">
                <a:pos x="connsiteX1" y="connsiteY1"/>
              </a:cxn>
              <a:cxn ang="0">
                <a:pos x="connsiteX2" y="connsiteY2"/>
              </a:cxn>
              <a:cxn ang="0">
                <a:pos x="connsiteX3" y="connsiteY3"/>
              </a:cxn>
            </a:cxnLst>
            <a:rect l="l" t="t" r="r" b="b"/>
            <a:pathLst>
              <a:path w="2664697" h="2750947">
                <a:moveTo>
                  <a:pt x="2664697" y="0"/>
                </a:moveTo>
                <a:lnTo>
                  <a:pt x="2664697" y="2750947"/>
                </a:lnTo>
                <a:lnTo>
                  <a:pt x="0" y="2750947"/>
                </a:lnTo>
                <a:lnTo>
                  <a:pt x="2664697" y="0"/>
                </a:lnTo>
                <a:close/>
              </a:path>
            </a:pathLst>
          </a:custGeom>
          <a:solidFill>
            <a:srgbClr val="0073E3"/>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pic>
        <p:nvPicPr>
          <p:cNvPr id="12" name="Graphic 11" descr="CVS Caremark logo in white.">
            <a:extLst>
              <a:ext uri="{FF2B5EF4-FFF2-40B4-BE49-F238E27FC236}">
                <a16:creationId xmlns:a16="http://schemas.microsoft.com/office/drawing/2014/main" id="{A0CDF391-7A22-4508-A40C-E09B87D3ABF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3" name="Picture Placeholder 15">
            <a:extLst>
              <a:ext uri="{FF2B5EF4-FFF2-40B4-BE49-F238E27FC236}">
                <a16:creationId xmlns:a16="http://schemas.microsoft.com/office/drawing/2014/main" id="{D72E688A-B363-9CE9-A2CC-D3CC8061E53A}"/>
              </a:ext>
            </a:extLst>
          </p:cNvPr>
          <p:cNvSpPr>
            <a:spLocks noGrp="1"/>
          </p:cNvSpPr>
          <p:nvPr>
            <p:ph type="pic" sz="quarter" idx="16"/>
          </p:nvPr>
        </p:nvSpPr>
        <p:spPr bwMode="gray">
          <a:xfrm>
            <a:off x="2249112" y="-2631"/>
            <a:ext cx="9943708" cy="6865394"/>
          </a:xfrm>
          <a:custGeom>
            <a:avLst/>
            <a:gdLst>
              <a:gd name="connsiteX0" fmla="*/ 0 w 12188825"/>
              <a:gd name="connsiteY0" fmla="*/ 0 h 6858000"/>
              <a:gd name="connsiteX1" fmla="*/ 12188825 w 12188825"/>
              <a:gd name="connsiteY1" fmla="*/ 0 h 6858000"/>
              <a:gd name="connsiteX2" fmla="*/ 12188825 w 12188825"/>
              <a:gd name="connsiteY2" fmla="*/ 6858000 h 6858000"/>
              <a:gd name="connsiteX3" fmla="*/ 0 w 12188825"/>
              <a:gd name="connsiteY3" fmla="*/ 6858000 h 6858000"/>
              <a:gd name="connsiteX4" fmla="*/ 0 w 12188825"/>
              <a:gd name="connsiteY4" fmla="*/ 0 h 6858000"/>
              <a:gd name="connsiteX0" fmla="*/ 0 w 12188825"/>
              <a:gd name="connsiteY0" fmla="*/ 24063 h 6882063"/>
              <a:gd name="connsiteX1" fmla="*/ 2346158 w 12188825"/>
              <a:gd name="connsiteY1" fmla="*/ 0 h 6882063"/>
              <a:gd name="connsiteX2" fmla="*/ 12188825 w 12188825"/>
              <a:gd name="connsiteY2" fmla="*/ 24063 h 6882063"/>
              <a:gd name="connsiteX3" fmla="*/ 12188825 w 12188825"/>
              <a:gd name="connsiteY3" fmla="*/ 6882063 h 6882063"/>
              <a:gd name="connsiteX4" fmla="*/ 0 w 12188825"/>
              <a:gd name="connsiteY4" fmla="*/ 6882063 h 6882063"/>
              <a:gd name="connsiteX5" fmla="*/ 0 w 12188825"/>
              <a:gd name="connsiteY5" fmla="*/ 24063 h 6882063"/>
              <a:gd name="connsiteX0" fmla="*/ 0 w 12188825"/>
              <a:gd name="connsiteY0" fmla="*/ 24063 h 6882063"/>
              <a:gd name="connsiteX1" fmla="*/ 2346158 w 12188825"/>
              <a:gd name="connsiteY1" fmla="*/ 0 h 6882063"/>
              <a:gd name="connsiteX2" fmla="*/ 12188825 w 12188825"/>
              <a:gd name="connsiteY2" fmla="*/ 24063 h 6882063"/>
              <a:gd name="connsiteX3" fmla="*/ 12188825 w 12188825"/>
              <a:gd name="connsiteY3" fmla="*/ 6882063 h 6882063"/>
              <a:gd name="connsiteX4" fmla="*/ 9107906 w 12188825"/>
              <a:gd name="connsiteY4" fmla="*/ 6882063 h 6882063"/>
              <a:gd name="connsiteX5" fmla="*/ 0 w 12188825"/>
              <a:gd name="connsiteY5" fmla="*/ 24063 h 6882063"/>
              <a:gd name="connsiteX0" fmla="*/ 6761748 w 9842667"/>
              <a:gd name="connsiteY0" fmla="*/ 6882063 h 6882063"/>
              <a:gd name="connsiteX1" fmla="*/ 0 w 9842667"/>
              <a:gd name="connsiteY1" fmla="*/ 0 h 6882063"/>
              <a:gd name="connsiteX2" fmla="*/ 9842667 w 9842667"/>
              <a:gd name="connsiteY2" fmla="*/ 24063 h 6882063"/>
              <a:gd name="connsiteX3" fmla="*/ 9842667 w 9842667"/>
              <a:gd name="connsiteY3" fmla="*/ 6882063 h 6882063"/>
              <a:gd name="connsiteX4" fmla="*/ 6761748 w 9842667"/>
              <a:gd name="connsiteY4" fmla="*/ 6882063 h 6882063"/>
              <a:gd name="connsiteX0" fmla="*/ 6761748 w 9853863"/>
              <a:gd name="connsiteY0" fmla="*/ 6882063 h 6882063"/>
              <a:gd name="connsiteX1" fmla="*/ 0 w 9853863"/>
              <a:gd name="connsiteY1" fmla="*/ 0 h 6882063"/>
              <a:gd name="connsiteX2" fmla="*/ 9842667 w 9853863"/>
              <a:gd name="connsiteY2" fmla="*/ 24063 h 6882063"/>
              <a:gd name="connsiteX3" fmla="*/ 9853863 w 9853863"/>
              <a:gd name="connsiteY3" fmla="*/ 3838075 h 6882063"/>
              <a:gd name="connsiteX4" fmla="*/ 9842667 w 9853863"/>
              <a:gd name="connsiteY4" fmla="*/ 6882063 h 6882063"/>
              <a:gd name="connsiteX5" fmla="*/ 6761748 w 9853863"/>
              <a:gd name="connsiteY5" fmla="*/ 6882063 h 6882063"/>
              <a:gd name="connsiteX0" fmla="*/ 6859380 w 9951495"/>
              <a:gd name="connsiteY0" fmla="*/ 6860631 h 6860631"/>
              <a:gd name="connsiteX1" fmla="*/ 0 w 9951495"/>
              <a:gd name="connsiteY1" fmla="*/ 0 h 6860631"/>
              <a:gd name="connsiteX2" fmla="*/ 9940299 w 9951495"/>
              <a:gd name="connsiteY2" fmla="*/ 2631 h 6860631"/>
              <a:gd name="connsiteX3" fmla="*/ 9951495 w 9951495"/>
              <a:gd name="connsiteY3" fmla="*/ 3816643 h 6860631"/>
              <a:gd name="connsiteX4" fmla="*/ 9940299 w 9951495"/>
              <a:gd name="connsiteY4" fmla="*/ 6860631 h 6860631"/>
              <a:gd name="connsiteX5" fmla="*/ 6859380 w 9951495"/>
              <a:gd name="connsiteY5" fmla="*/ 6860631 h 6860631"/>
              <a:gd name="connsiteX0" fmla="*/ 6859380 w 9951495"/>
              <a:gd name="connsiteY0" fmla="*/ 6860631 h 6860631"/>
              <a:gd name="connsiteX1" fmla="*/ 0 w 9951495"/>
              <a:gd name="connsiteY1" fmla="*/ 0 h 6860631"/>
              <a:gd name="connsiteX2" fmla="*/ 9940299 w 9951495"/>
              <a:gd name="connsiteY2" fmla="*/ 2631 h 6860631"/>
              <a:gd name="connsiteX3" fmla="*/ 9951495 w 9951495"/>
              <a:gd name="connsiteY3" fmla="*/ 3816643 h 6860631"/>
              <a:gd name="connsiteX4" fmla="*/ 6859380 w 9951495"/>
              <a:gd name="connsiteY4" fmla="*/ 6860631 h 6860631"/>
              <a:gd name="connsiteX0" fmla="*/ 6859380 w 9940299"/>
              <a:gd name="connsiteY0" fmla="*/ 6860631 h 6860631"/>
              <a:gd name="connsiteX1" fmla="*/ 0 w 9940299"/>
              <a:gd name="connsiteY1" fmla="*/ 0 h 6860631"/>
              <a:gd name="connsiteX2" fmla="*/ 9940299 w 9940299"/>
              <a:gd name="connsiteY2" fmla="*/ 2631 h 6860631"/>
              <a:gd name="connsiteX3" fmla="*/ 9925301 w 9940299"/>
              <a:gd name="connsiteY3" fmla="*/ 3799975 h 6860631"/>
              <a:gd name="connsiteX4" fmla="*/ 6859380 w 9940299"/>
              <a:gd name="connsiteY4" fmla="*/ 6860631 h 6860631"/>
              <a:gd name="connsiteX0" fmla="*/ 6859380 w 9941118"/>
              <a:gd name="connsiteY0" fmla="*/ 6860631 h 6860631"/>
              <a:gd name="connsiteX1" fmla="*/ 0 w 9941118"/>
              <a:gd name="connsiteY1" fmla="*/ 0 h 6860631"/>
              <a:gd name="connsiteX2" fmla="*/ 9940299 w 9941118"/>
              <a:gd name="connsiteY2" fmla="*/ 2631 h 6860631"/>
              <a:gd name="connsiteX3" fmla="*/ 9939588 w 9941118"/>
              <a:gd name="connsiteY3" fmla="*/ 3811881 h 6860631"/>
              <a:gd name="connsiteX4" fmla="*/ 6859380 w 9941118"/>
              <a:gd name="connsiteY4" fmla="*/ 6860631 h 6860631"/>
              <a:gd name="connsiteX0" fmla="*/ 6859380 w 9941118"/>
              <a:gd name="connsiteY0" fmla="*/ 6860631 h 6860631"/>
              <a:gd name="connsiteX1" fmla="*/ 0 w 9941118"/>
              <a:gd name="connsiteY1" fmla="*/ 0 h 6860631"/>
              <a:gd name="connsiteX2" fmla="*/ 9940299 w 9941118"/>
              <a:gd name="connsiteY2" fmla="*/ 2631 h 6860631"/>
              <a:gd name="connsiteX3" fmla="*/ 9939588 w 9941118"/>
              <a:gd name="connsiteY3" fmla="*/ 3811881 h 6860631"/>
              <a:gd name="connsiteX4" fmla="*/ 6859380 w 9941118"/>
              <a:gd name="connsiteY4" fmla="*/ 6860631 h 6860631"/>
              <a:gd name="connsiteX0" fmla="*/ 6859380 w 9941118"/>
              <a:gd name="connsiteY0" fmla="*/ 6865394 h 6865394"/>
              <a:gd name="connsiteX1" fmla="*/ 0 w 9941118"/>
              <a:gd name="connsiteY1" fmla="*/ 0 h 6865394"/>
              <a:gd name="connsiteX2" fmla="*/ 9940299 w 9941118"/>
              <a:gd name="connsiteY2" fmla="*/ 2631 h 6865394"/>
              <a:gd name="connsiteX3" fmla="*/ 9939588 w 9941118"/>
              <a:gd name="connsiteY3" fmla="*/ 3811881 h 6865394"/>
              <a:gd name="connsiteX4" fmla="*/ 6859380 w 9941118"/>
              <a:gd name="connsiteY4" fmla="*/ 6865394 h 6865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1118" h="6865394">
                <a:moveTo>
                  <a:pt x="6859380" y="6865394"/>
                </a:moveTo>
                <a:lnTo>
                  <a:pt x="0" y="0"/>
                </a:lnTo>
                <a:lnTo>
                  <a:pt x="9940299" y="2631"/>
                </a:lnTo>
                <a:cubicBezTo>
                  <a:pt x="9935300" y="1268412"/>
                  <a:pt x="9944587" y="2546100"/>
                  <a:pt x="9939588" y="3811881"/>
                </a:cubicBezTo>
                <a:lnTo>
                  <a:pt x="6859380" y="6865394"/>
                </a:lnTo>
                <a:close/>
              </a:path>
            </a:pathLst>
          </a:custGeom>
          <a:solidFill>
            <a:schemeClr val="bg1">
              <a:lumMod val="75000"/>
            </a:schemeClr>
          </a:solidFill>
        </p:spPr>
        <p:txBody>
          <a:bodyPr/>
          <a:lstStyle>
            <a:lvl1pPr algn="ctr">
              <a:defRPr b="1" baseline="0">
                <a:solidFill>
                  <a:schemeClr val="bg1"/>
                </a:solidFill>
              </a:defRPr>
            </a:lvl1pPr>
          </a:lstStyle>
          <a:p>
            <a:r>
              <a:rPr lang="en-US"/>
              <a:t>Click icon to add picture</a:t>
            </a:r>
            <a:endParaRPr lang="en-US" dirty="0"/>
          </a:p>
        </p:txBody>
      </p:sp>
      <p:sp>
        <p:nvSpPr>
          <p:cNvPr id="4" name="Content Placeholder 8">
            <a:extLst>
              <a:ext uri="{FF2B5EF4-FFF2-40B4-BE49-F238E27FC236}">
                <a16:creationId xmlns:a16="http://schemas.microsoft.com/office/drawing/2014/main" id="{D78C1D29-E615-8F8B-588E-B9884DD23FEF}"/>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0702979-B0A5-8798-AE54-BF4112C34282}"/>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5062449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4F77641-BB34-CCDA-86A2-47F41E6D6F8C}"/>
              </a:ext>
            </a:extLst>
          </p:cNvPr>
          <p:cNvSpPr/>
          <p:nvPr userDrawn="1"/>
        </p:nvSpPr>
        <p:spPr bwMode="gray">
          <a:xfrm>
            <a:off x="1" y="0"/>
            <a:ext cx="12192000" cy="6858000"/>
          </a:xfrm>
          <a:prstGeom prst="rect">
            <a:avLst/>
          </a:prstGeom>
          <a:solidFill>
            <a:srgbClr val="073F77"/>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7" name="Freeform: Shape 6">
            <a:extLst>
              <a:ext uri="{FF2B5EF4-FFF2-40B4-BE49-F238E27FC236}">
                <a16:creationId xmlns:a16="http://schemas.microsoft.com/office/drawing/2014/main" id="{A7F08B43-3682-31E6-22A9-6EC43271597B}"/>
              </a:ext>
            </a:extLst>
          </p:cNvPr>
          <p:cNvSpPr/>
          <p:nvPr userDrawn="1"/>
        </p:nvSpPr>
        <p:spPr bwMode="gray">
          <a:xfrm>
            <a:off x="0" y="0"/>
            <a:ext cx="12191826" cy="6858000"/>
          </a:xfrm>
          <a:custGeom>
            <a:avLst/>
            <a:gdLst>
              <a:gd name="connsiteX0" fmla="*/ 2898356 w 12188651"/>
              <a:gd name="connsiteY0" fmla="*/ 6736207 h 6858000"/>
              <a:gd name="connsiteX1" fmla="*/ 2926103 w 12188651"/>
              <a:gd name="connsiteY1" fmla="*/ 6747747 h 6858000"/>
              <a:gd name="connsiteX2" fmla="*/ 2990703 w 12188651"/>
              <a:gd name="connsiteY2" fmla="*/ 6812479 h 6858000"/>
              <a:gd name="connsiteX3" fmla="*/ 3002247 w 12188651"/>
              <a:gd name="connsiteY3" fmla="*/ 6824154 h 6858000"/>
              <a:gd name="connsiteX4" fmla="*/ 3002260 w 12188651"/>
              <a:gd name="connsiteY4" fmla="*/ 6824142 h 6858000"/>
              <a:gd name="connsiteX5" fmla="*/ 3002268 w 12188651"/>
              <a:gd name="connsiteY5" fmla="*/ 6824154 h 6858000"/>
              <a:gd name="connsiteX6" fmla="*/ 3013815 w 12188651"/>
              <a:gd name="connsiteY6" fmla="*/ 6812479 h 6858000"/>
              <a:gd name="connsiteX7" fmla="*/ 3078283 w 12188651"/>
              <a:gd name="connsiteY7" fmla="*/ 6747747 h 6858000"/>
              <a:gd name="connsiteX8" fmla="*/ 3106032 w 12188651"/>
              <a:gd name="connsiteY8" fmla="*/ 6736207 h 6858000"/>
              <a:gd name="connsiteX9" fmla="*/ 3133652 w 12188651"/>
              <a:gd name="connsiteY9" fmla="*/ 6747747 h 6858000"/>
              <a:gd name="connsiteX10" fmla="*/ 3212130 w 12188651"/>
              <a:gd name="connsiteY10" fmla="*/ 6826359 h 6858000"/>
              <a:gd name="connsiteX11" fmla="*/ 3223674 w 12188651"/>
              <a:gd name="connsiteY11" fmla="*/ 6854120 h 6858000"/>
              <a:gd name="connsiteX12" fmla="*/ 3222078 w 12188651"/>
              <a:gd name="connsiteY12" fmla="*/ 6858000 h 6858000"/>
              <a:gd name="connsiteX13" fmla="*/ 2782374 w 12188651"/>
              <a:gd name="connsiteY13" fmla="*/ 6858000 h 6858000"/>
              <a:gd name="connsiteX14" fmla="*/ 2780774 w 12188651"/>
              <a:gd name="connsiteY14" fmla="*/ 6854136 h 6858000"/>
              <a:gd name="connsiteX15" fmla="*/ 2792259 w 12188651"/>
              <a:gd name="connsiteY15" fmla="*/ 6826489 h 6858000"/>
              <a:gd name="connsiteX16" fmla="*/ 2870736 w 12188651"/>
              <a:gd name="connsiteY16" fmla="*/ 6747747 h 6858000"/>
              <a:gd name="connsiteX17" fmla="*/ 844377 w 12188651"/>
              <a:gd name="connsiteY17" fmla="*/ 6736207 h 6858000"/>
              <a:gd name="connsiteX18" fmla="*/ 872125 w 12188651"/>
              <a:gd name="connsiteY18" fmla="*/ 6747747 h 6858000"/>
              <a:gd name="connsiteX19" fmla="*/ 936724 w 12188651"/>
              <a:gd name="connsiteY19" fmla="*/ 6812479 h 6858000"/>
              <a:gd name="connsiteX20" fmla="*/ 948269 w 12188651"/>
              <a:gd name="connsiteY20" fmla="*/ 6824154 h 6858000"/>
              <a:gd name="connsiteX21" fmla="*/ 948282 w 12188651"/>
              <a:gd name="connsiteY21" fmla="*/ 6824142 h 6858000"/>
              <a:gd name="connsiteX22" fmla="*/ 948294 w 12188651"/>
              <a:gd name="connsiteY22" fmla="*/ 6824154 h 6858000"/>
              <a:gd name="connsiteX23" fmla="*/ 959838 w 12188651"/>
              <a:gd name="connsiteY23" fmla="*/ 6812479 h 6858000"/>
              <a:gd name="connsiteX24" fmla="*/ 1024306 w 12188651"/>
              <a:gd name="connsiteY24" fmla="*/ 6747747 h 6858000"/>
              <a:gd name="connsiteX25" fmla="*/ 1052055 w 12188651"/>
              <a:gd name="connsiteY25" fmla="*/ 6736207 h 6858000"/>
              <a:gd name="connsiteX26" fmla="*/ 1079674 w 12188651"/>
              <a:gd name="connsiteY26" fmla="*/ 6747747 h 6858000"/>
              <a:gd name="connsiteX27" fmla="*/ 1158152 w 12188651"/>
              <a:gd name="connsiteY27" fmla="*/ 6826359 h 6858000"/>
              <a:gd name="connsiteX28" fmla="*/ 1169697 w 12188651"/>
              <a:gd name="connsiteY28" fmla="*/ 6854120 h 6858000"/>
              <a:gd name="connsiteX29" fmla="*/ 1168102 w 12188651"/>
              <a:gd name="connsiteY29" fmla="*/ 6858000 h 6858000"/>
              <a:gd name="connsiteX30" fmla="*/ 728400 w 12188651"/>
              <a:gd name="connsiteY30" fmla="*/ 6858000 h 6858000"/>
              <a:gd name="connsiteX31" fmla="*/ 726801 w 12188651"/>
              <a:gd name="connsiteY31" fmla="*/ 6854136 h 6858000"/>
              <a:gd name="connsiteX32" fmla="*/ 738281 w 12188651"/>
              <a:gd name="connsiteY32" fmla="*/ 6826489 h 6858000"/>
              <a:gd name="connsiteX33" fmla="*/ 816760 w 12188651"/>
              <a:gd name="connsiteY33" fmla="*/ 6747747 h 6858000"/>
              <a:gd name="connsiteX34" fmla="*/ 4952154 w 12188651"/>
              <a:gd name="connsiteY34" fmla="*/ 6736204 h 6858000"/>
              <a:gd name="connsiteX35" fmla="*/ 4979914 w 12188651"/>
              <a:gd name="connsiteY35" fmla="*/ 6747747 h 6858000"/>
              <a:gd name="connsiteX36" fmla="*/ 5044520 w 12188651"/>
              <a:gd name="connsiteY36" fmla="*/ 6812479 h 6858000"/>
              <a:gd name="connsiteX37" fmla="*/ 5056064 w 12188651"/>
              <a:gd name="connsiteY37" fmla="*/ 6824154 h 6858000"/>
              <a:gd name="connsiteX38" fmla="*/ 5056083 w 12188651"/>
              <a:gd name="connsiteY38" fmla="*/ 6824144 h 6858000"/>
              <a:gd name="connsiteX39" fmla="*/ 5056087 w 12188651"/>
              <a:gd name="connsiteY39" fmla="*/ 6824154 h 6858000"/>
              <a:gd name="connsiteX40" fmla="*/ 5067633 w 12188651"/>
              <a:gd name="connsiteY40" fmla="*/ 6812479 h 6858000"/>
              <a:gd name="connsiteX41" fmla="*/ 5132089 w 12188651"/>
              <a:gd name="connsiteY41" fmla="*/ 6747747 h 6858000"/>
              <a:gd name="connsiteX42" fmla="*/ 5159834 w 12188651"/>
              <a:gd name="connsiteY42" fmla="*/ 6736204 h 6858000"/>
              <a:gd name="connsiteX43" fmla="*/ 5187464 w 12188651"/>
              <a:gd name="connsiteY43" fmla="*/ 6747747 h 6858000"/>
              <a:gd name="connsiteX44" fmla="*/ 5265932 w 12188651"/>
              <a:gd name="connsiteY44" fmla="*/ 6826359 h 6858000"/>
              <a:gd name="connsiteX45" fmla="*/ 5277479 w 12188651"/>
              <a:gd name="connsiteY45" fmla="*/ 6854120 h 6858000"/>
              <a:gd name="connsiteX46" fmla="*/ 5275883 w 12188651"/>
              <a:gd name="connsiteY46" fmla="*/ 6858000 h 6858000"/>
              <a:gd name="connsiteX47" fmla="*/ 4836166 w 12188651"/>
              <a:gd name="connsiteY47" fmla="*/ 6858000 h 6858000"/>
              <a:gd name="connsiteX48" fmla="*/ 4834566 w 12188651"/>
              <a:gd name="connsiteY48" fmla="*/ 6854136 h 6858000"/>
              <a:gd name="connsiteX49" fmla="*/ 4846044 w 12188651"/>
              <a:gd name="connsiteY49" fmla="*/ 6826489 h 6858000"/>
              <a:gd name="connsiteX50" fmla="*/ 4924518 w 12188651"/>
              <a:gd name="connsiteY50" fmla="*/ 6747747 h 6858000"/>
              <a:gd name="connsiteX51" fmla="*/ 11113840 w 12188651"/>
              <a:gd name="connsiteY51" fmla="*/ 6736202 h 6858000"/>
              <a:gd name="connsiteX52" fmla="*/ 11141600 w 12188651"/>
              <a:gd name="connsiteY52" fmla="*/ 6747747 h 6858000"/>
              <a:gd name="connsiteX53" fmla="*/ 11206199 w 12188651"/>
              <a:gd name="connsiteY53" fmla="*/ 6812479 h 6858000"/>
              <a:gd name="connsiteX54" fmla="*/ 11217744 w 12188651"/>
              <a:gd name="connsiteY54" fmla="*/ 6824154 h 6858000"/>
              <a:gd name="connsiteX55" fmla="*/ 11229289 w 12188651"/>
              <a:gd name="connsiteY55" fmla="*/ 6812479 h 6858000"/>
              <a:gd name="connsiteX56" fmla="*/ 11293758 w 12188651"/>
              <a:gd name="connsiteY56" fmla="*/ 6747747 h 6858000"/>
              <a:gd name="connsiteX57" fmla="*/ 11321517 w 12188651"/>
              <a:gd name="connsiteY57" fmla="*/ 6736202 h 6858000"/>
              <a:gd name="connsiteX58" fmla="*/ 11349147 w 12188651"/>
              <a:gd name="connsiteY58" fmla="*/ 6747747 h 6858000"/>
              <a:gd name="connsiteX59" fmla="*/ 11427627 w 12188651"/>
              <a:gd name="connsiteY59" fmla="*/ 6826359 h 6858000"/>
              <a:gd name="connsiteX60" fmla="*/ 11439172 w 12188651"/>
              <a:gd name="connsiteY60" fmla="*/ 6854120 h 6858000"/>
              <a:gd name="connsiteX61" fmla="*/ 11437577 w 12188651"/>
              <a:gd name="connsiteY61" fmla="*/ 6858000 h 6858000"/>
              <a:gd name="connsiteX62" fmla="*/ 10997850 w 12188651"/>
              <a:gd name="connsiteY62" fmla="*/ 6858000 h 6858000"/>
              <a:gd name="connsiteX63" fmla="*/ 10996251 w 12188651"/>
              <a:gd name="connsiteY63" fmla="*/ 6854136 h 6858000"/>
              <a:gd name="connsiteX64" fmla="*/ 11007731 w 12188651"/>
              <a:gd name="connsiteY64" fmla="*/ 6826489 h 6858000"/>
              <a:gd name="connsiteX65" fmla="*/ 11086210 w 12188651"/>
              <a:gd name="connsiteY65" fmla="*/ 6747747 h 6858000"/>
              <a:gd name="connsiteX66" fmla="*/ 11113840 w 12188651"/>
              <a:gd name="connsiteY66" fmla="*/ 6736202 h 6858000"/>
              <a:gd name="connsiteX67" fmla="*/ 9059892 w 12188651"/>
              <a:gd name="connsiteY67" fmla="*/ 6736202 h 6858000"/>
              <a:gd name="connsiteX68" fmla="*/ 9087652 w 12188651"/>
              <a:gd name="connsiteY68" fmla="*/ 6747747 h 6858000"/>
              <a:gd name="connsiteX69" fmla="*/ 9152251 w 12188651"/>
              <a:gd name="connsiteY69" fmla="*/ 6812479 h 6858000"/>
              <a:gd name="connsiteX70" fmla="*/ 9163796 w 12188651"/>
              <a:gd name="connsiteY70" fmla="*/ 6824154 h 6858000"/>
              <a:gd name="connsiteX71" fmla="*/ 9163797 w 12188651"/>
              <a:gd name="connsiteY71" fmla="*/ 6824154 h 6858000"/>
              <a:gd name="connsiteX72" fmla="*/ 9175342 w 12188651"/>
              <a:gd name="connsiteY72" fmla="*/ 6812479 h 6858000"/>
              <a:gd name="connsiteX73" fmla="*/ 9239811 w 12188651"/>
              <a:gd name="connsiteY73" fmla="*/ 6747747 h 6858000"/>
              <a:gd name="connsiteX74" fmla="*/ 9267570 w 12188651"/>
              <a:gd name="connsiteY74" fmla="*/ 6736202 h 6858000"/>
              <a:gd name="connsiteX75" fmla="*/ 9295200 w 12188651"/>
              <a:gd name="connsiteY75" fmla="*/ 6747747 h 6858000"/>
              <a:gd name="connsiteX76" fmla="*/ 9373678 w 12188651"/>
              <a:gd name="connsiteY76" fmla="*/ 6826359 h 6858000"/>
              <a:gd name="connsiteX77" fmla="*/ 9385223 w 12188651"/>
              <a:gd name="connsiteY77" fmla="*/ 6854120 h 6858000"/>
              <a:gd name="connsiteX78" fmla="*/ 9383628 w 12188651"/>
              <a:gd name="connsiteY78" fmla="*/ 6858000 h 6858000"/>
              <a:gd name="connsiteX79" fmla="*/ 8943904 w 12188651"/>
              <a:gd name="connsiteY79" fmla="*/ 6858000 h 6858000"/>
              <a:gd name="connsiteX80" fmla="*/ 8942305 w 12188651"/>
              <a:gd name="connsiteY80" fmla="*/ 6854136 h 6858000"/>
              <a:gd name="connsiteX81" fmla="*/ 8953784 w 12188651"/>
              <a:gd name="connsiteY81" fmla="*/ 6826489 h 6858000"/>
              <a:gd name="connsiteX82" fmla="*/ 9032264 w 12188651"/>
              <a:gd name="connsiteY82" fmla="*/ 6747747 h 6858000"/>
              <a:gd name="connsiteX83" fmla="*/ 7006076 w 12188651"/>
              <a:gd name="connsiteY83" fmla="*/ 6736202 h 6858000"/>
              <a:gd name="connsiteX84" fmla="*/ 7033834 w 12188651"/>
              <a:gd name="connsiteY84" fmla="*/ 6747747 h 6858000"/>
              <a:gd name="connsiteX85" fmla="*/ 7098434 w 12188651"/>
              <a:gd name="connsiteY85" fmla="*/ 6812479 h 6858000"/>
              <a:gd name="connsiteX86" fmla="*/ 7109978 w 12188651"/>
              <a:gd name="connsiteY86" fmla="*/ 6824154 h 6858000"/>
              <a:gd name="connsiteX87" fmla="*/ 7121523 w 12188651"/>
              <a:gd name="connsiteY87" fmla="*/ 6812479 h 6858000"/>
              <a:gd name="connsiteX88" fmla="*/ 7185994 w 12188651"/>
              <a:gd name="connsiteY88" fmla="*/ 6747747 h 6858000"/>
              <a:gd name="connsiteX89" fmla="*/ 7213751 w 12188651"/>
              <a:gd name="connsiteY89" fmla="*/ 6736202 h 6858000"/>
              <a:gd name="connsiteX90" fmla="*/ 7241381 w 12188651"/>
              <a:gd name="connsiteY90" fmla="*/ 6747747 h 6858000"/>
              <a:gd name="connsiteX91" fmla="*/ 7319862 w 12188651"/>
              <a:gd name="connsiteY91" fmla="*/ 6826359 h 6858000"/>
              <a:gd name="connsiteX92" fmla="*/ 7331407 w 12188651"/>
              <a:gd name="connsiteY92" fmla="*/ 6854120 h 6858000"/>
              <a:gd name="connsiteX93" fmla="*/ 7329812 w 12188651"/>
              <a:gd name="connsiteY93" fmla="*/ 6858000 h 6858000"/>
              <a:gd name="connsiteX94" fmla="*/ 6890084 w 12188651"/>
              <a:gd name="connsiteY94" fmla="*/ 6858000 h 6858000"/>
              <a:gd name="connsiteX95" fmla="*/ 6888485 w 12188651"/>
              <a:gd name="connsiteY95" fmla="*/ 6854136 h 6858000"/>
              <a:gd name="connsiteX96" fmla="*/ 6899966 w 12188651"/>
              <a:gd name="connsiteY96" fmla="*/ 6826489 h 6858000"/>
              <a:gd name="connsiteX97" fmla="*/ 6978446 w 12188651"/>
              <a:gd name="connsiteY97" fmla="*/ 6747747 h 6858000"/>
              <a:gd name="connsiteX98" fmla="*/ 7006076 w 12188651"/>
              <a:gd name="connsiteY98" fmla="*/ 6736202 h 6858000"/>
              <a:gd name="connsiteX99" fmla="*/ 3679133 w 12188651"/>
              <a:gd name="connsiteY99" fmla="*/ 6509063 h 6858000"/>
              <a:gd name="connsiteX100" fmla="*/ 3679133 w 12188651"/>
              <a:gd name="connsiteY100" fmla="*/ 6858000 h 6858000"/>
              <a:gd name="connsiteX101" fmla="*/ 3353551 w 12188651"/>
              <a:gd name="connsiteY101" fmla="*/ 6858000 h 6858000"/>
              <a:gd name="connsiteX102" fmla="*/ 3353551 w 12188651"/>
              <a:gd name="connsiteY102" fmla="*/ 6697415 h 6858000"/>
              <a:gd name="connsiteX103" fmla="*/ 3695482 w 12188651"/>
              <a:gd name="connsiteY103" fmla="*/ 6509061 h 6858000"/>
              <a:gd name="connsiteX104" fmla="*/ 4020937 w 12188651"/>
              <a:gd name="connsiteY104" fmla="*/ 6697415 h 6858000"/>
              <a:gd name="connsiteX105" fmla="*/ 4020937 w 12188651"/>
              <a:gd name="connsiteY105" fmla="*/ 6858000 h 6858000"/>
              <a:gd name="connsiteX106" fmla="*/ 3695482 w 12188651"/>
              <a:gd name="connsiteY106" fmla="*/ 6858000 h 6858000"/>
              <a:gd name="connsiteX107" fmla="*/ 1641506 w 12188651"/>
              <a:gd name="connsiteY107" fmla="*/ 6509061 h 6858000"/>
              <a:gd name="connsiteX108" fmla="*/ 1966962 w 12188651"/>
              <a:gd name="connsiteY108" fmla="*/ 6697415 h 6858000"/>
              <a:gd name="connsiteX109" fmla="*/ 1966962 w 12188651"/>
              <a:gd name="connsiteY109" fmla="*/ 6858000 h 6858000"/>
              <a:gd name="connsiteX110" fmla="*/ 1641506 w 12188651"/>
              <a:gd name="connsiteY110" fmla="*/ 6858000 h 6858000"/>
              <a:gd name="connsiteX111" fmla="*/ 1625155 w 12188651"/>
              <a:gd name="connsiteY111" fmla="*/ 6509061 h 6858000"/>
              <a:gd name="connsiteX112" fmla="*/ 1625155 w 12188651"/>
              <a:gd name="connsiteY112" fmla="*/ 6858000 h 6858000"/>
              <a:gd name="connsiteX113" fmla="*/ 1299571 w 12188651"/>
              <a:gd name="connsiteY113" fmla="*/ 6858000 h 6858000"/>
              <a:gd name="connsiteX114" fmla="*/ 1299571 w 12188651"/>
              <a:gd name="connsiteY114" fmla="*/ 6697415 h 6858000"/>
              <a:gd name="connsiteX115" fmla="*/ 5749262 w 12188651"/>
              <a:gd name="connsiteY115" fmla="*/ 6509059 h 6858000"/>
              <a:gd name="connsiteX116" fmla="*/ 6074705 w 12188651"/>
              <a:gd name="connsiteY116" fmla="*/ 6697415 h 6858000"/>
              <a:gd name="connsiteX117" fmla="*/ 6074705 w 12188651"/>
              <a:gd name="connsiteY117" fmla="*/ 6858000 h 6858000"/>
              <a:gd name="connsiteX118" fmla="*/ 5749262 w 12188651"/>
              <a:gd name="connsiteY118" fmla="*/ 6858000 h 6858000"/>
              <a:gd name="connsiteX119" fmla="*/ 5732919 w 12188651"/>
              <a:gd name="connsiteY119" fmla="*/ 6509059 h 6858000"/>
              <a:gd name="connsiteX120" fmla="*/ 5732919 w 12188651"/>
              <a:gd name="connsiteY120" fmla="*/ 6858000 h 6858000"/>
              <a:gd name="connsiteX121" fmla="*/ 5407350 w 12188651"/>
              <a:gd name="connsiteY121" fmla="*/ 6858000 h 6858000"/>
              <a:gd name="connsiteX122" fmla="*/ 5407350 w 12188651"/>
              <a:gd name="connsiteY122" fmla="*/ 6697415 h 6858000"/>
              <a:gd name="connsiteX123" fmla="*/ 11910826 w 12188651"/>
              <a:gd name="connsiteY123" fmla="*/ 6509058 h 6858000"/>
              <a:gd name="connsiteX124" fmla="*/ 12188651 w 12188651"/>
              <a:gd name="connsiteY124" fmla="*/ 6669846 h 6858000"/>
              <a:gd name="connsiteX125" fmla="*/ 12188651 w 12188651"/>
              <a:gd name="connsiteY125" fmla="*/ 6858000 h 6858000"/>
              <a:gd name="connsiteX126" fmla="*/ 11910826 w 12188651"/>
              <a:gd name="connsiteY126" fmla="*/ 6858000 h 6858000"/>
              <a:gd name="connsiteX127" fmla="*/ 11894481 w 12188651"/>
              <a:gd name="connsiteY127" fmla="*/ 6509058 h 6858000"/>
              <a:gd name="connsiteX128" fmla="*/ 11894481 w 12188651"/>
              <a:gd name="connsiteY128" fmla="*/ 6858000 h 6858000"/>
              <a:gd name="connsiteX129" fmla="*/ 11568890 w 12188651"/>
              <a:gd name="connsiteY129" fmla="*/ 6858000 h 6858000"/>
              <a:gd name="connsiteX130" fmla="*/ 11568890 w 12188651"/>
              <a:gd name="connsiteY130" fmla="*/ 6697415 h 6858000"/>
              <a:gd name="connsiteX131" fmla="*/ 9857006 w 12188651"/>
              <a:gd name="connsiteY131" fmla="*/ 6509058 h 6858000"/>
              <a:gd name="connsiteX132" fmla="*/ 10182468 w 12188651"/>
              <a:gd name="connsiteY132" fmla="*/ 6697415 h 6858000"/>
              <a:gd name="connsiteX133" fmla="*/ 10182468 w 12188651"/>
              <a:gd name="connsiteY133" fmla="*/ 6858000 h 6858000"/>
              <a:gd name="connsiteX134" fmla="*/ 9857006 w 12188651"/>
              <a:gd name="connsiteY134" fmla="*/ 6858000 h 6858000"/>
              <a:gd name="connsiteX135" fmla="*/ 9840661 w 12188651"/>
              <a:gd name="connsiteY135" fmla="*/ 6509058 h 6858000"/>
              <a:gd name="connsiteX136" fmla="*/ 9840661 w 12188651"/>
              <a:gd name="connsiteY136" fmla="*/ 6858000 h 6858000"/>
              <a:gd name="connsiteX137" fmla="*/ 9515070 w 12188651"/>
              <a:gd name="connsiteY137" fmla="*/ 6858000 h 6858000"/>
              <a:gd name="connsiteX138" fmla="*/ 9515070 w 12188651"/>
              <a:gd name="connsiteY138" fmla="*/ 6697415 h 6858000"/>
              <a:gd name="connsiteX139" fmla="*/ 7803060 w 12188651"/>
              <a:gd name="connsiteY139" fmla="*/ 6509058 h 6858000"/>
              <a:gd name="connsiteX140" fmla="*/ 8128521 w 12188651"/>
              <a:gd name="connsiteY140" fmla="*/ 6697415 h 6858000"/>
              <a:gd name="connsiteX141" fmla="*/ 8128521 w 12188651"/>
              <a:gd name="connsiteY141" fmla="*/ 6858000 h 6858000"/>
              <a:gd name="connsiteX142" fmla="*/ 7803060 w 12188651"/>
              <a:gd name="connsiteY142" fmla="*/ 6858000 h 6858000"/>
              <a:gd name="connsiteX143" fmla="*/ 7786715 w 12188651"/>
              <a:gd name="connsiteY143" fmla="*/ 6509058 h 6858000"/>
              <a:gd name="connsiteX144" fmla="*/ 7786715 w 12188651"/>
              <a:gd name="connsiteY144" fmla="*/ 6858000 h 6858000"/>
              <a:gd name="connsiteX145" fmla="*/ 7461125 w 12188651"/>
              <a:gd name="connsiteY145" fmla="*/ 6858000 h 6858000"/>
              <a:gd name="connsiteX146" fmla="*/ 7461125 w 12188651"/>
              <a:gd name="connsiteY146" fmla="*/ 6697415 h 6858000"/>
              <a:gd name="connsiteX147" fmla="*/ 2317076 w 12188651"/>
              <a:gd name="connsiteY147" fmla="*/ 6504260 h 6858000"/>
              <a:gd name="connsiteX148" fmla="*/ 2650835 w 12188651"/>
              <a:gd name="connsiteY148" fmla="*/ 6697415 h 6858000"/>
              <a:gd name="connsiteX149" fmla="*/ 2650835 w 12188651"/>
              <a:gd name="connsiteY149" fmla="*/ 6858000 h 6858000"/>
              <a:gd name="connsiteX150" fmla="*/ 1983442 w 12188651"/>
              <a:gd name="connsiteY150" fmla="*/ 6858000 h 6858000"/>
              <a:gd name="connsiteX151" fmla="*/ 1983442 w 12188651"/>
              <a:gd name="connsiteY151" fmla="*/ 6697415 h 6858000"/>
              <a:gd name="connsiteX152" fmla="*/ 263230 w 12188651"/>
              <a:gd name="connsiteY152" fmla="*/ 6504260 h 6858000"/>
              <a:gd name="connsiteX153" fmla="*/ 596989 w 12188651"/>
              <a:gd name="connsiteY153" fmla="*/ 6697415 h 6858000"/>
              <a:gd name="connsiteX154" fmla="*/ 596989 w 12188651"/>
              <a:gd name="connsiteY154" fmla="*/ 6858000 h 6858000"/>
              <a:gd name="connsiteX155" fmla="*/ 0 w 12188651"/>
              <a:gd name="connsiteY155" fmla="*/ 6858000 h 6858000"/>
              <a:gd name="connsiteX156" fmla="*/ 0 w 12188651"/>
              <a:gd name="connsiteY156" fmla="*/ 6656657 h 6858000"/>
              <a:gd name="connsiteX157" fmla="*/ 10532576 w 12188651"/>
              <a:gd name="connsiteY157" fmla="*/ 6504258 h 6858000"/>
              <a:gd name="connsiteX158" fmla="*/ 10866339 w 12188651"/>
              <a:gd name="connsiteY158" fmla="*/ 6697415 h 6858000"/>
              <a:gd name="connsiteX159" fmla="*/ 10866339 w 12188651"/>
              <a:gd name="connsiteY159" fmla="*/ 6858000 h 6858000"/>
              <a:gd name="connsiteX160" fmla="*/ 10198941 w 12188651"/>
              <a:gd name="connsiteY160" fmla="*/ 6858000 h 6858000"/>
              <a:gd name="connsiteX161" fmla="*/ 10198941 w 12188651"/>
              <a:gd name="connsiteY161" fmla="*/ 6697415 h 6858000"/>
              <a:gd name="connsiteX162" fmla="*/ 8478628 w 12188651"/>
              <a:gd name="connsiteY162" fmla="*/ 6504258 h 6858000"/>
              <a:gd name="connsiteX163" fmla="*/ 8812392 w 12188651"/>
              <a:gd name="connsiteY163" fmla="*/ 6697415 h 6858000"/>
              <a:gd name="connsiteX164" fmla="*/ 8812392 w 12188651"/>
              <a:gd name="connsiteY164" fmla="*/ 6858000 h 6858000"/>
              <a:gd name="connsiteX165" fmla="*/ 8144995 w 12188651"/>
              <a:gd name="connsiteY165" fmla="*/ 6858000 h 6858000"/>
              <a:gd name="connsiteX166" fmla="*/ 8144995 w 12188651"/>
              <a:gd name="connsiteY166" fmla="*/ 6697415 h 6858000"/>
              <a:gd name="connsiteX167" fmla="*/ 6424810 w 12188651"/>
              <a:gd name="connsiteY167" fmla="*/ 6504258 h 6858000"/>
              <a:gd name="connsiteX168" fmla="*/ 6758573 w 12188651"/>
              <a:gd name="connsiteY168" fmla="*/ 6697415 h 6858000"/>
              <a:gd name="connsiteX169" fmla="*/ 6758573 w 12188651"/>
              <a:gd name="connsiteY169" fmla="*/ 6858000 h 6858000"/>
              <a:gd name="connsiteX170" fmla="*/ 6091179 w 12188651"/>
              <a:gd name="connsiteY170" fmla="*/ 6858000 h 6858000"/>
              <a:gd name="connsiteX171" fmla="*/ 6091179 w 12188651"/>
              <a:gd name="connsiteY171" fmla="*/ 6697415 h 6858000"/>
              <a:gd name="connsiteX172" fmla="*/ 4371009 w 12188651"/>
              <a:gd name="connsiteY172" fmla="*/ 6504258 h 6858000"/>
              <a:gd name="connsiteX173" fmla="*/ 4704773 w 12188651"/>
              <a:gd name="connsiteY173" fmla="*/ 6697415 h 6858000"/>
              <a:gd name="connsiteX174" fmla="*/ 4704773 w 12188651"/>
              <a:gd name="connsiteY174" fmla="*/ 6858000 h 6858000"/>
              <a:gd name="connsiteX175" fmla="*/ 4037417 w 12188651"/>
              <a:gd name="connsiteY175" fmla="*/ 6858000 h 6858000"/>
              <a:gd name="connsiteX176" fmla="*/ 4037417 w 12188651"/>
              <a:gd name="connsiteY176" fmla="*/ 6697415 h 6858000"/>
              <a:gd name="connsiteX177" fmla="*/ 3002127 w 12188651"/>
              <a:gd name="connsiteY177" fmla="*/ 6504006 h 6858000"/>
              <a:gd name="connsiteX178" fmla="*/ 3335880 w 12188651"/>
              <a:gd name="connsiteY178" fmla="*/ 6697155 h 6858000"/>
              <a:gd name="connsiteX179" fmla="*/ 3335880 w 12188651"/>
              <a:gd name="connsiteY179" fmla="*/ 6858000 h 6858000"/>
              <a:gd name="connsiteX180" fmla="*/ 3238471 w 12188651"/>
              <a:gd name="connsiteY180" fmla="*/ 6858000 h 6858000"/>
              <a:gd name="connsiteX181" fmla="*/ 3240074 w 12188651"/>
              <a:gd name="connsiteY181" fmla="*/ 6854120 h 6858000"/>
              <a:gd name="connsiteX182" fmla="*/ 3223830 w 12188651"/>
              <a:gd name="connsiteY182" fmla="*/ 6814814 h 6858000"/>
              <a:gd name="connsiteX183" fmla="*/ 3145351 w 12188651"/>
              <a:gd name="connsiteY183" fmla="*/ 6736202 h 6858000"/>
              <a:gd name="connsiteX184" fmla="*/ 3106173 w 12188651"/>
              <a:gd name="connsiteY184" fmla="*/ 6719857 h 6858000"/>
              <a:gd name="connsiteX185" fmla="*/ 3106046 w 12188651"/>
              <a:gd name="connsiteY185" fmla="*/ 6719727 h 6858000"/>
              <a:gd name="connsiteX186" fmla="*/ 3106024 w 12188651"/>
              <a:gd name="connsiteY186" fmla="*/ 6719731 h 6858000"/>
              <a:gd name="connsiteX187" fmla="*/ 3106018 w 12188651"/>
              <a:gd name="connsiteY187" fmla="*/ 6719727 h 6858000"/>
              <a:gd name="connsiteX188" fmla="*/ 3066715 w 12188651"/>
              <a:gd name="connsiteY188" fmla="*/ 6736202 h 6858000"/>
              <a:gd name="connsiteX189" fmla="*/ 3002260 w 12188651"/>
              <a:gd name="connsiteY189" fmla="*/ 6800792 h 6858000"/>
              <a:gd name="connsiteX190" fmla="*/ 2937672 w 12188651"/>
              <a:gd name="connsiteY190" fmla="*/ 6736072 h 6858000"/>
              <a:gd name="connsiteX191" fmla="*/ 2898367 w 12188651"/>
              <a:gd name="connsiteY191" fmla="*/ 6719727 h 6858000"/>
              <a:gd name="connsiteX192" fmla="*/ 2898356 w 12188651"/>
              <a:gd name="connsiteY192" fmla="*/ 6719730 h 6858000"/>
              <a:gd name="connsiteX193" fmla="*/ 2898342 w 12188651"/>
              <a:gd name="connsiteY193" fmla="*/ 6719727 h 6858000"/>
              <a:gd name="connsiteX194" fmla="*/ 2859168 w 12188651"/>
              <a:gd name="connsiteY194" fmla="*/ 6736072 h 6858000"/>
              <a:gd name="connsiteX195" fmla="*/ 2780689 w 12188651"/>
              <a:gd name="connsiteY195" fmla="*/ 6814814 h 6858000"/>
              <a:gd name="connsiteX196" fmla="*/ 2764442 w 12188651"/>
              <a:gd name="connsiteY196" fmla="*/ 6854120 h 6858000"/>
              <a:gd name="connsiteX197" fmla="*/ 2766045 w 12188651"/>
              <a:gd name="connsiteY197" fmla="*/ 6858000 h 6858000"/>
              <a:gd name="connsiteX198" fmla="*/ 2668379 w 12188651"/>
              <a:gd name="connsiteY198" fmla="*/ 6858000 h 6858000"/>
              <a:gd name="connsiteX199" fmla="*/ 2668379 w 12188651"/>
              <a:gd name="connsiteY199" fmla="*/ 6697155 h 6858000"/>
              <a:gd name="connsiteX200" fmla="*/ 948152 w 12188651"/>
              <a:gd name="connsiteY200" fmla="*/ 6504006 h 6858000"/>
              <a:gd name="connsiteX201" fmla="*/ 1281903 w 12188651"/>
              <a:gd name="connsiteY201" fmla="*/ 6697155 h 6858000"/>
              <a:gd name="connsiteX202" fmla="*/ 1281903 w 12188651"/>
              <a:gd name="connsiteY202" fmla="*/ 6858000 h 6858000"/>
              <a:gd name="connsiteX203" fmla="*/ 1184494 w 12188651"/>
              <a:gd name="connsiteY203" fmla="*/ 6858000 h 6858000"/>
              <a:gd name="connsiteX204" fmla="*/ 1186097 w 12188651"/>
              <a:gd name="connsiteY204" fmla="*/ 6854120 h 6858000"/>
              <a:gd name="connsiteX205" fmla="*/ 1169850 w 12188651"/>
              <a:gd name="connsiteY205" fmla="*/ 6814814 h 6858000"/>
              <a:gd name="connsiteX206" fmla="*/ 1091372 w 12188651"/>
              <a:gd name="connsiteY206" fmla="*/ 6736202 h 6858000"/>
              <a:gd name="connsiteX207" fmla="*/ 1052196 w 12188651"/>
              <a:gd name="connsiteY207" fmla="*/ 6719857 h 6858000"/>
              <a:gd name="connsiteX208" fmla="*/ 1052065 w 12188651"/>
              <a:gd name="connsiteY208" fmla="*/ 6719727 h 6858000"/>
              <a:gd name="connsiteX209" fmla="*/ 1052048 w 12188651"/>
              <a:gd name="connsiteY209" fmla="*/ 6719731 h 6858000"/>
              <a:gd name="connsiteX210" fmla="*/ 1052044 w 12188651"/>
              <a:gd name="connsiteY210" fmla="*/ 6719727 h 6858000"/>
              <a:gd name="connsiteX211" fmla="*/ 1012740 w 12188651"/>
              <a:gd name="connsiteY211" fmla="*/ 6736202 h 6858000"/>
              <a:gd name="connsiteX212" fmla="*/ 948282 w 12188651"/>
              <a:gd name="connsiteY212" fmla="*/ 6800792 h 6858000"/>
              <a:gd name="connsiteX213" fmla="*/ 883695 w 12188651"/>
              <a:gd name="connsiteY213" fmla="*/ 6736072 h 6858000"/>
              <a:gd name="connsiteX214" fmla="*/ 844389 w 12188651"/>
              <a:gd name="connsiteY214" fmla="*/ 6719727 h 6858000"/>
              <a:gd name="connsiteX215" fmla="*/ 844377 w 12188651"/>
              <a:gd name="connsiteY215" fmla="*/ 6719730 h 6858000"/>
              <a:gd name="connsiteX216" fmla="*/ 844365 w 12188651"/>
              <a:gd name="connsiteY216" fmla="*/ 6719727 h 6858000"/>
              <a:gd name="connsiteX217" fmla="*/ 805191 w 12188651"/>
              <a:gd name="connsiteY217" fmla="*/ 6736072 h 6858000"/>
              <a:gd name="connsiteX218" fmla="*/ 726712 w 12188651"/>
              <a:gd name="connsiteY218" fmla="*/ 6814814 h 6858000"/>
              <a:gd name="connsiteX219" fmla="*/ 710465 w 12188651"/>
              <a:gd name="connsiteY219" fmla="*/ 6854120 h 6858000"/>
              <a:gd name="connsiteX220" fmla="*/ 712069 w 12188651"/>
              <a:gd name="connsiteY220" fmla="*/ 6858000 h 6858000"/>
              <a:gd name="connsiteX221" fmla="*/ 614404 w 12188651"/>
              <a:gd name="connsiteY221" fmla="*/ 6858000 h 6858000"/>
              <a:gd name="connsiteX222" fmla="*/ 614404 w 12188651"/>
              <a:gd name="connsiteY222" fmla="*/ 6697155 h 6858000"/>
              <a:gd name="connsiteX223" fmla="*/ 5055949 w 12188651"/>
              <a:gd name="connsiteY223" fmla="*/ 6504005 h 6858000"/>
              <a:gd name="connsiteX224" fmla="*/ 5389688 w 12188651"/>
              <a:gd name="connsiteY224" fmla="*/ 6697155 h 6858000"/>
              <a:gd name="connsiteX225" fmla="*/ 5389688 w 12188651"/>
              <a:gd name="connsiteY225" fmla="*/ 6858000 h 6858000"/>
              <a:gd name="connsiteX226" fmla="*/ 5292268 w 12188651"/>
              <a:gd name="connsiteY226" fmla="*/ 6858000 h 6858000"/>
              <a:gd name="connsiteX227" fmla="*/ 5293870 w 12188651"/>
              <a:gd name="connsiteY227" fmla="*/ 6854120 h 6858000"/>
              <a:gd name="connsiteX228" fmla="*/ 5277615 w 12188651"/>
              <a:gd name="connsiteY228" fmla="*/ 6814814 h 6858000"/>
              <a:gd name="connsiteX229" fmla="*/ 5199142 w 12188651"/>
              <a:gd name="connsiteY229" fmla="*/ 6736202 h 6858000"/>
              <a:gd name="connsiteX230" fmla="*/ 5159966 w 12188651"/>
              <a:gd name="connsiteY230" fmla="*/ 6719857 h 6858000"/>
              <a:gd name="connsiteX231" fmla="*/ 5159837 w 12188651"/>
              <a:gd name="connsiteY231" fmla="*/ 6719727 h 6858000"/>
              <a:gd name="connsiteX232" fmla="*/ 5159824 w 12188651"/>
              <a:gd name="connsiteY232" fmla="*/ 6719729 h 6858000"/>
              <a:gd name="connsiteX233" fmla="*/ 5159824 w 12188651"/>
              <a:gd name="connsiteY233" fmla="*/ 6719727 h 6858000"/>
              <a:gd name="connsiteX234" fmla="*/ 5120526 w 12188651"/>
              <a:gd name="connsiteY234" fmla="*/ 6736202 h 6858000"/>
              <a:gd name="connsiteX235" fmla="*/ 5056083 w 12188651"/>
              <a:gd name="connsiteY235" fmla="*/ 6800794 h 6858000"/>
              <a:gd name="connsiteX236" fmla="*/ 4991465 w 12188651"/>
              <a:gd name="connsiteY236" fmla="*/ 6736072 h 6858000"/>
              <a:gd name="connsiteX237" fmla="*/ 4952157 w 12188651"/>
              <a:gd name="connsiteY237" fmla="*/ 6719727 h 6858000"/>
              <a:gd name="connsiteX238" fmla="*/ 4952154 w 12188651"/>
              <a:gd name="connsiteY238" fmla="*/ 6719728 h 6858000"/>
              <a:gd name="connsiteX239" fmla="*/ 4952148 w 12188651"/>
              <a:gd name="connsiteY239" fmla="*/ 6719727 h 6858000"/>
              <a:gd name="connsiteX240" fmla="*/ 4912971 w 12188651"/>
              <a:gd name="connsiteY240" fmla="*/ 6736072 h 6858000"/>
              <a:gd name="connsiteX241" fmla="*/ 4834495 w 12188651"/>
              <a:gd name="connsiteY241" fmla="*/ 6814814 h 6858000"/>
              <a:gd name="connsiteX242" fmla="*/ 4818244 w 12188651"/>
              <a:gd name="connsiteY242" fmla="*/ 6854120 h 6858000"/>
              <a:gd name="connsiteX243" fmla="*/ 4819847 w 12188651"/>
              <a:gd name="connsiteY243" fmla="*/ 6858000 h 6858000"/>
              <a:gd name="connsiteX244" fmla="*/ 4722171 w 12188651"/>
              <a:gd name="connsiteY244" fmla="*/ 6858000 h 6858000"/>
              <a:gd name="connsiteX245" fmla="*/ 4722171 w 12188651"/>
              <a:gd name="connsiteY245" fmla="*/ 6697155 h 6858000"/>
              <a:gd name="connsiteX246" fmla="*/ 11217614 w 12188651"/>
              <a:gd name="connsiteY246" fmla="*/ 6503998 h 6858000"/>
              <a:gd name="connsiteX247" fmla="*/ 11551377 w 12188651"/>
              <a:gd name="connsiteY247" fmla="*/ 6697155 h 6858000"/>
              <a:gd name="connsiteX248" fmla="*/ 11551377 w 12188651"/>
              <a:gd name="connsiteY248" fmla="*/ 6858000 h 6858000"/>
              <a:gd name="connsiteX249" fmla="*/ 11453944 w 12188651"/>
              <a:gd name="connsiteY249" fmla="*/ 6858000 h 6858000"/>
              <a:gd name="connsiteX250" fmla="*/ 11455548 w 12188651"/>
              <a:gd name="connsiteY250" fmla="*/ 6854120 h 6858000"/>
              <a:gd name="connsiteX251" fmla="*/ 11439301 w 12188651"/>
              <a:gd name="connsiteY251" fmla="*/ 6814814 h 6858000"/>
              <a:gd name="connsiteX252" fmla="*/ 11360822 w 12188651"/>
              <a:gd name="connsiteY252" fmla="*/ 6736202 h 6858000"/>
              <a:gd name="connsiteX253" fmla="*/ 11321647 w 12188651"/>
              <a:gd name="connsiteY253" fmla="*/ 6719857 h 6858000"/>
              <a:gd name="connsiteX254" fmla="*/ 11321517 w 12188651"/>
              <a:gd name="connsiteY254" fmla="*/ 6719727 h 6858000"/>
              <a:gd name="connsiteX255" fmla="*/ 11282213 w 12188651"/>
              <a:gd name="connsiteY255" fmla="*/ 6736202 h 6858000"/>
              <a:gd name="connsiteX256" fmla="*/ 11217744 w 12188651"/>
              <a:gd name="connsiteY256" fmla="*/ 6800804 h 6858000"/>
              <a:gd name="connsiteX257" fmla="*/ 11153145 w 12188651"/>
              <a:gd name="connsiteY257" fmla="*/ 6736072 h 6858000"/>
              <a:gd name="connsiteX258" fmla="*/ 11113840 w 12188651"/>
              <a:gd name="connsiteY258" fmla="*/ 6719727 h 6858000"/>
              <a:gd name="connsiteX259" fmla="*/ 11074665 w 12188651"/>
              <a:gd name="connsiteY259" fmla="*/ 6736072 h 6858000"/>
              <a:gd name="connsiteX260" fmla="*/ 10996186 w 12188651"/>
              <a:gd name="connsiteY260" fmla="*/ 6814814 h 6858000"/>
              <a:gd name="connsiteX261" fmla="*/ 10979939 w 12188651"/>
              <a:gd name="connsiteY261" fmla="*/ 6854120 h 6858000"/>
              <a:gd name="connsiteX262" fmla="*/ 10981543 w 12188651"/>
              <a:gd name="connsiteY262" fmla="*/ 6858000 h 6858000"/>
              <a:gd name="connsiteX263" fmla="*/ 10883851 w 12188651"/>
              <a:gd name="connsiteY263" fmla="*/ 6858000 h 6858000"/>
              <a:gd name="connsiteX264" fmla="*/ 10883851 w 12188651"/>
              <a:gd name="connsiteY264" fmla="*/ 6697155 h 6858000"/>
              <a:gd name="connsiteX265" fmla="*/ 9163666 w 12188651"/>
              <a:gd name="connsiteY265" fmla="*/ 6503998 h 6858000"/>
              <a:gd name="connsiteX266" fmla="*/ 9497429 w 12188651"/>
              <a:gd name="connsiteY266" fmla="*/ 6697155 h 6858000"/>
              <a:gd name="connsiteX267" fmla="*/ 9497429 w 12188651"/>
              <a:gd name="connsiteY267" fmla="*/ 6858000 h 6858000"/>
              <a:gd name="connsiteX268" fmla="*/ 9399997 w 12188651"/>
              <a:gd name="connsiteY268" fmla="*/ 6858000 h 6858000"/>
              <a:gd name="connsiteX269" fmla="*/ 9401601 w 12188651"/>
              <a:gd name="connsiteY269" fmla="*/ 6854120 h 6858000"/>
              <a:gd name="connsiteX270" fmla="*/ 9385354 w 12188651"/>
              <a:gd name="connsiteY270" fmla="*/ 6814814 h 6858000"/>
              <a:gd name="connsiteX271" fmla="*/ 9306876 w 12188651"/>
              <a:gd name="connsiteY271" fmla="*/ 6736202 h 6858000"/>
              <a:gd name="connsiteX272" fmla="*/ 9267701 w 12188651"/>
              <a:gd name="connsiteY272" fmla="*/ 6719857 h 6858000"/>
              <a:gd name="connsiteX273" fmla="*/ 9267571 w 12188651"/>
              <a:gd name="connsiteY273" fmla="*/ 6719727 h 6858000"/>
              <a:gd name="connsiteX274" fmla="*/ 9267570 w 12188651"/>
              <a:gd name="connsiteY274" fmla="*/ 6719727 h 6858000"/>
              <a:gd name="connsiteX275" fmla="*/ 9228265 w 12188651"/>
              <a:gd name="connsiteY275" fmla="*/ 6736202 h 6858000"/>
              <a:gd name="connsiteX276" fmla="*/ 9163796 w 12188651"/>
              <a:gd name="connsiteY276" fmla="*/ 6800804 h 6858000"/>
              <a:gd name="connsiteX277" fmla="*/ 9099198 w 12188651"/>
              <a:gd name="connsiteY277" fmla="*/ 6736072 h 6858000"/>
              <a:gd name="connsiteX278" fmla="*/ 9059893 w 12188651"/>
              <a:gd name="connsiteY278" fmla="*/ 6719727 h 6858000"/>
              <a:gd name="connsiteX279" fmla="*/ 9059892 w 12188651"/>
              <a:gd name="connsiteY279" fmla="*/ 6719727 h 6858000"/>
              <a:gd name="connsiteX280" fmla="*/ 9020717 w 12188651"/>
              <a:gd name="connsiteY280" fmla="*/ 6736072 h 6858000"/>
              <a:gd name="connsiteX281" fmla="*/ 8942238 w 12188651"/>
              <a:gd name="connsiteY281" fmla="*/ 6814814 h 6858000"/>
              <a:gd name="connsiteX282" fmla="*/ 8925991 w 12188651"/>
              <a:gd name="connsiteY282" fmla="*/ 6854120 h 6858000"/>
              <a:gd name="connsiteX283" fmla="*/ 8927595 w 12188651"/>
              <a:gd name="connsiteY283" fmla="*/ 6858000 h 6858000"/>
              <a:gd name="connsiteX284" fmla="*/ 8829903 w 12188651"/>
              <a:gd name="connsiteY284" fmla="*/ 6858000 h 6858000"/>
              <a:gd name="connsiteX285" fmla="*/ 8829903 w 12188651"/>
              <a:gd name="connsiteY285" fmla="*/ 6697155 h 6858000"/>
              <a:gd name="connsiteX286" fmla="*/ 7109850 w 12188651"/>
              <a:gd name="connsiteY286" fmla="*/ 6503998 h 6858000"/>
              <a:gd name="connsiteX287" fmla="*/ 7443613 w 12188651"/>
              <a:gd name="connsiteY287" fmla="*/ 6697155 h 6858000"/>
              <a:gd name="connsiteX288" fmla="*/ 7443613 w 12188651"/>
              <a:gd name="connsiteY288" fmla="*/ 6858000 h 6858000"/>
              <a:gd name="connsiteX289" fmla="*/ 7346179 w 12188651"/>
              <a:gd name="connsiteY289" fmla="*/ 6858000 h 6858000"/>
              <a:gd name="connsiteX290" fmla="*/ 7347783 w 12188651"/>
              <a:gd name="connsiteY290" fmla="*/ 6854120 h 6858000"/>
              <a:gd name="connsiteX291" fmla="*/ 7331537 w 12188651"/>
              <a:gd name="connsiteY291" fmla="*/ 6814814 h 6858000"/>
              <a:gd name="connsiteX292" fmla="*/ 7253057 w 12188651"/>
              <a:gd name="connsiteY292" fmla="*/ 6736202 h 6858000"/>
              <a:gd name="connsiteX293" fmla="*/ 7213882 w 12188651"/>
              <a:gd name="connsiteY293" fmla="*/ 6719857 h 6858000"/>
              <a:gd name="connsiteX294" fmla="*/ 7213751 w 12188651"/>
              <a:gd name="connsiteY294" fmla="*/ 6719727 h 6858000"/>
              <a:gd name="connsiteX295" fmla="*/ 7174449 w 12188651"/>
              <a:gd name="connsiteY295" fmla="*/ 6736202 h 6858000"/>
              <a:gd name="connsiteX296" fmla="*/ 7109978 w 12188651"/>
              <a:gd name="connsiteY296" fmla="*/ 6800804 h 6858000"/>
              <a:gd name="connsiteX297" fmla="*/ 7045379 w 12188651"/>
              <a:gd name="connsiteY297" fmla="*/ 6736072 h 6858000"/>
              <a:gd name="connsiteX298" fmla="*/ 7006076 w 12188651"/>
              <a:gd name="connsiteY298" fmla="*/ 6719727 h 6858000"/>
              <a:gd name="connsiteX299" fmla="*/ 6966901 w 12188651"/>
              <a:gd name="connsiteY299" fmla="*/ 6736072 h 6858000"/>
              <a:gd name="connsiteX300" fmla="*/ 6888421 w 12188651"/>
              <a:gd name="connsiteY300" fmla="*/ 6814814 h 6858000"/>
              <a:gd name="connsiteX301" fmla="*/ 6872173 w 12188651"/>
              <a:gd name="connsiteY301" fmla="*/ 6854120 h 6858000"/>
              <a:gd name="connsiteX302" fmla="*/ 6873777 w 12188651"/>
              <a:gd name="connsiteY302" fmla="*/ 6858000 h 6858000"/>
              <a:gd name="connsiteX303" fmla="*/ 6776085 w 12188651"/>
              <a:gd name="connsiteY303" fmla="*/ 6858000 h 6858000"/>
              <a:gd name="connsiteX304" fmla="*/ 6776085 w 12188651"/>
              <a:gd name="connsiteY304" fmla="*/ 6697155 h 6858000"/>
              <a:gd name="connsiteX305" fmla="*/ 2660324 w 12188651"/>
              <a:gd name="connsiteY305" fmla="*/ 6306179 h 6858000"/>
              <a:gd name="connsiteX306" fmla="*/ 2985774 w 12188651"/>
              <a:gd name="connsiteY306" fmla="*/ 6494528 h 6858000"/>
              <a:gd name="connsiteX307" fmla="*/ 2660196 w 12188651"/>
              <a:gd name="connsiteY307" fmla="*/ 6682877 h 6858000"/>
              <a:gd name="connsiteX308" fmla="*/ 2334751 w 12188651"/>
              <a:gd name="connsiteY308" fmla="*/ 6494528 h 6858000"/>
              <a:gd name="connsiteX309" fmla="*/ 606349 w 12188651"/>
              <a:gd name="connsiteY309" fmla="*/ 6306179 h 6858000"/>
              <a:gd name="connsiteX310" fmla="*/ 931795 w 12188651"/>
              <a:gd name="connsiteY310" fmla="*/ 6494528 h 6858000"/>
              <a:gd name="connsiteX311" fmla="*/ 606218 w 12188651"/>
              <a:gd name="connsiteY311" fmla="*/ 6682877 h 6858000"/>
              <a:gd name="connsiteX312" fmla="*/ 280770 w 12188651"/>
              <a:gd name="connsiteY312" fmla="*/ 6494528 h 6858000"/>
              <a:gd name="connsiteX313" fmla="*/ 4714117 w 12188651"/>
              <a:gd name="connsiteY313" fmla="*/ 6306174 h 6858000"/>
              <a:gd name="connsiteX314" fmla="*/ 5039591 w 12188651"/>
              <a:gd name="connsiteY314" fmla="*/ 6494528 h 6858000"/>
              <a:gd name="connsiteX315" fmla="*/ 4713993 w 12188651"/>
              <a:gd name="connsiteY315" fmla="*/ 6682882 h 6858000"/>
              <a:gd name="connsiteX316" fmla="*/ 4388541 w 12188651"/>
              <a:gd name="connsiteY316" fmla="*/ 6494528 h 6858000"/>
              <a:gd name="connsiteX317" fmla="*/ 10875808 w 12188651"/>
              <a:gd name="connsiteY317" fmla="*/ 6306171 h 6858000"/>
              <a:gd name="connsiteX318" fmla="*/ 11201269 w 12188651"/>
              <a:gd name="connsiteY318" fmla="*/ 6494528 h 6858000"/>
              <a:gd name="connsiteX319" fmla="*/ 10875679 w 12188651"/>
              <a:gd name="connsiteY319" fmla="*/ 6682885 h 6858000"/>
              <a:gd name="connsiteX320" fmla="*/ 10550217 w 12188651"/>
              <a:gd name="connsiteY320" fmla="*/ 6494528 h 6858000"/>
              <a:gd name="connsiteX321" fmla="*/ 8821860 w 12188651"/>
              <a:gd name="connsiteY321" fmla="*/ 6306171 h 6858000"/>
              <a:gd name="connsiteX322" fmla="*/ 9147321 w 12188651"/>
              <a:gd name="connsiteY322" fmla="*/ 6494528 h 6858000"/>
              <a:gd name="connsiteX323" fmla="*/ 8821731 w 12188651"/>
              <a:gd name="connsiteY323" fmla="*/ 6682885 h 6858000"/>
              <a:gd name="connsiteX324" fmla="*/ 8496269 w 12188651"/>
              <a:gd name="connsiteY324" fmla="*/ 6494528 h 6858000"/>
              <a:gd name="connsiteX325" fmla="*/ 6768043 w 12188651"/>
              <a:gd name="connsiteY325" fmla="*/ 6306171 h 6858000"/>
              <a:gd name="connsiteX326" fmla="*/ 7093505 w 12188651"/>
              <a:gd name="connsiteY326" fmla="*/ 6494528 h 6858000"/>
              <a:gd name="connsiteX327" fmla="*/ 6767913 w 12188651"/>
              <a:gd name="connsiteY327" fmla="*/ 6682885 h 6858000"/>
              <a:gd name="connsiteX328" fmla="*/ 6442452 w 12188651"/>
              <a:gd name="connsiteY328" fmla="*/ 6494528 h 6858000"/>
              <a:gd name="connsiteX329" fmla="*/ 12140685 w 12188651"/>
              <a:gd name="connsiteY329" fmla="*/ 6142204 h 6858000"/>
              <a:gd name="connsiteX330" fmla="*/ 12168445 w 12188651"/>
              <a:gd name="connsiteY330" fmla="*/ 6153749 h 6858000"/>
              <a:gd name="connsiteX331" fmla="*/ 12188651 w 12188651"/>
              <a:gd name="connsiteY331" fmla="*/ 6173997 h 6858000"/>
              <a:gd name="connsiteX332" fmla="*/ 12188651 w 12188651"/>
              <a:gd name="connsiteY332" fmla="*/ 6442248 h 6858000"/>
              <a:gd name="connsiteX333" fmla="*/ 12034576 w 12188651"/>
              <a:gd name="connsiteY333" fmla="*/ 6287882 h 6858000"/>
              <a:gd name="connsiteX334" fmla="*/ 12034576 w 12188651"/>
              <a:gd name="connsiteY334" fmla="*/ 6232490 h 6858000"/>
              <a:gd name="connsiteX335" fmla="*/ 12113056 w 12188651"/>
              <a:gd name="connsiteY335" fmla="*/ 6153749 h 6858000"/>
              <a:gd name="connsiteX336" fmla="*/ 12140685 w 12188651"/>
              <a:gd name="connsiteY336" fmla="*/ 6142204 h 6858000"/>
              <a:gd name="connsiteX337" fmla="*/ 10086867 w 12188651"/>
              <a:gd name="connsiteY337" fmla="*/ 6142204 h 6858000"/>
              <a:gd name="connsiteX338" fmla="*/ 10114626 w 12188651"/>
              <a:gd name="connsiteY338" fmla="*/ 6153749 h 6858000"/>
              <a:gd name="connsiteX339" fmla="*/ 10179226 w 12188651"/>
              <a:gd name="connsiteY339" fmla="*/ 6218481 h 6858000"/>
              <a:gd name="connsiteX340" fmla="*/ 10190770 w 12188651"/>
              <a:gd name="connsiteY340" fmla="*/ 6230155 h 6858000"/>
              <a:gd name="connsiteX341" fmla="*/ 10202315 w 12188651"/>
              <a:gd name="connsiteY341" fmla="*/ 6218481 h 6858000"/>
              <a:gd name="connsiteX342" fmla="*/ 10266786 w 12188651"/>
              <a:gd name="connsiteY342" fmla="*/ 6153749 h 6858000"/>
              <a:gd name="connsiteX343" fmla="*/ 10294543 w 12188651"/>
              <a:gd name="connsiteY343" fmla="*/ 6142204 h 6858000"/>
              <a:gd name="connsiteX344" fmla="*/ 10322173 w 12188651"/>
              <a:gd name="connsiteY344" fmla="*/ 6153749 h 6858000"/>
              <a:gd name="connsiteX345" fmla="*/ 10400653 w 12188651"/>
              <a:gd name="connsiteY345" fmla="*/ 6232360 h 6858000"/>
              <a:gd name="connsiteX346" fmla="*/ 10412198 w 12188651"/>
              <a:gd name="connsiteY346" fmla="*/ 6260121 h 6858000"/>
              <a:gd name="connsiteX347" fmla="*/ 10400783 w 12188651"/>
              <a:gd name="connsiteY347" fmla="*/ 6287882 h 6858000"/>
              <a:gd name="connsiteX348" fmla="*/ 10190770 w 12188651"/>
              <a:gd name="connsiteY348" fmla="*/ 6498291 h 6858000"/>
              <a:gd name="connsiteX349" fmla="*/ 9980757 w 12188651"/>
              <a:gd name="connsiteY349" fmla="*/ 6287882 h 6858000"/>
              <a:gd name="connsiteX350" fmla="*/ 9980757 w 12188651"/>
              <a:gd name="connsiteY350" fmla="*/ 6232490 h 6858000"/>
              <a:gd name="connsiteX351" fmla="*/ 10059237 w 12188651"/>
              <a:gd name="connsiteY351" fmla="*/ 6153749 h 6858000"/>
              <a:gd name="connsiteX352" fmla="*/ 10086867 w 12188651"/>
              <a:gd name="connsiteY352" fmla="*/ 6142204 h 6858000"/>
              <a:gd name="connsiteX353" fmla="*/ 8032919 w 12188651"/>
              <a:gd name="connsiteY353" fmla="*/ 6142204 h 6858000"/>
              <a:gd name="connsiteX354" fmla="*/ 8060679 w 12188651"/>
              <a:gd name="connsiteY354" fmla="*/ 6153749 h 6858000"/>
              <a:gd name="connsiteX355" fmla="*/ 8125278 w 12188651"/>
              <a:gd name="connsiteY355" fmla="*/ 6218481 h 6858000"/>
              <a:gd name="connsiteX356" fmla="*/ 8136823 w 12188651"/>
              <a:gd name="connsiteY356" fmla="*/ 6230155 h 6858000"/>
              <a:gd name="connsiteX357" fmla="*/ 8148368 w 12188651"/>
              <a:gd name="connsiteY357" fmla="*/ 6218481 h 6858000"/>
              <a:gd name="connsiteX358" fmla="*/ 8212837 w 12188651"/>
              <a:gd name="connsiteY358" fmla="*/ 6153749 h 6858000"/>
              <a:gd name="connsiteX359" fmla="*/ 8240596 w 12188651"/>
              <a:gd name="connsiteY359" fmla="*/ 6142204 h 6858000"/>
              <a:gd name="connsiteX360" fmla="*/ 8268226 w 12188651"/>
              <a:gd name="connsiteY360" fmla="*/ 6153749 h 6858000"/>
              <a:gd name="connsiteX361" fmla="*/ 8346707 w 12188651"/>
              <a:gd name="connsiteY361" fmla="*/ 6232360 h 6858000"/>
              <a:gd name="connsiteX362" fmla="*/ 8358252 w 12188651"/>
              <a:gd name="connsiteY362" fmla="*/ 6260121 h 6858000"/>
              <a:gd name="connsiteX363" fmla="*/ 8346837 w 12188651"/>
              <a:gd name="connsiteY363" fmla="*/ 6287882 h 6858000"/>
              <a:gd name="connsiteX364" fmla="*/ 8136823 w 12188651"/>
              <a:gd name="connsiteY364" fmla="*/ 6498291 h 6858000"/>
              <a:gd name="connsiteX365" fmla="*/ 7926811 w 12188651"/>
              <a:gd name="connsiteY365" fmla="*/ 6287882 h 6858000"/>
              <a:gd name="connsiteX366" fmla="*/ 7926811 w 12188651"/>
              <a:gd name="connsiteY366" fmla="*/ 6232490 h 6858000"/>
              <a:gd name="connsiteX367" fmla="*/ 8005289 w 12188651"/>
              <a:gd name="connsiteY367" fmla="*/ 6153749 h 6858000"/>
              <a:gd name="connsiteX368" fmla="*/ 8032919 w 12188651"/>
              <a:gd name="connsiteY368" fmla="*/ 6142204 h 6858000"/>
              <a:gd name="connsiteX369" fmla="*/ 5979109 w 12188651"/>
              <a:gd name="connsiteY369" fmla="*/ 6142204 h 6858000"/>
              <a:gd name="connsiteX370" fmla="*/ 6006867 w 12188651"/>
              <a:gd name="connsiteY370" fmla="*/ 6153749 h 6858000"/>
              <a:gd name="connsiteX371" fmla="*/ 6071463 w 12188651"/>
              <a:gd name="connsiteY371" fmla="*/ 6218481 h 6858000"/>
              <a:gd name="connsiteX372" fmla="*/ 6083006 w 12188651"/>
              <a:gd name="connsiteY372" fmla="*/ 6230155 h 6858000"/>
              <a:gd name="connsiteX373" fmla="*/ 6094550 w 12188651"/>
              <a:gd name="connsiteY373" fmla="*/ 6218481 h 6858000"/>
              <a:gd name="connsiteX374" fmla="*/ 6159019 w 12188651"/>
              <a:gd name="connsiteY374" fmla="*/ 6153749 h 6858000"/>
              <a:gd name="connsiteX375" fmla="*/ 6186779 w 12188651"/>
              <a:gd name="connsiteY375" fmla="*/ 6142204 h 6858000"/>
              <a:gd name="connsiteX376" fmla="*/ 6214409 w 12188651"/>
              <a:gd name="connsiteY376" fmla="*/ 6153749 h 6858000"/>
              <a:gd name="connsiteX377" fmla="*/ 6292888 w 12188651"/>
              <a:gd name="connsiteY377" fmla="*/ 6232360 h 6858000"/>
              <a:gd name="connsiteX378" fmla="*/ 6304433 w 12188651"/>
              <a:gd name="connsiteY378" fmla="*/ 6260121 h 6858000"/>
              <a:gd name="connsiteX379" fmla="*/ 6293017 w 12188651"/>
              <a:gd name="connsiteY379" fmla="*/ 6287882 h 6858000"/>
              <a:gd name="connsiteX380" fmla="*/ 6083006 w 12188651"/>
              <a:gd name="connsiteY380" fmla="*/ 6498291 h 6858000"/>
              <a:gd name="connsiteX381" fmla="*/ 5873007 w 12188651"/>
              <a:gd name="connsiteY381" fmla="*/ 6287882 h 6858000"/>
              <a:gd name="connsiteX382" fmla="*/ 5873007 w 12188651"/>
              <a:gd name="connsiteY382" fmla="*/ 6232490 h 6858000"/>
              <a:gd name="connsiteX383" fmla="*/ 5951483 w 12188651"/>
              <a:gd name="connsiteY383" fmla="*/ 6153749 h 6858000"/>
              <a:gd name="connsiteX384" fmla="*/ 5979109 w 12188651"/>
              <a:gd name="connsiteY384" fmla="*/ 6142204 h 6858000"/>
              <a:gd name="connsiteX385" fmla="*/ 3925340 w 12188651"/>
              <a:gd name="connsiteY385" fmla="*/ 6142204 h 6858000"/>
              <a:gd name="connsiteX386" fmla="*/ 3953098 w 12188651"/>
              <a:gd name="connsiteY386" fmla="*/ 6153749 h 6858000"/>
              <a:gd name="connsiteX387" fmla="*/ 4017696 w 12188651"/>
              <a:gd name="connsiteY387" fmla="*/ 6218481 h 6858000"/>
              <a:gd name="connsiteX388" fmla="*/ 4029239 w 12188651"/>
              <a:gd name="connsiteY388" fmla="*/ 6230155 h 6858000"/>
              <a:gd name="connsiteX389" fmla="*/ 4040788 w 12188651"/>
              <a:gd name="connsiteY389" fmla="*/ 6218481 h 6858000"/>
              <a:gd name="connsiteX390" fmla="*/ 4105258 w 12188651"/>
              <a:gd name="connsiteY390" fmla="*/ 6153749 h 6858000"/>
              <a:gd name="connsiteX391" fmla="*/ 4133019 w 12188651"/>
              <a:gd name="connsiteY391" fmla="*/ 6142204 h 6858000"/>
              <a:gd name="connsiteX392" fmla="*/ 4160649 w 12188651"/>
              <a:gd name="connsiteY392" fmla="*/ 6153749 h 6858000"/>
              <a:gd name="connsiteX393" fmla="*/ 4239088 w 12188651"/>
              <a:gd name="connsiteY393" fmla="*/ 6232360 h 6858000"/>
              <a:gd name="connsiteX394" fmla="*/ 4250634 w 12188651"/>
              <a:gd name="connsiteY394" fmla="*/ 6260121 h 6858000"/>
              <a:gd name="connsiteX395" fmla="*/ 4239218 w 12188651"/>
              <a:gd name="connsiteY395" fmla="*/ 6287882 h 6858000"/>
              <a:gd name="connsiteX396" fmla="*/ 4029239 w 12188651"/>
              <a:gd name="connsiteY396" fmla="*/ 6498291 h 6858000"/>
              <a:gd name="connsiteX397" fmla="*/ 3819224 w 12188651"/>
              <a:gd name="connsiteY397" fmla="*/ 6287882 h 6858000"/>
              <a:gd name="connsiteX398" fmla="*/ 3819224 w 12188651"/>
              <a:gd name="connsiteY398" fmla="*/ 6232490 h 6858000"/>
              <a:gd name="connsiteX399" fmla="*/ 3897706 w 12188651"/>
              <a:gd name="connsiteY399" fmla="*/ 6153749 h 6858000"/>
              <a:gd name="connsiteX400" fmla="*/ 3925340 w 12188651"/>
              <a:gd name="connsiteY400" fmla="*/ 6142204 h 6858000"/>
              <a:gd name="connsiteX401" fmla="*/ 1871365 w 12188651"/>
              <a:gd name="connsiteY401" fmla="*/ 6142204 h 6858000"/>
              <a:gd name="connsiteX402" fmla="*/ 1899125 w 12188651"/>
              <a:gd name="connsiteY402" fmla="*/ 6153749 h 6858000"/>
              <a:gd name="connsiteX403" fmla="*/ 1963725 w 12188651"/>
              <a:gd name="connsiteY403" fmla="*/ 6218481 h 6858000"/>
              <a:gd name="connsiteX404" fmla="*/ 1975268 w 12188651"/>
              <a:gd name="connsiteY404" fmla="*/ 6230155 h 6858000"/>
              <a:gd name="connsiteX405" fmla="*/ 1986815 w 12188651"/>
              <a:gd name="connsiteY405" fmla="*/ 6218481 h 6858000"/>
              <a:gd name="connsiteX406" fmla="*/ 2051282 w 12188651"/>
              <a:gd name="connsiteY406" fmla="*/ 6153749 h 6858000"/>
              <a:gd name="connsiteX407" fmla="*/ 2079043 w 12188651"/>
              <a:gd name="connsiteY407" fmla="*/ 6142204 h 6858000"/>
              <a:gd name="connsiteX408" fmla="*/ 2106680 w 12188651"/>
              <a:gd name="connsiteY408" fmla="*/ 6153749 h 6858000"/>
              <a:gd name="connsiteX409" fmla="*/ 2185159 w 12188651"/>
              <a:gd name="connsiteY409" fmla="*/ 6232360 h 6858000"/>
              <a:gd name="connsiteX410" fmla="*/ 2196704 w 12188651"/>
              <a:gd name="connsiteY410" fmla="*/ 6260121 h 6858000"/>
              <a:gd name="connsiteX411" fmla="*/ 2185289 w 12188651"/>
              <a:gd name="connsiteY411" fmla="*/ 6287882 h 6858000"/>
              <a:gd name="connsiteX412" fmla="*/ 1975268 w 12188651"/>
              <a:gd name="connsiteY412" fmla="*/ 6498291 h 6858000"/>
              <a:gd name="connsiteX413" fmla="*/ 1765256 w 12188651"/>
              <a:gd name="connsiteY413" fmla="*/ 6287882 h 6858000"/>
              <a:gd name="connsiteX414" fmla="*/ 1765256 w 12188651"/>
              <a:gd name="connsiteY414" fmla="*/ 6232490 h 6858000"/>
              <a:gd name="connsiteX415" fmla="*/ 1843735 w 12188651"/>
              <a:gd name="connsiteY415" fmla="*/ 6153749 h 6858000"/>
              <a:gd name="connsiteX416" fmla="*/ 1871365 w 12188651"/>
              <a:gd name="connsiteY416" fmla="*/ 6142204 h 6858000"/>
              <a:gd name="connsiteX417" fmla="*/ 25201 w 12188651"/>
              <a:gd name="connsiteY417" fmla="*/ 6142204 h 6858000"/>
              <a:gd name="connsiteX418" fmla="*/ 52832 w 12188651"/>
              <a:gd name="connsiteY418" fmla="*/ 6153749 h 6858000"/>
              <a:gd name="connsiteX419" fmla="*/ 131310 w 12188651"/>
              <a:gd name="connsiteY419" fmla="*/ 6232360 h 6858000"/>
              <a:gd name="connsiteX420" fmla="*/ 142854 w 12188651"/>
              <a:gd name="connsiteY420" fmla="*/ 6260121 h 6858000"/>
              <a:gd name="connsiteX421" fmla="*/ 131440 w 12188651"/>
              <a:gd name="connsiteY421" fmla="*/ 6287882 h 6858000"/>
              <a:gd name="connsiteX422" fmla="*/ 0 w 12188651"/>
              <a:gd name="connsiteY422" fmla="*/ 6419570 h 6858000"/>
              <a:gd name="connsiteX423" fmla="*/ 0 w 12188651"/>
              <a:gd name="connsiteY423" fmla="*/ 6152685 h 6858000"/>
              <a:gd name="connsiteX424" fmla="*/ 10086867 w 12188651"/>
              <a:gd name="connsiteY424" fmla="*/ 6125729 h 6858000"/>
              <a:gd name="connsiteX425" fmla="*/ 10047692 w 12188651"/>
              <a:gd name="connsiteY425" fmla="*/ 6142074 h 6858000"/>
              <a:gd name="connsiteX426" fmla="*/ 9969212 w 12188651"/>
              <a:gd name="connsiteY426" fmla="*/ 6220816 h 6858000"/>
              <a:gd name="connsiteX427" fmla="*/ 9969212 w 12188651"/>
              <a:gd name="connsiteY427" fmla="*/ 6299428 h 6858000"/>
              <a:gd name="connsiteX428" fmla="*/ 10190770 w 12188651"/>
              <a:gd name="connsiteY428" fmla="*/ 6521512 h 6858000"/>
              <a:gd name="connsiteX429" fmla="*/ 10412328 w 12188651"/>
              <a:gd name="connsiteY429" fmla="*/ 6299428 h 6858000"/>
              <a:gd name="connsiteX430" fmla="*/ 10412328 w 12188651"/>
              <a:gd name="connsiteY430" fmla="*/ 6220816 h 6858000"/>
              <a:gd name="connsiteX431" fmla="*/ 10333848 w 12188651"/>
              <a:gd name="connsiteY431" fmla="*/ 6142204 h 6858000"/>
              <a:gd name="connsiteX432" fmla="*/ 10294673 w 12188651"/>
              <a:gd name="connsiteY432" fmla="*/ 6125859 h 6858000"/>
              <a:gd name="connsiteX433" fmla="*/ 10294543 w 12188651"/>
              <a:gd name="connsiteY433" fmla="*/ 6125729 h 6858000"/>
              <a:gd name="connsiteX434" fmla="*/ 10255241 w 12188651"/>
              <a:gd name="connsiteY434" fmla="*/ 6142204 h 6858000"/>
              <a:gd name="connsiteX435" fmla="*/ 10190770 w 12188651"/>
              <a:gd name="connsiteY435" fmla="*/ 6206806 h 6858000"/>
              <a:gd name="connsiteX436" fmla="*/ 10126171 w 12188651"/>
              <a:gd name="connsiteY436" fmla="*/ 6142074 h 6858000"/>
              <a:gd name="connsiteX437" fmla="*/ 10086867 w 12188651"/>
              <a:gd name="connsiteY437" fmla="*/ 6125729 h 6858000"/>
              <a:gd name="connsiteX438" fmla="*/ 8032919 w 12188651"/>
              <a:gd name="connsiteY438" fmla="*/ 6125729 h 6858000"/>
              <a:gd name="connsiteX439" fmla="*/ 7993744 w 12188651"/>
              <a:gd name="connsiteY439" fmla="*/ 6142074 h 6858000"/>
              <a:gd name="connsiteX440" fmla="*/ 7915266 w 12188651"/>
              <a:gd name="connsiteY440" fmla="*/ 6220816 h 6858000"/>
              <a:gd name="connsiteX441" fmla="*/ 7915266 w 12188651"/>
              <a:gd name="connsiteY441" fmla="*/ 6299428 h 6858000"/>
              <a:gd name="connsiteX442" fmla="*/ 8136823 w 12188651"/>
              <a:gd name="connsiteY442" fmla="*/ 6521512 h 6858000"/>
              <a:gd name="connsiteX443" fmla="*/ 8358382 w 12188651"/>
              <a:gd name="connsiteY443" fmla="*/ 6299428 h 6858000"/>
              <a:gd name="connsiteX444" fmla="*/ 8358382 w 12188651"/>
              <a:gd name="connsiteY444" fmla="*/ 6220816 h 6858000"/>
              <a:gd name="connsiteX445" fmla="*/ 8279902 w 12188651"/>
              <a:gd name="connsiteY445" fmla="*/ 6142204 h 6858000"/>
              <a:gd name="connsiteX446" fmla="*/ 8240727 w 12188651"/>
              <a:gd name="connsiteY446" fmla="*/ 6125859 h 6858000"/>
              <a:gd name="connsiteX447" fmla="*/ 8240596 w 12188651"/>
              <a:gd name="connsiteY447" fmla="*/ 6125729 h 6858000"/>
              <a:gd name="connsiteX448" fmla="*/ 8201292 w 12188651"/>
              <a:gd name="connsiteY448" fmla="*/ 6142204 h 6858000"/>
              <a:gd name="connsiteX449" fmla="*/ 8136823 w 12188651"/>
              <a:gd name="connsiteY449" fmla="*/ 6206806 h 6858000"/>
              <a:gd name="connsiteX450" fmla="*/ 8072224 w 12188651"/>
              <a:gd name="connsiteY450" fmla="*/ 6142074 h 6858000"/>
              <a:gd name="connsiteX451" fmla="*/ 8032919 w 12188651"/>
              <a:gd name="connsiteY451" fmla="*/ 6125729 h 6858000"/>
              <a:gd name="connsiteX452" fmla="*/ 5979109 w 12188651"/>
              <a:gd name="connsiteY452" fmla="*/ 6125729 h 6858000"/>
              <a:gd name="connsiteX453" fmla="*/ 5939936 w 12188651"/>
              <a:gd name="connsiteY453" fmla="*/ 6142074 h 6858000"/>
              <a:gd name="connsiteX454" fmla="*/ 5861462 w 12188651"/>
              <a:gd name="connsiteY454" fmla="*/ 6220816 h 6858000"/>
              <a:gd name="connsiteX455" fmla="*/ 5861462 w 12188651"/>
              <a:gd name="connsiteY455" fmla="*/ 6299428 h 6858000"/>
              <a:gd name="connsiteX456" fmla="*/ 6083006 w 12188651"/>
              <a:gd name="connsiteY456" fmla="*/ 6521512 h 6858000"/>
              <a:gd name="connsiteX457" fmla="*/ 6304562 w 12188651"/>
              <a:gd name="connsiteY457" fmla="*/ 6299428 h 6858000"/>
              <a:gd name="connsiteX458" fmla="*/ 6304562 w 12188651"/>
              <a:gd name="connsiteY458" fmla="*/ 6220816 h 6858000"/>
              <a:gd name="connsiteX459" fmla="*/ 6226084 w 12188651"/>
              <a:gd name="connsiteY459" fmla="*/ 6142204 h 6858000"/>
              <a:gd name="connsiteX460" fmla="*/ 6186909 w 12188651"/>
              <a:gd name="connsiteY460" fmla="*/ 6125859 h 6858000"/>
              <a:gd name="connsiteX461" fmla="*/ 6186779 w 12188651"/>
              <a:gd name="connsiteY461" fmla="*/ 6125729 h 6858000"/>
              <a:gd name="connsiteX462" fmla="*/ 6147474 w 12188651"/>
              <a:gd name="connsiteY462" fmla="*/ 6142204 h 6858000"/>
              <a:gd name="connsiteX463" fmla="*/ 6083006 w 12188651"/>
              <a:gd name="connsiteY463" fmla="*/ 6206806 h 6858000"/>
              <a:gd name="connsiteX464" fmla="*/ 6018412 w 12188651"/>
              <a:gd name="connsiteY464" fmla="*/ 6142074 h 6858000"/>
              <a:gd name="connsiteX465" fmla="*/ 5979109 w 12188651"/>
              <a:gd name="connsiteY465" fmla="*/ 6125729 h 6858000"/>
              <a:gd name="connsiteX466" fmla="*/ 3925340 w 12188651"/>
              <a:gd name="connsiteY466" fmla="*/ 6125729 h 6858000"/>
              <a:gd name="connsiteX467" fmla="*/ 3886162 w 12188651"/>
              <a:gd name="connsiteY467" fmla="*/ 6142074 h 6858000"/>
              <a:gd name="connsiteX468" fmla="*/ 3807680 w 12188651"/>
              <a:gd name="connsiteY468" fmla="*/ 6220816 h 6858000"/>
              <a:gd name="connsiteX469" fmla="*/ 3807680 w 12188651"/>
              <a:gd name="connsiteY469" fmla="*/ 6299428 h 6858000"/>
              <a:gd name="connsiteX470" fmla="*/ 4029239 w 12188651"/>
              <a:gd name="connsiteY470" fmla="*/ 6521512 h 6858000"/>
              <a:gd name="connsiteX471" fmla="*/ 4250759 w 12188651"/>
              <a:gd name="connsiteY471" fmla="*/ 6299428 h 6858000"/>
              <a:gd name="connsiteX472" fmla="*/ 4250759 w 12188651"/>
              <a:gd name="connsiteY472" fmla="*/ 6220816 h 6858000"/>
              <a:gd name="connsiteX473" fmla="*/ 4172324 w 12188651"/>
              <a:gd name="connsiteY473" fmla="*/ 6142204 h 6858000"/>
              <a:gd name="connsiteX474" fmla="*/ 4133150 w 12188651"/>
              <a:gd name="connsiteY474" fmla="*/ 6125859 h 6858000"/>
              <a:gd name="connsiteX475" fmla="*/ 4133019 w 12188651"/>
              <a:gd name="connsiteY475" fmla="*/ 6125729 h 6858000"/>
              <a:gd name="connsiteX476" fmla="*/ 4093716 w 12188651"/>
              <a:gd name="connsiteY476" fmla="*/ 6142204 h 6858000"/>
              <a:gd name="connsiteX477" fmla="*/ 4029239 w 12188651"/>
              <a:gd name="connsiteY477" fmla="*/ 6206806 h 6858000"/>
              <a:gd name="connsiteX478" fmla="*/ 3964640 w 12188651"/>
              <a:gd name="connsiteY478" fmla="*/ 6142074 h 6858000"/>
              <a:gd name="connsiteX479" fmla="*/ 3925340 w 12188651"/>
              <a:gd name="connsiteY479" fmla="*/ 6125729 h 6858000"/>
              <a:gd name="connsiteX480" fmla="*/ 1871365 w 12188651"/>
              <a:gd name="connsiteY480" fmla="*/ 6125729 h 6858000"/>
              <a:gd name="connsiteX481" fmla="*/ 1832190 w 12188651"/>
              <a:gd name="connsiteY481" fmla="*/ 6142074 h 6858000"/>
              <a:gd name="connsiteX482" fmla="*/ 1753712 w 12188651"/>
              <a:gd name="connsiteY482" fmla="*/ 6220816 h 6858000"/>
              <a:gd name="connsiteX483" fmla="*/ 1753712 w 12188651"/>
              <a:gd name="connsiteY483" fmla="*/ 6299428 h 6858000"/>
              <a:gd name="connsiteX484" fmla="*/ 1975268 w 12188651"/>
              <a:gd name="connsiteY484" fmla="*/ 6521512 h 6858000"/>
              <a:gd name="connsiteX485" fmla="*/ 2196833 w 12188651"/>
              <a:gd name="connsiteY485" fmla="*/ 6299428 h 6858000"/>
              <a:gd name="connsiteX486" fmla="*/ 2196833 w 12188651"/>
              <a:gd name="connsiteY486" fmla="*/ 6220816 h 6858000"/>
              <a:gd name="connsiteX487" fmla="*/ 2118354 w 12188651"/>
              <a:gd name="connsiteY487" fmla="*/ 6142204 h 6858000"/>
              <a:gd name="connsiteX488" fmla="*/ 2079172 w 12188651"/>
              <a:gd name="connsiteY488" fmla="*/ 6125859 h 6858000"/>
              <a:gd name="connsiteX489" fmla="*/ 2079043 w 12188651"/>
              <a:gd name="connsiteY489" fmla="*/ 6125729 h 6858000"/>
              <a:gd name="connsiteX490" fmla="*/ 2039739 w 12188651"/>
              <a:gd name="connsiteY490" fmla="*/ 6142204 h 6858000"/>
              <a:gd name="connsiteX491" fmla="*/ 1975268 w 12188651"/>
              <a:gd name="connsiteY491" fmla="*/ 6206806 h 6858000"/>
              <a:gd name="connsiteX492" fmla="*/ 1910670 w 12188651"/>
              <a:gd name="connsiteY492" fmla="*/ 6142074 h 6858000"/>
              <a:gd name="connsiteX493" fmla="*/ 1871365 w 12188651"/>
              <a:gd name="connsiteY493" fmla="*/ 6125729 h 6858000"/>
              <a:gd name="connsiteX494" fmla="*/ 0 w 12188651"/>
              <a:gd name="connsiteY494" fmla="*/ 5955550 h 6858000"/>
              <a:gd name="connsiteX495" fmla="*/ 255057 w 12188651"/>
              <a:gd name="connsiteY495" fmla="*/ 6103157 h 6858000"/>
              <a:gd name="connsiteX496" fmla="*/ 255057 w 12188651"/>
              <a:gd name="connsiteY496" fmla="*/ 6489340 h 6858000"/>
              <a:gd name="connsiteX497" fmla="*/ 0 w 12188651"/>
              <a:gd name="connsiteY497" fmla="*/ 6636947 h 6858000"/>
              <a:gd name="connsiteX498" fmla="*/ 0 w 12188651"/>
              <a:gd name="connsiteY498" fmla="*/ 6442752 h 6858000"/>
              <a:gd name="connsiteX499" fmla="*/ 142984 w 12188651"/>
              <a:gd name="connsiteY499" fmla="*/ 6299428 h 6858000"/>
              <a:gd name="connsiteX500" fmla="*/ 142984 w 12188651"/>
              <a:gd name="connsiteY500" fmla="*/ 6220816 h 6858000"/>
              <a:gd name="connsiteX501" fmla="*/ 64505 w 12188651"/>
              <a:gd name="connsiteY501" fmla="*/ 6142204 h 6858000"/>
              <a:gd name="connsiteX502" fmla="*/ 25329 w 12188651"/>
              <a:gd name="connsiteY502" fmla="*/ 6125859 h 6858000"/>
              <a:gd name="connsiteX503" fmla="*/ 25201 w 12188651"/>
              <a:gd name="connsiteY503" fmla="*/ 6125729 h 6858000"/>
              <a:gd name="connsiteX504" fmla="*/ 4284 w 12188651"/>
              <a:gd name="connsiteY504" fmla="*/ 6129832 h 6858000"/>
              <a:gd name="connsiteX505" fmla="*/ 0 w 12188651"/>
              <a:gd name="connsiteY505" fmla="*/ 6132714 h 6858000"/>
              <a:gd name="connsiteX506" fmla="*/ 12188651 w 12188651"/>
              <a:gd name="connsiteY506" fmla="*/ 5942299 h 6858000"/>
              <a:gd name="connsiteX507" fmla="*/ 12188651 w 12188651"/>
              <a:gd name="connsiteY507" fmla="*/ 6150753 h 6858000"/>
              <a:gd name="connsiteX508" fmla="*/ 12179990 w 12188651"/>
              <a:gd name="connsiteY508" fmla="*/ 6142074 h 6858000"/>
              <a:gd name="connsiteX509" fmla="*/ 12140685 w 12188651"/>
              <a:gd name="connsiteY509" fmla="*/ 6125729 h 6858000"/>
              <a:gd name="connsiteX510" fmla="*/ 12101510 w 12188651"/>
              <a:gd name="connsiteY510" fmla="*/ 6142074 h 6858000"/>
              <a:gd name="connsiteX511" fmla="*/ 12023031 w 12188651"/>
              <a:gd name="connsiteY511" fmla="*/ 6220816 h 6858000"/>
              <a:gd name="connsiteX512" fmla="*/ 12023031 w 12188651"/>
              <a:gd name="connsiteY512" fmla="*/ 6299428 h 6858000"/>
              <a:gd name="connsiteX513" fmla="*/ 12188651 w 12188651"/>
              <a:gd name="connsiteY513" fmla="*/ 6465441 h 6858000"/>
              <a:gd name="connsiteX514" fmla="*/ 12188651 w 12188651"/>
              <a:gd name="connsiteY514" fmla="*/ 6650199 h 6858000"/>
              <a:gd name="connsiteX515" fmla="*/ 11910696 w 12188651"/>
              <a:gd name="connsiteY515" fmla="*/ 6489340 h 6858000"/>
              <a:gd name="connsiteX516" fmla="*/ 11910696 w 12188651"/>
              <a:gd name="connsiteY516" fmla="*/ 6103158 h 6858000"/>
              <a:gd name="connsiteX517" fmla="*/ 2668510 w 12188651"/>
              <a:gd name="connsiteY517" fmla="*/ 5915205 h 6858000"/>
              <a:gd name="connsiteX518" fmla="*/ 2993944 w 12188651"/>
              <a:gd name="connsiteY518" fmla="*/ 6103545 h 6858000"/>
              <a:gd name="connsiteX519" fmla="*/ 2993944 w 12188651"/>
              <a:gd name="connsiteY519" fmla="*/ 6480372 h 6858000"/>
              <a:gd name="connsiteX520" fmla="*/ 2668510 w 12188651"/>
              <a:gd name="connsiteY520" fmla="*/ 6292032 h 6858000"/>
              <a:gd name="connsiteX521" fmla="*/ 2652138 w 12188651"/>
              <a:gd name="connsiteY521" fmla="*/ 5915205 h 6858000"/>
              <a:gd name="connsiteX522" fmla="*/ 2652138 w 12188651"/>
              <a:gd name="connsiteY522" fmla="*/ 6292032 h 6858000"/>
              <a:gd name="connsiteX523" fmla="*/ 2326578 w 12188651"/>
              <a:gd name="connsiteY523" fmla="*/ 6480371 h 6858000"/>
              <a:gd name="connsiteX524" fmla="*/ 2326578 w 12188651"/>
              <a:gd name="connsiteY524" fmla="*/ 6103545 h 6858000"/>
              <a:gd name="connsiteX525" fmla="*/ 614534 w 12188651"/>
              <a:gd name="connsiteY525" fmla="*/ 5915205 h 6858000"/>
              <a:gd name="connsiteX526" fmla="*/ 939967 w 12188651"/>
              <a:gd name="connsiteY526" fmla="*/ 6103545 h 6858000"/>
              <a:gd name="connsiteX527" fmla="*/ 939967 w 12188651"/>
              <a:gd name="connsiteY527" fmla="*/ 6480373 h 6858000"/>
              <a:gd name="connsiteX528" fmla="*/ 614534 w 12188651"/>
              <a:gd name="connsiteY528" fmla="*/ 6292032 h 6858000"/>
              <a:gd name="connsiteX529" fmla="*/ 598162 w 12188651"/>
              <a:gd name="connsiteY529" fmla="*/ 5915205 h 6858000"/>
              <a:gd name="connsiteX530" fmla="*/ 598162 w 12188651"/>
              <a:gd name="connsiteY530" fmla="*/ 6292032 h 6858000"/>
              <a:gd name="connsiteX531" fmla="*/ 272599 w 12188651"/>
              <a:gd name="connsiteY531" fmla="*/ 6480372 h 6858000"/>
              <a:gd name="connsiteX532" fmla="*/ 272599 w 12188651"/>
              <a:gd name="connsiteY532" fmla="*/ 6103545 h 6858000"/>
              <a:gd name="connsiteX533" fmla="*/ 4722303 w 12188651"/>
              <a:gd name="connsiteY533" fmla="*/ 5915196 h 6858000"/>
              <a:gd name="connsiteX534" fmla="*/ 5047767 w 12188651"/>
              <a:gd name="connsiteY534" fmla="*/ 6103545 h 6858000"/>
              <a:gd name="connsiteX535" fmla="*/ 5047767 w 12188651"/>
              <a:gd name="connsiteY535" fmla="*/ 6480376 h 6858000"/>
              <a:gd name="connsiteX536" fmla="*/ 4722303 w 12188651"/>
              <a:gd name="connsiteY536" fmla="*/ 6292032 h 6858000"/>
              <a:gd name="connsiteX537" fmla="*/ 4705942 w 12188651"/>
              <a:gd name="connsiteY537" fmla="*/ 5915194 h 6858000"/>
              <a:gd name="connsiteX538" fmla="*/ 4705942 w 12188651"/>
              <a:gd name="connsiteY538" fmla="*/ 6292032 h 6858000"/>
              <a:gd name="connsiteX539" fmla="*/ 4380369 w 12188651"/>
              <a:gd name="connsiteY539" fmla="*/ 6480381 h 6858000"/>
              <a:gd name="connsiteX540" fmla="*/ 4380369 w 12188651"/>
              <a:gd name="connsiteY540" fmla="*/ 6103545 h 6858000"/>
              <a:gd name="connsiteX541" fmla="*/ 10883981 w 12188651"/>
              <a:gd name="connsiteY541" fmla="*/ 5915189 h 6858000"/>
              <a:gd name="connsiteX542" fmla="*/ 11209441 w 12188651"/>
              <a:gd name="connsiteY542" fmla="*/ 6103545 h 6858000"/>
              <a:gd name="connsiteX543" fmla="*/ 11209441 w 12188651"/>
              <a:gd name="connsiteY543" fmla="*/ 6480388 h 6858000"/>
              <a:gd name="connsiteX544" fmla="*/ 10883981 w 12188651"/>
              <a:gd name="connsiteY544" fmla="*/ 6292032 h 6858000"/>
              <a:gd name="connsiteX545" fmla="*/ 10867636 w 12188651"/>
              <a:gd name="connsiteY545" fmla="*/ 5915189 h 6858000"/>
              <a:gd name="connsiteX546" fmla="*/ 10867636 w 12188651"/>
              <a:gd name="connsiteY546" fmla="*/ 6292032 h 6858000"/>
              <a:gd name="connsiteX547" fmla="*/ 10542045 w 12188651"/>
              <a:gd name="connsiteY547" fmla="*/ 6480389 h 6858000"/>
              <a:gd name="connsiteX548" fmla="*/ 10542045 w 12188651"/>
              <a:gd name="connsiteY548" fmla="*/ 6103545 h 6858000"/>
              <a:gd name="connsiteX549" fmla="*/ 8830033 w 12188651"/>
              <a:gd name="connsiteY549" fmla="*/ 5915189 h 6858000"/>
              <a:gd name="connsiteX550" fmla="*/ 9155493 w 12188651"/>
              <a:gd name="connsiteY550" fmla="*/ 6103545 h 6858000"/>
              <a:gd name="connsiteX551" fmla="*/ 9155493 w 12188651"/>
              <a:gd name="connsiteY551" fmla="*/ 6480388 h 6858000"/>
              <a:gd name="connsiteX552" fmla="*/ 8830033 w 12188651"/>
              <a:gd name="connsiteY552" fmla="*/ 6292032 h 6858000"/>
              <a:gd name="connsiteX553" fmla="*/ 8813688 w 12188651"/>
              <a:gd name="connsiteY553" fmla="*/ 5915189 h 6858000"/>
              <a:gd name="connsiteX554" fmla="*/ 8813688 w 12188651"/>
              <a:gd name="connsiteY554" fmla="*/ 6292032 h 6858000"/>
              <a:gd name="connsiteX555" fmla="*/ 8488098 w 12188651"/>
              <a:gd name="connsiteY555" fmla="*/ 6480388 h 6858000"/>
              <a:gd name="connsiteX556" fmla="*/ 8488098 w 12188651"/>
              <a:gd name="connsiteY556" fmla="*/ 6103545 h 6858000"/>
              <a:gd name="connsiteX557" fmla="*/ 6776215 w 12188651"/>
              <a:gd name="connsiteY557" fmla="*/ 5915189 h 6858000"/>
              <a:gd name="connsiteX558" fmla="*/ 7101677 w 12188651"/>
              <a:gd name="connsiteY558" fmla="*/ 6103545 h 6858000"/>
              <a:gd name="connsiteX559" fmla="*/ 7101677 w 12188651"/>
              <a:gd name="connsiteY559" fmla="*/ 6480389 h 6858000"/>
              <a:gd name="connsiteX560" fmla="*/ 6776215 w 12188651"/>
              <a:gd name="connsiteY560" fmla="*/ 6292032 h 6858000"/>
              <a:gd name="connsiteX561" fmla="*/ 6759871 w 12188651"/>
              <a:gd name="connsiteY561" fmla="*/ 5915189 h 6858000"/>
              <a:gd name="connsiteX562" fmla="*/ 6759871 w 12188651"/>
              <a:gd name="connsiteY562" fmla="*/ 6292032 h 6858000"/>
              <a:gd name="connsiteX563" fmla="*/ 6434280 w 12188651"/>
              <a:gd name="connsiteY563" fmla="*/ 6480389 h 6858000"/>
              <a:gd name="connsiteX564" fmla="*/ 6434280 w 12188651"/>
              <a:gd name="connsiteY564" fmla="*/ 6103545 h 6858000"/>
              <a:gd name="connsiteX565" fmla="*/ 3344066 w 12188651"/>
              <a:gd name="connsiteY565" fmla="*/ 5910397 h 6858000"/>
              <a:gd name="connsiteX566" fmla="*/ 3677812 w 12188651"/>
              <a:gd name="connsiteY566" fmla="*/ 6103545 h 6858000"/>
              <a:gd name="connsiteX567" fmla="*/ 3677812 w 12188651"/>
              <a:gd name="connsiteY567" fmla="*/ 6489859 h 6858000"/>
              <a:gd name="connsiteX568" fmla="*/ 3344198 w 12188651"/>
              <a:gd name="connsiteY568" fmla="*/ 6683007 h 6858000"/>
              <a:gd name="connsiteX569" fmla="*/ 3010447 w 12188651"/>
              <a:gd name="connsiteY569" fmla="*/ 6489859 h 6858000"/>
              <a:gd name="connsiteX570" fmla="*/ 3010447 w 12188651"/>
              <a:gd name="connsiteY570" fmla="*/ 6103545 h 6858000"/>
              <a:gd name="connsiteX571" fmla="*/ 1290088 w 12188651"/>
              <a:gd name="connsiteY571" fmla="*/ 5910397 h 6858000"/>
              <a:gd name="connsiteX572" fmla="*/ 1623838 w 12188651"/>
              <a:gd name="connsiteY572" fmla="*/ 6103545 h 6858000"/>
              <a:gd name="connsiteX573" fmla="*/ 1623838 w 12188651"/>
              <a:gd name="connsiteY573" fmla="*/ 6489859 h 6858000"/>
              <a:gd name="connsiteX574" fmla="*/ 1290218 w 12188651"/>
              <a:gd name="connsiteY574" fmla="*/ 6683007 h 6858000"/>
              <a:gd name="connsiteX575" fmla="*/ 956469 w 12188651"/>
              <a:gd name="connsiteY575" fmla="*/ 6489859 h 6858000"/>
              <a:gd name="connsiteX576" fmla="*/ 956469 w 12188651"/>
              <a:gd name="connsiteY576" fmla="*/ 6103545 h 6858000"/>
              <a:gd name="connsiteX577" fmla="*/ 5397866 w 12188651"/>
              <a:gd name="connsiteY577" fmla="*/ 5910393 h 6858000"/>
              <a:gd name="connsiteX578" fmla="*/ 5731614 w 12188651"/>
              <a:gd name="connsiteY578" fmla="*/ 6103545 h 6858000"/>
              <a:gd name="connsiteX579" fmla="*/ 5731614 w 12188651"/>
              <a:gd name="connsiteY579" fmla="*/ 6489859 h 6858000"/>
              <a:gd name="connsiteX580" fmla="*/ 5398000 w 12188651"/>
              <a:gd name="connsiteY580" fmla="*/ 6683010 h 6858000"/>
              <a:gd name="connsiteX581" fmla="*/ 5064265 w 12188651"/>
              <a:gd name="connsiteY581" fmla="*/ 6489859 h 6858000"/>
              <a:gd name="connsiteX582" fmla="*/ 5064265 w 12188651"/>
              <a:gd name="connsiteY582" fmla="*/ 6103545 h 6858000"/>
              <a:gd name="connsiteX583" fmla="*/ 11559549 w 12188651"/>
              <a:gd name="connsiteY583" fmla="*/ 5910389 h 6858000"/>
              <a:gd name="connsiteX584" fmla="*/ 11893312 w 12188651"/>
              <a:gd name="connsiteY584" fmla="*/ 6103545 h 6858000"/>
              <a:gd name="connsiteX585" fmla="*/ 11893312 w 12188651"/>
              <a:gd name="connsiteY585" fmla="*/ 6489859 h 6858000"/>
              <a:gd name="connsiteX586" fmla="*/ 11559679 w 12188651"/>
              <a:gd name="connsiteY586" fmla="*/ 6683015 h 6858000"/>
              <a:gd name="connsiteX587" fmla="*/ 11225916 w 12188651"/>
              <a:gd name="connsiteY587" fmla="*/ 6489859 h 6858000"/>
              <a:gd name="connsiteX588" fmla="*/ 11225916 w 12188651"/>
              <a:gd name="connsiteY588" fmla="*/ 6103545 h 6858000"/>
              <a:gd name="connsiteX589" fmla="*/ 9505601 w 12188651"/>
              <a:gd name="connsiteY589" fmla="*/ 5910389 h 6858000"/>
              <a:gd name="connsiteX590" fmla="*/ 9839364 w 12188651"/>
              <a:gd name="connsiteY590" fmla="*/ 6103545 h 6858000"/>
              <a:gd name="connsiteX591" fmla="*/ 9839364 w 12188651"/>
              <a:gd name="connsiteY591" fmla="*/ 6489859 h 6858000"/>
              <a:gd name="connsiteX592" fmla="*/ 9505732 w 12188651"/>
              <a:gd name="connsiteY592" fmla="*/ 6683015 h 6858000"/>
              <a:gd name="connsiteX593" fmla="*/ 9171969 w 12188651"/>
              <a:gd name="connsiteY593" fmla="*/ 6489859 h 6858000"/>
              <a:gd name="connsiteX594" fmla="*/ 9171969 w 12188651"/>
              <a:gd name="connsiteY594" fmla="*/ 6103545 h 6858000"/>
              <a:gd name="connsiteX595" fmla="*/ 7451785 w 12188651"/>
              <a:gd name="connsiteY595" fmla="*/ 5910389 h 6858000"/>
              <a:gd name="connsiteX596" fmla="*/ 7785548 w 12188651"/>
              <a:gd name="connsiteY596" fmla="*/ 6103545 h 6858000"/>
              <a:gd name="connsiteX597" fmla="*/ 7785548 w 12188651"/>
              <a:gd name="connsiteY597" fmla="*/ 6489859 h 6858000"/>
              <a:gd name="connsiteX598" fmla="*/ 7451915 w 12188651"/>
              <a:gd name="connsiteY598" fmla="*/ 6683015 h 6858000"/>
              <a:gd name="connsiteX599" fmla="*/ 7118150 w 12188651"/>
              <a:gd name="connsiteY599" fmla="*/ 6489859 h 6858000"/>
              <a:gd name="connsiteX600" fmla="*/ 7118150 w 12188651"/>
              <a:gd name="connsiteY600" fmla="*/ 6103545 h 6858000"/>
              <a:gd name="connsiteX601" fmla="*/ 4029112 w 12188651"/>
              <a:gd name="connsiteY601" fmla="*/ 5910002 h 6858000"/>
              <a:gd name="connsiteX602" fmla="*/ 4213228 w 12188651"/>
              <a:gd name="connsiteY602" fmla="*/ 6016569 h 6858000"/>
              <a:gd name="connsiteX603" fmla="*/ 4362832 w 12188651"/>
              <a:gd name="connsiteY603" fmla="*/ 6103157 h 6858000"/>
              <a:gd name="connsiteX604" fmla="*/ 4362832 w 12188651"/>
              <a:gd name="connsiteY604" fmla="*/ 6489340 h 6858000"/>
              <a:gd name="connsiteX605" fmla="*/ 4029112 w 12188651"/>
              <a:gd name="connsiteY605" fmla="*/ 6682495 h 6858000"/>
              <a:gd name="connsiteX606" fmla="*/ 3695358 w 12188651"/>
              <a:gd name="connsiteY606" fmla="*/ 6489340 h 6858000"/>
              <a:gd name="connsiteX607" fmla="*/ 3695358 w 12188651"/>
              <a:gd name="connsiteY607" fmla="*/ 6103157 h 6858000"/>
              <a:gd name="connsiteX608" fmla="*/ 1975138 w 12188651"/>
              <a:gd name="connsiteY608" fmla="*/ 5910002 h 6858000"/>
              <a:gd name="connsiteX609" fmla="*/ 2308904 w 12188651"/>
              <a:gd name="connsiteY609" fmla="*/ 6103157 h 6858000"/>
              <a:gd name="connsiteX610" fmla="*/ 2308904 w 12188651"/>
              <a:gd name="connsiteY610" fmla="*/ 6489340 h 6858000"/>
              <a:gd name="connsiteX611" fmla="*/ 1975138 w 12188651"/>
              <a:gd name="connsiteY611" fmla="*/ 6682495 h 6858000"/>
              <a:gd name="connsiteX612" fmla="*/ 1641379 w 12188651"/>
              <a:gd name="connsiteY612" fmla="*/ 6489340 h 6858000"/>
              <a:gd name="connsiteX613" fmla="*/ 1641379 w 12188651"/>
              <a:gd name="connsiteY613" fmla="*/ 6103157 h 6858000"/>
              <a:gd name="connsiteX614" fmla="*/ 10190640 w 12188651"/>
              <a:gd name="connsiteY614" fmla="*/ 5910001 h 6858000"/>
              <a:gd name="connsiteX615" fmla="*/ 10524404 w 12188651"/>
              <a:gd name="connsiteY615" fmla="*/ 6103158 h 6858000"/>
              <a:gd name="connsiteX616" fmla="*/ 10524404 w 12188651"/>
              <a:gd name="connsiteY616" fmla="*/ 6489340 h 6858000"/>
              <a:gd name="connsiteX617" fmla="*/ 10190640 w 12188651"/>
              <a:gd name="connsiteY617" fmla="*/ 6682497 h 6858000"/>
              <a:gd name="connsiteX618" fmla="*/ 9856876 w 12188651"/>
              <a:gd name="connsiteY618" fmla="*/ 6489340 h 6858000"/>
              <a:gd name="connsiteX619" fmla="*/ 9856876 w 12188651"/>
              <a:gd name="connsiteY619" fmla="*/ 6103158 h 6858000"/>
              <a:gd name="connsiteX620" fmla="*/ 8136693 w 12188651"/>
              <a:gd name="connsiteY620" fmla="*/ 5910001 h 6858000"/>
              <a:gd name="connsiteX621" fmla="*/ 8470456 w 12188651"/>
              <a:gd name="connsiteY621" fmla="*/ 6103158 h 6858000"/>
              <a:gd name="connsiteX622" fmla="*/ 8470456 w 12188651"/>
              <a:gd name="connsiteY622" fmla="*/ 6489340 h 6858000"/>
              <a:gd name="connsiteX623" fmla="*/ 8136693 w 12188651"/>
              <a:gd name="connsiteY623" fmla="*/ 6682497 h 6858000"/>
              <a:gd name="connsiteX624" fmla="*/ 7802930 w 12188651"/>
              <a:gd name="connsiteY624" fmla="*/ 6489340 h 6858000"/>
              <a:gd name="connsiteX625" fmla="*/ 7802930 w 12188651"/>
              <a:gd name="connsiteY625" fmla="*/ 6103158 h 6858000"/>
              <a:gd name="connsiteX626" fmla="*/ 6082876 w 12188651"/>
              <a:gd name="connsiteY626" fmla="*/ 5910001 h 6858000"/>
              <a:gd name="connsiteX627" fmla="*/ 6416638 w 12188651"/>
              <a:gd name="connsiteY627" fmla="*/ 6103158 h 6858000"/>
              <a:gd name="connsiteX628" fmla="*/ 6416638 w 12188651"/>
              <a:gd name="connsiteY628" fmla="*/ 6489340 h 6858000"/>
              <a:gd name="connsiteX629" fmla="*/ 6082876 w 12188651"/>
              <a:gd name="connsiteY629" fmla="*/ 6682497 h 6858000"/>
              <a:gd name="connsiteX630" fmla="*/ 5749136 w 12188651"/>
              <a:gd name="connsiteY630" fmla="*/ 6489340 h 6858000"/>
              <a:gd name="connsiteX631" fmla="*/ 5749136 w 12188651"/>
              <a:gd name="connsiteY631" fmla="*/ 6103157 h 6858000"/>
              <a:gd name="connsiteX632" fmla="*/ 3687309 w 12188651"/>
              <a:gd name="connsiteY632" fmla="*/ 5712175 h 6858000"/>
              <a:gd name="connsiteX633" fmla="*/ 4012766 w 12188651"/>
              <a:gd name="connsiteY633" fmla="*/ 5900530 h 6858000"/>
              <a:gd name="connsiteX634" fmla="*/ 3687182 w 12188651"/>
              <a:gd name="connsiteY634" fmla="*/ 6088884 h 6858000"/>
              <a:gd name="connsiteX635" fmla="*/ 3361724 w 12188651"/>
              <a:gd name="connsiteY635" fmla="*/ 5900530 h 6858000"/>
              <a:gd name="connsiteX636" fmla="*/ 1633334 w 12188651"/>
              <a:gd name="connsiteY636" fmla="*/ 5712175 h 6858000"/>
              <a:gd name="connsiteX637" fmla="*/ 1958791 w 12188651"/>
              <a:gd name="connsiteY637" fmla="*/ 5900530 h 6858000"/>
              <a:gd name="connsiteX638" fmla="*/ 1633203 w 12188651"/>
              <a:gd name="connsiteY638" fmla="*/ 6088884 h 6858000"/>
              <a:gd name="connsiteX639" fmla="*/ 1307745 w 12188651"/>
              <a:gd name="connsiteY639" fmla="*/ 5900530 h 6858000"/>
              <a:gd name="connsiteX640" fmla="*/ 11902654 w 12188651"/>
              <a:gd name="connsiteY640" fmla="*/ 5712174 h 6858000"/>
              <a:gd name="connsiteX641" fmla="*/ 12188651 w 12188651"/>
              <a:gd name="connsiteY641" fmla="*/ 5877692 h 6858000"/>
              <a:gd name="connsiteX642" fmla="*/ 12188651 w 12188651"/>
              <a:gd name="connsiteY642" fmla="*/ 5923360 h 6858000"/>
              <a:gd name="connsiteX643" fmla="*/ 11902524 w 12188651"/>
              <a:gd name="connsiteY643" fmla="*/ 6088886 h 6858000"/>
              <a:gd name="connsiteX644" fmla="*/ 11577062 w 12188651"/>
              <a:gd name="connsiteY644" fmla="*/ 5900531 h 6858000"/>
              <a:gd name="connsiteX645" fmla="*/ 9848833 w 12188651"/>
              <a:gd name="connsiteY645" fmla="*/ 5712174 h 6858000"/>
              <a:gd name="connsiteX646" fmla="*/ 10174295 w 12188651"/>
              <a:gd name="connsiteY646" fmla="*/ 5900531 h 6858000"/>
              <a:gd name="connsiteX647" fmla="*/ 9848703 w 12188651"/>
              <a:gd name="connsiteY647" fmla="*/ 6088886 h 6858000"/>
              <a:gd name="connsiteX648" fmla="*/ 9523243 w 12188651"/>
              <a:gd name="connsiteY648" fmla="*/ 5900531 h 6858000"/>
              <a:gd name="connsiteX649" fmla="*/ 7794888 w 12188651"/>
              <a:gd name="connsiteY649" fmla="*/ 5712174 h 6858000"/>
              <a:gd name="connsiteX650" fmla="*/ 8120347 w 12188651"/>
              <a:gd name="connsiteY650" fmla="*/ 5900531 h 6858000"/>
              <a:gd name="connsiteX651" fmla="*/ 7794758 w 12188651"/>
              <a:gd name="connsiteY651" fmla="*/ 6088886 h 6858000"/>
              <a:gd name="connsiteX652" fmla="*/ 7469298 w 12188651"/>
              <a:gd name="connsiteY652" fmla="*/ 5900531 h 6858000"/>
              <a:gd name="connsiteX653" fmla="*/ 5741090 w 12188651"/>
              <a:gd name="connsiteY653" fmla="*/ 5712174 h 6858000"/>
              <a:gd name="connsiteX654" fmla="*/ 6066531 w 12188651"/>
              <a:gd name="connsiteY654" fmla="*/ 5900531 h 6858000"/>
              <a:gd name="connsiteX655" fmla="*/ 5740963 w 12188651"/>
              <a:gd name="connsiteY655" fmla="*/ 6088886 h 6858000"/>
              <a:gd name="connsiteX656" fmla="*/ 5415520 w 12188651"/>
              <a:gd name="connsiteY656" fmla="*/ 5900530 h 6858000"/>
              <a:gd name="connsiteX657" fmla="*/ 5655997 w 12188651"/>
              <a:gd name="connsiteY657" fmla="*/ 5761405 h 6858000"/>
              <a:gd name="connsiteX658" fmla="*/ 3106034 w 12188651"/>
              <a:gd name="connsiteY658" fmla="*/ 5548339 h 6858000"/>
              <a:gd name="connsiteX659" fmla="*/ 3133652 w 12188651"/>
              <a:gd name="connsiteY659" fmla="*/ 5559879 h 6858000"/>
              <a:gd name="connsiteX660" fmla="*/ 3212133 w 12188651"/>
              <a:gd name="connsiteY660" fmla="*/ 5638491 h 6858000"/>
              <a:gd name="connsiteX661" fmla="*/ 3223677 w 12188651"/>
              <a:gd name="connsiteY661" fmla="*/ 5666252 h 6858000"/>
              <a:gd name="connsiteX662" fmla="*/ 3212262 w 12188651"/>
              <a:gd name="connsiteY662" fmla="*/ 5694012 h 6858000"/>
              <a:gd name="connsiteX663" fmla="*/ 3002260 w 12188651"/>
              <a:gd name="connsiteY663" fmla="*/ 5904411 h 6858000"/>
              <a:gd name="connsiteX664" fmla="*/ 2792261 w 12188651"/>
              <a:gd name="connsiteY664" fmla="*/ 5694012 h 6858000"/>
              <a:gd name="connsiteX665" fmla="*/ 2792261 w 12188651"/>
              <a:gd name="connsiteY665" fmla="*/ 5638621 h 6858000"/>
              <a:gd name="connsiteX666" fmla="*/ 2870738 w 12188651"/>
              <a:gd name="connsiteY666" fmla="*/ 5559879 h 6858000"/>
              <a:gd name="connsiteX667" fmla="*/ 2898359 w 12188651"/>
              <a:gd name="connsiteY667" fmla="*/ 5548340 h 6858000"/>
              <a:gd name="connsiteX668" fmla="*/ 2926105 w 12188651"/>
              <a:gd name="connsiteY668" fmla="*/ 5559879 h 6858000"/>
              <a:gd name="connsiteX669" fmla="*/ 2990706 w 12188651"/>
              <a:gd name="connsiteY669" fmla="*/ 5624611 h 6858000"/>
              <a:gd name="connsiteX670" fmla="*/ 3002248 w 12188651"/>
              <a:gd name="connsiteY670" fmla="*/ 5636286 h 6858000"/>
              <a:gd name="connsiteX671" fmla="*/ 3002260 w 12188651"/>
              <a:gd name="connsiteY671" fmla="*/ 5636275 h 6858000"/>
              <a:gd name="connsiteX672" fmla="*/ 3002272 w 12188651"/>
              <a:gd name="connsiteY672" fmla="*/ 5636286 h 6858000"/>
              <a:gd name="connsiteX673" fmla="*/ 3013817 w 12188651"/>
              <a:gd name="connsiteY673" fmla="*/ 5624611 h 6858000"/>
              <a:gd name="connsiteX674" fmla="*/ 3078286 w 12188651"/>
              <a:gd name="connsiteY674" fmla="*/ 5559879 h 6858000"/>
              <a:gd name="connsiteX675" fmla="*/ 844380 w 12188651"/>
              <a:gd name="connsiteY675" fmla="*/ 5548339 h 6858000"/>
              <a:gd name="connsiteX676" fmla="*/ 872128 w 12188651"/>
              <a:gd name="connsiteY676" fmla="*/ 5559879 h 6858000"/>
              <a:gd name="connsiteX677" fmla="*/ 936727 w 12188651"/>
              <a:gd name="connsiteY677" fmla="*/ 5624611 h 6858000"/>
              <a:gd name="connsiteX678" fmla="*/ 948272 w 12188651"/>
              <a:gd name="connsiteY678" fmla="*/ 5636286 h 6858000"/>
              <a:gd name="connsiteX679" fmla="*/ 948285 w 12188651"/>
              <a:gd name="connsiteY679" fmla="*/ 5636274 h 6858000"/>
              <a:gd name="connsiteX680" fmla="*/ 948296 w 12188651"/>
              <a:gd name="connsiteY680" fmla="*/ 5636286 h 6858000"/>
              <a:gd name="connsiteX681" fmla="*/ 959841 w 12188651"/>
              <a:gd name="connsiteY681" fmla="*/ 5624611 h 6858000"/>
              <a:gd name="connsiteX682" fmla="*/ 1024310 w 12188651"/>
              <a:gd name="connsiteY682" fmla="*/ 5559879 h 6858000"/>
              <a:gd name="connsiteX683" fmla="*/ 1052058 w 12188651"/>
              <a:gd name="connsiteY683" fmla="*/ 5548339 h 6858000"/>
              <a:gd name="connsiteX684" fmla="*/ 1079676 w 12188651"/>
              <a:gd name="connsiteY684" fmla="*/ 5559879 h 6858000"/>
              <a:gd name="connsiteX685" fmla="*/ 1158155 w 12188651"/>
              <a:gd name="connsiteY685" fmla="*/ 5638491 h 6858000"/>
              <a:gd name="connsiteX686" fmla="*/ 1169700 w 12188651"/>
              <a:gd name="connsiteY686" fmla="*/ 5666252 h 6858000"/>
              <a:gd name="connsiteX687" fmla="*/ 1158286 w 12188651"/>
              <a:gd name="connsiteY687" fmla="*/ 5694012 h 6858000"/>
              <a:gd name="connsiteX688" fmla="*/ 948285 w 12188651"/>
              <a:gd name="connsiteY688" fmla="*/ 5904410 h 6858000"/>
              <a:gd name="connsiteX689" fmla="*/ 738284 w 12188651"/>
              <a:gd name="connsiteY689" fmla="*/ 5694012 h 6858000"/>
              <a:gd name="connsiteX690" fmla="*/ 738284 w 12188651"/>
              <a:gd name="connsiteY690" fmla="*/ 5638621 h 6858000"/>
              <a:gd name="connsiteX691" fmla="*/ 816760 w 12188651"/>
              <a:gd name="connsiteY691" fmla="*/ 5559879 h 6858000"/>
              <a:gd name="connsiteX692" fmla="*/ 4952154 w 12188651"/>
              <a:gd name="connsiteY692" fmla="*/ 5548336 h 6858000"/>
              <a:gd name="connsiteX693" fmla="*/ 4979914 w 12188651"/>
              <a:gd name="connsiteY693" fmla="*/ 5559879 h 6858000"/>
              <a:gd name="connsiteX694" fmla="*/ 5044521 w 12188651"/>
              <a:gd name="connsiteY694" fmla="*/ 5624611 h 6858000"/>
              <a:gd name="connsiteX695" fmla="*/ 5056064 w 12188651"/>
              <a:gd name="connsiteY695" fmla="*/ 5636286 h 6858000"/>
              <a:gd name="connsiteX696" fmla="*/ 5056083 w 12188651"/>
              <a:gd name="connsiteY696" fmla="*/ 5636276 h 6858000"/>
              <a:gd name="connsiteX697" fmla="*/ 5056087 w 12188651"/>
              <a:gd name="connsiteY697" fmla="*/ 5636286 h 6858000"/>
              <a:gd name="connsiteX698" fmla="*/ 5067633 w 12188651"/>
              <a:gd name="connsiteY698" fmla="*/ 5624611 h 6858000"/>
              <a:gd name="connsiteX699" fmla="*/ 5132089 w 12188651"/>
              <a:gd name="connsiteY699" fmla="*/ 5559879 h 6858000"/>
              <a:gd name="connsiteX700" fmla="*/ 5159834 w 12188651"/>
              <a:gd name="connsiteY700" fmla="*/ 5548336 h 6858000"/>
              <a:gd name="connsiteX701" fmla="*/ 5187464 w 12188651"/>
              <a:gd name="connsiteY701" fmla="*/ 5559879 h 6858000"/>
              <a:gd name="connsiteX702" fmla="*/ 5265932 w 12188651"/>
              <a:gd name="connsiteY702" fmla="*/ 5638491 h 6858000"/>
              <a:gd name="connsiteX703" fmla="*/ 5277479 w 12188651"/>
              <a:gd name="connsiteY703" fmla="*/ 5666252 h 6858000"/>
              <a:gd name="connsiteX704" fmla="*/ 5266071 w 12188651"/>
              <a:gd name="connsiteY704" fmla="*/ 5694012 h 6858000"/>
              <a:gd name="connsiteX705" fmla="*/ 5056083 w 12188651"/>
              <a:gd name="connsiteY705" fmla="*/ 5904412 h 6858000"/>
              <a:gd name="connsiteX706" fmla="*/ 4846044 w 12188651"/>
              <a:gd name="connsiteY706" fmla="*/ 5694012 h 6858000"/>
              <a:gd name="connsiteX707" fmla="*/ 4846044 w 12188651"/>
              <a:gd name="connsiteY707" fmla="*/ 5638621 h 6858000"/>
              <a:gd name="connsiteX708" fmla="*/ 4924518 w 12188651"/>
              <a:gd name="connsiteY708" fmla="*/ 5559879 h 6858000"/>
              <a:gd name="connsiteX709" fmla="*/ 11113840 w 12188651"/>
              <a:gd name="connsiteY709" fmla="*/ 5548334 h 6858000"/>
              <a:gd name="connsiteX710" fmla="*/ 11141600 w 12188651"/>
              <a:gd name="connsiteY710" fmla="*/ 5559879 h 6858000"/>
              <a:gd name="connsiteX711" fmla="*/ 11206199 w 12188651"/>
              <a:gd name="connsiteY711" fmla="*/ 5624611 h 6858000"/>
              <a:gd name="connsiteX712" fmla="*/ 11217744 w 12188651"/>
              <a:gd name="connsiteY712" fmla="*/ 5636286 h 6858000"/>
              <a:gd name="connsiteX713" fmla="*/ 11229289 w 12188651"/>
              <a:gd name="connsiteY713" fmla="*/ 5624611 h 6858000"/>
              <a:gd name="connsiteX714" fmla="*/ 11293758 w 12188651"/>
              <a:gd name="connsiteY714" fmla="*/ 5559879 h 6858000"/>
              <a:gd name="connsiteX715" fmla="*/ 11321517 w 12188651"/>
              <a:gd name="connsiteY715" fmla="*/ 5548334 h 6858000"/>
              <a:gd name="connsiteX716" fmla="*/ 11349147 w 12188651"/>
              <a:gd name="connsiteY716" fmla="*/ 5559879 h 6858000"/>
              <a:gd name="connsiteX717" fmla="*/ 11427627 w 12188651"/>
              <a:gd name="connsiteY717" fmla="*/ 5638491 h 6858000"/>
              <a:gd name="connsiteX718" fmla="*/ 11439172 w 12188651"/>
              <a:gd name="connsiteY718" fmla="*/ 5666252 h 6858000"/>
              <a:gd name="connsiteX719" fmla="*/ 11427757 w 12188651"/>
              <a:gd name="connsiteY719" fmla="*/ 5694012 h 6858000"/>
              <a:gd name="connsiteX720" fmla="*/ 11217744 w 12188651"/>
              <a:gd name="connsiteY720" fmla="*/ 5904422 h 6858000"/>
              <a:gd name="connsiteX721" fmla="*/ 11007731 w 12188651"/>
              <a:gd name="connsiteY721" fmla="*/ 5694012 h 6858000"/>
              <a:gd name="connsiteX722" fmla="*/ 11007731 w 12188651"/>
              <a:gd name="connsiteY722" fmla="*/ 5638621 h 6858000"/>
              <a:gd name="connsiteX723" fmla="*/ 11086210 w 12188651"/>
              <a:gd name="connsiteY723" fmla="*/ 5559879 h 6858000"/>
              <a:gd name="connsiteX724" fmla="*/ 11113840 w 12188651"/>
              <a:gd name="connsiteY724" fmla="*/ 5548334 h 6858000"/>
              <a:gd name="connsiteX725" fmla="*/ 9059892 w 12188651"/>
              <a:gd name="connsiteY725" fmla="*/ 5548334 h 6858000"/>
              <a:gd name="connsiteX726" fmla="*/ 9087652 w 12188651"/>
              <a:gd name="connsiteY726" fmla="*/ 5559879 h 6858000"/>
              <a:gd name="connsiteX727" fmla="*/ 9152251 w 12188651"/>
              <a:gd name="connsiteY727" fmla="*/ 5624611 h 6858000"/>
              <a:gd name="connsiteX728" fmla="*/ 9163796 w 12188651"/>
              <a:gd name="connsiteY728" fmla="*/ 5636286 h 6858000"/>
              <a:gd name="connsiteX729" fmla="*/ 9163797 w 12188651"/>
              <a:gd name="connsiteY729" fmla="*/ 5636286 h 6858000"/>
              <a:gd name="connsiteX730" fmla="*/ 9175342 w 12188651"/>
              <a:gd name="connsiteY730" fmla="*/ 5624611 h 6858000"/>
              <a:gd name="connsiteX731" fmla="*/ 9239811 w 12188651"/>
              <a:gd name="connsiteY731" fmla="*/ 5559879 h 6858000"/>
              <a:gd name="connsiteX732" fmla="*/ 9267570 w 12188651"/>
              <a:gd name="connsiteY732" fmla="*/ 5548334 h 6858000"/>
              <a:gd name="connsiteX733" fmla="*/ 9295200 w 12188651"/>
              <a:gd name="connsiteY733" fmla="*/ 5559879 h 6858000"/>
              <a:gd name="connsiteX734" fmla="*/ 9373678 w 12188651"/>
              <a:gd name="connsiteY734" fmla="*/ 5638491 h 6858000"/>
              <a:gd name="connsiteX735" fmla="*/ 9385223 w 12188651"/>
              <a:gd name="connsiteY735" fmla="*/ 5666252 h 6858000"/>
              <a:gd name="connsiteX736" fmla="*/ 9373808 w 12188651"/>
              <a:gd name="connsiteY736" fmla="*/ 5694012 h 6858000"/>
              <a:gd name="connsiteX737" fmla="*/ 9163797 w 12188651"/>
              <a:gd name="connsiteY737" fmla="*/ 5904422 h 6858000"/>
              <a:gd name="connsiteX738" fmla="*/ 8953784 w 12188651"/>
              <a:gd name="connsiteY738" fmla="*/ 5694012 h 6858000"/>
              <a:gd name="connsiteX739" fmla="*/ 8953784 w 12188651"/>
              <a:gd name="connsiteY739" fmla="*/ 5638621 h 6858000"/>
              <a:gd name="connsiteX740" fmla="*/ 9032264 w 12188651"/>
              <a:gd name="connsiteY740" fmla="*/ 5559879 h 6858000"/>
              <a:gd name="connsiteX741" fmla="*/ 7006076 w 12188651"/>
              <a:gd name="connsiteY741" fmla="*/ 5548334 h 6858000"/>
              <a:gd name="connsiteX742" fmla="*/ 7033834 w 12188651"/>
              <a:gd name="connsiteY742" fmla="*/ 5559879 h 6858000"/>
              <a:gd name="connsiteX743" fmla="*/ 7098434 w 12188651"/>
              <a:gd name="connsiteY743" fmla="*/ 5624611 h 6858000"/>
              <a:gd name="connsiteX744" fmla="*/ 7109978 w 12188651"/>
              <a:gd name="connsiteY744" fmla="*/ 5636286 h 6858000"/>
              <a:gd name="connsiteX745" fmla="*/ 7121523 w 12188651"/>
              <a:gd name="connsiteY745" fmla="*/ 5624611 h 6858000"/>
              <a:gd name="connsiteX746" fmla="*/ 7185994 w 12188651"/>
              <a:gd name="connsiteY746" fmla="*/ 5559879 h 6858000"/>
              <a:gd name="connsiteX747" fmla="*/ 7213751 w 12188651"/>
              <a:gd name="connsiteY747" fmla="*/ 5548334 h 6858000"/>
              <a:gd name="connsiteX748" fmla="*/ 7241381 w 12188651"/>
              <a:gd name="connsiteY748" fmla="*/ 5559879 h 6858000"/>
              <a:gd name="connsiteX749" fmla="*/ 7319862 w 12188651"/>
              <a:gd name="connsiteY749" fmla="*/ 5638491 h 6858000"/>
              <a:gd name="connsiteX750" fmla="*/ 7331407 w 12188651"/>
              <a:gd name="connsiteY750" fmla="*/ 5666252 h 6858000"/>
              <a:gd name="connsiteX751" fmla="*/ 7319992 w 12188651"/>
              <a:gd name="connsiteY751" fmla="*/ 5694012 h 6858000"/>
              <a:gd name="connsiteX752" fmla="*/ 7109978 w 12188651"/>
              <a:gd name="connsiteY752" fmla="*/ 5904422 h 6858000"/>
              <a:gd name="connsiteX753" fmla="*/ 6899966 w 12188651"/>
              <a:gd name="connsiteY753" fmla="*/ 5694012 h 6858000"/>
              <a:gd name="connsiteX754" fmla="*/ 6899966 w 12188651"/>
              <a:gd name="connsiteY754" fmla="*/ 5638621 h 6858000"/>
              <a:gd name="connsiteX755" fmla="*/ 6978446 w 12188651"/>
              <a:gd name="connsiteY755" fmla="*/ 5559879 h 6858000"/>
              <a:gd name="connsiteX756" fmla="*/ 7006076 w 12188651"/>
              <a:gd name="connsiteY756" fmla="*/ 5548334 h 6858000"/>
              <a:gd name="connsiteX757" fmla="*/ 11113840 w 12188651"/>
              <a:gd name="connsiteY757" fmla="*/ 5531859 h 6858000"/>
              <a:gd name="connsiteX758" fmla="*/ 11074665 w 12188651"/>
              <a:gd name="connsiteY758" fmla="*/ 5548204 h 6858000"/>
              <a:gd name="connsiteX759" fmla="*/ 10996186 w 12188651"/>
              <a:gd name="connsiteY759" fmla="*/ 5626946 h 6858000"/>
              <a:gd name="connsiteX760" fmla="*/ 10996186 w 12188651"/>
              <a:gd name="connsiteY760" fmla="*/ 5705558 h 6858000"/>
              <a:gd name="connsiteX761" fmla="*/ 11217744 w 12188651"/>
              <a:gd name="connsiteY761" fmla="*/ 5927642 h 6858000"/>
              <a:gd name="connsiteX762" fmla="*/ 11439301 w 12188651"/>
              <a:gd name="connsiteY762" fmla="*/ 5705558 h 6858000"/>
              <a:gd name="connsiteX763" fmla="*/ 11439301 w 12188651"/>
              <a:gd name="connsiteY763" fmla="*/ 5626946 h 6858000"/>
              <a:gd name="connsiteX764" fmla="*/ 11360822 w 12188651"/>
              <a:gd name="connsiteY764" fmla="*/ 5548334 h 6858000"/>
              <a:gd name="connsiteX765" fmla="*/ 11321647 w 12188651"/>
              <a:gd name="connsiteY765" fmla="*/ 5531989 h 6858000"/>
              <a:gd name="connsiteX766" fmla="*/ 11321517 w 12188651"/>
              <a:gd name="connsiteY766" fmla="*/ 5531859 h 6858000"/>
              <a:gd name="connsiteX767" fmla="*/ 11282213 w 12188651"/>
              <a:gd name="connsiteY767" fmla="*/ 5548334 h 6858000"/>
              <a:gd name="connsiteX768" fmla="*/ 11217744 w 12188651"/>
              <a:gd name="connsiteY768" fmla="*/ 5612936 h 6858000"/>
              <a:gd name="connsiteX769" fmla="*/ 11153145 w 12188651"/>
              <a:gd name="connsiteY769" fmla="*/ 5548204 h 6858000"/>
              <a:gd name="connsiteX770" fmla="*/ 11113840 w 12188651"/>
              <a:gd name="connsiteY770" fmla="*/ 5531859 h 6858000"/>
              <a:gd name="connsiteX771" fmla="*/ 9059892 w 12188651"/>
              <a:gd name="connsiteY771" fmla="*/ 5531859 h 6858000"/>
              <a:gd name="connsiteX772" fmla="*/ 9020717 w 12188651"/>
              <a:gd name="connsiteY772" fmla="*/ 5548204 h 6858000"/>
              <a:gd name="connsiteX773" fmla="*/ 8942238 w 12188651"/>
              <a:gd name="connsiteY773" fmla="*/ 5626946 h 6858000"/>
              <a:gd name="connsiteX774" fmla="*/ 8942238 w 12188651"/>
              <a:gd name="connsiteY774" fmla="*/ 5705558 h 6858000"/>
              <a:gd name="connsiteX775" fmla="*/ 9163796 w 12188651"/>
              <a:gd name="connsiteY775" fmla="*/ 5927642 h 6858000"/>
              <a:gd name="connsiteX776" fmla="*/ 9163797 w 12188651"/>
              <a:gd name="connsiteY776" fmla="*/ 5927642 h 6858000"/>
              <a:gd name="connsiteX777" fmla="*/ 9385354 w 12188651"/>
              <a:gd name="connsiteY777" fmla="*/ 5705558 h 6858000"/>
              <a:gd name="connsiteX778" fmla="*/ 9385354 w 12188651"/>
              <a:gd name="connsiteY778" fmla="*/ 5626946 h 6858000"/>
              <a:gd name="connsiteX779" fmla="*/ 9306876 w 12188651"/>
              <a:gd name="connsiteY779" fmla="*/ 5548334 h 6858000"/>
              <a:gd name="connsiteX780" fmla="*/ 9267701 w 12188651"/>
              <a:gd name="connsiteY780" fmla="*/ 5531989 h 6858000"/>
              <a:gd name="connsiteX781" fmla="*/ 9267571 w 12188651"/>
              <a:gd name="connsiteY781" fmla="*/ 5531859 h 6858000"/>
              <a:gd name="connsiteX782" fmla="*/ 9267570 w 12188651"/>
              <a:gd name="connsiteY782" fmla="*/ 5531859 h 6858000"/>
              <a:gd name="connsiteX783" fmla="*/ 9228265 w 12188651"/>
              <a:gd name="connsiteY783" fmla="*/ 5548334 h 6858000"/>
              <a:gd name="connsiteX784" fmla="*/ 9163797 w 12188651"/>
              <a:gd name="connsiteY784" fmla="*/ 5612936 h 6858000"/>
              <a:gd name="connsiteX785" fmla="*/ 9099198 w 12188651"/>
              <a:gd name="connsiteY785" fmla="*/ 5548204 h 6858000"/>
              <a:gd name="connsiteX786" fmla="*/ 9059893 w 12188651"/>
              <a:gd name="connsiteY786" fmla="*/ 5531859 h 6858000"/>
              <a:gd name="connsiteX787" fmla="*/ 7006076 w 12188651"/>
              <a:gd name="connsiteY787" fmla="*/ 5531859 h 6858000"/>
              <a:gd name="connsiteX788" fmla="*/ 6966901 w 12188651"/>
              <a:gd name="connsiteY788" fmla="*/ 5548204 h 6858000"/>
              <a:gd name="connsiteX789" fmla="*/ 6888421 w 12188651"/>
              <a:gd name="connsiteY789" fmla="*/ 5626946 h 6858000"/>
              <a:gd name="connsiteX790" fmla="*/ 6888421 w 12188651"/>
              <a:gd name="connsiteY790" fmla="*/ 5705558 h 6858000"/>
              <a:gd name="connsiteX791" fmla="*/ 7109978 w 12188651"/>
              <a:gd name="connsiteY791" fmla="*/ 5927642 h 6858000"/>
              <a:gd name="connsiteX792" fmla="*/ 7331537 w 12188651"/>
              <a:gd name="connsiteY792" fmla="*/ 5705558 h 6858000"/>
              <a:gd name="connsiteX793" fmla="*/ 7331537 w 12188651"/>
              <a:gd name="connsiteY793" fmla="*/ 5626946 h 6858000"/>
              <a:gd name="connsiteX794" fmla="*/ 7253057 w 12188651"/>
              <a:gd name="connsiteY794" fmla="*/ 5548334 h 6858000"/>
              <a:gd name="connsiteX795" fmla="*/ 7213882 w 12188651"/>
              <a:gd name="connsiteY795" fmla="*/ 5531989 h 6858000"/>
              <a:gd name="connsiteX796" fmla="*/ 7213751 w 12188651"/>
              <a:gd name="connsiteY796" fmla="*/ 5531859 h 6858000"/>
              <a:gd name="connsiteX797" fmla="*/ 7174449 w 12188651"/>
              <a:gd name="connsiteY797" fmla="*/ 5548334 h 6858000"/>
              <a:gd name="connsiteX798" fmla="*/ 7109978 w 12188651"/>
              <a:gd name="connsiteY798" fmla="*/ 5612936 h 6858000"/>
              <a:gd name="connsiteX799" fmla="*/ 7045379 w 12188651"/>
              <a:gd name="connsiteY799" fmla="*/ 5548204 h 6858000"/>
              <a:gd name="connsiteX800" fmla="*/ 7006076 w 12188651"/>
              <a:gd name="connsiteY800" fmla="*/ 5531859 h 6858000"/>
              <a:gd name="connsiteX801" fmla="*/ 4952148 w 12188651"/>
              <a:gd name="connsiteY801" fmla="*/ 5531859 h 6858000"/>
              <a:gd name="connsiteX802" fmla="*/ 4912971 w 12188651"/>
              <a:gd name="connsiteY802" fmla="*/ 5548204 h 6858000"/>
              <a:gd name="connsiteX803" fmla="*/ 4834495 w 12188651"/>
              <a:gd name="connsiteY803" fmla="*/ 5626946 h 6858000"/>
              <a:gd name="connsiteX804" fmla="*/ 4834495 w 12188651"/>
              <a:gd name="connsiteY804" fmla="*/ 5705558 h 6858000"/>
              <a:gd name="connsiteX805" fmla="*/ 5056064 w 12188651"/>
              <a:gd name="connsiteY805" fmla="*/ 5927642 h 6858000"/>
              <a:gd name="connsiteX806" fmla="*/ 5056083 w 12188651"/>
              <a:gd name="connsiteY806" fmla="*/ 5927632 h 6858000"/>
              <a:gd name="connsiteX807" fmla="*/ 5056087 w 12188651"/>
              <a:gd name="connsiteY807" fmla="*/ 5927642 h 6858000"/>
              <a:gd name="connsiteX808" fmla="*/ 5277615 w 12188651"/>
              <a:gd name="connsiteY808" fmla="*/ 5705558 h 6858000"/>
              <a:gd name="connsiteX809" fmla="*/ 5277615 w 12188651"/>
              <a:gd name="connsiteY809" fmla="*/ 5626946 h 6858000"/>
              <a:gd name="connsiteX810" fmla="*/ 5199142 w 12188651"/>
              <a:gd name="connsiteY810" fmla="*/ 5548334 h 6858000"/>
              <a:gd name="connsiteX811" fmla="*/ 5159966 w 12188651"/>
              <a:gd name="connsiteY811" fmla="*/ 5531989 h 6858000"/>
              <a:gd name="connsiteX812" fmla="*/ 5159837 w 12188651"/>
              <a:gd name="connsiteY812" fmla="*/ 5531859 h 6858000"/>
              <a:gd name="connsiteX813" fmla="*/ 5159824 w 12188651"/>
              <a:gd name="connsiteY813" fmla="*/ 5531861 h 6858000"/>
              <a:gd name="connsiteX814" fmla="*/ 5159824 w 12188651"/>
              <a:gd name="connsiteY814" fmla="*/ 5531859 h 6858000"/>
              <a:gd name="connsiteX815" fmla="*/ 5120536 w 12188651"/>
              <a:gd name="connsiteY815" fmla="*/ 5548334 h 6858000"/>
              <a:gd name="connsiteX816" fmla="*/ 5056083 w 12188651"/>
              <a:gd name="connsiteY816" fmla="*/ 5612926 h 6858000"/>
              <a:gd name="connsiteX817" fmla="*/ 4991467 w 12188651"/>
              <a:gd name="connsiteY817" fmla="*/ 5548204 h 6858000"/>
              <a:gd name="connsiteX818" fmla="*/ 4952157 w 12188651"/>
              <a:gd name="connsiteY818" fmla="*/ 5531859 h 6858000"/>
              <a:gd name="connsiteX819" fmla="*/ 4952154 w 12188651"/>
              <a:gd name="connsiteY819" fmla="*/ 5531860 h 6858000"/>
              <a:gd name="connsiteX820" fmla="*/ 2898346 w 12188651"/>
              <a:gd name="connsiteY820" fmla="*/ 5531859 h 6858000"/>
              <a:gd name="connsiteX821" fmla="*/ 2859169 w 12188651"/>
              <a:gd name="connsiteY821" fmla="*/ 5548204 h 6858000"/>
              <a:gd name="connsiteX822" fmla="*/ 2780693 w 12188651"/>
              <a:gd name="connsiteY822" fmla="*/ 5626946 h 6858000"/>
              <a:gd name="connsiteX823" fmla="*/ 2780693 w 12188651"/>
              <a:gd name="connsiteY823" fmla="*/ 5705558 h 6858000"/>
              <a:gd name="connsiteX824" fmla="*/ 3002248 w 12188651"/>
              <a:gd name="connsiteY824" fmla="*/ 5927642 h 6858000"/>
              <a:gd name="connsiteX825" fmla="*/ 3002260 w 12188651"/>
              <a:gd name="connsiteY825" fmla="*/ 5927631 h 6858000"/>
              <a:gd name="connsiteX826" fmla="*/ 3002272 w 12188651"/>
              <a:gd name="connsiteY826" fmla="*/ 5927642 h 6858000"/>
              <a:gd name="connsiteX827" fmla="*/ 3223830 w 12188651"/>
              <a:gd name="connsiteY827" fmla="*/ 5705558 h 6858000"/>
              <a:gd name="connsiteX828" fmla="*/ 3223830 w 12188651"/>
              <a:gd name="connsiteY828" fmla="*/ 5626946 h 6858000"/>
              <a:gd name="connsiteX829" fmla="*/ 3145351 w 12188651"/>
              <a:gd name="connsiteY829" fmla="*/ 5548334 h 6858000"/>
              <a:gd name="connsiteX830" fmla="*/ 3106175 w 12188651"/>
              <a:gd name="connsiteY830" fmla="*/ 5531989 h 6858000"/>
              <a:gd name="connsiteX831" fmla="*/ 3106046 w 12188651"/>
              <a:gd name="connsiteY831" fmla="*/ 5531859 h 6858000"/>
              <a:gd name="connsiteX832" fmla="*/ 3106028 w 12188651"/>
              <a:gd name="connsiteY832" fmla="*/ 5531863 h 6858000"/>
              <a:gd name="connsiteX833" fmla="*/ 3106023 w 12188651"/>
              <a:gd name="connsiteY833" fmla="*/ 5531859 h 6858000"/>
              <a:gd name="connsiteX834" fmla="*/ 3066719 w 12188651"/>
              <a:gd name="connsiteY834" fmla="*/ 5548334 h 6858000"/>
              <a:gd name="connsiteX835" fmla="*/ 3002260 w 12188651"/>
              <a:gd name="connsiteY835" fmla="*/ 5612925 h 6858000"/>
              <a:gd name="connsiteX836" fmla="*/ 2937674 w 12188651"/>
              <a:gd name="connsiteY836" fmla="*/ 5548204 h 6858000"/>
              <a:gd name="connsiteX837" fmla="*/ 2898371 w 12188651"/>
              <a:gd name="connsiteY837" fmla="*/ 5531859 h 6858000"/>
              <a:gd name="connsiteX838" fmla="*/ 2898359 w 12188651"/>
              <a:gd name="connsiteY838" fmla="*/ 5531862 h 6858000"/>
              <a:gd name="connsiteX839" fmla="*/ 844367 w 12188651"/>
              <a:gd name="connsiteY839" fmla="*/ 5531859 h 6858000"/>
              <a:gd name="connsiteX840" fmla="*/ 805194 w 12188651"/>
              <a:gd name="connsiteY840" fmla="*/ 5548204 h 6858000"/>
              <a:gd name="connsiteX841" fmla="*/ 726714 w 12188651"/>
              <a:gd name="connsiteY841" fmla="*/ 5626946 h 6858000"/>
              <a:gd name="connsiteX842" fmla="*/ 726714 w 12188651"/>
              <a:gd name="connsiteY842" fmla="*/ 5705558 h 6858000"/>
              <a:gd name="connsiteX843" fmla="*/ 948272 w 12188651"/>
              <a:gd name="connsiteY843" fmla="*/ 5927642 h 6858000"/>
              <a:gd name="connsiteX844" fmla="*/ 948285 w 12188651"/>
              <a:gd name="connsiteY844" fmla="*/ 5927630 h 6858000"/>
              <a:gd name="connsiteX845" fmla="*/ 948296 w 12188651"/>
              <a:gd name="connsiteY845" fmla="*/ 5927642 h 6858000"/>
              <a:gd name="connsiteX846" fmla="*/ 1169852 w 12188651"/>
              <a:gd name="connsiteY846" fmla="*/ 5705558 h 6858000"/>
              <a:gd name="connsiteX847" fmla="*/ 1169852 w 12188651"/>
              <a:gd name="connsiteY847" fmla="*/ 5626946 h 6858000"/>
              <a:gd name="connsiteX848" fmla="*/ 1091374 w 12188651"/>
              <a:gd name="connsiteY848" fmla="*/ 5548334 h 6858000"/>
              <a:gd name="connsiteX849" fmla="*/ 1052199 w 12188651"/>
              <a:gd name="connsiteY849" fmla="*/ 5531989 h 6858000"/>
              <a:gd name="connsiteX850" fmla="*/ 1052070 w 12188651"/>
              <a:gd name="connsiteY850" fmla="*/ 5531859 h 6858000"/>
              <a:gd name="connsiteX851" fmla="*/ 1052050 w 12188651"/>
              <a:gd name="connsiteY851" fmla="*/ 5531863 h 6858000"/>
              <a:gd name="connsiteX852" fmla="*/ 1052046 w 12188651"/>
              <a:gd name="connsiteY852" fmla="*/ 5531859 h 6858000"/>
              <a:gd name="connsiteX853" fmla="*/ 1012742 w 12188651"/>
              <a:gd name="connsiteY853" fmla="*/ 5548334 h 6858000"/>
              <a:gd name="connsiteX854" fmla="*/ 948285 w 12188651"/>
              <a:gd name="connsiteY854" fmla="*/ 5612924 h 6858000"/>
              <a:gd name="connsiteX855" fmla="*/ 883696 w 12188651"/>
              <a:gd name="connsiteY855" fmla="*/ 5548204 h 6858000"/>
              <a:gd name="connsiteX856" fmla="*/ 844392 w 12188651"/>
              <a:gd name="connsiteY856" fmla="*/ 5531859 h 6858000"/>
              <a:gd name="connsiteX857" fmla="*/ 844380 w 12188651"/>
              <a:gd name="connsiteY857" fmla="*/ 5531862 h 6858000"/>
              <a:gd name="connsiteX858" fmla="*/ 3695484 w 12188651"/>
              <a:gd name="connsiteY858" fmla="*/ 5321194 h 6858000"/>
              <a:gd name="connsiteX859" fmla="*/ 4020937 w 12188651"/>
              <a:gd name="connsiteY859" fmla="*/ 5509547 h 6858000"/>
              <a:gd name="connsiteX860" fmla="*/ 4020937 w 12188651"/>
              <a:gd name="connsiteY860" fmla="*/ 5886386 h 6858000"/>
              <a:gd name="connsiteX861" fmla="*/ 3695484 w 12188651"/>
              <a:gd name="connsiteY861" fmla="*/ 5698034 h 6858000"/>
              <a:gd name="connsiteX862" fmla="*/ 3679135 w 12188651"/>
              <a:gd name="connsiteY862" fmla="*/ 5321194 h 6858000"/>
              <a:gd name="connsiteX863" fmla="*/ 3679135 w 12188651"/>
              <a:gd name="connsiteY863" fmla="*/ 5698034 h 6858000"/>
              <a:gd name="connsiteX864" fmla="*/ 3353555 w 12188651"/>
              <a:gd name="connsiteY864" fmla="*/ 5886385 h 6858000"/>
              <a:gd name="connsiteX865" fmla="*/ 3353555 w 12188651"/>
              <a:gd name="connsiteY865" fmla="*/ 5509547 h 6858000"/>
              <a:gd name="connsiteX866" fmla="*/ 1625159 w 12188651"/>
              <a:gd name="connsiteY866" fmla="*/ 5321194 h 6858000"/>
              <a:gd name="connsiteX867" fmla="*/ 1625159 w 12188651"/>
              <a:gd name="connsiteY867" fmla="*/ 5698034 h 6858000"/>
              <a:gd name="connsiteX868" fmla="*/ 1299574 w 12188651"/>
              <a:gd name="connsiteY868" fmla="*/ 5886386 h 6858000"/>
              <a:gd name="connsiteX869" fmla="*/ 1299574 w 12188651"/>
              <a:gd name="connsiteY869" fmla="*/ 5509547 h 6858000"/>
              <a:gd name="connsiteX870" fmla="*/ 1641508 w 12188651"/>
              <a:gd name="connsiteY870" fmla="*/ 5321193 h 6858000"/>
              <a:gd name="connsiteX871" fmla="*/ 1966963 w 12188651"/>
              <a:gd name="connsiteY871" fmla="*/ 5509547 h 6858000"/>
              <a:gd name="connsiteX872" fmla="*/ 1966963 w 12188651"/>
              <a:gd name="connsiteY872" fmla="*/ 5886386 h 6858000"/>
              <a:gd name="connsiteX873" fmla="*/ 1641508 w 12188651"/>
              <a:gd name="connsiteY873" fmla="*/ 5698034 h 6858000"/>
              <a:gd name="connsiteX874" fmla="*/ 5749264 w 12188651"/>
              <a:gd name="connsiteY874" fmla="*/ 5321192 h 6858000"/>
              <a:gd name="connsiteX875" fmla="*/ 6074705 w 12188651"/>
              <a:gd name="connsiteY875" fmla="*/ 5509548 h 6858000"/>
              <a:gd name="connsiteX876" fmla="*/ 6074705 w 12188651"/>
              <a:gd name="connsiteY876" fmla="*/ 5886390 h 6858000"/>
              <a:gd name="connsiteX877" fmla="*/ 5749264 w 12188651"/>
              <a:gd name="connsiteY877" fmla="*/ 5698034 h 6858000"/>
              <a:gd name="connsiteX878" fmla="*/ 11910826 w 12188651"/>
              <a:gd name="connsiteY878" fmla="*/ 5321191 h 6858000"/>
              <a:gd name="connsiteX879" fmla="*/ 12188651 w 12188651"/>
              <a:gd name="connsiteY879" fmla="*/ 5481979 h 6858000"/>
              <a:gd name="connsiteX880" fmla="*/ 12188651 w 12188651"/>
              <a:gd name="connsiteY880" fmla="*/ 5858821 h 6858000"/>
              <a:gd name="connsiteX881" fmla="*/ 11910826 w 12188651"/>
              <a:gd name="connsiteY881" fmla="*/ 5698034 h 6858000"/>
              <a:gd name="connsiteX882" fmla="*/ 11894481 w 12188651"/>
              <a:gd name="connsiteY882" fmla="*/ 5321191 h 6858000"/>
              <a:gd name="connsiteX883" fmla="*/ 11894481 w 12188651"/>
              <a:gd name="connsiteY883" fmla="*/ 5698034 h 6858000"/>
              <a:gd name="connsiteX884" fmla="*/ 11568890 w 12188651"/>
              <a:gd name="connsiteY884" fmla="*/ 5886390 h 6858000"/>
              <a:gd name="connsiteX885" fmla="*/ 11568890 w 12188651"/>
              <a:gd name="connsiteY885" fmla="*/ 5509548 h 6858000"/>
              <a:gd name="connsiteX886" fmla="*/ 9857006 w 12188651"/>
              <a:gd name="connsiteY886" fmla="*/ 5321191 h 6858000"/>
              <a:gd name="connsiteX887" fmla="*/ 10182468 w 12188651"/>
              <a:gd name="connsiteY887" fmla="*/ 5509548 h 6858000"/>
              <a:gd name="connsiteX888" fmla="*/ 10182468 w 12188651"/>
              <a:gd name="connsiteY888" fmla="*/ 5886390 h 6858000"/>
              <a:gd name="connsiteX889" fmla="*/ 9857006 w 12188651"/>
              <a:gd name="connsiteY889" fmla="*/ 5698034 h 6858000"/>
              <a:gd name="connsiteX890" fmla="*/ 9840661 w 12188651"/>
              <a:gd name="connsiteY890" fmla="*/ 5321191 h 6858000"/>
              <a:gd name="connsiteX891" fmla="*/ 9840661 w 12188651"/>
              <a:gd name="connsiteY891" fmla="*/ 5698034 h 6858000"/>
              <a:gd name="connsiteX892" fmla="*/ 9515070 w 12188651"/>
              <a:gd name="connsiteY892" fmla="*/ 5886390 h 6858000"/>
              <a:gd name="connsiteX893" fmla="*/ 9515070 w 12188651"/>
              <a:gd name="connsiteY893" fmla="*/ 5509548 h 6858000"/>
              <a:gd name="connsiteX894" fmla="*/ 7803060 w 12188651"/>
              <a:gd name="connsiteY894" fmla="*/ 5321191 h 6858000"/>
              <a:gd name="connsiteX895" fmla="*/ 8128521 w 12188651"/>
              <a:gd name="connsiteY895" fmla="*/ 5509548 h 6858000"/>
              <a:gd name="connsiteX896" fmla="*/ 8128521 w 12188651"/>
              <a:gd name="connsiteY896" fmla="*/ 5886390 h 6858000"/>
              <a:gd name="connsiteX897" fmla="*/ 7803060 w 12188651"/>
              <a:gd name="connsiteY897" fmla="*/ 5698034 h 6858000"/>
              <a:gd name="connsiteX898" fmla="*/ 7786715 w 12188651"/>
              <a:gd name="connsiteY898" fmla="*/ 5321191 h 6858000"/>
              <a:gd name="connsiteX899" fmla="*/ 7786715 w 12188651"/>
              <a:gd name="connsiteY899" fmla="*/ 5698034 h 6858000"/>
              <a:gd name="connsiteX900" fmla="*/ 7461125 w 12188651"/>
              <a:gd name="connsiteY900" fmla="*/ 5886390 h 6858000"/>
              <a:gd name="connsiteX901" fmla="*/ 7461125 w 12188651"/>
              <a:gd name="connsiteY901" fmla="*/ 5509548 h 6858000"/>
              <a:gd name="connsiteX902" fmla="*/ 5732919 w 12188651"/>
              <a:gd name="connsiteY902" fmla="*/ 5321191 h 6858000"/>
              <a:gd name="connsiteX903" fmla="*/ 5732919 w 12188651"/>
              <a:gd name="connsiteY903" fmla="*/ 5698034 h 6858000"/>
              <a:gd name="connsiteX904" fmla="*/ 5407350 w 12188651"/>
              <a:gd name="connsiteY904" fmla="*/ 5886387 h 6858000"/>
              <a:gd name="connsiteX905" fmla="*/ 5407350 w 12188651"/>
              <a:gd name="connsiteY905" fmla="*/ 5509547 h 6858000"/>
              <a:gd name="connsiteX906" fmla="*/ 5539925 w 12188651"/>
              <a:gd name="connsiteY906" fmla="*/ 5432844 h 6858000"/>
              <a:gd name="connsiteX907" fmla="*/ 2317081 w 12188651"/>
              <a:gd name="connsiteY907" fmla="*/ 5316392 h 6858000"/>
              <a:gd name="connsiteX908" fmla="*/ 2650837 w 12188651"/>
              <a:gd name="connsiteY908" fmla="*/ 5509547 h 6858000"/>
              <a:gd name="connsiteX909" fmla="*/ 2650837 w 12188651"/>
              <a:gd name="connsiteY909" fmla="*/ 5895861 h 6858000"/>
              <a:gd name="connsiteX910" fmla="*/ 2317210 w 12188651"/>
              <a:gd name="connsiteY910" fmla="*/ 6089014 h 6858000"/>
              <a:gd name="connsiteX911" fmla="*/ 1983444 w 12188651"/>
              <a:gd name="connsiteY911" fmla="*/ 5895861 h 6858000"/>
              <a:gd name="connsiteX912" fmla="*/ 1983444 w 12188651"/>
              <a:gd name="connsiteY912" fmla="*/ 5509547 h 6858000"/>
              <a:gd name="connsiteX913" fmla="*/ 263233 w 12188651"/>
              <a:gd name="connsiteY913" fmla="*/ 5316392 h 6858000"/>
              <a:gd name="connsiteX914" fmla="*/ 596992 w 12188651"/>
              <a:gd name="connsiteY914" fmla="*/ 5509547 h 6858000"/>
              <a:gd name="connsiteX915" fmla="*/ 596992 w 12188651"/>
              <a:gd name="connsiteY915" fmla="*/ 5895861 h 6858000"/>
              <a:gd name="connsiteX916" fmla="*/ 263362 w 12188651"/>
              <a:gd name="connsiteY916" fmla="*/ 6089014 h 6858000"/>
              <a:gd name="connsiteX917" fmla="*/ 0 w 12188651"/>
              <a:gd name="connsiteY917" fmla="*/ 5936601 h 6858000"/>
              <a:gd name="connsiteX918" fmla="*/ 0 w 12188651"/>
              <a:gd name="connsiteY918" fmla="*/ 5468791 h 6858000"/>
              <a:gd name="connsiteX919" fmla="*/ 10532576 w 12188651"/>
              <a:gd name="connsiteY919" fmla="*/ 5316391 h 6858000"/>
              <a:gd name="connsiteX920" fmla="*/ 10866339 w 12188651"/>
              <a:gd name="connsiteY920" fmla="*/ 5509548 h 6858000"/>
              <a:gd name="connsiteX921" fmla="*/ 10866339 w 12188651"/>
              <a:gd name="connsiteY921" fmla="*/ 5895861 h 6858000"/>
              <a:gd name="connsiteX922" fmla="*/ 10532706 w 12188651"/>
              <a:gd name="connsiteY922" fmla="*/ 6089016 h 6858000"/>
              <a:gd name="connsiteX923" fmla="*/ 10198941 w 12188651"/>
              <a:gd name="connsiteY923" fmla="*/ 5895861 h 6858000"/>
              <a:gd name="connsiteX924" fmla="*/ 10198941 w 12188651"/>
              <a:gd name="connsiteY924" fmla="*/ 5509548 h 6858000"/>
              <a:gd name="connsiteX925" fmla="*/ 8478628 w 12188651"/>
              <a:gd name="connsiteY925" fmla="*/ 5316391 h 6858000"/>
              <a:gd name="connsiteX926" fmla="*/ 8812392 w 12188651"/>
              <a:gd name="connsiteY926" fmla="*/ 5509548 h 6858000"/>
              <a:gd name="connsiteX927" fmla="*/ 8812392 w 12188651"/>
              <a:gd name="connsiteY927" fmla="*/ 5895861 h 6858000"/>
              <a:gd name="connsiteX928" fmla="*/ 8478758 w 12188651"/>
              <a:gd name="connsiteY928" fmla="*/ 6089016 h 6858000"/>
              <a:gd name="connsiteX929" fmla="*/ 8144995 w 12188651"/>
              <a:gd name="connsiteY929" fmla="*/ 5895861 h 6858000"/>
              <a:gd name="connsiteX930" fmla="*/ 8144995 w 12188651"/>
              <a:gd name="connsiteY930" fmla="*/ 5509548 h 6858000"/>
              <a:gd name="connsiteX931" fmla="*/ 6424810 w 12188651"/>
              <a:gd name="connsiteY931" fmla="*/ 5316391 h 6858000"/>
              <a:gd name="connsiteX932" fmla="*/ 6758573 w 12188651"/>
              <a:gd name="connsiteY932" fmla="*/ 5509548 h 6858000"/>
              <a:gd name="connsiteX933" fmla="*/ 6758573 w 12188651"/>
              <a:gd name="connsiteY933" fmla="*/ 5895861 h 6858000"/>
              <a:gd name="connsiteX934" fmla="*/ 6424940 w 12188651"/>
              <a:gd name="connsiteY934" fmla="*/ 6089016 h 6858000"/>
              <a:gd name="connsiteX935" fmla="*/ 6091179 w 12188651"/>
              <a:gd name="connsiteY935" fmla="*/ 5895861 h 6858000"/>
              <a:gd name="connsiteX936" fmla="*/ 6091179 w 12188651"/>
              <a:gd name="connsiteY936" fmla="*/ 5509548 h 6858000"/>
              <a:gd name="connsiteX937" fmla="*/ 4371009 w 12188651"/>
              <a:gd name="connsiteY937" fmla="*/ 5316391 h 6858000"/>
              <a:gd name="connsiteX938" fmla="*/ 4704773 w 12188651"/>
              <a:gd name="connsiteY938" fmla="*/ 5509548 h 6858000"/>
              <a:gd name="connsiteX939" fmla="*/ 4704773 w 12188651"/>
              <a:gd name="connsiteY939" fmla="*/ 5895861 h 6858000"/>
              <a:gd name="connsiteX940" fmla="*/ 4371144 w 12188651"/>
              <a:gd name="connsiteY940" fmla="*/ 6089016 h 6858000"/>
              <a:gd name="connsiteX941" fmla="*/ 4037419 w 12188651"/>
              <a:gd name="connsiteY941" fmla="*/ 5895861 h 6858000"/>
              <a:gd name="connsiteX942" fmla="*/ 4037419 w 12188651"/>
              <a:gd name="connsiteY942" fmla="*/ 5509547 h 6858000"/>
              <a:gd name="connsiteX943" fmla="*/ 4248574 w 12188651"/>
              <a:gd name="connsiteY943" fmla="*/ 5387277 h 6858000"/>
              <a:gd name="connsiteX944" fmla="*/ 3002131 w 12188651"/>
              <a:gd name="connsiteY944" fmla="*/ 5316139 h 6858000"/>
              <a:gd name="connsiteX945" fmla="*/ 3335884 w 12188651"/>
              <a:gd name="connsiteY945" fmla="*/ 5509288 h 6858000"/>
              <a:gd name="connsiteX946" fmla="*/ 3335884 w 12188651"/>
              <a:gd name="connsiteY946" fmla="*/ 5895471 h 6858000"/>
              <a:gd name="connsiteX947" fmla="*/ 3002133 w 12188651"/>
              <a:gd name="connsiteY947" fmla="*/ 6088619 h 6858000"/>
              <a:gd name="connsiteX948" fmla="*/ 2668383 w 12188651"/>
              <a:gd name="connsiteY948" fmla="*/ 5895470 h 6858000"/>
              <a:gd name="connsiteX949" fmla="*/ 2668383 w 12188651"/>
              <a:gd name="connsiteY949" fmla="*/ 5509287 h 6858000"/>
              <a:gd name="connsiteX950" fmla="*/ 948155 w 12188651"/>
              <a:gd name="connsiteY950" fmla="*/ 5316139 h 6858000"/>
              <a:gd name="connsiteX951" fmla="*/ 1281905 w 12188651"/>
              <a:gd name="connsiteY951" fmla="*/ 5509288 h 6858000"/>
              <a:gd name="connsiteX952" fmla="*/ 1281905 w 12188651"/>
              <a:gd name="connsiteY952" fmla="*/ 5895471 h 6858000"/>
              <a:gd name="connsiteX953" fmla="*/ 948156 w 12188651"/>
              <a:gd name="connsiteY953" fmla="*/ 6088620 h 6858000"/>
              <a:gd name="connsiteX954" fmla="*/ 614407 w 12188651"/>
              <a:gd name="connsiteY954" fmla="*/ 5895470 h 6858000"/>
              <a:gd name="connsiteX955" fmla="*/ 614407 w 12188651"/>
              <a:gd name="connsiteY955" fmla="*/ 5509287 h 6858000"/>
              <a:gd name="connsiteX956" fmla="*/ 5055949 w 12188651"/>
              <a:gd name="connsiteY956" fmla="*/ 5316138 h 6858000"/>
              <a:gd name="connsiteX957" fmla="*/ 5389688 w 12188651"/>
              <a:gd name="connsiteY957" fmla="*/ 5509288 h 6858000"/>
              <a:gd name="connsiteX958" fmla="*/ 5389688 w 12188651"/>
              <a:gd name="connsiteY958" fmla="*/ 5895471 h 6858000"/>
              <a:gd name="connsiteX959" fmla="*/ 5055955 w 12188651"/>
              <a:gd name="connsiteY959" fmla="*/ 6088620 h 6858000"/>
              <a:gd name="connsiteX960" fmla="*/ 4722171 w 12188651"/>
              <a:gd name="connsiteY960" fmla="*/ 5895470 h 6858000"/>
              <a:gd name="connsiteX961" fmla="*/ 4722171 w 12188651"/>
              <a:gd name="connsiteY961" fmla="*/ 5509287 h 6858000"/>
              <a:gd name="connsiteX962" fmla="*/ 4848154 w 12188651"/>
              <a:gd name="connsiteY962" fmla="*/ 5436375 h 6858000"/>
              <a:gd name="connsiteX963" fmla="*/ 11217614 w 12188651"/>
              <a:gd name="connsiteY963" fmla="*/ 5316132 h 6858000"/>
              <a:gd name="connsiteX964" fmla="*/ 11551377 w 12188651"/>
              <a:gd name="connsiteY964" fmla="*/ 5509288 h 6858000"/>
              <a:gd name="connsiteX965" fmla="*/ 11551377 w 12188651"/>
              <a:gd name="connsiteY965" fmla="*/ 5895470 h 6858000"/>
              <a:gd name="connsiteX966" fmla="*/ 11217614 w 12188651"/>
              <a:gd name="connsiteY966" fmla="*/ 6088627 h 6858000"/>
              <a:gd name="connsiteX967" fmla="*/ 10883851 w 12188651"/>
              <a:gd name="connsiteY967" fmla="*/ 5895470 h 6858000"/>
              <a:gd name="connsiteX968" fmla="*/ 10883851 w 12188651"/>
              <a:gd name="connsiteY968" fmla="*/ 5509288 h 6858000"/>
              <a:gd name="connsiteX969" fmla="*/ 9163666 w 12188651"/>
              <a:gd name="connsiteY969" fmla="*/ 5316132 h 6858000"/>
              <a:gd name="connsiteX970" fmla="*/ 9497429 w 12188651"/>
              <a:gd name="connsiteY970" fmla="*/ 5509288 h 6858000"/>
              <a:gd name="connsiteX971" fmla="*/ 9497429 w 12188651"/>
              <a:gd name="connsiteY971" fmla="*/ 5895470 h 6858000"/>
              <a:gd name="connsiteX972" fmla="*/ 9163666 w 12188651"/>
              <a:gd name="connsiteY972" fmla="*/ 6088627 h 6858000"/>
              <a:gd name="connsiteX973" fmla="*/ 8829903 w 12188651"/>
              <a:gd name="connsiteY973" fmla="*/ 5895470 h 6858000"/>
              <a:gd name="connsiteX974" fmla="*/ 8829903 w 12188651"/>
              <a:gd name="connsiteY974" fmla="*/ 5509288 h 6858000"/>
              <a:gd name="connsiteX975" fmla="*/ 7109850 w 12188651"/>
              <a:gd name="connsiteY975" fmla="*/ 5316132 h 6858000"/>
              <a:gd name="connsiteX976" fmla="*/ 7443613 w 12188651"/>
              <a:gd name="connsiteY976" fmla="*/ 5509288 h 6858000"/>
              <a:gd name="connsiteX977" fmla="*/ 7443613 w 12188651"/>
              <a:gd name="connsiteY977" fmla="*/ 5895470 h 6858000"/>
              <a:gd name="connsiteX978" fmla="*/ 7109850 w 12188651"/>
              <a:gd name="connsiteY978" fmla="*/ 6088627 h 6858000"/>
              <a:gd name="connsiteX979" fmla="*/ 6776085 w 12188651"/>
              <a:gd name="connsiteY979" fmla="*/ 5895470 h 6858000"/>
              <a:gd name="connsiteX980" fmla="*/ 6776085 w 12188651"/>
              <a:gd name="connsiteY980" fmla="*/ 5509288 h 6858000"/>
              <a:gd name="connsiteX981" fmla="*/ 2660328 w 12188651"/>
              <a:gd name="connsiteY981" fmla="*/ 5118312 h 6858000"/>
              <a:gd name="connsiteX982" fmla="*/ 2985776 w 12188651"/>
              <a:gd name="connsiteY982" fmla="*/ 5306661 h 6858000"/>
              <a:gd name="connsiteX983" fmla="*/ 2660199 w 12188651"/>
              <a:gd name="connsiteY983" fmla="*/ 5495010 h 6858000"/>
              <a:gd name="connsiteX984" fmla="*/ 2334754 w 12188651"/>
              <a:gd name="connsiteY984" fmla="*/ 5306660 h 6858000"/>
              <a:gd name="connsiteX985" fmla="*/ 606350 w 12188651"/>
              <a:gd name="connsiteY985" fmla="*/ 5118312 h 6858000"/>
              <a:gd name="connsiteX986" fmla="*/ 931797 w 12188651"/>
              <a:gd name="connsiteY986" fmla="*/ 5306661 h 6858000"/>
              <a:gd name="connsiteX987" fmla="*/ 606221 w 12188651"/>
              <a:gd name="connsiteY987" fmla="*/ 5495010 h 6858000"/>
              <a:gd name="connsiteX988" fmla="*/ 280773 w 12188651"/>
              <a:gd name="connsiteY988" fmla="*/ 5306660 h 6858000"/>
              <a:gd name="connsiteX989" fmla="*/ 4714113 w 12188651"/>
              <a:gd name="connsiteY989" fmla="*/ 5118307 h 6858000"/>
              <a:gd name="connsiteX990" fmla="*/ 5039591 w 12188651"/>
              <a:gd name="connsiteY990" fmla="*/ 5306661 h 6858000"/>
              <a:gd name="connsiteX991" fmla="*/ 4977019 w 12188651"/>
              <a:gd name="connsiteY991" fmla="*/ 5342855 h 6858000"/>
              <a:gd name="connsiteX992" fmla="*/ 4713993 w 12188651"/>
              <a:gd name="connsiteY992" fmla="*/ 5495014 h 6858000"/>
              <a:gd name="connsiteX993" fmla="*/ 4388541 w 12188651"/>
              <a:gd name="connsiteY993" fmla="*/ 5306660 h 6858000"/>
              <a:gd name="connsiteX994" fmla="*/ 10875808 w 12188651"/>
              <a:gd name="connsiteY994" fmla="*/ 5118305 h 6858000"/>
              <a:gd name="connsiteX995" fmla="*/ 11201268 w 12188651"/>
              <a:gd name="connsiteY995" fmla="*/ 5306661 h 6858000"/>
              <a:gd name="connsiteX996" fmla="*/ 10875679 w 12188651"/>
              <a:gd name="connsiteY996" fmla="*/ 5495017 h 6858000"/>
              <a:gd name="connsiteX997" fmla="*/ 10550218 w 12188651"/>
              <a:gd name="connsiteY997" fmla="*/ 5306661 h 6858000"/>
              <a:gd name="connsiteX998" fmla="*/ 8821860 w 12188651"/>
              <a:gd name="connsiteY998" fmla="*/ 5118305 h 6858000"/>
              <a:gd name="connsiteX999" fmla="*/ 9147320 w 12188651"/>
              <a:gd name="connsiteY999" fmla="*/ 5306661 h 6858000"/>
              <a:gd name="connsiteX1000" fmla="*/ 8821730 w 12188651"/>
              <a:gd name="connsiteY1000" fmla="*/ 5495017 h 6858000"/>
              <a:gd name="connsiteX1001" fmla="*/ 8496270 w 12188651"/>
              <a:gd name="connsiteY1001" fmla="*/ 5306661 h 6858000"/>
              <a:gd name="connsiteX1002" fmla="*/ 6768043 w 12188651"/>
              <a:gd name="connsiteY1002" fmla="*/ 5118305 h 6858000"/>
              <a:gd name="connsiteX1003" fmla="*/ 7093504 w 12188651"/>
              <a:gd name="connsiteY1003" fmla="*/ 5306661 h 6858000"/>
              <a:gd name="connsiteX1004" fmla="*/ 6767913 w 12188651"/>
              <a:gd name="connsiteY1004" fmla="*/ 5495017 h 6858000"/>
              <a:gd name="connsiteX1005" fmla="*/ 6442453 w 12188651"/>
              <a:gd name="connsiteY1005" fmla="*/ 5306661 h 6858000"/>
              <a:gd name="connsiteX1006" fmla="*/ 12140685 w 12188651"/>
              <a:gd name="connsiteY1006" fmla="*/ 4954335 h 6858000"/>
              <a:gd name="connsiteX1007" fmla="*/ 12168445 w 12188651"/>
              <a:gd name="connsiteY1007" fmla="*/ 4965880 h 6858000"/>
              <a:gd name="connsiteX1008" fmla="*/ 12188651 w 12188651"/>
              <a:gd name="connsiteY1008" fmla="*/ 4986128 h 6858000"/>
              <a:gd name="connsiteX1009" fmla="*/ 12188651 w 12188651"/>
              <a:gd name="connsiteY1009" fmla="*/ 5254379 h 6858000"/>
              <a:gd name="connsiteX1010" fmla="*/ 12034576 w 12188651"/>
              <a:gd name="connsiteY1010" fmla="*/ 5100013 h 6858000"/>
              <a:gd name="connsiteX1011" fmla="*/ 12034576 w 12188651"/>
              <a:gd name="connsiteY1011" fmla="*/ 5044621 h 6858000"/>
              <a:gd name="connsiteX1012" fmla="*/ 12113056 w 12188651"/>
              <a:gd name="connsiteY1012" fmla="*/ 4965880 h 6858000"/>
              <a:gd name="connsiteX1013" fmla="*/ 12140685 w 12188651"/>
              <a:gd name="connsiteY1013" fmla="*/ 4954335 h 6858000"/>
              <a:gd name="connsiteX1014" fmla="*/ 10086867 w 12188651"/>
              <a:gd name="connsiteY1014" fmla="*/ 4954335 h 6858000"/>
              <a:gd name="connsiteX1015" fmla="*/ 10114626 w 12188651"/>
              <a:gd name="connsiteY1015" fmla="*/ 4965880 h 6858000"/>
              <a:gd name="connsiteX1016" fmla="*/ 10179226 w 12188651"/>
              <a:gd name="connsiteY1016" fmla="*/ 5030612 h 6858000"/>
              <a:gd name="connsiteX1017" fmla="*/ 10190770 w 12188651"/>
              <a:gd name="connsiteY1017" fmla="*/ 5042286 h 6858000"/>
              <a:gd name="connsiteX1018" fmla="*/ 10202315 w 12188651"/>
              <a:gd name="connsiteY1018" fmla="*/ 5030612 h 6858000"/>
              <a:gd name="connsiteX1019" fmla="*/ 10266786 w 12188651"/>
              <a:gd name="connsiteY1019" fmla="*/ 4965880 h 6858000"/>
              <a:gd name="connsiteX1020" fmla="*/ 10294543 w 12188651"/>
              <a:gd name="connsiteY1020" fmla="*/ 4954335 h 6858000"/>
              <a:gd name="connsiteX1021" fmla="*/ 10322173 w 12188651"/>
              <a:gd name="connsiteY1021" fmla="*/ 4965880 h 6858000"/>
              <a:gd name="connsiteX1022" fmla="*/ 10400653 w 12188651"/>
              <a:gd name="connsiteY1022" fmla="*/ 5044492 h 6858000"/>
              <a:gd name="connsiteX1023" fmla="*/ 10412198 w 12188651"/>
              <a:gd name="connsiteY1023" fmla="*/ 5072252 h 6858000"/>
              <a:gd name="connsiteX1024" fmla="*/ 10400783 w 12188651"/>
              <a:gd name="connsiteY1024" fmla="*/ 5100013 h 6858000"/>
              <a:gd name="connsiteX1025" fmla="*/ 10190770 w 12188651"/>
              <a:gd name="connsiteY1025" fmla="*/ 5310423 h 6858000"/>
              <a:gd name="connsiteX1026" fmla="*/ 9980757 w 12188651"/>
              <a:gd name="connsiteY1026" fmla="*/ 5100013 h 6858000"/>
              <a:gd name="connsiteX1027" fmla="*/ 9980757 w 12188651"/>
              <a:gd name="connsiteY1027" fmla="*/ 5044621 h 6858000"/>
              <a:gd name="connsiteX1028" fmla="*/ 10059237 w 12188651"/>
              <a:gd name="connsiteY1028" fmla="*/ 4965880 h 6858000"/>
              <a:gd name="connsiteX1029" fmla="*/ 10086867 w 12188651"/>
              <a:gd name="connsiteY1029" fmla="*/ 4954335 h 6858000"/>
              <a:gd name="connsiteX1030" fmla="*/ 8032919 w 12188651"/>
              <a:gd name="connsiteY1030" fmla="*/ 4954335 h 6858000"/>
              <a:gd name="connsiteX1031" fmla="*/ 8060679 w 12188651"/>
              <a:gd name="connsiteY1031" fmla="*/ 4965880 h 6858000"/>
              <a:gd name="connsiteX1032" fmla="*/ 8125278 w 12188651"/>
              <a:gd name="connsiteY1032" fmla="*/ 5030612 h 6858000"/>
              <a:gd name="connsiteX1033" fmla="*/ 8136823 w 12188651"/>
              <a:gd name="connsiteY1033" fmla="*/ 5042286 h 6858000"/>
              <a:gd name="connsiteX1034" fmla="*/ 8148368 w 12188651"/>
              <a:gd name="connsiteY1034" fmla="*/ 5030612 h 6858000"/>
              <a:gd name="connsiteX1035" fmla="*/ 8212837 w 12188651"/>
              <a:gd name="connsiteY1035" fmla="*/ 4965880 h 6858000"/>
              <a:gd name="connsiteX1036" fmla="*/ 8240596 w 12188651"/>
              <a:gd name="connsiteY1036" fmla="*/ 4954335 h 6858000"/>
              <a:gd name="connsiteX1037" fmla="*/ 8268226 w 12188651"/>
              <a:gd name="connsiteY1037" fmla="*/ 4965880 h 6858000"/>
              <a:gd name="connsiteX1038" fmla="*/ 8346707 w 12188651"/>
              <a:gd name="connsiteY1038" fmla="*/ 5044492 h 6858000"/>
              <a:gd name="connsiteX1039" fmla="*/ 8358252 w 12188651"/>
              <a:gd name="connsiteY1039" fmla="*/ 5072252 h 6858000"/>
              <a:gd name="connsiteX1040" fmla="*/ 8346837 w 12188651"/>
              <a:gd name="connsiteY1040" fmla="*/ 5100013 h 6858000"/>
              <a:gd name="connsiteX1041" fmla="*/ 8136823 w 12188651"/>
              <a:gd name="connsiteY1041" fmla="*/ 5310423 h 6858000"/>
              <a:gd name="connsiteX1042" fmla="*/ 7926811 w 12188651"/>
              <a:gd name="connsiteY1042" fmla="*/ 5100013 h 6858000"/>
              <a:gd name="connsiteX1043" fmla="*/ 7926811 w 12188651"/>
              <a:gd name="connsiteY1043" fmla="*/ 5044621 h 6858000"/>
              <a:gd name="connsiteX1044" fmla="*/ 8005289 w 12188651"/>
              <a:gd name="connsiteY1044" fmla="*/ 4965880 h 6858000"/>
              <a:gd name="connsiteX1045" fmla="*/ 8032919 w 12188651"/>
              <a:gd name="connsiteY1045" fmla="*/ 4954335 h 6858000"/>
              <a:gd name="connsiteX1046" fmla="*/ 5979109 w 12188651"/>
              <a:gd name="connsiteY1046" fmla="*/ 4954335 h 6858000"/>
              <a:gd name="connsiteX1047" fmla="*/ 6006867 w 12188651"/>
              <a:gd name="connsiteY1047" fmla="*/ 4965880 h 6858000"/>
              <a:gd name="connsiteX1048" fmla="*/ 6071463 w 12188651"/>
              <a:gd name="connsiteY1048" fmla="*/ 5030612 h 6858000"/>
              <a:gd name="connsiteX1049" fmla="*/ 6083006 w 12188651"/>
              <a:gd name="connsiteY1049" fmla="*/ 5042286 h 6858000"/>
              <a:gd name="connsiteX1050" fmla="*/ 6094550 w 12188651"/>
              <a:gd name="connsiteY1050" fmla="*/ 5030612 h 6858000"/>
              <a:gd name="connsiteX1051" fmla="*/ 6159019 w 12188651"/>
              <a:gd name="connsiteY1051" fmla="*/ 4965880 h 6858000"/>
              <a:gd name="connsiteX1052" fmla="*/ 6186779 w 12188651"/>
              <a:gd name="connsiteY1052" fmla="*/ 4954335 h 6858000"/>
              <a:gd name="connsiteX1053" fmla="*/ 6214409 w 12188651"/>
              <a:gd name="connsiteY1053" fmla="*/ 4965880 h 6858000"/>
              <a:gd name="connsiteX1054" fmla="*/ 6292888 w 12188651"/>
              <a:gd name="connsiteY1054" fmla="*/ 5044492 h 6858000"/>
              <a:gd name="connsiteX1055" fmla="*/ 6304433 w 12188651"/>
              <a:gd name="connsiteY1055" fmla="*/ 5072252 h 6858000"/>
              <a:gd name="connsiteX1056" fmla="*/ 6293017 w 12188651"/>
              <a:gd name="connsiteY1056" fmla="*/ 5100013 h 6858000"/>
              <a:gd name="connsiteX1057" fmla="*/ 6083006 w 12188651"/>
              <a:gd name="connsiteY1057" fmla="*/ 5310423 h 6858000"/>
              <a:gd name="connsiteX1058" fmla="*/ 5873007 w 12188651"/>
              <a:gd name="connsiteY1058" fmla="*/ 5100013 h 6858000"/>
              <a:gd name="connsiteX1059" fmla="*/ 5873007 w 12188651"/>
              <a:gd name="connsiteY1059" fmla="*/ 5044621 h 6858000"/>
              <a:gd name="connsiteX1060" fmla="*/ 5951483 w 12188651"/>
              <a:gd name="connsiteY1060" fmla="*/ 4965880 h 6858000"/>
              <a:gd name="connsiteX1061" fmla="*/ 5979109 w 12188651"/>
              <a:gd name="connsiteY1061" fmla="*/ 4954335 h 6858000"/>
              <a:gd name="connsiteX1062" fmla="*/ 3925342 w 12188651"/>
              <a:gd name="connsiteY1062" fmla="*/ 4954335 h 6858000"/>
              <a:gd name="connsiteX1063" fmla="*/ 3953100 w 12188651"/>
              <a:gd name="connsiteY1063" fmla="*/ 4965880 h 6858000"/>
              <a:gd name="connsiteX1064" fmla="*/ 4017699 w 12188651"/>
              <a:gd name="connsiteY1064" fmla="*/ 5030612 h 6858000"/>
              <a:gd name="connsiteX1065" fmla="*/ 4029246 w 12188651"/>
              <a:gd name="connsiteY1065" fmla="*/ 5042286 h 6858000"/>
              <a:gd name="connsiteX1066" fmla="*/ 4040790 w 12188651"/>
              <a:gd name="connsiteY1066" fmla="*/ 5030612 h 6858000"/>
              <a:gd name="connsiteX1067" fmla="*/ 4105262 w 12188651"/>
              <a:gd name="connsiteY1067" fmla="*/ 4965880 h 6858000"/>
              <a:gd name="connsiteX1068" fmla="*/ 4133023 w 12188651"/>
              <a:gd name="connsiteY1068" fmla="*/ 4954335 h 6858000"/>
              <a:gd name="connsiteX1069" fmla="*/ 4160653 w 12188651"/>
              <a:gd name="connsiteY1069" fmla="*/ 4965880 h 6858000"/>
              <a:gd name="connsiteX1070" fmla="*/ 4239088 w 12188651"/>
              <a:gd name="connsiteY1070" fmla="*/ 5044492 h 6858000"/>
              <a:gd name="connsiteX1071" fmla="*/ 4250634 w 12188651"/>
              <a:gd name="connsiteY1071" fmla="*/ 5072252 h 6858000"/>
              <a:gd name="connsiteX1072" fmla="*/ 4239218 w 12188651"/>
              <a:gd name="connsiteY1072" fmla="*/ 5100013 h 6858000"/>
              <a:gd name="connsiteX1073" fmla="*/ 4029246 w 12188651"/>
              <a:gd name="connsiteY1073" fmla="*/ 5310423 h 6858000"/>
              <a:gd name="connsiteX1074" fmla="*/ 3819226 w 12188651"/>
              <a:gd name="connsiteY1074" fmla="*/ 5100013 h 6858000"/>
              <a:gd name="connsiteX1075" fmla="*/ 3819226 w 12188651"/>
              <a:gd name="connsiteY1075" fmla="*/ 5044621 h 6858000"/>
              <a:gd name="connsiteX1076" fmla="*/ 3897709 w 12188651"/>
              <a:gd name="connsiteY1076" fmla="*/ 4965880 h 6858000"/>
              <a:gd name="connsiteX1077" fmla="*/ 3925342 w 12188651"/>
              <a:gd name="connsiteY1077" fmla="*/ 4954335 h 6858000"/>
              <a:gd name="connsiteX1078" fmla="*/ 1871366 w 12188651"/>
              <a:gd name="connsiteY1078" fmla="*/ 4954335 h 6858000"/>
              <a:gd name="connsiteX1079" fmla="*/ 1899126 w 12188651"/>
              <a:gd name="connsiteY1079" fmla="*/ 4965880 h 6858000"/>
              <a:gd name="connsiteX1080" fmla="*/ 1963727 w 12188651"/>
              <a:gd name="connsiteY1080" fmla="*/ 5030612 h 6858000"/>
              <a:gd name="connsiteX1081" fmla="*/ 1975271 w 12188651"/>
              <a:gd name="connsiteY1081" fmla="*/ 5042286 h 6858000"/>
              <a:gd name="connsiteX1082" fmla="*/ 1986816 w 12188651"/>
              <a:gd name="connsiteY1082" fmla="*/ 5030612 h 6858000"/>
              <a:gd name="connsiteX1083" fmla="*/ 2051285 w 12188651"/>
              <a:gd name="connsiteY1083" fmla="*/ 4965880 h 6858000"/>
              <a:gd name="connsiteX1084" fmla="*/ 2079045 w 12188651"/>
              <a:gd name="connsiteY1084" fmla="*/ 4954335 h 6858000"/>
              <a:gd name="connsiteX1085" fmla="*/ 2106680 w 12188651"/>
              <a:gd name="connsiteY1085" fmla="*/ 4965880 h 6858000"/>
              <a:gd name="connsiteX1086" fmla="*/ 2185159 w 12188651"/>
              <a:gd name="connsiteY1086" fmla="*/ 5044492 h 6858000"/>
              <a:gd name="connsiteX1087" fmla="*/ 2196706 w 12188651"/>
              <a:gd name="connsiteY1087" fmla="*/ 5072252 h 6858000"/>
              <a:gd name="connsiteX1088" fmla="*/ 2185291 w 12188651"/>
              <a:gd name="connsiteY1088" fmla="*/ 5100013 h 6858000"/>
              <a:gd name="connsiteX1089" fmla="*/ 1975271 w 12188651"/>
              <a:gd name="connsiteY1089" fmla="*/ 5310423 h 6858000"/>
              <a:gd name="connsiteX1090" fmla="*/ 1765258 w 12188651"/>
              <a:gd name="connsiteY1090" fmla="*/ 5100013 h 6858000"/>
              <a:gd name="connsiteX1091" fmla="*/ 1765258 w 12188651"/>
              <a:gd name="connsiteY1091" fmla="*/ 5044621 h 6858000"/>
              <a:gd name="connsiteX1092" fmla="*/ 1843739 w 12188651"/>
              <a:gd name="connsiteY1092" fmla="*/ 4965880 h 6858000"/>
              <a:gd name="connsiteX1093" fmla="*/ 1871366 w 12188651"/>
              <a:gd name="connsiteY1093" fmla="*/ 4954335 h 6858000"/>
              <a:gd name="connsiteX1094" fmla="*/ 25204 w 12188651"/>
              <a:gd name="connsiteY1094" fmla="*/ 4954335 h 6858000"/>
              <a:gd name="connsiteX1095" fmla="*/ 52835 w 12188651"/>
              <a:gd name="connsiteY1095" fmla="*/ 4965880 h 6858000"/>
              <a:gd name="connsiteX1096" fmla="*/ 131313 w 12188651"/>
              <a:gd name="connsiteY1096" fmla="*/ 5044492 h 6858000"/>
              <a:gd name="connsiteX1097" fmla="*/ 142857 w 12188651"/>
              <a:gd name="connsiteY1097" fmla="*/ 5072252 h 6858000"/>
              <a:gd name="connsiteX1098" fmla="*/ 131443 w 12188651"/>
              <a:gd name="connsiteY1098" fmla="*/ 5100013 h 6858000"/>
              <a:gd name="connsiteX1099" fmla="*/ 0 w 12188651"/>
              <a:gd name="connsiteY1099" fmla="*/ 5231705 h 6858000"/>
              <a:gd name="connsiteX1100" fmla="*/ 0 w 12188651"/>
              <a:gd name="connsiteY1100" fmla="*/ 4964818 h 6858000"/>
              <a:gd name="connsiteX1101" fmla="*/ 10086867 w 12188651"/>
              <a:gd name="connsiteY1101" fmla="*/ 4937860 h 6858000"/>
              <a:gd name="connsiteX1102" fmla="*/ 10047692 w 12188651"/>
              <a:gd name="connsiteY1102" fmla="*/ 4954205 h 6858000"/>
              <a:gd name="connsiteX1103" fmla="*/ 9969212 w 12188651"/>
              <a:gd name="connsiteY1103" fmla="*/ 5032947 h 6858000"/>
              <a:gd name="connsiteX1104" fmla="*/ 9969212 w 12188651"/>
              <a:gd name="connsiteY1104" fmla="*/ 5111559 h 6858000"/>
              <a:gd name="connsiteX1105" fmla="*/ 10190770 w 12188651"/>
              <a:gd name="connsiteY1105" fmla="*/ 5333643 h 6858000"/>
              <a:gd name="connsiteX1106" fmla="*/ 10412328 w 12188651"/>
              <a:gd name="connsiteY1106" fmla="*/ 5111559 h 6858000"/>
              <a:gd name="connsiteX1107" fmla="*/ 10412328 w 12188651"/>
              <a:gd name="connsiteY1107" fmla="*/ 5032947 h 6858000"/>
              <a:gd name="connsiteX1108" fmla="*/ 10333848 w 12188651"/>
              <a:gd name="connsiteY1108" fmla="*/ 4954335 h 6858000"/>
              <a:gd name="connsiteX1109" fmla="*/ 10294673 w 12188651"/>
              <a:gd name="connsiteY1109" fmla="*/ 4937990 h 6858000"/>
              <a:gd name="connsiteX1110" fmla="*/ 10294543 w 12188651"/>
              <a:gd name="connsiteY1110" fmla="*/ 4937860 h 6858000"/>
              <a:gd name="connsiteX1111" fmla="*/ 10255241 w 12188651"/>
              <a:gd name="connsiteY1111" fmla="*/ 4954335 h 6858000"/>
              <a:gd name="connsiteX1112" fmla="*/ 10190770 w 12188651"/>
              <a:gd name="connsiteY1112" fmla="*/ 5018937 h 6858000"/>
              <a:gd name="connsiteX1113" fmla="*/ 10126171 w 12188651"/>
              <a:gd name="connsiteY1113" fmla="*/ 4954205 h 6858000"/>
              <a:gd name="connsiteX1114" fmla="*/ 10086867 w 12188651"/>
              <a:gd name="connsiteY1114" fmla="*/ 4937860 h 6858000"/>
              <a:gd name="connsiteX1115" fmla="*/ 8032919 w 12188651"/>
              <a:gd name="connsiteY1115" fmla="*/ 4937860 h 6858000"/>
              <a:gd name="connsiteX1116" fmla="*/ 7993744 w 12188651"/>
              <a:gd name="connsiteY1116" fmla="*/ 4954205 h 6858000"/>
              <a:gd name="connsiteX1117" fmla="*/ 7915266 w 12188651"/>
              <a:gd name="connsiteY1117" fmla="*/ 5032947 h 6858000"/>
              <a:gd name="connsiteX1118" fmla="*/ 7915266 w 12188651"/>
              <a:gd name="connsiteY1118" fmla="*/ 5111559 h 6858000"/>
              <a:gd name="connsiteX1119" fmla="*/ 8136823 w 12188651"/>
              <a:gd name="connsiteY1119" fmla="*/ 5333643 h 6858000"/>
              <a:gd name="connsiteX1120" fmla="*/ 8358382 w 12188651"/>
              <a:gd name="connsiteY1120" fmla="*/ 5111559 h 6858000"/>
              <a:gd name="connsiteX1121" fmla="*/ 8358382 w 12188651"/>
              <a:gd name="connsiteY1121" fmla="*/ 5032947 h 6858000"/>
              <a:gd name="connsiteX1122" fmla="*/ 8279902 w 12188651"/>
              <a:gd name="connsiteY1122" fmla="*/ 4954335 h 6858000"/>
              <a:gd name="connsiteX1123" fmla="*/ 8240727 w 12188651"/>
              <a:gd name="connsiteY1123" fmla="*/ 4937990 h 6858000"/>
              <a:gd name="connsiteX1124" fmla="*/ 8240596 w 12188651"/>
              <a:gd name="connsiteY1124" fmla="*/ 4937860 h 6858000"/>
              <a:gd name="connsiteX1125" fmla="*/ 8201292 w 12188651"/>
              <a:gd name="connsiteY1125" fmla="*/ 4954335 h 6858000"/>
              <a:gd name="connsiteX1126" fmla="*/ 8136823 w 12188651"/>
              <a:gd name="connsiteY1126" fmla="*/ 5018937 h 6858000"/>
              <a:gd name="connsiteX1127" fmla="*/ 8072224 w 12188651"/>
              <a:gd name="connsiteY1127" fmla="*/ 4954205 h 6858000"/>
              <a:gd name="connsiteX1128" fmla="*/ 8032919 w 12188651"/>
              <a:gd name="connsiteY1128" fmla="*/ 4937860 h 6858000"/>
              <a:gd name="connsiteX1129" fmla="*/ 5979109 w 12188651"/>
              <a:gd name="connsiteY1129" fmla="*/ 4937860 h 6858000"/>
              <a:gd name="connsiteX1130" fmla="*/ 5939936 w 12188651"/>
              <a:gd name="connsiteY1130" fmla="*/ 4954205 h 6858000"/>
              <a:gd name="connsiteX1131" fmla="*/ 5861462 w 12188651"/>
              <a:gd name="connsiteY1131" fmla="*/ 5032947 h 6858000"/>
              <a:gd name="connsiteX1132" fmla="*/ 5861462 w 12188651"/>
              <a:gd name="connsiteY1132" fmla="*/ 5111559 h 6858000"/>
              <a:gd name="connsiteX1133" fmla="*/ 6083006 w 12188651"/>
              <a:gd name="connsiteY1133" fmla="*/ 5333643 h 6858000"/>
              <a:gd name="connsiteX1134" fmla="*/ 6304562 w 12188651"/>
              <a:gd name="connsiteY1134" fmla="*/ 5111559 h 6858000"/>
              <a:gd name="connsiteX1135" fmla="*/ 6304562 w 12188651"/>
              <a:gd name="connsiteY1135" fmla="*/ 5032947 h 6858000"/>
              <a:gd name="connsiteX1136" fmla="*/ 6226084 w 12188651"/>
              <a:gd name="connsiteY1136" fmla="*/ 4954335 h 6858000"/>
              <a:gd name="connsiteX1137" fmla="*/ 6186909 w 12188651"/>
              <a:gd name="connsiteY1137" fmla="*/ 4937990 h 6858000"/>
              <a:gd name="connsiteX1138" fmla="*/ 6186779 w 12188651"/>
              <a:gd name="connsiteY1138" fmla="*/ 4937860 h 6858000"/>
              <a:gd name="connsiteX1139" fmla="*/ 6147474 w 12188651"/>
              <a:gd name="connsiteY1139" fmla="*/ 4954335 h 6858000"/>
              <a:gd name="connsiteX1140" fmla="*/ 6083006 w 12188651"/>
              <a:gd name="connsiteY1140" fmla="*/ 5018937 h 6858000"/>
              <a:gd name="connsiteX1141" fmla="*/ 6018412 w 12188651"/>
              <a:gd name="connsiteY1141" fmla="*/ 4954205 h 6858000"/>
              <a:gd name="connsiteX1142" fmla="*/ 5979109 w 12188651"/>
              <a:gd name="connsiteY1142" fmla="*/ 4937860 h 6858000"/>
              <a:gd name="connsiteX1143" fmla="*/ 3925342 w 12188651"/>
              <a:gd name="connsiteY1143" fmla="*/ 4937860 h 6858000"/>
              <a:gd name="connsiteX1144" fmla="*/ 3886165 w 12188651"/>
              <a:gd name="connsiteY1144" fmla="*/ 4954205 h 6858000"/>
              <a:gd name="connsiteX1145" fmla="*/ 3807682 w 12188651"/>
              <a:gd name="connsiteY1145" fmla="*/ 5032947 h 6858000"/>
              <a:gd name="connsiteX1146" fmla="*/ 3807682 w 12188651"/>
              <a:gd name="connsiteY1146" fmla="*/ 5111559 h 6858000"/>
              <a:gd name="connsiteX1147" fmla="*/ 4029246 w 12188651"/>
              <a:gd name="connsiteY1147" fmla="*/ 5333643 h 6858000"/>
              <a:gd name="connsiteX1148" fmla="*/ 4250759 w 12188651"/>
              <a:gd name="connsiteY1148" fmla="*/ 5111559 h 6858000"/>
              <a:gd name="connsiteX1149" fmla="*/ 4250759 w 12188651"/>
              <a:gd name="connsiteY1149" fmla="*/ 5032947 h 6858000"/>
              <a:gd name="connsiteX1150" fmla="*/ 4172326 w 12188651"/>
              <a:gd name="connsiteY1150" fmla="*/ 4954335 h 6858000"/>
              <a:gd name="connsiteX1151" fmla="*/ 4133153 w 12188651"/>
              <a:gd name="connsiteY1151" fmla="*/ 4937990 h 6858000"/>
              <a:gd name="connsiteX1152" fmla="*/ 4133023 w 12188651"/>
              <a:gd name="connsiteY1152" fmla="*/ 4937860 h 6858000"/>
              <a:gd name="connsiteX1153" fmla="*/ 4093717 w 12188651"/>
              <a:gd name="connsiteY1153" fmla="*/ 4954335 h 6858000"/>
              <a:gd name="connsiteX1154" fmla="*/ 4029246 w 12188651"/>
              <a:gd name="connsiteY1154" fmla="*/ 5018937 h 6858000"/>
              <a:gd name="connsiteX1155" fmla="*/ 3964644 w 12188651"/>
              <a:gd name="connsiteY1155" fmla="*/ 4954205 h 6858000"/>
              <a:gd name="connsiteX1156" fmla="*/ 3925342 w 12188651"/>
              <a:gd name="connsiteY1156" fmla="*/ 4937860 h 6858000"/>
              <a:gd name="connsiteX1157" fmla="*/ 1871366 w 12188651"/>
              <a:gd name="connsiteY1157" fmla="*/ 4937860 h 6858000"/>
              <a:gd name="connsiteX1158" fmla="*/ 1832193 w 12188651"/>
              <a:gd name="connsiteY1158" fmla="*/ 4954205 h 6858000"/>
              <a:gd name="connsiteX1159" fmla="*/ 1753714 w 12188651"/>
              <a:gd name="connsiteY1159" fmla="*/ 5032947 h 6858000"/>
              <a:gd name="connsiteX1160" fmla="*/ 1753714 w 12188651"/>
              <a:gd name="connsiteY1160" fmla="*/ 5111559 h 6858000"/>
              <a:gd name="connsiteX1161" fmla="*/ 1975271 w 12188651"/>
              <a:gd name="connsiteY1161" fmla="*/ 5333643 h 6858000"/>
              <a:gd name="connsiteX1162" fmla="*/ 2196836 w 12188651"/>
              <a:gd name="connsiteY1162" fmla="*/ 5111559 h 6858000"/>
              <a:gd name="connsiteX1163" fmla="*/ 2196836 w 12188651"/>
              <a:gd name="connsiteY1163" fmla="*/ 5032947 h 6858000"/>
              <a:gd name="connsiteX1164" fmla="*/ 2118358 w 12188651"/>
              <a:gd name="connsiteY1164" fmla="*/ 4954335 h 6858000"/>
              <a:gd name="connsiteX1165" fmla="*/ 2079175 w 12188651"/>
              <a:gd name="connsiteY1165" fmla="*/ 4937990 h 6858000"/>
              <a:gd name="connsiteX1166" fmla="*/ 2079045 w 12188651"/>
              <a:gd name="connsiteY1166" fmla="*/ 4937860 h 6858000"/>
              <a:gd name="connsiteX1167" fmla="*/ 2039742 w 12188651"/>
              <a:gd name="connsiteY1167" fmla="*/ 4954335 h 6858000"/>
              <a:gd name="connsiteX1168" fmla="*/ 1975271 w 12188651"/>
              <a:gd name="connsiteY1168" fmla="*/ 5018937 h 6858000"/>
              <a:gd name="connsiteX1169" fmla="*/ 1910671 w 12188651"/>
              <a:gd name="connsiteY1169" fmla="*/ 4954205 h 6858000"/>
              <a:gd name="connsiteX1170" fmla="*/ 1871366 w 12188651"/>
              <a:gd name="connsiteY1170" fmla="*/ 4937860 h 6858000"/>
              <a:gd name="connsiteX1171" fmla="*/ 0 w 12188651"/>
              <a:gd name="connsiteY1171" fmla="*/ 4767681 h 6858000"/>
              <a:gd name="connsiteX1172" fmla="*/ 255060 w 12188651"/>
              <a:gd name="connsiteY1172" fmla="*/ 4915290 h 6858000"/>
              <a:gd name="connsiteX1173" fmla="*/ 255060 w 12188651"/>
              <a:gd name="connsiteY1173" fmla="*/ 5301473 h 6858000"/>
              <a:gd name="connsiteX1174" fmla="*/ 0 w 12188651"/>
              <a:gd name="connsiteY1174" fmla="*/ 5449082 h 6858000"/>
              <a:gd name="connsiteX1175" fmla="*/ 0 w 12188651"/>
              <a:gd name="connsiteY1175" fmla="*/ 5254886 h 6858000"/>
              <a:gd name="connsiteX1176" fmla="*/ 142988 w 12188651"/>
              <a:gd name="connsiteY1176" fmla="*/ 5111559 h 6858000"/>
              <a:gd name="connsiteX1177" fmla="*/ 142988 w 12188651"/>
              <a:gd name="connsiteY1177" fmla="*/ 5032947 h 6858000"/>
              <a:gd name="connsiteX1178" fmla="*/ 64507 w 12188651"/>
              <a:gd name="connsiteY1178" fmla="*/ 4954335 h 6858000"/>
              <a:gd name="connsiteX1179" fmla="*/ 25332 w 12188651"/>
              <a:gd name="connsiteY1179" fmla="*/ 4937990 h 6858000"/>
              <a:gd name="connsiteX1180" fmla="*/ 25204 w 12188651"/>
              <a:gd name="connsiteY1180" fmla="*/ 4937860 h 6858000"/>
              <a:gd name="connsiteX1181" fmla="*/ 4287 w 12188651"/>
              <a:gd name="connsiteY1181" fmla="*/ 4941963 h 6858000"/>
              <a:gd name="connsiteX1182" fmla="*/ 0 w 12188651"/>
              <a:gd name="connsiteY1182" fmla="*/ 4944847 h 6858000"/>
              <a:gd name="connsiteX1183" fmla="*/ 12188651 w 12188651"/>
              <a:gd name="connsiteY1183" fmla="*/ 4754431 h 6858000"/>
              <a:gd name="connsiteX1184" fmla="*/ 12188651 w 12188651"/>
              <a:gd name="connsiteY1184" fmla="*/ 4962884 h 6858000"/>
              <a:gd name="connsiteX1185" fmla="*/ 12179990 w 12188651"/>
              <a:gd name="connsiteY1185" fmla="*/ 4954205 h 6858000"/>
              <a:gd name="connsiteX1186" fmla="*/ 12140685 w 12188651"/>
              <a:gd name="connsiteY1186" fmla="*/ 4937860 h 6858000"/>
              <a:gd name="connsiteX1187" fmla="*/ 12101510 w 12188651"/>
              <a:gd name="connsiteY1187" fmla="*/ 4954205 h 6858000"/>
              <a:gd name="connsiteX1188" fmla="*/ 12023031 w 12188651"/>
              <a:gd name="connsiteY1188" fmla="*/ 5032947 h 6858000"/>
              <a:gd name="connsiteX1189" fmla="*/ 12023031 w 12188651"/>
              <a:gd name="connsiteY1189" fmla="*/ 5111559 h 6858000"/>
              <a:gd name="connsiteX1190" fmla="*/ 12188651 w 12188651"/>
              <a:gd name="connsiteY1190" fmla="*/ 5277572 h 6858000"/>
              <a:gd name="connsiteX1191" fmla="*/ 12188651 w 12188651"/>
              <a:gd name="connsiteY1191" fmla="*/ 5462331 h 6858000"/>
              <a:gd name="connsiteX1192" fmla="*/ 11910696 w 12188651"/>
              <a:gd name="connsiteY1192" fmla="*/ 5301472 h 6858000"/>
              <a:gd name="connsiteX1193" fmla="*/ 11910696 w 12188651"/>
              <a:gd name="connsiteY1193" fmla="*/ 4915290 h 6858000"/>
              <a:gd name="connsiteX1194" fmla="*/ 2668513 w 12188651"/>
              <a:gd name="connsiteY1194" fmla="*/ 4727338 h 6858000"/>
              <a:gd name="connsiteX1195" fmla="*/ 2993946 w 12188651"/>
              <a:gd name="connsiteY1195" fmla="*/ 4915678 h 6858000"/>
              <a:gd name="connsiteX1196" fmla="*/ 2993946 w 12188651"/>
              <a:gd name="connsiteY1196" fmla="*/ 5292504 h 6858000"/>
              <a:gd name="connsiteX1197" fmla="*/ 2668513 w 12188651"/>
              <a:gd name="connsiteY1197" fmla="*/ 5104164 h 6858000"/>
              <a:gd name="connsiteX1198" fmla="*/ 614537 w 12188651"/>
              <a:gd name="connsiteY1198" fmla="*/ 4727338 h 6858000"/>
              <a:gd name="connsiteX1199" fmla="*/ 939970 w 12188651"/>
              <a:gd name="connsiteY1199" fmla="*/ 4915678 h 6858000"/>
              <a:gd name="connsiteX1200" fmla="*/ 939970 w 12188651"/>
              <a:gd name="connsiteY1200" fmla="*/ 5292505 h 6858000"/>
              <a:gd name="connsiteX1201" fmla="*/ 614537 w 12188651"/>
              <a:gd name="connsiteY1201" fmla="*/ 5104164 h 6858000"/>
              <a:gd name="connsiteX1202" fmla="*/ 2652140 w 12188651"/>
              <a:gd name="connsiteY1202" fmla="*/ 4727337 h 6858000"/>
              <a:gd name="connsiteX1203" fmla="*/ 2652140 w 12188651"/>
              <a:gd name="connsiteY1203" fmla="*/ 5104165 h 6858000"/>
              <a:gd name="connsiteX1204" fmla="*/ 2326580 w 12188651"/>
              <a:gd name="connsiteY1204" fmla="*/ 5292504 h 6858000"/>
              <a:gd name="connsiteX1205" fmla="*/ 2326580 w 12188651"/>
              <a:gd name="connsiteY1205" fmla="*/ 4915677 h 6858000"/>
              <a:gd name="connsiteX1206" fmla="*/ 598165 w 12188651"/>
              <a:gd name="connsiteY1206" fmla="*/ 4727336 h 6858000"/>
              <a:gd name="connsiteX1207" fmla="*/ 598165 w 12188651"/>
              <a:gd name="connsiteY1207" fmla="*/ 5104165 h 6858000"/>
              <a:gd name="connsiteX1208" fmla="*/ 272602 w 12188651"/>
              <a:gd name="connsiteY1208" fmla="*/ 5292505 h 6858000"/>
              <a:gd name="connsiteX1209" fmla="*/ 272602 w 12188651"/>
              <a:gd name="connsiteY1209" fmla="*/ 4915677 h 6858000"/>
              <a:gd name="connsiteX1210" fmla="*/ 4722303 w 12188651"/>
              <a:gd name="connsiteY1210" fmla="*/ 4727330 h 6858000"/>
              <a:gd name="connsiteX1211" fmla="*/ 5047768 w 12188651"/>
              <a:gd name="connsiteY1211" fmla="*/ 4915678 h 6858000"/>
              <a:gd name="connsiteX1212" fmla="*/ 5047768 w 12188651"/>
              <a:gd name="connsiteY1212" fmla="*/ 5292507 h 6858000"/>
              <a:gd name="connsiteX1213" fmla="*/ 4722303 w 12188651"/>
              <a:gd name="connsiteY1213" fmla="*/ 5104164 h 6858000"/>
              <a:gd name="connsiteX1214" fmla="*/ 4705942 w 12188651"/>
              <a:gd name="connsiteY1214" fmla="*/ 4727326 h 6858000"/>
              <a:gd name="connsiteX1215" fmla="*/ 4705942 w 12188651"/>
              <a:gd name="connsiteY1215" fmla="*/ 5104165 h 6858000"/>
              <a:gd name="connsiteX1216" fmla="*/ 4598874 w 12188651"/>
              <a:gd name="connsiteY1216" fmla="*/ 5166110 h 6858000"/>
              <a:gd name="connsiteX1217" fmla="*/ 4380369 w 12188651"/>
              <a:gd name="connsiteY1217" fmla="*/ 5292515 h 6858000"/>
              <a:gd name="connsiteX1218" fmla="*/ 4380369 w 12188651"/>
              <a:gd name="connsiteY1218" fmla="*/ 4915677 h 6858000"/>
              <a:gd name="connsiteX1219" fmla="*/ 10883981 w 12188651"/>
              <a:gd name="connsiteY1219" fmla="*/ 4727322 h 6858000"/>
              <a:gd name="connsiteX1220" fmla="*/ 11209441 w 12188651"/>
              <a:gd name="connsiteY1220" fmla="*/ 4915678 h 6858000"/>
              <a:gd name="connsiteX1221" fmla="*/ 11209441 w 12188651"/>
              <a:gd name="connsiteY1221" fmla="*/ 5292520 h 6858000"/>
              <a:gd name="connsiteX1222" fmla="*/ 10883981 w 12188651"/>
              <a:gd name="connsiteY1222" fmla="*/ 5104164 h 6858000"/>
              <a:gd name="connsiteX1223" fmla="*/ 10867636 w 12188651"/>
              <a:gd name="connsiteY1223" fmla="*/ 4727322 h 6858000"/>
              <a:gd name="connsiteX1224" fmla="*/ 10867636 w 12188651"/>
              <a:gd name="connsiteY1224" fmla="*/ 5104164 h 6858000"/>
              <a:gd name="connsiteX1225" fmla="*/ 10542045 w 12188651"/>
              <a:gd name="connsiteY1225" fmla="*/ 5292521 h 6858000"/>
              <a:gd name="connsiteX1226" fmla="*/ 10542045 w 12188651"/>
              <a:gd name="connsiteY1226" fmla="*/ 4915678 h 6858000"/>
              <a:gd name="connsiteX1227" fmla="*/ 8830033 w 12188651"/>
              <a:gd name="connsiteY1227" fmla="*/ 4727322 h 6858000"/>
              <a:gd name="connsiteX1228" fmla="*/ 9155493 w 12188651"/>
              <a:gd name="connsiteY1228" fmla="*/ 4915678 h 6858000"/>
              <a:gd name="connsiteX1229" fmla="*/ 9155493 w 12188651"/>
              <a:gd name="connsiteY1229" fmla="*/ 5292520 h 6858000"/>
              <a:gd name="connsiteX1230" fmla="*/ 8830033 w 12188651"/>
              <a:gd name="connsiteY1230" fmla="*/ 5104164 h 6858000"/>
              <a:gd name="connsiteX1231" fmla="*/ 8813688 w 12188651"/>
              <a:gd name="connsiteY1231" fmla="*/ 4727322 h 6858000"/>
              <a:gd name="connsiteX1232" fmla="*/ 8813688 w 12188651"/>
              <a:gd name="connsiteY1232" fmla="*/ 5104164 h 6858000"/>
              <a:gd name="connsiteX1233" fmla="*/ 8488098 w 12188651"/>
              <a:gd name="connsiteY1233" fmla="*/ 5292520 h 6858000"/>
              <a:gd name="connsiteX1234" fmla="*/ 8488098 w 12188651"/>
              <a:gd name="connsiteY1234" fmla="*/ 4915678 h 6858000"/>
              <a:gd name="connsiteX1235" fmla="*/ 6776215 w 12188651"/>
              <a:gd name="connsiteY1235" fmla="*/ 4727322 h 6858000"/>
              <a:gd name="connsiteX1236" fmla="*/ 7101677 w 12188651"/>
              <a:gd name="connsiteY1236" fmla="*/ 4915678 h 6858000"/>
              <a:gd name="connsiteX1237" fmla="*/ 7101677 w 12188651"/>
              <a:gd name="connsiteY1237" fmla="*/ 5292521 h 6858000"/>
              <a:gd name="connsiteX1238" fmla="*/ 6776215 w 12188651"/>
              <a:gd name="connsiteY1238" fmla="*/ 5104164 h 6858000"/>
              <a:gd name="connsiteX1239" fmla="*/ 6759871 w 12188651"/>
              <a:gd name="connsiteY1239" fmla="*/ 4727322 h 6858000"/>
              <a:gd name="connsiteX1240" fmla="*/ 6759871 w 12188651"/>
              <a:gd name="connsiteY1240" fmla="*/ 5104164 h 6858000"/>
              <a:gd name="connsiteX1241" fmla="*/ 6434280 w 12188651"/>
              <a:gd name="connsiteY1241" fmla="*/ 5292521 h 6858000"/>
              <a:gd name="connsiteX1242" fmla="*/ 6434280 w 12188651"/>
              <a:gd name="connsiteY1242" fmla="*/ 4915678 h 6858000"/>
              <a:gd name="connsiteX1243" fmla="*/ 3344069 w 12188651"/>
              <a:gd name="connsiteY1243" fmla="*/ 4722530 h 6858000"/>
              <a:gd name="connsiteX1244" fmla="*/ 3677814 w 12188651"/>
              <a:gd name="connsiteY1244" fmla="*/ 4915678 h 6858000"/>
              <a:gd name="connsiteX1245" fmla="*/ 3677814 w 12188651"/>
              <a:gd name="connsiteY1245" fmla="*/ 5301992 h 6858000"/>
              <a:gd name="connsiteX1246" fmla="*/ 3344201 w 12188651"/>
              <a:gd name="connsiteY1246" fmla="*/ 5495140 h 6858000"/>
              <a:gd name="connsiteX1247" fmla="*/ 3010451 w 12188651"/>
              <a:gd name="connsiteY1247" fmla="*/ 5301991 h 6858000"/>
              <a:gd name="connsiteX1248" fmla="*/ 3010451 w 12188651"/>
              <a:gd name="connsiteY1248" fmla="*/ 4915677 h 6858000"/>
              <a:gd name="connsiteX1249" fmla="*/ 1290091 w 12188651"/>
              <a:gd name="connsiteY1249" fmla="*/ 4722529 h 6858000"/>
              <a:gd name="connsiteX1250" fmla="*/ 1623841 w 12188651"/>
              <a:gd name="connsiteY1250" fmla="*/ 4915678 h 6858000"/>
              <a:gd name="connsiteX1251" fmla="*/ 1623841 w 12188651"/>
              <a:gd name="connsiteY1251" fmla="*/ 5301992 h 6858000"/>
              <a:gd name="connsiteX1252" fmla="*/ 1290221 w 12188651"/>
              <a:gd name="connsiteY1252" fmla="*/ 5495140 h 6858000"/>
              <a:gd name="connsiteX1253" fmla="*/ 956471 w 12188651"/>
              <a:gd name="connsiteY1253" fmla="*/ 5301991 h 6858000"/>
              <a:gd name="connsiteX1254" fmla="*/ 956471 w 12188651"/>
              <a:gd name="connsiteY1254" fmla="*/ 4915677 h 6858000"/>
              <a:gd name="connsiteX1255" fmla="*/ 5397866 w 12188651"/>
              <a:gd name="connsiteY1255" fmla="*/ 4722526 h 6858000"/>
              <a:gd name="connsiteX1256" fmla="*/ 5731614 w 12188651"/>
              <a:gd name="connsiteY1256" fmla="*/ 4915678 h 6858000"/>
              <a:gd name="connsiteX1257" fmla="*/ 5731614 w 12188651"/>
              <a:gd name="connsiteY1257" fmla="*/ 5301991 h 6858000"/>
              <a:gd name="connsiteX1258" fmla="*/ 5571733 w 12188651"/>
              <a:gd name="connsiteY1258" fmla="*/ 5394557 h 6858000"/>
              <a:gd name="connsiteX1259" fmla="*/ 5398006 w 12188651"/>
              <a:gd name="connsiteY1259" fmla="*/ 5495143 h 6858000"/>
              <a:gd name="connsiteX1260" fmla="*/ 5064265 w 12188651"/>
              <a:gd name="connsiteY1260" fmla="*/ 5301991 h 6858000"/>
              <a:gd name="connsiteX1261" fmla="*/ 5064265 w 12188651"/>
              <a:gd name="connsiteY1261" fmla="*/ 4915677 h 6858000"/>
              <a:gd name="connsiteX1262" fmla="*/ 11559549 w 12188651"/>
              <a:gd name="connsiteY1262" fmla="*/ 4722522 h 6858000"/>
              <a:gd name="connsiteX1263" fmla="*/ 11893312 w 12188651"/>
              <a:gd name="connsiteY1263" fmla="*/ 4915678 h 6858000"/>
              <a:gd name="connsiteX1264" fmla="*/ 11893312 w 12188651"/>
              <a:gd name="connsiteY1264" fmla="*/ 5301991 h 6858000"/>
              <a:gd name="connsiteX1265" fmla="*/ 11559680 w 12188651"/>
              <a:gd name="connsiteY1265" fmla="*/ 5495147 h 6858000"/>
              <a:gd name="connsiteX1266" fmla="*/ 11225916 w 12188651"/>
              <a:gd name="connsiteY1266" fmla="*/ 5301991 h 6858000"/>
              <a:gd name="connsiteX1267" fmla="*/ 11225916 w 12188651"/>
              <a:gd name="connsiteY1267" fmla="*/ 4915678 h 6858000"/>
              <a:gd name="connsiteX1268" fmla="*/ 9505601 w 12188651"/>
              <a:gd name="connsiteY1268" fmla="*/ 4722522 h 6858000"/>
              <a:gd name="connsiteX1269" fmla="*/ 9839364 w 12188651"/>
              <a:gd name="connsiteY1269" fmla="*/ 4915678 h 6858000"/>
              <a:gd name="connsiteX1270" fmla="*/ 9839364 w 12188651"/>
              <a:gd name="connsiteY1270" fmla="*/ 5301991 h 6858000"/>
              <a:gd name="connsiteX1271" fmla="*/ 9505731 w 12188651"/>
              <a:gd name="connsiteY1271" fmla="*/ 5495147 h 6858000"/>
              <a:gd name="connsiteX1272" fmla="*/ 9171969 w 12188651"/>
              <a:gd name="connsiteY1272" fmla="*/ 5301991 h 6858000"/>
              <a:gd name="connsiteX1273" fmla="*/ 9171969 w 12188651"/>
              <a:gd name="connsiteY1273" fmla="*/ 4915678 h 6858000"/>
              <a:gd name="connsiteX1274" fmla="*/ 7451785 w 12188651"/>
              <a:gd name="connsiteY1274" fmla="*/ 4722522 h 6858000"/>
              <a:gd name="connsiteX1275" fmla="*/ 7785548 w 12188651"/>
              <a:gd name="connsiteY1275" fmla="*/ 4915678 h 6858000"/>
              <a:gd name="connsiteX1276" fmla="*/ 7785548 w 12188651"/>
              <a:gd name="connsiteY1276" fmla="*/ 5301991 h 6858000"/>
              <a:gd name="connsiteX1277" fmla="*/ 7451915 w 12188651"/>
              <a:gd name="connsiteY1277" fmla="*/ 5495147 h 6858000"/>
              <a:gd name="connsiteX1278" fmla="*/ 7118150 w 12188651"/>
              <a:gd name="connsiteY1278" fmla="*/ 5301991 h 6858000"/>
              <a:gd name="connsiteX1279" fmla="*/ 7118150 w 12188651"/>
              <a:gd name="connsiteY1279" fmla="*/ 4915678 h 6858000"/>
              <a:gd name="connsiteX1280" fmla="*/ 4029112 w 12188651"/>
              <a:gd name="connsiteY1280" fmla="*/ 4722135 h 6858000"/>
              <a:gd name="connsiteX1281" fmla="*/ 4362838 w 12188651"/>
              <a:gd name="connsiteY1281" fmla="*/ 4915290 h 6858000"/>
              <a:gd name="connsiteX1282" fmla="*/ 4362838 w 12188651"/>
              <a:gd name="connsiteY1282" fmla="*/ 5301473 h 6858000"/>
              <a:gd name="connsiteX1283" fmla="*/ 4337499 w 12188651"/>
              <a:gd name="connsiteY1283" fmla="*/ 5316139 h 6858000"/>
              <a:gd name="connsiteX1284" fmla="*/ 4029115 w 12188651"/>
              <a:gd name="connsiteY1284" fmla="*/ 5494627 h 6858000"/>
              <a:gd name="connsiteX1285" fmla="*/ 3695358 w 12188651"/>
              <a:gd name="connsiteY1285" fmla="*/ 5301472 h 6858000"/>
              <a:gd name="connsiteX1286" fmla="*/ 3695358 w 12188651"/>
              <a:gd name="connsiteY1286" fmla="*/ 4915289 h 6858000"/>
              <a:gd name="connsiteX1287" fmla="*/ 1975140 w 12188651"/>
              <a:gd name="connsiteY1287" fmla="*/ 4722135 h 6858000"/>
              <a:gd name="connsiteX1288" fmla="*/ 2308909 w 12188651"/>
              <a:gd name="connsiteY1288" fmla="*/ 4915290 h 6858000"/>
              <a:gd name="connsiteX1289" fmla="*/ 2308909 w 12188651"/>
              <a:gd name="connsiteY1289" fmla="*/ 5301473 h 6858000"/>
              <a:gd name="connsiteX1290" fmla="*/ 1975142 w 12188651"/>
              <a:gd name="connsiteY1290" fmla="*/ 5494627 h 6858000"/>
              <a:gd name="connsiteX1291" fmla="*/ 1641381 w 12188651"/>
              <a:gd name="connsiteY1291" fmla="*/ 5301472 h 6858000"/>
              <a:gd name="connsiteX1292" fmla="*/ 1641381 w 12188651"/>
              <a:gd name="connsiteY1292" fmla="*/ 4915289 h 6858000"/>
              <a:gd name="connsiteX1293" fmla="*/ 10190640 w 12188651"/>
              <a:gd name="connsiteY1293" fmla="*/ 4722133 h 6858000"/>
              <a:gd name="connsiteX1294" fmla="*/ 10524404 w 12188651"/>
              <a:gd name="connsiteY1294" fmla="*/ 4915290 h 6858000"/>
              <a:gd name="connsiteX1295" fmla="*/ 10524404 w 12188651"/>
              <a:gd name="connsiteY1295" fmla="*/ 5301472 h 6858000"/>
              <a:gd name="connsiteX1296" fmla="*/ 10190640 w 12188651"/>
              <a:gd name="connsiteY1296" fmla="*/ 5494629 h 6858000"/>
              <a:gd name="connsiteX1297" fmla="*/ 9856876 w 12188651"/>
              <a:gd name="connsiteY1297" fmla="*/ 5301472 h 6858000"/>
              <a:gd name="connsiteX1298" fmla="*/ 9856876 w 12188651"/>
              <a:gd name="connsiteY1298" fmla="*/ 4915290 h 6858000"/>
              <a:gd name="connsiteX1299" fmla="*/ 8136693 w 12188651"/>
              <a:gd name="connsiteY1299" fmla="*/ 4722133 h 6858000"/>
              <a:gd name="connsiteX1300" fmla="*/ 8470456 w 12188651"/>
              <a:gd name="connsiteY1300" fmla="*/ 4915290 h 6858000"/>
              <a:gd name="connsiteX1301" fmla="*/ 8470456 w 12188651"/>
              <a:gd name="connsiteY1301" fmla="*/ 5301472 h 6858000"/>
              <a:gd name="connsiteX1302" fmla="*/ 8136693 w 12188651"/>
              <a:gd name="connsiteY1302" fmla="*/ 5494629 h 6858000"/>
              <a:gd name="connsiteX1303" fmla="*/ 7802930 w 12188651"/>
              <a:gd name="connsiteY1303" fmla="*/ 5301472 h 6858000"/>
              <a:gd name="connsiteX1304" fmla="*/ 7802930 w 12188651"/>
              <a:gd name="connsiteY1304" fmla="*/ 4915290 h 6858000"/>
              <a:gd name="connsiteX1305" fmla="*/ 6082876 w 12188651"/>
              <a:gd name="connsiteY1305" fmla="*/ 4722133 h 6858000"/>
              <a:gd name="connsiteX1306" fmla="*/ 6416638 w 12188651"/>
              <a:gd name="connsiteY1306" fmla="*/ 4915290 h 6858000"/>
              <a:gd name="connsiteX1307" fmla="*/ 6416638 w 12188651"/>
              <a:gd name="connsiteY1307" fmla="*/ 5301472 h 6858000"/>
              <a:gd name="connsiteX1308" fmla="*/ 6082876 w 12188651"/>
              <a:gd name="connsiteY1308" fmla="*/ 5494629 h 6858000"/>
              <a:gd name="connsiteX1309" fmla="*/ 5749136 w 12188651"/>
              <a:gd name="connsiteY1309" fmla="*/ 5301472 h 6858000"/>
              <a:gd name="connsiteX1310" fmla="*/ 5749136 w 12188651"/>
              <a:gd name="connsiteY1310" fmla="*/ 4915289 h 6858000"/>
              <a:gd name="connsiteX1311" fmla="*/ 5849860 w 12188651"/>
              <a:gd name="connsiteY1311" fmla="*/ 4856993 h 6858000"/>
              <a:gd name="connsiteX1312" fmla="*/ 3687311 w 12188651"/>
              <a:gd name="connsiteY1312" fmla="*/ 4524307 h 6858000"/>
              <a:gd name="connsiteX1313" fmla="*/ 4012766 w 12188651"/>
              <a:gd name="connsiteY1313" fmla="*/ 4712663 h 6858000"/>
              <a:gd name="connsiteX1314" fmla="*/ 3687184 w 12188651"/>
              <a:gd name="connsiteY1314" fmla="*/ 4901018 h 6858000"/>
              <a:gd name="connsiteX1315" fmla="*/ 3361728 w 12188651"/>
              <a:gd name="connsiteY1315" fmla="*/ 4712662 h 6858000"/>
              <a:gd name="connsiteX1316" fmla="*/ 1633335 w 12188651"/>
              <a:gd name="connsiteY1316" fmla="*/ 4524307 h 6858000"/>
              <a:gd name="connsiteX1317" fmla="*/ 1958793 w 12188651"/>
              <a:gd name="connsiteY1317" fmla="*/ 4712663 h 6858000"/>
              <a:gd name="connsiteX1318" fmla="*/ 1633206 w 12188651"/>
              <a:gd name="connsiteY1318" fmla="*/ 4901018 h 6858000"/>
              <a:gd name="connsiteX1319" fmla="*/ 1307748 w 12188651"/>
              <a:gd name="connsiteY1319" fmla="*/ 4712662 h 6858000"/>
              <a:gd name="connsiteX1320" fmla="*/ 11902654 w 12188651"/>
              <a:gd name="connsiteY1320" fmla="*/ 4524306 h 6858000"/>
              <a:gd name="connsiteX1321" fmla="*/ 12188651 w 12188651"/>
              <a:gd name="connsiteY1321" fmla="*/ 4689824 h 6858000"/>
              <a:gd name="connsiteX1322" fmla="*/ 12188651 w 12188651"/>
              <a:gd name="connsiteY1322" fmla="*/ 4735492 h 6858000"/>
              <a:gd name="connsiteX1323" fmla="*/ 11902524 w 12188651"/>
              <a:gd name="connsiteY1323" fmla="*/ 4901019 h 6858000"/>
              <a:gd name="connsiteX1324" fmla="*/ 11577062 w 12188651"/>
              <a:gd name="connsiteY1324" fmla="*/ 4712663 h 6858000"/>
              <a:gd name="connsiteX1325" fmla="*/ 9848833 w 12188651"/>
              <a:gd name="connsiteY1325" fmla="*/ 4524306 h 6858000"/>
              <a:gd name="connsiteX1326" fmla="*/ 10174295 w 12188651"/>
              <a:gd name="connsiteY1326" fmla="*/ 4712663 h 6858000"/>
              <a:gd name="connsiteX1327" fmla="*/ 9848703 w 12188651"/>
              <a:gd name="connsiteY1327" fmla="*/ 4901019 h 6858000"/>
              <a:gd name="connsiteX1328" fmla="*/ 9523243 w 12188651"/>
              <a:gd name="connsiteY1328" fmla="*/ 4712663 h 6858000"/>
              <a:gd name="connsiteX1329" fmla="*/ 7794888 w 12188651"/>
              <a:gd name="connsiteY1329" fmla="*/ 4524306 h 6858000"/>
              <a:gd name="connsiteX1330" fmla="*/ 8120347 w 12188651"/>
              <a:gd name="connsiteY1330" fmla="*/ 4712663 h 6858000"/>
              <a:gd name="connsiteX1331" fmla="*/ 7794758 w 12188651"/>
              <a:gd name="connsiteY1331" fmla="*/ 4901019 h 6858000"/>
              <a:gd name="connsiteX1332" fmla="*/ 7469298 w 12188651"/>
              <a:gd name="connsiteY1332" fmla="*/ 4712663 h 6858000"/>
              <a:gd name="connsiteX1333" fmla="*/ 5741090 w 12188651"/>
              <a:gd name="connsiteY1333" fmla="*/ 4524306 h 6858000"/>
              <a:gd name="connsiteX1334" fmla="*/ 6066531 w 12188651"/>
              <a:gd name="connsiteY1334" fmla="*/ 4712663 h 6858000"/>
              <a:gd name="connsiteX1335" fmla="*/ 5740963 w 12188651"/>
              <a:gd name="connsiteY1335" fmla="*/ 4901019 h 6858000"/>
              <a:gd name="connsiteX1336" fmla="*/ 5415520 w 12188651"/>
              <a:gd name="connsiteY1336" fmla="*/ 4712662 h 6858000"/>
              <a:gd name="connsiteX1337" fmla="*/ 2898361 w 12188651"/>
              <a:gd name="connsiteY1337" fmla="*/ 4360472 h 6858000"/>
              <a:gd name="connsiteX1338" fmla="*/ 2926109 w 12188651"/>
              <a:gd name="connsiteY1338" fmla="*/ 4372012 h 6858000"/>
              <a:gd name="connsiteX1339" fmla="*/ 2990709 w 12188651"/>
              <a:gd name="connsiteY1339" fmla="*/ 4436743 h 6858000"/>
              <a:gd name="connsiteX1340" fmla="*/ 3002253 w 12188651"/>
              <a:gd name="connsiteY1340" fmla="*/ 4448418 h 6858000"/>
              <a:gd name="connsiteX1341" fmla="*/ 3002263 w 12188651"/>
              <a:gd name="connsiteY1341" fmla="*/ 4448406 h 6858000"/>
              <a:gd name="connsiteX1342" fmla="*/ 3002276 w 12188651"/>
              <a:gd name="connsiteY1342" fmla="*/ 4448418 h 6858000"/>
              <a:gd name="connsiteX1343" fmla="*/ 3013818 w 12188651"/>
              <a:gd name="connsiteY1343" fmla="*/ 4436743 h 6858000"/>
              <a:gd name="connsiteX1344" fmla="*/ 3078289 w 12188651"/>
              <a:gd name="connsiteY1344" fmla="*/ 4372012 h 6858000"/>
              <a:gd name="connsiteX1345" fmla="*/ 3106038 w 12188651"/>
              <a:gd name="connsiteY1345" fmla="*/ 4360472 h 6858000"/>
              <a:gd name="connsiteX1346" fmla="*/ 3133656 w 12188651"/>
              <a:gd name="connsiteY1346" fmla="*/ 4372012 h 6858000"/>
              <a:gd name="connsiteX1347" fmla="*/ 3212135 w 12188651"/>
              <a:gd name="connsiteY1347" fmla="*/ 4450623 h 6858000"/>
              <a:gd name="connsiteX1348" fmla="*/ 3223679 w 12188651"/>
              <a:gd name="connsiteY1348" fmla="*/ 4478384 h 6858000"/>
              <a:gd name="connsiteX1349" fmla="*/ 3212265 w 12188651"/>
              <a:gd name="connsiteY1349" fmla="*/ 4506145 h 6858000"/>
              <a:gd name="connsiteX1350" fmla="*/ 3002263 w 12188651"/>
              <a:gd name="connsiteY1350" fmla="*/ 4716542 h 6858000"/>
              <a:gd name="connsiteX1351" fmla="*/ 2792265 w 12188651"/>
              <a:gd name="connsiteY1351" fmla="*/ 4506145 h 6858000"/>
              <a:gd name="connsiteX1352" fmla="*/ 2792265 w 12188651"/>
              <a:gd name="connsiteY1352" fmla="*/ 4450753 h 6858000"/>
              <a:gd name="connsiteX1353" fmla="*/ 2870741 w 12188651"/>
              <a:gd name="connsiteY1353" fmla="*/ 4372012 h 6858000"/>
              <a:gd name="connsiteX1354" fmla="*/ 844383 w 12188651"/>
              <a:gd name="connsiteY1354" fmla="*/ 4360472 h 6858000"/>
              <a:gd name="connsiteX1355" fmla="*/ 872131 w 12188651"/>
              <a:gd name="connsiteY1355" fmla="*/ 4372012 h 6858000"/>
              <a:gd name="connsiteX1356" fmla="*/ 936730 w 12188651"/>
              <a:gd name="connsiteY1356" fmla="*/ 4436743 h 6858000"/>
              <a:gd name="connsiteX1357" fmla="*/ 948275 w 12188651"/>
              <a:gd name="connsiteY1357" fmla="*/ 4448418 h 6858000"/>
              <a:gd name="connsiteX1358" fmla="*/ 948287 w 12188651"/>
              <a:gd name="connsiteY1358" fmla="*/ 4448407 h 6858000"/>
              <a:gd name="connsiteX1359" fmla="*/ 948298 w 12188651"/>
              <a:gd name="connsiteY1359" fmla="*/ 4448418 h 6858000"/>
              <a:gd name="connsiteX1360" fmla="*/ 959843 w 12188651"/>
              <a:gd name="connsiteY1360" fmla="*/ 4436743 h 6858000"/>
              <a:gd name="connsiteX1361" fmla="*/ 1024312 w 12188651"/>
              <a:gd name="connsiteY1361" fmla="*/ 4372012 h 6858000"/>
              <a:gd name="connsiteX1362" fmla="*/ 1052060 w 12188651"/>
              <a:gd name="connsiteY1362" fmla="*/ 4360472 h 6858000"/>
              <a:gd name="connsiteX1363" fmla="*/ 1079679 w 12188651"/>
              <a:gd name="connsiteY1363" fmla="*/ 4372012 h 6858000"/>
              <a:gd name="connsiteX1364" fmla="*/ 1158157 w 12188651"/>
              <a:gd name="connsiteY1364" fmla="*/ 4450623 h 6858000"/>
              <a:gd name="connsiteX1365" fmla="*/ 1169703 w 12188651"/>
              <a:gd name="connsiteY1365" fmla="*/ 4478384 h 6858000"/>
              <a:gd name="connsiteX1366" fmla="*/ 1158288 w 12188651"/>
              <a:gd name="connsiteY1366" fmla="*/ 4506145 h 6858000"/>
              <a:gd name="connsiteX1367" fmla="*/ 948287 w 12188651"/>
              <a:gd name="connsiteY1367" fmla="*/ 4716543 h 6858000"/>
              <a:gd name="connsiteX1368" fmla="*/ 738286 w 12188651"/>
              <a:gd name="connsiteY1368" fmla="*/ 4506145 h 6858000"/>
              <a:gd name="connsiteX1369" fmla="*/ 738286 w 12188651"/>
              <a:gd name="connsiteY1369" fmla="*/ 4450753 h 6858000"/>
              <a:gd name="connsiteX1370" fmla="*/ 816763 w 12188651"/>
              <a:gd name="connsiteY1370" fmla="*/ 4372012 h 6858000"/>
              <a:gd name="connsiteX1371" fmla="*/ 4952155 w 12188651"/>
              <a:gd name="connsiteY1371" fmla="*/ 4360469 h 6858000"/>
              <a:gd name="connsiteX1372" fmla="*/ 4979914 w 12188651"/>
              <a:gd name="connsiteY1372" fmla="*/ 4372012 h 6858000"/>
              <a:gd name="connsiteX1373" fmla="*/ 5044521 w 12188651"/>
              <a:gd name="connsiteY1373" fmla="*/ 4436743 h 6858000"/>
              <a:gd name="connsiteX1374" fmla="*/ 5056064 w 12188651"/>
              <a:gd name="connsiteY1374" fmla="*/ 4448418 h 6858000"/>
              <a:gd name="connsiteX1375" fmla="*/ 5056083 w 12188651"/>
              <a:gd name="connsiteY1375" fmla="*/ 4448408 h 6858000"/>
              <a:gd name="connsiteX1376" fmla="*/ 5056087 w 12188651"/>
              <a:gd name="connsiteY1376" fmla="*/ 4448418 h 6858000"/>
              <a:gd name="connsiteX1377" fmla="*/ 5067642 w 12188651"/>
              <a:gd name="connsiteY1377" fmla="*/ 4436743 h 6858000"/>
              <a:gd name="connsiteX1378" fmla="*/ 5132091 w 12188651"/>
              <a:gd name="connsiteY1378" fmla="*/ 4372012 h 6858000"/>
              <a:gd name="connsiteX1379" fmla="*/ 5159834 w 12188651"/>
              <a:gd name="connsiteY1379" fmla="*/ 4360469 h 6858000"/>
              <a:gd name="connsiteX1380" fmla="*/ 5187464 w 12188651"/>
              <a:gd name="connsiteY1380" fmla="*/ 4372012 h 6858000"/>
              <a:gd name="connsiteX1381" fmla="*/ 5265932 w 12188651"/>
              <a:gd name="connsiteY1381" fmla="*/ 4450623 h 6858000"/>
              <a:gd name="connsiteX1382" fmla="*/ 5277479 w 12188651"/>
              <a:gd name="connsiteY1382" fmla="*/ 4478384 h 6858000"/>
              <a:gd name="connsiteX1383" fmla="*/ 5266071 w 12188651"/>
              <a:gd name="connsiteY1383" fmla="*/ 4506145 h 6858000"/>
              <a:gd name="connsiteX1384" fmla="*/ 5056083 w 12188651"/>
              <a:gd name="connsiteY1384" fmla="*/ 4716544 h 6858000"/>
              <a:gd name="connsiteX1385" fmla="*/ 4846044 w 12188651"/>
              <a:gd name="connsiteY1385" fmla="*/ 4506145 h 6858000"/>
              <a:gd name="connsiteX1386" fmla="*/ 4846044 w 12188651"/>
              <a:gd name="connsiteY1386" fmla="*/ 4450753 h 6858000"/>
              <a:gd name="connsiteX1387" fmla="*/ 4924518 w 12188651"/>
              <a:gd name="connsiteY1387" fmla="*/ 4372012 h 6858000"/>
              <a:gd name="connsiteX1388" fmla="*/ 11113840 w 12188651"/>
              <a:gd name="connsiteY1388" fmla="*/ 4360467 h 6858000"/>
              <a:gd name="connsiteX1389" fmla="*/ 11141600 w 12188651"/>
              <a:gd name="connsiteY1389" fmla="*/ 4372012 h 6858000"/>
              <a:gd name="connsiteX1390" fmla="*/ 11206199 w 12188651"/>
              <a:gd name="connsiteY1390" fmla="*/ 4436743 h 6858000"/>
              <a:gd name="connsiteX1391" fmla="*/ 11217744 w 12188651"/>
              <a:gd name="connsiteY1391" fmla="*/ 4448418 h 6858000"/>
              <a:gd name="connsiteX1392" fmla="*/ 11229289 w 12188651"/>
              <a:gd name="connsiteY1392" fmla="*/ 4436743 h 6858000"/>
              <a:gd name="connsiteX1393" fmla="*/ 11293758 w 12188651"/>
              <a:gd name="connsiteY1393" fmla="*/ 4372012 h 6858000"/>
              <a:gd name="connsiteX1394" fmla="*/ 11321517 w 12188651"/>
              <a:gd name="connsiteY1394" fmla="*/ 4360467 h 6858000"/>
              <a:gd name="connsiteX1395" fmla="*/ 11349147 w 12188651"/>
              <a:gd name="connsiteY1395" fmla="*/ 4372012 h 6858000"/>
              <a:gd name="connsiteX1396" fmla="*/ 11427627 w 12188651"/>
              <a:gd name="connsiteY1396" fmla="*/ 4450623 h 6858000"/>
              <a:gd name="connsiteX1397" fmla="*/ 11439172 w 12188651"/>
              <a:gd name="connsiteY1397" fmla="*/ 4478384 h 6858000"/>
              <a:gd name="connsiteX1398" fmla="*/ 11427757 w 12188651"/>
              <a:gd name="connsiteY1398" fmla="*/ 4506145 h 6858000"/>
              <a:gd name="connsiteX1399" fmla="*/ 11217744 w 12188651"/>
              <a:gd name="connsiteY1399" fmla="*/ 4716554 h 6858000"/>
              <a:gd name="connsiteX1400" fmla="*/ 11007731 w 12188651"/>
              <a:gd name="connsiteY1400" fmla="*/ 4506145 h 6858000"/>
              <a:gd name="connsiteX1401" fmla="*/ 11007731 w 12188651"/>
              <a:gd name="connsiteY1401" fmla="*/ 4450753 h 6858000"/>
              <a:gd name="connsiteX1402" fmla="*/ 11086210 w 12188651"/>
              <a:gd name="connsiteY1402" fmla="*/ 4372012 h 6858000"/>
              <a:gd name="connsiteX1403" fmla="*/ 11113840 w 12188651"/>
              <a:gd name="connsiteY1403" fmla="*/ 4360467 h 6858000"/>
              <a:gd name="connsiteX1404" fmla="*/ 9059893 w 12188651"/>
              <a:gd name="connsiteY1404" fmla="*/ 4360467 h 6858000"/>
              <a:gd name="connsiteX1405" fmla="*/ 9087652 w 12188651"/>
              <a:gd name="connsiteY1405" fmla="*/ 4372012 h 6858000"/>
              <a:gd name="connsiteX1406" fmla="*/ 9152251 w 12188651"/>
              <a:gd name="connsiteY1406" fmla="*/ 4436743 h 6858000"/>
              <a:gd name="connsiteX1407" fmla="*/ 9163796 w 12188651"/>
              <a:gd name="connsiteY1407" fmla="*/ 4448418 h 6858000"/>
              <a:gd name="connsiteX1408" fmla="*/ 9163797 w 12188651"/>
              <a:gd name="connsiteY1408" fmla="*/ 4448418 h 6858000"/>
              <a:gd name="connsiteX1409" fmla="*/ 9175342 w 12188651"/>
              <a:gd name="connsiteY1409" fmla="*/ 4436743 h 6858000"/>
              <a:gd name="connsiteX1410" fmla="*/ 9239811 w 12188651"/>
              <a:gd name="connsiteY1410" fmla="*/ 4372012 h 6858000"/>
              <a:gd name="connsiteX1411" fmla="*/ 9267571 w 12188651"/>
              <a:gd name="connsiteY1411" fmla="*/ 4360467 h 6858000"/>
              <a:gd name="connsiteX1412" fmla="*/ 9295200 w 12188651"/>
              <a:gd name="connsiteY1412" fmla="*/ 4372012 h 6858000"/>
              <a:gd name="connsiteX1413" fmla="*/ 9373678 w 12188651"/>
              <a:gd name="connsiteY1413" fmla="*/ 4450623 h 6858000"/>
              <a:gd name="connsiteX1414" fmla="*/ 9385223 w 12188651"/>
              <a:gd name="connsiteY1414" fmla="*/ 4478384 h 6858000"/>
              <a:gd name="connsiteX1415" fmla="*/ 9373808 w 12188651"/>
              <a:gd name="connsiteY1415" fmla="*/ 4506145 h 6858000"/>
              <a:gd name="connsiteX1416" fmla="*/ 9163796 w 12188651"/>
              <a:gd name="connsiteY1416" fmla="*/ 4716554 h 6858000"/>
              <a:gd name="connsiteX1417" fmla="*/ 8953784 w 12188651"/>
              <a:gd name="connsiteY1417" fmla="*/ 4506145 h 6858000"/>
              <a:gd name="connsiteX1418" fmla="*/ 8953784 w 12188651"/>
              <a:gd name="connsiteY1418" fmla="*/ 4450753 h 6858000"/>
              <a:gd name="connsiteX1419" fmla="*/ 9032264 w 12188651"/>
              <a:gd name="connsiteY1419" fmla="*/ 4372012 h 6858000"/>
              <a:gd name="connsiteX1420" fmla="*/ 7006076 w 12188651"/>
              <a:gd name="connsiteY1420" fmla="*/ 4360467 h 6858000"/>
              <a:gd name="connsiteX1421" fmla="*/ 7033834 w 12188651"/>
              <a:gd name="connsiteY1421" fmla="*/ 4372012 h 6858000"/>
              <a:gd name="connsiteX1422" fmla="*/ 7098434 w 12188651"/>
              <a:gd name="connsiteY1422" fmla="*/ 4436743 h 6858000"/>
              <a:gd name="connsiteX1423" fmla="*/ 7109978 w 12188651"/>
              <a:gd name="connsiteY1423" fmla="*/ 4448418 h 6858000"/>
              <a:gd name="connsiteX1424" fmla="*/ 7121523 w 12188651"/>
              <a:gd name="connsiteY1424" fmla="*/ 4436743 h 6858000"/>
              <a:gd name="connsiteX1425" fmla="*/ 7185994 w 12188651"/>
              <a:gd name="connsiteY1425" fmla="*/ 4372012 h 6858000"/>
              <a:gd name="connsiteX1426" fmla="*/ 7213751 w 12188651"/>
              <a:gd name="connsiteY1426" fmla="*/ 4360467 h 6858000"/>
              <a:gd name="connsiteX1427" fmla="*/ 7241381 w 12188651"/>
              <a:gd name="connsiteY1427" fmla="*/ 4372012 h 6858000"/>
              <a:gd name="connsiteX1428" fmla="*/ 7319862 w 12188651"/>
              <a:gd name="connsiteY1428" fmla="*/ 4450623 h 6858000"/>
              <a:gd name="connsiteX1429" fmla="*/ 7331407 w 12188651"/>
              <a:gd name="connsiteY1429" fmla="*/ 4478384 h 6858000"/>
              <a:gd name="connsiteX1430" fmla="*/ 7319992 w 12188651"/>
              <a:gd name="connsiteY1430" fmla="*/ 4506145 h 6858000"/>
              <a:gd name="connsiteX1431" fmla="*/ 7109978 w 12188651"/>
              <a:gd name="connsiteY1431" fmla="*/ 4716554 h 6858000"/>
              <a:gd name="connsiteX1432" fmla="*/ 6899966 w 12188651"/>
              <a:gd name="connsiteY1432" fmla="*/ 4506145 h 6858000"/>
              <a:gd name="connsiteX1433" fmla="*/ 6899966 w 12188651"/>
              <a:gd name="connsiteY1433" fmla="*/ 4450753 h 6858000"/>
              <a:gd name="connsiteX1434" fmla="*/ 6978446 w 12188651"/>
              <a:gd name="connsiteY1434" fmla="*/ 4372012 h 6858000"/>
              <a:gd name="connsiteX1435" fmla="*/ 7006076 w 12188651"/>
              <a:gd name="connsiteY1435" fmla="*/ 4360467 h 6858000"/>
              <a:gd name="connsiteX1436" fmla="*/ 11113840 w 12188651"/>
              <a:gd name="connsiteY1436" fmla="*/ 4343992 h 6858000"/>
              <a:gd name="connsiteX1437" fmla="*/ 11074665 w 12188651"/>
              <a:gd name="connsiteY1437" fmla="*/ 4360336 h 6858000"/>
              <a:gd name="connsiteX1438" fmla="*/ 10996186 w 12188651"/>
              <a:gd name="connsiteY1438" fmla="*/ 4439078 h 6858000"/>
              <a:gd name="connsiteX1439" fmla="*/ 10996186 w 12188651"/>
              <a:gd name="connsiteY1439" fmla="*/ 4517690 h 6858000"/>
              <a:gd name="connsiteX1440" fmla="*/ 11217744 w 12188651"/>
              <a:gd name="connsiteY1440" fmla="*/ 4739774 h 6858000"/>
              <a:gd name="connsiteX1441" fmla="*/ 11439301 w 12188651"/>
              <a:gd name="connsiteY1441" fmla="*/ 4517690 h 6858000"/>
              <a:gd name="connsiteX1442" fmla="*/ 11439301 w 12188651"/>
              <a:gd name="connsiteY1442" fmla="*/ 4439078 h 6858000"/>
              <a:gd name="connsiteX1443" fmla="*/ 11360822 w 12188651"/>
              <a:gd name="connsiteY1443" fmla="*/ 4360467 h 6858000"/>
              <a:gd name="connsiteX1444" fmla="*/ 11321647 w 12188651"/>
              <a:gd name="connsiteY1444" fmla="*/ 4344121 h 6858000"/>
              <a:gd name="connsiteX1445" fmla="*/ 11321517 w 12188651"/>
              <a:gd name="connsiteY1445" fmla="*/ 4343992 h 6858000"/>
              <a:gd name="connsiteX1446" fmla="*/ 11282213 w 12188651"/>
              <a:gd name="connsiteY1446" fmla="*/ 4360467 h 6858000"/>
              <a:gd name="connsiteX1447" fmla="*/ 11217744 w 12188651"/>
              <a:gd name="connsiteY1447" fmla="*/ 4425069 h 6858000"/>
              <a:gd name="connsiteX1448" fmla="*/ 11153145 w 12188651"/>
              <a:gd name="connsiteY1448" fmla="*/ 4360336 h 6858000"/>
              <a:gd name="connsiteX1449" fmla="*/ 11113840 w 12188651"/>
              <a:gd name="connsiteY1449" fmla="*/ 4343992 h 6858000"/>
              <a:gd name="connsiteX1450" fmla="*/ 9059892 w 12188651"/>
              <a:gd name="connsiteY1450" fmla="*/ 4343992 h 6858000"/>
              <a:gd name="connsiteX1451" fmla="*/ 9020717 w 12188651"/>
              <a:gd name="connsiteY1451" fmla="*/ 4360336 h 6858000"/>
              <a:gd name="connsiteX1452" fmla="*/ 8942238 w 12188651"/>
              <a:gd name="connsiteY1452" fmla="*/ 4439078 h 6858000"/>
              <a:gd name="connsiteX1453" fmla="*/ 8942238 w 12188651"/>
              <a:gd name="connsiteY1453" fmla="*/ 4517690 h 6858000"/>
              <a:gd name="connsiteX1454" fmla="*/ 9163796 w 12188651"/>
              <a:gd name="connsiteY1454" fmla="*/ 4739774 h 6858000"/>
              <a:gd name="connsiteX1455" fmla="*/ 9163797 w 12188651"/>
              <a:gd name="connsiteY1455" fmla="*/ 4739774 h 6858000"/>
              <a:gd name="connsiteX1456" fmla="*/ 9385354 w 12188651"/>
              <a:gd name="connsiteY1456" fmla="*/ 4517690 h 6858000"/>
              <a:gd name="connsiteX1457" fmla="*/ 9385354 w 12188651"/>
              <a:gd name="connsiteY1457" fmla="*/ 4439078 h 6858000"/>
              <a:gd name="connsiteX1458" fmla="*/ 9306876 w 12188651"/>
              <a:gd name="connsiteY1458" fmla="*/ 4360467 h 6858000"/>
              <a:gd name="connsiteX1459" fmla="*/ 9267701 w 12188651"/>
              <a:gd name="connsiteY1459" fmla="*/ 4344121 h 6858000"/>
              <a:gd name="connsiteX1460" fmla="*/ 9267571 w 12188651"/>
              <a:gd name="connsiteY1460" fmla="*/ 4343992 h 6858000"/>
              <a:gd name="connsiteX1461" fmla="*/ 9267570 w 12188651"/>
              <a:gd name="connsiteY1461" fmla="*/ 4343992 h 6858000"/>
              <a:gd name="connsiteX1462" fmla="*/ 9228265 w 12188651"/>
              <a:gd name="connsiteY1462" fmla="*/ 4360467 h 6858000"/>
              <a:gd name="connsiteX1463" fmla="*/ 9163796 w 12188651"/>
              <a:gd name="connsiteY1463" fmla="*/ 4425069 h 6858000"/>
              <a:gd name="connsiteX1464" fmla="*/ 9099198 w 12188651"/>
              <a:gd name="connsiteY1464" fmla="*/ 4360336 h 6858000"/>
              <a:gd name="connsiteX1465" fmla="*/ 9059893 w 12188651"/>
              <a:gd name="connsiteY1465" fmla="*/ 4343992 h 6858000"/>
              <a:gd name="connsiteX1466" fmla="*/ 7006076 w 12188651"/>
              <a:gd name="connsiteY1466" fmla="*/ 4343992 h 6858000"/>
              <a:gd name="connsiteX1467" fmla="*/ 6966901 w 12188651"/>
              <a:gd name="connsiteY1467" fmla="*/ 4360336 h 6858000"/>
              <a:gd name="connsiteX1468" fmla="*/ 6888421 w 12188651"/>
              <a:gd name="connsiteY1468" fmla="*/ 4439078 h 6858000"/>
              <a:gd name="connsiteX1469" fmla="*/ 6888421 w 12188651"/>
              <a:gd name="connsiteY1469" fmla="*/ 4517690 h 6858000"/>
              <a:gd name="connsiteX1470" fmla="*/ 7109978 w 12188651"/>
              <a:gd name="connsiteY1470" fmla="*/ 4739774 h 6858000"/>
              <a:gd name="connsiteX1471" fmla="*/ 7331537 w 12188651"/>
              <a:gd name="connsiteY1471" fmla="*/ 4517690 h 6858000"/>
              <a:gd name="connsiteX1472" fmla="*/ 7331537 w 12188651"/>
              <a:gd name="connsiteY1472" fmla="*/ 4439078 h 6858000"/>
              <a:gd name="connsiteX1473" fmla="*/ 7253057 w 12188651"/>
              <a:gd name="connsiteY1473" fmla="*/ 4360467 h 6858000"/>
              <a:gd name="connsiteX1474" fmla="*/ 7213882 w 12188651"/>
              <a:gd name="connsiteY1474" fmla="*/ 4344121 h 6858000"/>
              <a:gd name="connsiteX1475" fmla="*/ 7213751 w 12188651"/>
              <a:gd name="connsiteY1475" fmla="*/ 4343992 h 6858000"/>
              <a:gd name="connsiteX1476" fmla="*/ 7174449 w 12188651"/>
              <a:gd name="connsiteY1476" fmla="*/ 4360467 h 6858000"/>
              <a:gd name="connsiteX1477" fmla="*/ 7109978 w 12188651"/>
              <a:gd name="connsiteY1477" fmla="*/ 4425069 h 6858000"/>
              <a:gd name="connsiteX1478" fmla="*/ 7045379 w 12188651"/>
              <a:gd name="connsiteY1478" fmla="*/ 4360336 h 6858000"/>
              <a:gd name="connsiteX1479" fmla="*/ 7006076 w 12188651"/>
              <a:gd name="connsiteY1479" fmla="*/ 4343992 h 6858000"/>
              <a:gd name="connsiteX1480" fmla="*/ 4952148 w 12188651"/>
              <a:gd name="connsiteY1480" fmla="*/ 4343992 h 6858000"/>
              <a:gd name="connsiteX1481" fmla="*/ 4912971 w 12188651"/>
              <a:gd name="connsiteY1481" fmla="*/ 4360336 h 6858000"/>
              <a:gd name="connsiteX1482" fmla="*/ 4834495 w 12188651"/>
              <a:gd name="connsiteY1482" fmla="*/ 4439078 h 6858000"/>
              <a:gd name="connsiteX1483" fmla="*/ 4834495 w 12188651"/>
              <a:gd name="connsiteY1483" fmla="*/ 4517690 h 6858000"/>
              <a:gd name="connsiteX1484" fmla="*/ 5056064 w 12188651"/>
              <a:gd name="connsiteY1484" fmla="*/ 4739774 h 6858000"/>
              <a:gd name="connsiteX1485" fmla="*/ 5056083 w 12188651"/>
              <a:gd name="connsiteY1485" fmla="*/ 4739764 h 6858000"/>
              <a:gd name="connsiteX1486" fmla="*/ 5056087 w 12188651"/>
              <a:gd name="connsiteY1486" fmla="*/ 4739774 h 6858000"/>
              <a:gd name="connsiteX1487" fmla="*/ 5277615 w 12188651"/>
              <a:gd name="connsiteY1487" fmla="*/ 4517690 h 6858000"/>
              <a:gd name="connsiteX1488" fmla="*/ 5277615 w 12188651"/>
              <a:gd name="connsiteY1488" fmla="*/ 4439078 h 6858000"/>
              <a:gd name="connsiteX1489" fmla="*/ 5199142 w 12188651"/>
              <a:gd name="connsiteY1489" fmla="*/ 4360467 h 6858000"/>
              <a:gd name="connsiteX1490" fmla="*/ 5159966 w 12188651"/>
              <a:gd name="connsiteY1490" fmla="*/ 4344121 h 6858000"/>
              <a:gd name="connsiteX1491" fmla="*/ 5159837 w 12188651"/>
              <a:gd name="connsiteY1491" fmla="*/ 4343992 h 6858000"/>
              <a:gd name="connsiteX1492" fmla="*/ 5159834 w 12188651"/>
              <a:gd name="connsiteY1492" fmla="*/ 4343994 h 6858000"/>
              <a:gd name="connsiteX1493" fmla="*/ 5159824 w 12188651"/>
              <a:gd name="connsiteY1493" fmla="*/ 4343992 h 6858000"/>
              <a:gd name="connsiteX1494" fmla="*/ 5120536 w 12188651"/>
              <a:gd name="connsiteY1494" fmla="*/ 4360467 h 6858000"/>
              <a:gd name="connsiteX1495" fmla="*/ 5056083 w 12188651"/>
              <a:gd name="connsiteY1495" fmla="*/ 4425059 h 6858000"/>
              <a:gd name="connsiteX1496" fmla="*/ 4991467 w 12188651"/>
              <a:gd name="connsiteY1496" fmla="*/ 4360336 h 6858000"/>
              <a:gd name="connsiteX1497" fmla="*/ 4952157 w 12188651"/>
              <a:gd name="connsiteY1497" fmla="*/ 4343992 h 6858000"/>
              <a:gd name="connsiteX1498" fmla="*/ 4952155 w 12188651"/>
              <a:gd name="connsiteY1498" fmla="*/ 4343993 h 6858000"/>
              <a:gd name="connsiteX1499" fmla="*/ 2898351 w 12188651"/>
              <a:gd name="connsiteY1499" fmla="*/ 4343992 h 6858000"/>
              <a:gd name="connsiteX1500" fmla="*/ 2859173 w 12188651"/>
              <a:gd name="connsiteY1500" fmla="*/ 4360336 h 6858000"/>
              <a:gd name="connsiteX1501" fmla="*/ 2780695 w 12188651"/>
              <a:gd name="connsiteY1501" fmla="*/ 4439078 h 6858000"/>
              <a:gd name="connsiteX1502" fmla="*/ 2780695 w 12188651"/>
              <a:gd name="connsiteY1502" fmla="*/ 4517690 h 6858000"/>
              <a:gd name="connsiteX1503" fmla="*/ 3002253 w 12188651"/>
              <a:gd name="connsiteY1503" fmla="*/ 4739774 h 6858000"/>
              <a:gd name="connsiteX1504" fmla="*/ 3002263 w 12188651"/>
              <a:gd name="connsiteY1504" fmla="*/ 4739762 h 6858000"/>
              <a:gd name="connsiteX1505" fmla="*/ 3002276 w 12188651"/>
              <a:gd name="connsiteY1505" fmla="*/ 4739774 h 6858000"/>
              <a:gd name="connsiteX1506" fmla="*/ 3223832 w 12188651"/>
              <a:gd name="connsiteY1506" fmla="*/ 4517690 h 6858000"/>
              <a:gd name="connsiteX1507" fmla="*/ 3223832 w 12188651"/>
              <a:gd name="connsiteY1507" fmla="*/ 4439078 h 6858000"/>
              <a:gd name="connsiteX1508" fmla="*/ 3145353 w 12188651"/>
              <a:gd name="connsiteY1508" fmla="*/ 4360467 h 6858000"/>
              <a:gd name="connsiteX1509" fmla="*/ 3106179 w 12188651"/>
              <a:gd name="connsiteY1509" fmla="*/ 4344121 h 6858000"/>
              <a:gd name="connsiteX1510" fmla="*/ 3106051 w 12188651"/>
              <a:gd name="connsiteY1510" fmla="*/ 4343992 h 6858000"/>
              <a:gd name="connsiteX1511" fmla="*/ 3106030 w 12188651"/>
              <a:gd name="connsiteY1511" fmla="*/ 4343996 h 6858000"/>
              <a:gd name="connsiteX1512" fmla="*/ 3106024 w 12188651"/>
              <a:gd name="connsiteY1512" fmla="*/ 4343992 h 6858000"/>
              <a:gd name="connsiteX1513" fmla="*/ 3066723 w 12188651"/>
              <a:gd name="connsiteY1513" fmla="*/ 4360467 h 6858000"/>
              <a:gd name="connsiteX1514" fmla="*/ 3002263 w 12188651"/>
              <a:gd name="connsiteY1514" fmla="*/ 4425057 h 6858000"/>
              <a:gd name="connsiteX1515" fmla="*/ 2937678 w 12188651"/>
              <a:gd name="connsiteY1515" fmla="*/ 4360336 h 6858000"/>
              <a:gd name="connsiteX1516" fmla="*/ 2898373 w 12188651"/>
              <a:gd name="connsiteY1516" fmla="*/ 4343992 h 6858000"/>
              <a:gd name="connsiteX1517" fmla="*/ 2898361 w 12188651"/>
              <a:gd name="connsiteY1517" fmla="*/ 4343995 h 6858000"/>
              <a:gd name="connsiteX1518" fmla="*/ 844371 w 12188651"/>
              <a:gd name="connsiteY1518" fmla="*/ 4343992 h 6858000"/>
              <a:gd name="connsiteX1519" fmla="*/ 805197 w 12188651"/>
              <a:gd name="connsiteY1519" fmla="*/ 4360336 h 6858000"/>
              <a:gd name="connsiteX1520" fmla="*/ 726717 w 12188651"/>
              <a:gd name="connsiteY1520" fmla="*/ 4439078 h 6858000"/>
              <a:gd name="connsiteX1521" fmla="*/ 726717 w 12188651"/>
              <a:gd name="connsiteY1521" fmla="*/ 4517690 h 6858000"/>
              <a:gd name="connsiteX1522" fmla="*/ 948275 w 12188651"/>
              <a:gd name="connsiteY1522" fmla="*/ 4739774 h 6858000"/>
              <a:gd name="connsiteX1523" fmla="*/ 948287 w 12188651"/>
              <a:gd name="connsiteY1523" fmla="*/ 4739763 h 6858000"/>
              <a:gd name="connsiteX1524" fmla="*/ 948298 w 12188651"/>
              <a:gd name="connsiteY1524" fmla="*/ 4739774 h 6858000"/>
              <a:gd name="connsiteX1525" fmla="*/ 1169855 w 12188651"/>
              <a:gd name="connsiteY1525" fmla="*/ 4517690 h 6858000"/>
              <a:gd name="connsiteX1526" fmla="*/ 1169855 w 12188651"/>
              <a:gd name="connsiteY1526" fmla="*/ 4439078 h 6858000"/>
              <a:gd name="connsiteX1527" fmla="*/ 1091377 w 12188651"/>
              <a:gd name="connsiteY1527" fmla="*/ 4360467 h 6858000"/>
              <a:gd name="connsiteX1528" fmla="*/ 1052202 w 12188651"/>
              <a:gd name="connsiteY1528" fmla="*/ 4344121 h 6858000"/>
              <a:gd name="connsiteX1529" fmla="*/ 1052072 w 12188651"/>
              <a:gd name="connsiteY1529" fmla="*/ 4343992 h 6858000"/>
              <a:gd name="connsiteX1530" fmla="*/ 1052054 w 12188651"/>
              <a:gd name="connsiteY1530" fmla="*/ 4343996 h 6858000"/>
              <a:gd name="connsiteX1531" fmla="*/ 1052050 w 12188651"/>
              <a:gd name="connsiteY1531" fmla="*/ 4343992 h 6858000"/>
              <a:gd name="connsiteX1532" fmla="*/ 1012746 w 12188651"/>
              <a:gd name="connsiteY1532" fmla="*/ 4360467 h 6858000"/>
              <a:gd name="connsiteX1533" fmla="*/ 948287 w 12188651"/>
              <a:gd name="connsiteY1533" fmla="*/ 4425058 h 6858000"/>
              <a:gd name="connsiteX1534" fmla="*/ 883699 w 12188651"/>
              <a:gd name="connsiteY1534" fmla="*/ 4360336 h 6858000"/>
              <a:gd name="connsiteX1535" fmla="*/ 844395 w 12188651"/>
              <a:gd name="connsiteY1535" fmla="*/ 4343992 h 6858000"/>
              <a:gd name="connsiteX1536" fmla="*/ 844383 w 12188651"/>
              <a:gd name="connsiteY1536" fmla="*/ 4343995 h 6858000"/>
              <a:gd name="connsiteX1537" fmla="*/ 11910826 w 12188651"/>
              <a:gd name="connsiteY1537" fmla="*/ 4133337 h 6858000"/>
              <a:gd name="connsiteX1538" fmla="*/ 12188651 w 12188651"/>
              <a:gd name="connsiteY1538" fmla="*/ 4294111 h 6858000"/>
              <a:gd name="connsiteX1539" fmla="*/ 12188651 w 12188651"/>
              <a:gd name="connsiteY1539" fmla="*/ 4670953 h 6858000"/>
              <a:gd name="connsiteX1540" fmla="*/ 11910826 w 12188651"/>
              <a:gd name="connsiteY1540" fmla="*/ 4510166 h 6858000"/>
              <a:gd name="connsiteX1541" fmla="*/ 11894481 w 12188651"/>
              <a:gd name="connsiteY1541" fmla="*/ 4133337 h 6858000"/>
              <a:gd name="connsiteX1542" fmla="*/ 11894481 w 12188651"/>
              <a:gd name="connsiteY1542" fmla="*/ 4510166 h 6858000"/>
              <a:gd name="connsiteX1543" fmla="*/ 11568890 w 12188651"/>
              <a:gd name="connsiteY1543" fmla="*/ 4698522 h 6858000"/>
              <a:gd name="connsiteX1544" fmla="*/ 11568890 w 12188651"/>
              <a:gd name="connsiteY1544" fmla="*/ 4321680 h 6858000"/>
              <a:gd name="connsiteX1545" fmla="*/ 9857006 w 12188651"/>
              <a:gd name="connsiteY1545" fmla="*/ 4133335 h 6858000"/>
              <a:gd name="connsiteX1546" fmla="*/ 10182468 w 12188651"/>
              <a:gd name="connsiteY1546" fmla="*/ 4321680 h 6858000"/>
              <a:gd name="connsiteX1547" fmla="*/ 10182468 w 12188651"/>
              <a:gd name="connsiteY1547" fmla="*/ 4698522 h 6858000"/>
              <a:gd name="connsiteX1548" fmla="*/ 9857006 w 12188651"/>
              <a:gd name="connsiteY1548" fmla="*/ 4510166 h 6858000"/>
              <a:gd name="connsiteX1549" fmla="*/ 9840661 w 12188651"/>
              <a:gd name="connsiteY1549" fmla="*/ 4133335 h 6858000"/>
              <a:gd name="connsiteX1550" fmla="*/ 9840661 w 12188651"/>
              <a:gd name="connsiteY1550" fmla="*/ 4510166 h 6858000"/>
              <a:gd name="connsiteX1551" fmla="*/ 9515070 w 12188651"/>
              <a:gd name="connsiteY1551" fmla="*/ 4698522 h 6858000"/>
              <a:gd name="connsiteX1552" fmla="*/ 9515070 w 12188651"/>
              <a:gd name="connsiteY1552" fmla="*/ 4321680 h 6858000"/>
              <a:gd name="connsiteX1553" fmla="*/ 7803060 w 12188651"/>
              <a:gd name="connsiteY1553" fmla="*/ 4133332 h 6858000"/>
              <a:gd name="connsiteX1554" fmla="*/ 8128521 w 12188651"/>
              <a:gd name="connsiteY1554" fmla="*/ 4321680 h 6858000"/>
              <a:gd name="connsiteX1555" fmla="*/ 8128521 w 12188651"/>
              <a:gd name="connsiteY1555" fmla="*/ 4698522 h 6858000"/>
              <a:gd name="connsiteX1556" fmla="*/ 7803060 w 12188651"/>
              <a:gd name="connsiteY1556" fmla="*/ 4510166 h 6858000"/>
              <a:gd name="connsiteX1557" fmla="*/ 7786715 w 12188651"/>
              <a:gd name="connsiteY1557" fmla="*/ 4133332 h 6858000"/>
              <a:gd name="connsiteX1558" fmla="*/ 7786715 w 12188651"/>
              <a:gd name="connsiteY1558" fmla="*/ 4510166 h 6858000"/>
              <a:gd name="connsiteX1559" fmla="*/ 7461125 w 12188651"/>
              <a:gd name="connsiteY1559" fmla="*/ 4698522 h 6858000"/>
              <a:gd name="connsiteX1560" fmla="*/ 7461125 w 12188651"/>
              <a:gd name="connsiteY1560" fmla="*/ 4321680 h 6858000"/>
              <a:gd name="connsiteX1561" fmla="*/ 5749264 w 12188651"/>
              <a:gd name="connsiteY1561" fmla="*/ 4133332 h 6858000"/>
              <a:gd name="connsiteX1562" fmla="*/ 6074705 w 12188651"/>
              <a:gd name="connsiteY1562" fmla="*/ 4321680 h 6858000"/>
              <a:gd name="connsiteX1563" fmla="*/ 6074705 w 12188651"/>
              <a:gd name="connsiteY1563" fmla="*/ 4698521 h 6858000"/>
              <a:gd name="connsiteX1564" fmla="*/ 5749264 w 12188651"/>
              <a:gd name="connsiteY1564" fmla="*/ 4510166 h 6858000"/>
              <a:gd name="connsiteX1565" fmla="*/ 3695486 w 12188651"/>
              <a:gd name="connsiteY1565" fmla="*/ 4133332 h 6858000"/>
              <a:gd name="connsiteX1566" fmla="*/ 4020939 w 12188651"/>
              <a:gd name="connsiteY1566" fmla="*/ 4321680 h 6858000"/>
              <a:gd name="connsiteX1567" fmla="*/ 4020939 w 12188651"/>
              <a:gd name="connsiteY1567" fmla="*/ 4698518 h 6858000"/>
              <a:gd name="connsiteX1568" fmla="*/ 3695486 w 12188651"/>
              <a:gd name="connsiteY1568" fmla="*/ 4510166 h 6858000"/>
              <a:gd name="connsiteX1569" fmla="*/ 3679138 w 12188651"/>
              <a:gd name="connsiteY1569" fmla="*/ 4133332 h 6858000"/>
              <a:gd name="connsiteX1570" fmla="*/ 3679138 w 12188651"/>
              <a:gd name="connsiteY1570" fmla="*/ 4510167 h 6858000"/>
              <a:gd name="connsiteX1571" fmla="*/ 3353557 w 12188651"/>
              <a:gd name="connsiteY1571" fmla="*/ 4698518 h 6858000"/>
              <a:gd name="connsiteX1572" fmla="*/ 3353557 w 12188651"/>
              <a:gd name="connsiteY1572" fmla="*/ 4321679 h 6858000"/>
              <a:gd name="connsiteX1573" fmla="*/ 5732921 w 12188651"/>
              <a:gd name="connsiteY1573" fmla="*/ 4133331 h 6858000"/>
              <a:gd name="connsiteX1574" fmla="*/ 5732921 w 12188651"/>
              <a:gd name="connsiteY1574" fmla="*/ 4510166 h 6858000"/>
              <a:gd name="connsiteX1575" fmla="*/ 5486388 w 12188651"/>
              <a:gd name="connsiteY1575" fmla="*/ 4652797 h 6858000"/>
              <a:gd name="connsiteX1576" fmla="*/ 5407352 w 12188651"/>
              <a:gd name="connsiteY1576" fmla="*/ 4698520 h 6858000"/>
              <a:gd name="connsiteX1577" fmla="*/ 5407352 w 12188651"/>
              <a:gd name="connsiteY1577" fmla="*/ 4321679 h 6858000"/>
              <a:gd name="connsiteX1578" fmla="*/ 1641509 w 12188651"/>
              <a:gd name="connsiteY1578" fmla="*/ 4133330 h 6858000"/>
              <a:gd name="connsiteX1579" fmla="*/ 1966966 w 12188651"/>
              <a:gd name="connsiteY1579" fmla="*/ 4321680 h 6858000"/>
              <a:gd name="connsiteX1580" fmla="*/ 1966966 w 12188651"/>
              <a:gd name="connsiteY1580" fmla="*/ 4698518 h 6858000"/>
              <a:gd name="connsiteX1581" fmla="*/ 1641509 w 12188651"/>
              <a:gd name="connsiteY1581" fmla="*/ 4510166 h 6858000"/>
              <a:gd name="connsiteX1582" fmla="*/ 1625160 w 12188651"/>
              <a:gd name="connsiteY1582" fmla="*/ 4133330 h 6858000"/>
              <a:gd name="connsiteX1583" fmla="*/ 1625160 w 12188651"/>
              <a:gd name="connsiteY1583" fmla="*/ 4510167 h 6858000"/>
              <a:gd name="connsiteX1584" fmla="*/ 1299576 w 12188651"/>
              <a:gd name="connsiteY1584" fmla="*/ 4698519 h 6858000"/>
              <a:gd name="connsiteX1585" fmla="*/ 1299576 w 12188651"/>
              <a:gd name="connsiteY1585" fmla="*/ 4321679 h 6858000"/>
              <a:gd name="connsiteX1586" fmla="*/ 10532576 w 12188651"/>
              <a:gd name="connsiteY1586" fmla="*/ 4128536 h 6858000"/>
              <a:gd name="connsiteX1587" fmla="*/ 10866339 w 12188651"/>
              <a:gd name="connsiteY1587" fmla="*/ 4321680 h 6858000"/>
              <a:gd name="connsiteX1588" fmla="*/ 10866339 w 12188651"/>
              <a:gd name="connsiteY1588" fmla="*/ 4707993 h 6858000"/>
              <a:gd name="connsiteX1589" fmla="*/ 10532706 w 12188651"/>
              <a:gd name="connsiteY1589" fmla="*/ 4901148 h 6858000"/>
              <a:gd name="connsiteX1590" fmla="*/ 10198941 w 12188651"/>
              <a:gd name="connsiteY1590" fmla="*/ 4707993 h 6858000"/>
              <a:gd name="connsiteX1591" fmla="*/ 10198941 w 12188651"/>
              <a:gd name="connsiteY1591" fmla="*/ 4321680 h 6858000"/>
              <a:gd name="connsiteX1592" fmla="*/ 8478628 w 12188651"/>
              <a:gd name="connsiteY1592" fmla="*/ 4128533 h 6858000"/>
              <a:gd name="connsiteX1593" fmla="*/ 8812392 w 12188651"/>
              <a:gd name="connsiteY1593" fmla="*/ 4321680 h 6858000"/>
              <a:gd name="connsiteX1594" fmla="*/ 8812392 w 12188651"/>
              <a:gd name="connsiteY1594" fmla="*/ 4707993 h 6858000"/>
              <a:gd name="connsiteX1595" fmla="*/ 8478758 w 12188651"/>
              <a:gd name="connsiteY1595" fmla="*/ 4901148 h 6858000"/>
              <a:gd name="connsiteX1596" fmla="*/ 8144995 w 12188651"/>
              <a:gd name="connsiteY1596" fmla="*/ 4707993 h 6858000"/>
              <a:gd name="connsiteX1597" fmla="*/ 8144995 w 12188651"/>
              <a:gd name="connsiteY1597" fmla="*/ 4321680 h 6858000"/>
              <a:gd name="connsiteX1598" fmla="*/ 6424810 w 12188651"/>
              <a:gd name="connsiteY1598" fmla="*/ 4128533 h 6858000"/>
              <a:gd name="connsiteX1599" fmla="*/ 6758573 w 12188651"/>
              <a:gd name="connsiteY1599" fmla="*/ 4321680 h 6858000"/>
              <a:gd name="connsiteX1600" fmla="*/ 6758573 w 12188651"/>
              <a:gd name="connsiteY1600" fmla="*/ 4707993 h 6858000"/>
              <a:gd name="connsiteX1601" fmla="*/ 6424940 w 12188651"/>
              <a:gd name="connsiteY1601" fmla="*/ 4901148 h 6858000"/>
              <a:gd name="connsiteX1602" fmla="*/ 6091179 w 12188651"/>
              <a:gd name="connsiteY1602" fmla="*/ 4707993 h 6858000"/>
              <a:gd name="connsiteX1603" fmla="*/ 6091179 w 12188651"/>
              <a:gd name="connsiteY1603" fmla="*/ 4321680 h 6858000"/>
              <a:gd name="connsiteX1604" fmla="*/ 4371009 w 12188651"/>
              <a:gd name="connsiteY1604" fmla="*/ 4128531 h 6858000"/>
              <a:gd name="connsiteX1605" fmla="*/ 4704773 w 12188651"/>
              <a:gd name="connsiteY1605" fmla="*/ 4321680 h 6858000"/>
              <a:gd name="connsiteX1606" fmla="*/ 4704773 w 12188651"/>
              <a:gd name="connsiteY1606" fmla="*/ 4707993 h 6858000"/>
              <a:gd name="connsiteX1607" fmla="*/ 4371146 w 12188651"/>
              <a:gd name="connsiteY1607" fmla="*/ 4901148 h 6858000"/>
              <a:gd name="connsiteX1608" fmla="*/ 4037423 w 12188651"/>
              <a:gd name="connsiteY1608" fmla="*/ 4707993 h 6858000"/>
              <a:gd name="connsiteX1609" fmla="*/ 4037423 w 12188651"/>
              <a:gd name="connsiteY1609" fmla="*/ 4321679 h 6858000"/>
              <a:gd name="connsiteX1610" fmla="*/ 4350583 w 12188651"/>
              <a:gd name="connsiteY1610" fmla="*/ 4140356 h 6858000"/>
              <a:gd name="connsiteX1611" fmla="*/ 2317082 w 12188651"/>
              <a:gd name="connsiteY1611" fmla="*/ 4128531 h 6858000"/>
              <a:gd name="connsiteX1612" fmla="*/ 2650840 w 12188651"/>
              <a:gd name="connsiteY1612" fmla="*/ 4321680 h 6858000"/>
              <a:gd name="connsiteX1613" fmla="*/ 2650840 w 12188651"/>
              <a:gd name="connsiteY1613" fmla="*/ 4707994 h 6858000"/>
              <a:gd name="connsiteX1614" fmla="*/ 2317213 w 12188651"/>
              <a:gd name="connsiteY1614" fmla="*/ 4901146 h 6858000"/>
              <a:gd name="connsiteX1615" fmla="*/ 1983445 w 12188651"/>
              <a:gd name="connsiteY1615" fmla="*/ 4707993 h 6858000"/>
              <a:gd name="connsiteX1616" fmla="*/ 1983445 w 12188651"/>
              <a:gd name="connsiteY1616" fmla="*/ 4321679 h 6858000"/>
              <a:gd name="connsiteX1617" fmla="*/ 263235 w 12188651"/>
              <a:gd name="connsiteY1617" fmla="*/ 4128527 h 6858000"/>
              <a:gd name="connsiteX1618" fmla="*/ 596995 w 12188651"/>
              <a:gd name="connsiteY1618" fmla="*/ 4321680 h 6858000"/>
              <a:gd name="connsiteX1619" fmla="*/ 596995 w 12188651"/>
              <a:gd name="connsiteY1619" fmla="*/ 4707994 h 6858000"/>
              <a:gd name="connsiteX1620" fmla="*/ 263366 w 12188651"/>
              <a:gd name="connsiteY1620" fmla="*/ 4901147 h 6858000"/>
              <a:gd name="connsiteX1621" fmla="*/ 0 w 12188651"/>
              <a:gd name="connsiteY1621" fmla="*/ 4748731 h 6858000"/>
              <a:gd name="connsiteX1622" fmla="*/ 0 w 12188651"/>
              <a:gd name="connsiteY1622" fmla="*/ 4280925 h 6858000"/>
              <a:gd name="connsiteX1623" fmla="*/ 11217614 w 12188651"/>
              <a:gd name="connsiteY1623" fmla="*/ 4128280 h 6858000"/>
              <a:gd name="connsiteX1624" fmla="*/ 11551377 w 12188651"/>
              <a:gd name="connsiteY1624" fmla="*/ 4321420 h 6858000"/>
              <a:gd name="connsiteX1625" fmla="*/ 11551377 w 12188651"/>
              <a:gd name="connsiteY1625" fmla="*/ 4707602 h 6858000"/>
              <a:gd name="connsiteX1626" fmla="*/ 11217614 w 12188651"/>
              <a:gd name="connsiteY1626" fmla="*/ 4900759 h 6858000"/>
              <a:gd name="connsiteX1627" fmla="*/ 10883851 w 12188651"/>
              <a:gd name="connsiteY1627" fmla="*/ 4707602 h 6858000"/>
              <a:gd name="connsiteX1628" fmla="*/ 10883851 w 12188651"/>
              <a:gd name="connsiteY1628" fmla="*/ 4321420 h 6858000"/>
              <a:gd name="connsiteX1629" fmla="*/ 5055955 w 12188651"/>
              <a:gd name="connsiteY1629" fmla="*/ 4128279 h 6858000"/>
              <a:gd name="connsiteX1630" fmla="*/ 5389688 w 12188651"/>
              <a:gd name="connsiteY1630" fmla="*/ 4321420 h 6858000"/>
              <a:gd name="connsiteX1631" fmla="*/ 5389688 w 12188651"/>
              <a:gd name="connsiteY1631" fmla="*/ 4707603 h 6858000"/>
              <a:gd name="connsiteX1632" fmla="*/ 5252155 w 12188651"/>
              <a:gd name="connsiteY1632" fmla="*/ 4787202 h 6858000"/>
              <a:gd name="connsiteX1633" fmla="*/ 5055955 w 12188651"/>
              <a:gd name="connsiteY1633" fmla="*/ 4900753 h 6858000"/>
              <a:gd name="connsiteX1634" fmla="*/ 4722175 w 12188651"/>
              <a:gd name="connsiteY1634" fmla="*/ 4707602 h 6858000"/>
              <a:gd name="connsiteX1635" fmla="*/ 4722175 w 12188651"/>
              <a:gd name="connsiteY1635" fmla="*/ 4321419 h 6858000"/>
              <a:gd name="connsiteX1636" fmla="*/ 9163666 w 12188651"/>
              <a:gd name="connsiteY1636" fmla="*/ 4128278 h 6858000"/>
              <a:gd name="connsiteX1637" fmla="*/ 9497429 w 12188651"/>
              <a:gd name="connsiteY1637" fmla="*/ 4321420 h 6858000"/>
              <a:gd name="connsiteX1638" fmla="*/ 9497429 w 12188651"/>
              <a:gd name="connsiteY1638" fmla="*/ 4707602 h 6858000"/>
              <a:gd name="connsiteX1639" fmla="*/ 9163666 w 12188651"/>
              <a:gd name="connsiteY1639" fmla="*/ 4900759 h 6858000"/>
              <a:gd name="connsiteX1640" fmla="*/ 8829903 w 12188651"/>
              <a:gd name="connsiteY1640" fmla="*/ 4707602 h 6858000"/>
              <a:gd name="connsiteX1641" fmla="*/ 8829903 w 12188651"/>
              <a:gd name="connsiteY1641" fmla="*/ 4321420 h 6858000"/>
              <a:gd name="connsiteX1642" fmla="*/ 8882054 w 12188651"/>
              <a:gd name="connsiteY1642" fmla="*/ 4291239 h 6858000"/>
              <a:gd name="connsiteX1643" fmla="*/ 7109850 w 12188651"/>
              <a:gd name="connsiteY1643" fmla="*/ 4128277 h 6858000"/>
              <a:gd name="connsiteX1644" fmla="*/ 7443613 w 12188651"/>
              <a:gd name="connsiteY1644" fmla="*/ 4321420 h 6858000"/>
              <a:gd name="connsiteX1645" fmla="*/ 7443613 w 12188651"/>
              <a:gd name="connsiteY1645" fmla="*/ 4707602 h 6858000"/>
              <a:gd name="connsiteX1646" fmla="*/ 7109850 w 12188651"/>
              <a:gd name="connsiteY1646" fmla="*/ 4900759 h 6858000"/>
              <a:gd name="connsiteX1647" fmla="*/ 6776085 w 12188651"/>
              <a:gd name="connsiteY1647" fmla="*/ 4707602 h 6858000"/>
              <a:gd name="connsiteX1648" fmla="*/ 6776085 w 12188651"/>
              <a:gd name="connsiteY1648" fmla="*/ 4321420 h 6858000"/>
              <a:gd name="connsiteX1649" fmla="*/ 3002137 w 12188651"/>
              <a:gd name="connsiteY1649" fmla="*/ 4128277 h 6858000"/>
              <a:gd name="connsiteX1650" fmla="*/ 3335888 w 12188651"/>
              <a:gd name="connsiteY1650" fmla="*/ 4321420 h 6858000"/>
              <a:gd name="connsiteX1651" fmla="*/ 3335888 w 12188651"/>
              <a:gd name="connsiteY1651" fmla="*/ 4707603 h 6858000"/>
              <a:gd name="connsiteX1652" fmla="*/ 3002137 w 12188651"/>
              <a:gd name="connsiteY1652" fmla="*/ 4900751 h 6858000"/>
              <a:gd name="connsiteX1653" fmla="*/ 2668385 w 12188651"/>
              <a:gd name="connsiteY1653" fmla="*/ 4707602 h 6858000"/>
              <a:gd name="connsiteX1654" fmla="*/ 2668385 w 12188651"/>
              <a:gd name="connsiteY1654" fmla="*/ 4321419 h 6858000"/>
              <a:gd name="connsiteX1655" fmla="*/ 948159 w 12188651"/>
              <a:gd name="connsiteY1655" fmla="*/ 4128274 h 6858000"/>
              <a:gd name="connsiteX1656" fmla="*/ 1281908 w 12188651"/>
              <a:gd name="connsiteY1656" fmla="*/ 4321420 h 6858000"/>
              <a:gd name="connsiteX1657" fmla="*/ 1281908 w 12188651"/>
              <a:gd name="connsiteY1657" fmla="*/ 4707603 h 6858000"/>
              <a:gd name="connsiteX1658" fmla="*/ 948159 w 12188651"/>
              <a:gd name="connsiteY1658" fmla="*/ 4900752 h 6858000"/>
              <a:gd name="connsiteX1659" fmla="*/ 614410 w 12188651"/>
              <a:gd name="connsiteY1659" fmla="*/ 4707602 h 6858000"/>
              <a:gd name="connsiteX1660" fmla="*/ 614410 w 12188651"/>
              <a:gd name="connsiteY1660" fmla="*/ 4321419 h 6858000"/>
              <a:gd name="connsiteX1661" fmla="*/ 10875809 w 12188651"/>
              <a:gd name="connsiteY1661" fmla="*/ 3930457 h 6858000"/>
              <a:gd name="connsiteX1662" fmla="*/ 11201267 w 12188651"/>
              <a:gd name="connsiteY1662" fmla="*/ 4118806 h 6858000"/>
              <a:gd name="connsiteX1663" fmla="*/ 10875678 w 12188651"/>
              <a:gd name="connsiteY1663" fmla="*/ 4307149 h 6858000"/>
              <a:gd name="connsiteX1664" fmla="*/ 10809085 w 12188651"/>
              <a:gd name="connsiteY1664" fmla="*/ 4268609 h 6858000"/>
              <a:gd name="connsiteX1665" fmla="*/ 10550220 w 12188651"/>
              <a:gd name="connsiteY1665" fmla="*/ 4118806 h 6858000"/>
              <a:gd name="connsiteX1666" fmla="*/ 8821860 w 12188651"/>
              <a:gd name="connsiteY1666" fmla="*/ 3930452 h 6858000"/>
              <a:gd name="connsiteX1667" fmla="*/ 9147319 w 12188651"/>
              <a:gd name="connsiteY1667" fmla="*/ 4118806 h 6858000"/>
              <a:gd name="connsiteX1668" fmla="*/ 8913010 w 12188651"/>
              <a:gd name="connsiteY1668" fmla="*/ 4254344 h 6858000"/>
              <a:gd name="connsiteX1669" fmla="*/ 8821731 w 12188651"/>
              <a:gd name="connsiteY1669" fmla="*/ 4307149 h 6858000"/>
              <a:gd name="connsiteX1670" fmla="*/ 8496271 w 12188651"/>
              <a:gd name="connsiteY1670" fmla="*/ 4118806 h 6858000"/>
              <a:gd name="connsiteX1671" fmla="*/ 6768043 w 12188651"/>
              <a:gd name="connsiteY1671" fmla="*/ 3930449 h 6858000"/>
              <a:gd name="connsiteX1672" fmla="*/ 7093503 w 12188651"/>
              <a:gd name="connsiteY1672" fmla="*/ 4118805 h 6858000"/>
              <a:gd name="connsiteX1673" fmla="*/ 6767913 w 12188651"/>
              <a:gd name="connsiteY1673" fmla="*/ 4307149 h 6858000"/>
              <a:gd name="connsiteX1674" fmla="*/ 6442454 w 12188651"/>
              <a:gd name="connsiteY1674" fmla="*/ 4118805 h 6858000"/>
              <a:gd name="connsiteX1675" fmla="*/ 4714120 w 12188651"/>
              <a:gd name="connsiteY1675" fmla="*/ 3930449 h 6858000"/>
              <a:gd name="connsiteX1676" fmla="*/ 5039593 w 12188651"/>
              <a:gd name="connsiteY1676" fmla="*/ 4118798 h 6858000"/>
              <a:gd name="connsiteX1677" fmla="*/ 5020751 w 12188651"/>
              <a:gd name="connsiteY1677" fmla="*/ 4129700 h 6858000"/>
              <a:gd name="connsiteX1678" fmla="*/ 4713993 w 12188651"/>
              <a:gd name="connsiteY1678" fmla="*/ 4307147 h 6858000"/>
              <a:gd name="connsiteX1679" fmla="*/ 4388541 w 12188651"/>
              <a:gd name="connsiteY1679" fmla="*/ 4118803 h 6858000"/>
              <a:gd name="connsiteX1680" fmla="*/ 2660333 w 12188651"/>
              <a:gd name="connsiteY1680" fmla="*/ 3930449 h 6858000"/>
              <a:gd name="connsiteX1681" fmla="*/ 2985780 w 12188651"/>
              <a:gd name="connsiteY1681" fmla="*/ 4118798 h 6858000"/>
              <a:gd name="connsiteX1682" fmla="*/ 2660203 w 12188651"/>
              <a:gd name="connsiteY1682" fmla="*/ 4307142 h 6858000"/>
              <a:gd name="connsiteX1683" fmla="*/ 2334757 w 12188651"/>
              <a:gd name="connsiteY1683" fmla="*/ 4118798 h 6858000"/>
              <a:gd name="connsiteX1684" fmla="*/ 606356 w 12188651"/>
              <a:gd name="connsiteY1684" fmla="*/ 3930447 h 6858000"/>
              <a:gd name="connsiteX1685" fmla="*/ 931801 w 12188651"/>
              <a:gd name="connsiteY1685" fmla="*/ 4118795 h 6858000"/>
              <a:gd name="connsiteX1686" fmla="*/ 606223 w 12188651"/>
              <a:gd name="connsiteY1686" fmla="*/ 4307142 h 6858000"/>
              <a:gd name="connsiteX1687" fmla="*/ 280775 w 12188651"/>
              <a:gd name="connsiteY1687" fmla="*/ 4118796 h 6858000"/>
              <a:gd name="connsiteX1688" fmla="*/ 12140685 w 12188651"/>
              <a:gd name="connsiteY1688" fmla="*/ 3766489 h 6858000"/>
              <a:gd name="connsiteX1689" fmla="*/ 12168445 w 12188651"/>
              <a:gd name="connsiteY1689" fmla="*/ 3778033 h 6858000"/>
              <a:gd name="connsiteX1690" fmla="*/ 12188651 w 12188651"/>
              <a:gd name="connsiteY1690" fmla="*/ 3798281 h 6858000"/>
              <a:gd name="connsiteX1691" fmla="*/ 12188651 w 12188651"/>
              <a:gd name="connsiteY1691" fmla="*/ 4066527 h 6858000"/>
              <a:gd name="connsiteX1692" fmla="*/ 12034576 w 12188651"/>
              <a:gd name="connsiteY1692" fmla="*/ 3912164 h 6858000"/>
              <a:gd name="connsiteX1693" fmla="*/ 12034576 w 12188651"/>
              <a:gd name="connsiteY1693" fmla="*/ 3856776 h 6858000"/>
              <a:gd name="connsiteX1694" fmla="*/ 12113056 w 12188651"/>
              <a:gd name="connsiteY1694" fmla="*/ 3778033 h 6858000"/>
              <a:gd name="connsiteX1695" fmla="*/ 12140685 w 12188651"/>
              <a:gd name="connsiteY1695" fmla="*/ 3766489 h 6858000"/>
              <a:gd name="connsiteX1696" fmla="*/ 10086867 w 12188651"/>
              <a:gd name="connsiteY1696" fmla="*/ 3766487 h 6858000"/>
              <a:gd name="connsiteX1697" fmla="*/ 10114626 w 12188651"/>
              <a:gd name="connsiteY1697" fmla="*/ 3778031 h 6858000"/>
              <a:gd name="connsiteX1698" fmla="*/ 10179226 w 12188651"/>
              <a:gd name="connsiteY1698" fmla="*/ 3842759 h 6858000"/>
              <a:gd name="connsiteX1699" fmla="*/ 10190770 w 12188651"/>
              <a:gd name="connsiteY1699" fmla="*/ 3854435 h 6858000"/>
              <a:gd name="connsiteX1700" fmla="*/ 10202315 w 12188651"/>
              <a:gd name="connsiteY1700" fmla="*/ 3842759 h 6858000"/>
              <a:gd name="connsiteX1701" fmla="*/ 10266786 w 12188651"/>
              <a:gd name="connsiteY1701" fmla="*/ 3778031 h 6858000"/>
              <a:gd name="connsiteX1702" fmla="*/ 10294543 w 12188651"/>
              <a:gd name="connsiteY1702" fmla="*/ 3766487 h 6858000"/>
              <a:gd name="connsiteX1703" fmla="*/ 10322173 w 12188651"/>
              <a:gd name="connsiteY1703" fmla="*/ 3778031 h 6858000"/>
              <a:gd name="connsiteX1704" fmla="*/ 10400653 w 12188651"/>
              <a:gd name="connsiteY1704" fmla="*/ 3856639 h 6858000"/>
              <a:gd name="connsiteX1705" fmla="*/ 10412198 w 12188651"/>
              <a:gd name="connsiteY1705" fmla="*/ 3884401 h 6858000"/>
              <a:gd name="connsiteX1706" fmla="*/ 10400783 w 12188651"/>
              <a:gd name="connsiteY1706" fmla="*/ 3912160 h 6858000"/>
              <a:gd name="connsiteX1707" fmla="*/ 10190770 w 12188651"/>
              <a:gd name="connsiteY1707" fmla="*/ 4122570 h 6858000"/>
              <a:gd name="connsiteX1708" fmla="*/ 9980757 w 12188651"/>
              <a:gd name="connsiteY1708" fmla="*/ 3912160 h 6858000"/>
              <a:gd name="connsiteX1709" fmla="*/ 9980757 w 12188651"/>
              <a:gd name="connsiteY1709" fmla="*/ 3856768 h 6858000"/>
              <a:gd name="connsiteX1710" fmla="*/ 10059237 w 12188651"/>
              <a:gd name="connsiteY1710" fmla="*/ 3778031 h 6858000"/>
              <a:gd name="connsiteX1711" fmla="*/ 10086867 w 12188651"/>
              <a:gd name="connsiteY1711" fmla="*/ 3766487 h 6858000"/>
              <a:gd name="connsiteX1712" fmla="*/ 8032919 w 12188651"/>
              <a:gd name="connsiteY1712" fmla="*/ 3766483 h 6858000"/>
              <a:gd name="connsiteX1713" fmla="*/ 8060679 w 12188651"/>
              <a:gd name="connsiteY1713" fmla="*/ 3778026 h 6858000"/>
              <a:gd name="connsiteX1714" fmla="*/ 8125278 w 12188651"/>
              <a:gd name="connsiteY1714" fmla="*/ 3842759 h 6858000"/>
              <a:gd name="connsiteX1715" fmla="*/ 8136823 w 12188651"/>
              <a:gd name="connsiteY1715" fmla="*/ 3854433 h 6858000"/>
              <a:gd name="connsiteX1716" fmla="*/ 8148368 w 12188651"/>
              <a:gd name="connsiteY1716" fmla="*/ 3842759 h 6858000"/>
              <a:gd name="connsiteX1717" fmla="*/ 8212837 w 12188651"/>
              <a:gd name="connsiteY1717" fmla="*/ 3778026 h 6858000"/>
              <a:gd name="connsiteX1718" fmla="*/ 8240596 w 12188651"/>
              <a:gd name="connsiteY1718" fmla="*/ 3766483 h 6858000"/>
              <a:gd name="connsiteX1719" fmla="*/ 8268226 w 12188651"/>
              <a:gd name="connsiteY1719" fmla="*/ 3778026 h 6858000"/>
              <a:gd name="connsiteX1720" fmla="*/ 8346707 w 12188651"/>
              <a:gd name="connsiteY1720" fmla="*/ 3856636 h 6858000"/>
              <a:gd name="connsiteX1721" fmla="*/ 8358252 w 12188651"/>
              <a:gd name="connsiteY1721" fmla="*/ 3884401 h 6858000"/>
              <a:gd name="connsiteX1722" fmla="*/ 8346837 w 12188651"/>
              <a:gd name="connsiteY1722" fmla="*/ 3912157 h 6858000"/>
              <a:gd name="connsiteX1723" fmla="*/ 8136823 w 12188651"/>
              <a:gd name="connsiteY1723" fmla="*/ 4122566 h 6858000"/>
              <a:gd name="connsiteX1724" fmla="*/ 7926811 w 12188651"/>
              <a:gd name="connsiteY1724" fmla="*/ 3912157 h 6858000"/>
              <a:gd name="connsiteX1725" fmla="*/ 7926811 w 12188651"/>
              <a:gd name="connsiteY1725" fmla="*/ 3856768 h 6858000"/>
              <a:gd name="connsiteX1726" fmla="*/ 8005289 w 12188651"/>
              <a:gd name="connsiteY1726" fmla="*/ 3778026 h 6858000"/>
              <a:gd name="connsiteX1727" fmla="*/ 8032919 w 12188651"/>
              <a:gd name="connsiteY1727" fmla="*/ 3766483 h 6858000"/>
              <a:gd name="connsiteX1728" fmla="*/ 5979110 w 12188651"/>
              <a:gd name="connsiteY1728" fmla="*/ 3766481 h 6858000"/>
              <a:gd name="connsiteX1729" fmla="*/ 6006867 w 12188651"/>
              <a:gd name="connsiteY1729" fmla="*/ 3778024 h 6858000"/>
              <a:gd name="connsiteX1730" fmla="*/ 6071463 w 12188651"/>
              <a:gd name="connsiteY1730" fmla="*/ 3842755 h 6858000"/>
              <a:gd name="connsiteX1731" fmla="*/ 6083006 w 12188651"/>
              <a:gd name="connsiteY1731" fmla="*/ 3854430 h 6858000"/>
              <a:gd name="connsiteX1732" fmla="*/ 6094550 w 12188651"/>
              <a:gd name="connsiteY1732" fmla="*/ 3842755 h 6858000"/>
              <a:gd name="connsiteX1733" fmla="*/ 6159019 w 12188651"/>
              <a:gd name="connsiteY1733" fmla="*/ 3778024 h 6858000"/>
              <a:gd name="connsiteX1734" fmla="*/ 6186779 w 12188651"/>
              <a:gd name="connsiteY1734" fmla="*/ 3766481 h 6858000"/>
              <a:gd name="connsiteX1735" fmla="*/ 6214409 w 12188651"/>
              <a:gd name="connsiteY1735" fmla="*/ 3778024 h 6858000"/>
              <a:gd name="connsiteX1736" fmla="*/ 6292888 w 12188651"/>
              <a:gd name="connsiteY1736" fmla="*/ 3856635 h 6858000"/>
              <a:gd name="connsiteX1737" fmla="*/ 6304433 w 12188651"/>
              <a:gd name="connsiteY1737" fmla="*/ 3884398 h 6858000"/>
              <a:gd name="connsiteX1738" fmla="*/ 6293017 w 12188651"/>
              <a:gd name="connsiteY1738" fmla="*/ 3912155 h 6858000"/>
              <a:gd name="connsiteX1739" fmla="*/ 6083006 w 12188651"/>
              <a:gd name="connsiteY1739" fmla="*/ 4122564 h 6858000"/>
              <a:gd name="connsiteX1740" fmla="*/ 5873007 w 12188651"/>
              <a:gd name="connsiteY1740" fmla="*/ 3912155 h 6858000"/>
              <a:gd name="connsiteX1741" fmla="*/ 5873007 w 12188651"/>
              <a:gd name="connsiteY1741" fmla="*/ 3856767 h 6858000"/>
              <a:gd name="connsiteX1742" fmla="*/ 5951483 w 12188651"/>
              <a:gd name="connsiteY1742" fmla="*/ 3778024 h 6858000"/>
              <a:gd name="connsiteX1743" fmla="*/ 5979110 w 12188651"/>
              <a:gd name="connsiteY1743" fmla="*/ 3766481 h 6858000"/>
              <a:gd name="connsiteX1744" fmla="*/ 3925342 w 12188651"/>
              <a:gd name="connsiteY1744" fmla="*/ 3766475 h 6858000"/>
              <a:gd name="connsiteX1745" fmla="*/ 3953102 w 12188651"/>
              <a:gd name="connsiteY1745" fmla="*/ 3778022 h 6858000"/>
              <a:gd name="connsiteX1746" fmla="*/ 4017703 w 12188651"/>
              <a:gd name="connsiteY1746" fmla="*/ 3842751 h 6858000"/>
              <a:gd name="connsiteX1747" fmla="*/ 4029246 w 12188651"/>
              <a:gd name="connsiteY1747" fmla="*/ 3854427 h 6858000"/>
              <a:gd name="connsiteX1748" fmla="*/ 4040794 w 12188651"/>
              <a:gd name="connsiteY1748" fmla="*/ 3842751 h 6858000"/>
              <a:gd name="connsiteX1749" fmla="*/ 4105264 w 12188651"/>
              <a:gd name="connsiteY1749" fmla="*/ 3778022 h 6858000"/>
              <a:gd name="connsiteX1750" fmla="*/ 4133025 w 12188651"/>
              <a:gd name="connsiteY1750" fmla="*/ 3766475 h 6858000"/>
              <a:gd name="connsiteX1751" fmla="*/ 4160655 w 12188651"/>
              <a:gd name="connsiteY1751" fmla="*/ 3778022 h 6858000"/>
              <a:gd name="connsiteX1752" fmla="*/ 4239088 w 12188651"/>
              <a:gd name="connsiteY1752" fmla="*/ 3856634 h 6858000"/>
              <a:gd name="connsiteX1753" fmla="*/ 4250643 w 12188651"/>
              <a:gd name="connsiteY1753" fmla="*/ 3884393 h 6858000"/>
              <a:gd name="connsiteX1754" fmla="*/ 4239218 w 12188651"/>
              <a:gd name="connsiteY1754" fmla="*/ 3912154 h 6858000"/>
              <a:gd name="connsiteX1755" fmla="*/ 4029246 w 12188651"/>
              <a:gd name="connsiteY1755" fmla="*/ 4122561 h 6858000"/>
              <a:gd name="connsiteX1756" fmla="*/ 3819228 w 12188651"/>
              <a:gd name="connsiteY1756" fmla="*/ 3912154 h 6858000"/>
              <a:gd name="connsiteX1757" fmla="*/ 3819228 w 12188651"/>
              <a:gd name="connsiteY1757" fmla="*/ 3856761 h 6858000"/>
              <a:gd name="connsiteX1758" fmla="*/ 3897713 w 12188651"/>
              <a:gd name="connsiteY1758" fmla="*/ 3778022 h 6858000"/>
              <a:gd name="connsiteX1759" fmla="*/ 3925342 w 12188651"/>
              <a:gd name="connsiteY1759" fmla="*/ 3766475 h 6858000"/>
              <a:gd name="connsiteX1760" fmla="*/ 1871369 w 12188651"/>
              <a:gd name="connsiteY1760" fmla="*/ 3766474 h 6858000"/>
              <a:gd name="connsiteX1761" fmla="*/ 1899129 w 12188651"/>
              <a:gd name="connsiteY1761" fmla="*/ 3778019 h 6858000"/>
              <a:gd name="connsiteX1762" fmla="*/ 1963729 w 12188651"/>
              <a:gd name="connsiteY1762" fmla="*/ 3842750 h 6858000"/>
              <a:gd name="connsiteX1763" fmla="*/ 1975274 w 12188651"/>
              <a:gd name="connsiteY1763" fmla="*/ 3854424 h 6858000"/>
              <a:gd name="connsiteX1764" fmla="*/ 1986819 w 12188651"/>
              <a:gd name="connsiteY1764" fmla="*/ 3842750 h 6858000"/>
              <a:gd name="connsiteX1765" fmla="*/ 2051289 w 12188651"/>
              <a:gd name="connsiteY1765" fmla="*/ 3778019 h 6858000"/>
              <a:gd name="connsiteX1766" fmla="*/ 2079047 w 12188651"/>
              <a:gd name="connsiteY1766" fmla="*/ 3766474 h 6858000"/>
              <a:gd name="connsiteX1767" fmla="*/ 2106684 w 12188651"/>
              <a:gd name="connsiteY1767" fmla="*/ 3778019 h 6858000"/>
              <a:gd name="connsiteX1768" fmla="*/ 2185165 w 12188651"/>
              <a:gd name="connsiteY1768" fmla="*/ 3856630 h 6858000"/>
              <a:gd name="connsiteX1769" fmla="*/ 2196710 w 12188651"/>
              <a:gd name="connsiteY1769" fmla="*/ 3884389 h 6858000"/>
              <a:gd name="connsiteX1770" fmla="*/ 2185293 w 12188651"/>
              <a:gd name="connsiteY1770" fmla="*/ 3912150 h 6858000"/>
              <a:gd name="connsiteX1771" fmla="*/ 1975274 w 12188651"/>
              <a:gd name="connsiteY1771" fmla="*/ 4122560 h 6858000"/>
              <a:gd name="connsiteX1772" fmla="*/ 1765261 w 12188651"/>
              <a:gd name="connsiteY1772" fmla="*/ 3912150 h 6858000"/>
              <a:gd name="connsiteX1773" fmla="*/ 1765261 w 12188651"/>
              <a:gd name="connsiteY1773" fmla="*/ 3856760 h 6858000"/>
              <a:gd name="connsiteX1774" fmla="*/ 1843740 w 12188651"/>
              <a:gd name="connsiteY1774" fmla="*/ 3778019 h 6858000"/>
              <a:gd name="connsiteX1775" fmla="*/ 1871369 w 12188651"/>
              <a:gd name="connsiteY1775" fmla="*/ 3766474 h 6858000"/>
              <a:gd name="connsiteX1776" fmla="*/ 25207 w 12188651"/>
              <a:gd name="connsiteY1776" fmla="*/ 3766470 h 6858000"/>
              <a:gd name="connsiteX1777" fmla="*/ 52837 w 12188651"/>
              <a:gd name="connsiteY1777" fmla="*/ 3778016 h 6858000"/>
              <a:gd name="connsiteX1778" fmla="*/ 131316 w 12188651"/>
              <a:gd name="connsiteY1778" fmla="*/ 3856627 h 6858000"/>
              <a:gd name="connsiteX1779" fmla="*/ 142860 w 12188651"/>
              <a:gd name="connsiteY1779" fmla="*/ 3884387 h 6858000"/>
              <a:gd name="connsiteX1780" fmla="*/ 131446 w 12188651"/>
              <a:gd name="connsiteY1780" fmla="*/ 3912147 h 6858000"/>
              <a:gd name="connsiteX1781" fmla="*/ 0 w 12188651"/>
              <a:gd name="connsiteY1781" fmla="*/ 4043841 h 6858000"/>
              <a:gd name="connsiteX1782" fmla="*/ 0 w 12188651"/>
              <a:gd name="connsiteY1782" fmla="*/ 3776953 h 6858000"/>
              <a:gd name="connsiteX1783" fmla="*/ 10086867 w 12188651"/>
              <a:gd name="connsiteY1783" fmla="*/ 3750008 h 6858000"/>
              <a:gd name="connsiteX1784" fmla="*/ 10047692 w 12188651"/>
              <a:gd name="connsiteY1784" fmla="*/ 3766357 h 6858000"/>
              <a:gd name="connsiteX1785" fmla="*/ 9969212 w 12188651"/>
              <a:gd name="connsiteY1785" fmla="*/ 3845095 h 6858000"/>
              <a:gd name="connsiteX1786" fmla="*/ 9969212 w 12188651"/>
              <a:gd name="connsiteY1786" fmla="*/ 3923707 h 6858000"/>
              <a:gd name="connsiteX1787" fmla="*/ 10190770 w 12188651"/>
              <a:gd name="connsiteY1787" fmla="*/ 4145787 h 6858000"/>
              <a:gd name="connsiteX1788" fmla="*/ 10412328 w 12188651"/>
              <a:gd name="connsiteY1788" fmla="*/ 3923707 h 6858000"/>
              <a:gd name="connsiteX1789" fmla="*/ 10412328 w 12188651"/>
              <a:gd name="connsiteY1789" fmla="*/ 3845095 h 6858000"/>
              <a:gd name="connsiteX1790" fmla="*/ 10333848 w 12188651"/>
              <a:gd name="connsiteY1790" fmla="*/ 3766487 h 6858000"/>
              <a:gd name="connsiteX1791" fmla="*/ 10294673 w 12188651"/>
              <a:gd name="connsiteY1791" fmla="*/ 3750141 h 6858000"/>
              <a:gd name="connsiteX1792" fmla="*/ 10294543 w 12188651"/>
              <a:gd name="connsiteY1792" fmla="*/ 3750008 h 6858000"/>
              <a:gd name="connsiteX1793" fmla="*/ 10255241 w 12188651"/>
              <a:gd name="connsiteY1793" fmla="*/ 3766487 h 6858000"/>
              <a:gd name="connsiteX1794" fmla="*/ 10190770 w 12188651"/>
              <a:gd name="connsiteY1794" fmla="*/ 3831087 h 6858000"/>
              <a:gd name="connsiteX1795" fmla="*/ 10126171 w 12188651"/>
              <a:gd name="connsiteY1795" fmla="*/ 3766357 h 6858000"/>
              <a:gd name="connsiteX1796" fmla="*/ 10086867 w 12188651"/>
              <a:gd name="connsiteY1796" fmla="*/ 3750008 h 6858000"/>
              <a:gd name="connsiteX1797" fmla="*/ 8032919 w 12188651"/>
              <a:gd name="connsiteY1797" fmla="*/ 3750008 h 6858000"/>
              <a:gd name="connsiteX1798" fmla="*/ 7993744 w 12188651"/>
              <a:gd name="connsiteY1798" fmla="*/ 3766352 h 6858000"/>
              <a:gd name="connsiteX1799" fmla="*/ 7915266 w 12188651"/>
              <a:gd name="connsiteY1799" fmla="*/ 3845089 h 6858000"/>
              <a:gd name="connsiteX1800" fmla="*/ 7915266 w 12188651"/>
              <a:gd name="connsiteY1800" fmla="*/ 3923705 h 6858000"/>
              <a:gd name="connsiteX1801" fmla="*/ 8136823 w 12188651"/>
              <a:gd name="connsiteY1801" fmla="*/ 4145784 h 6858000"/>
              <a:gd name="connsiteX1802" fmla="*/ 8358382 w 12188651"/>
              <a:gd name="connsiteY1802" fmla="*/ 3923705 h 6858000"/>
              <a:gd name="connsiteX1803" fmla="*/ 8358382 w 12188651"/>
              <a:gd name="connsiteY1803" fmla="*/ 3845089 h 6858000"/>
              <a:gd name="connsiteX1804" fmla="*/ 8279902 w 12188651"/>
              <a:gd name="connsiteY1804" fmla="*/ 3766483 h 6858000"/>
              <a:gd name="connsiteX1805" fmla="*/ 8240727 w 12188651"/>
              <a:gd name="connsiteY1805" fmla="*/ 3750137 h 6858000"/>
              <a:gd name="connsiteX1806" fmla="*/ 8240596 w 12188651"/>
              <a:gd name="connsiteY1806" fmla="*/ 3750008 h 6858000"/>
              <a:gd name="connsiteX1807" fmla="*/ 8201292 w 12188651"/>
              <a:gd name="connsiteY1807" fmla="*/ 3766483 h 6858000"/>
              <a:gd name="connsiteX1808" fmla="*/ 8136823 w 12188651"/>
              <a:gd name="connsiteY1808" fmla="*/ 3831082 h 6858000"/>
              <a:gd name="connsiteX1809" fmla="*/ 8072224 w 12188651"/>
              <a:gd name="connsiteY1809" fmla="*/ 3766352 h 6858000"/>
              <a:gd name="connsiteX1810" fmla="*/ 8032919 w 12188651"/>
              <a:gd name="connsiteY1810" fmla="*/ 3750008 h 6858000"/>
              <a:gd name="connsiteX1811" fmla="*/ 5979110 w 12188651"/>
              <a:gd name="connsiteY1811" fmla="*/ 3750004 h 6858000"/>
              <a:gd name="connsiteX1812" fmla="*/ 5939938 w 12188651"/>
              <a:gd name="connsiteY1812" fmla="*/ 3766349 h 6858000"/>
              <a:gd name="connsiteX1813" fmla="*/ 5861462 w 12188651"/>
              <a:gd name="connsiteY1813" fmla="*/ 3845089 h 6858000"/>
              <a:gd name="connsiteX1814" fmla="*/ 5861462 w 12188651"/>
              <a:gd name="connsiteY1814" fmla="*/ 3923701 h 6858000"/>
              <a:gd name="connsiteX1815" fmla="*/ 6083006 w 12188651"/>
              <a:gd name="connsiteY1815" fmla="*/ 4145783 h 6858000"/>
              <a:gd name="connsiteX1816" fmla="*/ 6304562 w 12188651"/>
              <a:gd name="connsiteY1816" fmla="*/ 3923701 h 6858000"/>
              <a:gd name="connsiteX1817" fmla="*/ 6304562 w 12188651"/>
              <a:gd name="connsiteY1817" fmla="*/ 3845089 h 6858000"/>
              <a:gd name="connsiteX1818" fmla="*/ 6226084 w 12188651"/>
              <a:gd name="connsiteY1818" fmla="*/ 3766481 h 6858000"/>
              <a:gd name="connsiteX1819" fmla="*/ 6186909 w 12188651"/>
              <a:gd name="connsiteY1819" fmla="*/ 3750135 h 6858000"/>
              <a:gd name="connsiteX1820" fmla="*/ 6186779 w 12188651"/>
              <a:gd name="connsiteY1820" fmla="*/ 3750004 h 6858000"/>
              <a:gd name="connsiteX1821" fmla="*/ 6147474 w 12188651"/>
              <a:gd name="connsiteY1821" fmla="*/ 3766481 h 6858000"/>
              <a:gd name="connsiteX1822" fmla="*/ 6083006 w 12188651"/>
              <a:gd name="connsiteY1822" fmla="*/ 3831082 h 6858000"/>
              <a:gd name="connsiteX1823" fmla="*/ 6018412 w 12188651"/>
              <a:gd name="connsiteY1823" fmla="*/ 3766349 h 6858000"/>
              <a:gd name="connsiteX1824" fmla="*/ 5979110 w 12188651"/>
              <a:gd name="connsiteY1824" fmla="*/ 3750004 h 6858000"/>
              <a:gd name="connsiteX1825" fmla="*/ 3925342 w 12188651"/>
              <a:gd name="connsiteY1825" fmla="*/ 3750002 h 6858000"/>
              <a:gd name="connsiteX1826" fmla="*/ 3886165 w 12188651"/>
              <a:gd name="connsiteY1826" fmla="*/ 3766347 h 6858000"/>
              <a:gd name="connsiteX1827" fmla="*/ 3807684 w 12188651"/>
              <a:gd name="connsiteY1827" fmla="*/ 3845087 h 6858000"/>
              <a:gd name="connsiteX1828" fmla="*/ 3807684 w 12188651"/>
              <a:gd name="connsiteY1828" fmla="*/ 3923699 h 6858000"/>
              <a:gd name="connsiteX1829" fmla="*/ 4029246 w 12188651"/>
              <a:gd name="connsiteY1829" fmla="*/ 4145781 h 6858000"/>
              <a:gd name="connsiteX1830" fmla="*/ 4250768 w 12188651"/>
              <a:gd name="connsiteY1830" fmla="*/ 3923699 h 6858000"/>
              <a:gd name="connsiteX1831" fmla="*/ 4250768 w 12188651"/>
              <a:gd name="connsiteY1831" fmla="*/ 3845087 h 6858000"/>
              <a:gd name="connsiteX1832" fmla="*/ 4172330 w 12188651"/>
              <a:gd name="connsiteY1832" fmla="*/ 3766475 h 6858000"/>
              <a:gd name="connsiteX1833" fmla="*/ 4133156 w 12188651"/>
              <a:gd name="connsiteY1833" fmla="*/ 3750131 h 6858000"/>
              <a:gd name="connsiteX1834" fmla="*/ 4133025 w 12188651"/>
              <a:gd name="connsiteY1834" fmla="*/ 3750002 h 6858000"/>
              <a:gd name="connsiteX1835" fmla="*/ 4093719 w 12188651"/>
              <a:gd name="connsiteY1835" fmla="*/ 3766475 h 6858000"/>
              <a:gd name="connsiteX1836" fmla="*/ 4029246 w 12188651"/>
              <a:gd name="connsiteY1836" fmla="*/ 3831078 h 6858000"/>
              <a:gd name="connsiteX1837" fmla="*/ 3964648 w 12188651"/>
              <a:gd name="connsiteY1837" fmla="*/ 3766347 h 6858000"/>
              <a:gd name="connsiteX1838" fmla="*/ 3925342 w 12188651"/>
              <a:gd name="connsiteY1838" fmla="*/ 3750002 h 6858000"/>
              <a:gd name="connsiteX1839" fmla="*/ 1871369 w 12188651"/>
              <a:gd name="connsiteY1839" fmla="*/ 3749999 h 6858000"/>
              <a:gd name="connsiteX1840" fmla="*/ 1832195 w 12188651"/>
              <a:gd name="connsiteY1840" fmla="*/ 3766344 h 6858000"/>
              <a:gd name="connsiteX1841" fmla="*/ 1753717 w 12188651"/>
              <a:gd name="connsiteY1841" fmla="*/ 3845084 h 6858000"/>
              <a:gd name="connsiteX1842" fmla="*/ 1753717 w 12188651"/>
              <a:gd name="connsiteY1842" fmla="*/ 3923696 h 6858000"/>
              <a:gd name="connsiteX1843" fmla="*/ 1975274 w 12188651"/>
              <a:gd name="connsiteY1843" fmla="*/ 4145780 h 6858000"/>
              <a:gd name="connsiteX1844" fmla="*/ 2196839 w 12188651"/>
              <a:gd name="connsiteY1844" fmla="*/ 3923696 h 6858000"/>
              <a:gd name="connsiteX1845" fmla="*/ 2196839 w 12188651"/>
              <a:gd name="connsiteY1845" fmla="*/ 3845084 h 6858000"/>
              <a:gd name="connsiteX1846" fmla="*/ 2118360 w 12188651"/>
              <a:gd name="connsiteY1846" fmla="*/ 3766474 h 6858000"/>
              <a:gd name="connsiteX1847" fmla="*/ 2079177 w 12188651"/>
              <a:gd name="connsiteY1847" fmla="*/ 3750128 h 6858000"/>
              <a:gd name="connsiteX1848" fmla="*/ 2079047 w 12188651"/>
              <a:gd name="connsiteY1848" fmla="*/ 3749999 h 6858000"/>
              <a:gd name="connsiteX1849" fmla="*/ 2039743 w 12188651"/>
              <a:gd name="connsiteY1849" fmla="*/ 3766474 h 6858000"/>
              <a:gd name="connsiteX1850" fmla="*/ 1975274 w 12188651"/>
              <a:gd name="connsiteY1850" fmla="*/ 3831075 h 6858000"/>
              <a:gd name="connsiteX1851" fmla="*/ 1910674 w 12188651"/>
              <a:gd name="connsiteY1851" fmla="*/ 3766344 h 6858000"/>
              <a:gd name="connsiteX1852" fmla="*/ 1871369 w 12188651"/>
              <a:gd name="connsiteY1852" fmla="*/ 3749999 h 6858000"/>
              <a:gd name="connsiteX1853" fmla="*/ 0 w 12188651"/>
              <a:gd name="connsiteY1853" fmla="*/ 3579814 h 6858000"/>
              <a:gd name="connsiteX1854" fmla="*/ 255063 w 12188651"/>
              <a:gd name="connsiteY1854" fmla="*/ 3727423 h 6858000"/>
              <a:gd name="connsiteX1855" fmla="*/ 255063 w 12188651"/>
              <a:gd name="connsiteY1855" fmla="*/ 4113605 h 6858000"/>
              <a:gd name="connsiteX1856" fmla="*/ 0 w 12188651"/>
              <a:gd name="connsiteY1856" fmla="*/ 4261215 h 6858000"/>
              <a:gd name="connsiteX1857" fmla="*/ 0 w 12188651"/>
              <a:gd name="connsiteY1857" fmla="*/ 4067025 h 6858000"/>
              <a:gd name="connsiteX1858" fmla="*/ 142991 w 12188651"/>
              <a:gd name="connsiteY1858" fmla="*/ 3923694 h 6858000"/>
              <a:gd name="connsiteX1859" fmla="*/ 142991 w 12188651"/>
              <a:gd name="connsiteY1859" fmla="*/ 3845081 h 6858000"/>
              <a:gd name="connsiteX1860" fmla="*/ 64510 w 12188651"/>
              <a:gd name="connsiteY1860" fmla="*/ 3766470 h 6858000"/>
              <a:gd name="connsiteX1861" fmla="*/ 25335 w 12188651"/>
              <a:gd name="connsiteY1861" fmla="*/ 3750125 h 6858000"/>
              <a:gd name="connsiteX1862" fmla="*/ 25207 w 12188651"/>
              <a:gd name="connsiteY1862" fmla="*/ 3749995 h 6858000"/>
              <a:gd name="connsiteX1863" fmla="*/ 4290 w 12188651"/>
              <a:gd name="connsiteY1863" fmla="*/ 3754099 h 6858000"/>
              <a:gd name="connsiteX1864" fmla="*/ 0 w 12188651"/>
              <a:gd name="connsiteY1864" fmla="*/ 3756985 h 6858000"/>
              <a:gd name="connsiteX1865" fmla="*/ 12188651 w 12188651"/>
              <a:gd name="connsiteY1865" fmla="*/ 3566587 h 6858000"/>
              <a:gd name="connsiteX1866" fmla="*/ 12188651 w 12188651"/>
              <a:gd name="connsiteY1866" fmla="*/ 3775035 h 6858000"/>
              <a:gd name="connsiteX1867" fmla="*/ 12179990 w 12188651"/>
              <a:gd name="connsiteY1867" fmla="*/ 3766359 h 6858000"/>
              <a:gd name="connsiteX1868" fmla="*/ 12140685 w 12188651"/>
              <a:gd name="connsiteY1868" fmla="*/ 3750016 h 6858000"/>
              <a:gd name="connsiteX1869" fmla="*/ 12101510 w 12188651"/>
              <a:gd name="connsiteY1869" fmla="*/ 3766359 h 6858000"/>
              <a:gd name="connsiteX1870" fmla="*/ 12023031 w 12188651"/>
              <a:gd name="connsiteY1870" fmla="*/ 3845097 h 6858000"/>
              <a:gd name="connsiteX1871" fmla="*/ 12023031 w 12188651"/>
              <a:gd name="connsiteY1871" fmla="*/ 3923710 h 6858000"/>
              <a:gd name="connsiteX1872" fmla="*/ 12188651 w 12188651"/>
              <a:gd name="connsiteY1872" fmla="*/ 4089721 h 6858000"/>
              <a:gd name="connsiteX1873" fmla="*/ 12188651 w 12188651"/>
              <a:gd name="connsiteY1873" fmla="*/ 4274463 h 6858000"/>
              <a:gd name="connsiteX1874" fmla="*/ 11910696 w 12188651"/>
              <a:gd name="connsiteY1874" fmla="*/ 4113620 h 6858000"/>
              <a:gd name="connsiteX1875" fmla="*/ 11910696 w 12188651"/>
              <a:gd name="connsiteY1875" fmla="*/ 3727442 h 6858000"/>
              <a:gd name="connsiteX1876" fmla="*/ 10883981 w 12188651"/>
              <a:gd name="connsiteY1876" fmla="*/ 3539477 h 6858000"/>
              <a:gd name="connsiteX1877" fmla="*/ 11209441 w 12188651"/>
              <a:gd name="connsiteY1877" fmla="*/ 3727831 h 6858000"/>
              <a:gd name="connsiteX1878" fmla="*/ 11209441 w 12188651"/>
              <a:gd name="connsiteY1878" fmla="*/ 4104668 h 6858000"/>
              <a:gd name="connsiteX1879" fmla="*/ 10883981 w 12188651"/>
              <a:gd name="connsiteY1879" fmla="*/ 3916314 h 6858000"/>
              <a:gd name="connsiteX1880" fmla="*/ 10867636 w 12188651"/>
              <a:gd name="connsiteY1880" fmla="*/ 3539477 h 6858000"/>
              <a:gd name="connsiteX1881" fmla="*/ 10867636 w 12188651"/>
              <a:gd name="connsiteY1881" fmla="*/ 3916314 h 6858000"/>
              <a:gd name="connsiteX1882" fmla="*/ 10542045 w 12188651"/>
              <a:gd name="connsiteY1882" fmla="*/ 4104668 h 6858000"/>
              <a:gd name="connsiteX1883" fmla="*/ 10542045 w 12188651"/>
              <a:gd name="connsiteY1883" fmla="*/ 3727833 h 6858000"/>
              <a:gd name="connsiteX1884" fmla="*/ 8830033 w 12188651"/>
              <a:gd name="connsiteY1884" fmla="*/ 3539477 h 6858000"/>
              <a:gd name="connsiteX1885" fmla="*/ 9155493 w 12188651"/>
              <a:gd name="connsiteY1885" fmla="*/ 3727828 h 6858000"/>
              <a:gd name="connsiteX1886" fmla="*/ 9155493 w 12188651"/>
              <a:gd name="connsiteY1886" fmla="*/ 4104664 h 6858000"/>
              <a:gd name="connsiteX1887" fmla="*/ 8830033 w 12188651"/>
              <a:gd name="connsiteY1887" fmla="*/ 3916306 h 6858000"/>
              <a:gd name="connsiteX1888" fmla="*/ 8813688 w 12188651"/>
              <a:gd name="connsiteY1888" fmla="*/ 3539477 h 6858000"/>
              <a:gd name="connsiteX1889" fmla="*/ 8813688 w 12188651"/>
              <a:gd name="connsiteY1889" fmla="*/ 3916308 h 6858000"/>
              <a:gd name="connsiteX1890" fmla="*/ 8488098 w 12188651"/>
              <a:gd name="connsiteY1890" fmla="*/ 4104664 h 6858000"/>
              <a:gd name="connsiteX1891" fmla="*/ 8488098 w 12188651"/>
              <a:gd name="connsiteY1891" fmla="*/ 3727827 h 6858000"/>
              <a:gd name="connsiteX1892" fmla="*/ 2652143 w 12188651"/>
              <a:gd name="connsiteY1892" fmla="*/ 3539477 h 6858000"/>
              <a:gd name="connsiteX1893" fmla="*/ 2652143 w 12188651"/>
              <a:gd name="connsiteY1893" fmla="*/ 3916302 h 6858000"/>
              <a:gd name="connsiteX1894" fmla="*/ 2326584 w 12188651"/>
              <a:gd name="connsiteY1894" fmla="*/ 4104641 h 6858000"/>
              <a:gd name="connsiteX1895" fmla="*/ 2326584 w 12188651"/>
              <a:gd name="connsiteY1895" fmla="*/ 3727818 h 6858000"/>
              <a:gd name="connsiteX1896" fmla="*/ 2668516 w 12188651"/>
              <a:gd name="connsiteY1896" fmla="*/ 3539475 h 6858000"/>
              <a:gd name="connsiteX1897" fmla="*/ 2993952 w 12188651"/>
              <a:gd name="connsiteY1897" fmla="*/ 3727816 h 6858000"/>
              <a:gd name="connsiteX1898" fmla="*/ 2993952 w 12188651"/>
              <a:gd name="connsiteY1898" fmla="*/ 4104644 h 6858000"/>
              <a:gd name="connsiteX1899" fmla="*/ 2668516 w 12188651"/>
              <a:gd name="connsiteY1899" fmla="*/ 3916304 h 6858000"/>
              <a:gd name="connsiteX1900" fmla="*/ 598168 w 12188651"/>
              <a:gd name="connsiteY1900" fmla="*/ 3539475 h 6858000"/>
              <a:gd name="connsiteX1901" fmla="*/ 598168 w 12188651"/>
              <a:gd name="connsiteY1901" fmla="*/ 3916299 h 6858000"/>
              <a:gd name="connsiteX1902" fmla="*/ 272605 w 12188651"/>
              <a:gd name="connsiteY1902" fmla="*/ 4104641 h 6858000"/>
              <a:gd name="connsiteX1903" fmla="*/ 272605 w 12188651"/>
              <a:gd name="connsiteY1903" fmla="*/ 3727815 h 6858000"/>
              <a:gd name="connsiteX1904" fmla="*/ 614540 w 12188651"/>
              <a:gd name="connsiteY1904" fmla="*/ 3539473 h 6858000"/>
              <a:gd name="connsiteX1905" fmla="*/ 939973 w 12188651"/>
              <a:gd name="connsiteY1905" fmla="*/ 3727812 h 6858000"/>
              <a:gd name="connsiteX1906" fmla="*/ 939973 w 12188651"/>
              <a:gd name="connsiteY1906" fmla="*/ 4104643 h 6858000"/>
              <a:gd name="connsiteX1907" fmla="*/ 614540 w 12188651"/>
              <a:gd name="connsiteY1907" fmla="*/ 3916301 h 6858000"/>
              <a:gd name="connsiteX1908" fmla="*/ 6776215 w 12188651"/>
              <a:gd name="connsiteY1908" fmla="*/ 3539471 h 6858000"/>
              <a:gd name="connsiteX1909" fmla="*/ 7101677 w 12188651"/>
              <a:gd name="connsiteY1909" fmla="*/ 3727826 h 6858000"/>
              <a:gd name="connsiteX1910" fmla="*/ 7101677 w 12188651"/>
              <a:gd name="connsiteY1910" fmla="*/ 4104661 h 6858000"/>
              <a:gd name="connsiteX1911" fmla="*/ 6776215 w 12188651"/>
              <a:gd name="connsiteY1911" fmla="*/ 3916305 h 6858000"/>
              <a:gd name="connsiteX1912" fmla="*/ 6759871 w 12188651"/>
              <a:gd name="connsiteY1912" fmla="*/ 3539471 h 6858000"/>
              <a:gd name="connsiteX1913" fmla="*/ 6759871 w 12188651"/>
              <a:gd name="connsiteY1913" fmla="*/ 3916305 h 6858000"/>
              <a:gd name="connsiteX1914" fmla="*/ 6434280 w 12188651"/>
              <a:gd name="connsiteY1914" fmla="*/ 4104661 h 6858000"/>
              <a:gd name="connsiteX1915" fmla="*/ 6434280 w 12188651"/>
              <a:gd name="connsiteY1915" fmla="*/ 3727826 h 6858000"/>
              <a:gd name="connsiteX1916" fmla="*/ 4722303 w 12188651"/>
              <a:gd name="connsiteY1916" fmla="*/ 3539471 h 6858000"/>
              <a:gd name="connsiteX1917" fmla="*/ 5047768 w 12188651"/>
              <a:gd name="connsiteY1917" fmla="*/ 3727818 h 6858000"/>
              <a:gd name="connsiteX1918" fmla="*/ 5047768 w 12188651"/>
              <a:gd name="connsiteY1918" fmla="*/ 4104649 h 6858000"/>
              <a:gd name="connsiteX1919" fmla="*/ 4722303 w 12188651"/>
              <a:gd name="connsiteY1919" fmla="*/ 3916305 h 6858000"/>
              <a:gd name="connsiteX1920" fmla="*/ 4705942 w 12188651"/>
              <a:gd name="connsiteY1920" fmla="*/ 3539471 h 6858000"/>
              <a:gd name="connsiteX1921" fmla="*/ 4705942 w 12188651"/>
              <a:gd name="connsiteY1921" fmla="*/ 3916304 h 6858000"/>
              <a:gd name="connsiteX1922" fmla="*/ 4380369 w 12188651"/>
              <a:gd name="connsiteY1922" fmla="*/ 4104654 h 6858000"/>
              <a:gd name="connsiteX1923" fmla="*/ 4380369 w 12188651"/>
              <a:gd name="connsiteY1923" fmla="*/ 3727821 h 6858000"/>
              <a:gd name="connsiteX1924" fmla="*/ 11559549 w 12188651"/>
              <a:gd name="connsiteY1924" fmla="*/ 3534681 h 6858000"/>
              <a:gd name="connsiteX1925" fmla="*/ 11893312 w 12188651"/>
              <a:gd name="connsiteY1925" fmla="*/ 3727831 h 6858000"/>
              <a:gd name="connsiteX1926" fmla="*/ 11893312 w 12188651"/>
              <a:gd name="connsiteY1926" fmla="*/ 4114138 h 6858000"/>
              <a:gd name="connsiteX1927" fmla="*/ 11559679 w 12188651"/>
              <a:gd name="connsiteY1927" fmla="*/ 4307278 h 6858000"/>
              <a:gd name="connsiteX1928" fmla="*/ 11486870 w 12188651"/>
              <a:gd name="connsiteY1928" fmla="*/ 4265143 h 6858000"/>
              <a:gd name="connsiteX1929" fmla="*/ 11225916 w 12188651"/>
              <a:gd name="connsiteY1929" fmla="*/ 4114138 h 6858000"/>
              <a:gd name="connsiteX1930" fmla="*/ 11225916 w 12188651"/>
              <a:gd name="connsiteY1930" fmla="*/ 3727833 h 6858000"/>
              <a:gd name="connsiteX1931" fmla="*/ 9505601 w 12188651"/>
              <a:gd name="connsiteY1931" fmla="*/ 3534677 h 6858000"/>
              <a:gd name="connsiteX1932" fmla="*/ 9839364 w 12188651"/>
              <a:gd name="connsiteY1932" fmla="*/ 3727828 h 6858000"/>
              <a:gd name="connsiteX1933" fmla="*/ 9839364 w 12188651"/>
              <a:gd name="connsiteY1933" fmla="*/ 4114135 h 6858000"/>
              <a:gd name="connsiteX1934" fmla="*/ 9578839 w 12188651"/>
              <a:gd name="connsiteY1934" fmla="*/ 4264954 h 6858000"/>
              <a:gd name="connsiteX1935" fmla="*/ 9505732 w 12188651"/>
              <a:gd name="connsiteY1935" fmla="*/ 4307278 h 6858000"/>
              <a:gd name="connsiteX1936" fmla="*/ 9171969 w 12188651"/>
              <a:gd name="connsiteY1936" fmla="*/ 4114135 h 6858000"/>
              <a:gd name="connsiteX1937" fmla="*/ 9171969 w 12188651"/>
              <a:gd name="connsiteY1937" fmla="*/ 3727827 h 6858000"/>
              <a:gd name="connsiteX1938" fmla="*/ 7451785 w 12188651"/>
              <a:gd name="connsiteY1938" fmla="*/ 3534670 h 6858000"/>
              <a:gd name="connsiteX1939" fmla="*/ 7785548 w 12188651"/>
              <a:gd name="connsiteY1939" fmla="*/ 3727826 h 6858000"/>
              <a:gd name="connsiteX1940" fmla="*/ 7785548 w 12188651"/>
              <a:gd name="connsiteY1940" fmla="*/ 4114131 h 6858000"/>
              <a:gd name="connsiteX1941" fmla="*/ 7451915 w 12188651"/>
              <a:gd name="connsiteY1941" fmla="*/ 4307279 h 6858000"/>
              <a:gd name="connsiteX1942" fmla="*/ 7118150 w 12188651"/>
              <a:gd name="connsiteY1942" fmla="*/ 4114131 h 6858000"/>
              <a:gd name="connsiteX1943" fmla="*/ 7118150 w 12188651"/>
              <a:gd name="connsiteY1943" fmla="*/ 3727826 h 6858000"/>
              <a:gd name="connsiteX1944" fmla="*/ 5397881 w 12188651"/>
              <a:gd name="connsiteY1944" fmla="*/ 3534670 h 6858000"/>
              <a:gd name="connsiteX1945" fmla="*/ 5731616 w 12188651"/>
              <a:gd name="connsiteY1945" fmla="*/ 3727818 h 6858000"/>
              <a:gd name="connsiteX1946" fmla="*/ 5731616 w 12188651"/>
              <a:gd name="connsiteY1946" fmla="*/ 4114128 h 6858000"/>
              <a:gd name="connsiteX1947" fmla="*/ 5597792 w 12188651"/>
              <a:gd name="connsiteY1947" fmla="*/ 4191609 h 6858000"/>
              <a:gd name="connsiteX1948" fmla="*/ 5398006 w 12188651"/>
              <a:gd name="connsiteY1948" fmla="*/ 4307274 h 6858000"/>
              <a:gd name="connsiteX1949" fmla="*/ 5064269 w 12188651"/>
              <a:gd name="connsiteY1949" fmla="*/ 4114131 h 6858000"/>
              <a:gd name="connsiteX1950" fmla="*/ 5064269 w 12188651"/>
              <a:gd name="connsiteY1950" fmla="*/ 3727821 h 6858000"/>
              <a:gd name="connsiteX1951" fmla="*/ 3344073 w 12188651"/>
              <a:gd name="connsiteY1951" fmla="*/ 3534670 h 6858000"/>
              <a:gd name="connsiteX1952" fmla="*/ 3677818 w 12188651"/>
              <a:gd name="connsiteY1952" fmla="*/ 3727816 h 6858000"/>
              <a:gd name="connsiteX1953" fmla="*/ 3677818 w 12188651"/>
              <a:gd name="connsiteY1953" fmla="*/ 4114128 h 6858000"/>
              <a:gd name="connsiteX1954" fmla="*/ 3344203 w 12188651"/>
              <a:gd name="connsiteY1954" fmla="*/ 4307271 h 6858000"/>
              <a:gd name="connsiteX1955" fmla="*/ 3010455 w 12188651"/>
              <a:gd name="connsiteY1955" fmla="*/ 4114128 h 6858000"/>
              <a:gd name="connsiteX1956" fmla="*/ 3010455 w 12188651"/>
              <a:gd name="connsiteY1956" fmla="*/ 3727818 h 6858000"/>
              <a:gd name="connsiteX1957" fmla="*/ 1290097 w 12188651"/>
              <a:gd name="connsiteY1957" fmla="*/ 3534667 h 6858000"/>
              <a:gd name="connsiteX1958" fmla="*/ 1623844 w 12188651"/>
              <a:gd name="connsiteY1958" fmla="*/ 3727812 h 6858000"/>
              <a:gd name="connsiteX1959" fmla="*/ 1623844 w 12188651"/>
              <a:gd name="connsiteY1959" fmla="*/ 4114126 h 6858000"/>
              <a:gd name="connsiteX1960" fmla="*/ 1290224 w 12188651"/>
              <a:gd name="connsiteY1960" fmla="*/ 4307272 h 6858000"/>
              <a:gd name="connsiteX1961" fmla="*/ 956474 w 12188651"/>
              <a:gd name="connsiteY1961" fmla="*/ 4114128 h 6858000"/>
              <a:gd name="connsiteX1962" fmla="*/ 956474 w 12188651"/>
              <a:gd name="connsiteY1962" fmla="*/ 3727815 h 6858000"/>
              <a:gd name="connsiteX1963" fmla="*/ 10190640 w 12188651"/>
              <a:gd name="connsiteY1963" fmla="*/ 3534287 h 6858000"/>
              <a:gd name="connsiteX1964" fmla="*/ 10524404 w 12188651"/>
              <a:gd name="connsiteY1964" fmla="*/ 3727441 h 6858000"/>
              <a:gd name="connsiteX1965" fmla="*/ 10524404 w 12188651"/>
              <a:gd name="connsiteY1965" fmla="*/ 4113620 h 6858000"/>
              <a:gd name="connsiteX1966" fmla="*/ 10190640 w 12188651"/>
              <a:gd name="connsiteY1966" fmla="*/ 4306761 h 6858000"/>
              <a:gd name="connsiteX1967" fmla="*/ 9856876 w 12188651"/>
              <a:gd name="connsiteY1967" fmla="*/ 4113620 h 6858000"/>
              <a:gd name="connsiteX1968" fmla="*/ 9856876 w 12188651"/>
              <a:gd name="connsiteY1968" fmla="*/ 3727441 h 6858000"/>
              <a:gd name="connsiteX1969" fmla="*/ 8136693 w 12188651"/>
              <a:gd name="connsiteY1969" fmla="*/ 3534283 h 6858000"/>
              <a:gd name="connsiteX1970" fmla="*/ 8470456 w 12188651"/>
              <a:gd name="connsiteY1970" fmla="*/ 3727435 h 6858000"/>
              <a:gd name="connsiteX1971" fmla="*/ 8470456 w 12188651"/>
              <a:gd name="connsiteY1971" fmla="*/ 4113615 h 6858000"/>
              <a:gd name="connsiteX1972" fmla="*/ 8136693 w 12188651"/>
              <a:gd name="connsiteY1972" fmla="*/ 4306761 h 6858000"/>
              <a:gd name="connsiteX1973" fmla="*/ 7802930 w 12188651"/>
              <a:gd name="connsiteY1973" fmla="*/ 4113615 h 6858000"/>
              <a:gd name="connsiteX1974" fmla="*/ 7802930 w 12188651"/>
              <a:gd name="connsiteY1974" fmla="*/ 3727435 h 6858000"/>
              <a:gd name="connsiteX1975" fmla="*/ 6082876 w 12188651"/>
              <a:gd name="connsiteY1975" fmla="*/ 3534281 h 6858000"/>
              <a:gd name="connsiteX1976" fmla="*/ 6416638 w 12188651"/>
              <a:gd name="connsiteY1976" fmla="*/ 3727432 h 6858000"/>
              <a:gd name="connsiteX1977" fmla="*/ 6416638 w 12188651"/>
              <a:gd name="connsiteY1977" fmla="*/ 4113613 h 6858000"/>
              <a:gd name="connsiteX1978" fmla="*/ 6082876 w 12188651"/>
              <a:gd name="connsiteY1978" fmla="*/ 4306761 h 6858000"/>
              <a:gd name="connsiteX1979" fmla="*/ 5749138 w 12188651"/>
              <a:gd name="connsiteY1979" fmla="*/ 4113613 h 6858000"/>
              <a:gd name="connsiteX1980" fmla="*/ 5749138 w 12188651"/>
              <a:gd name="connsiteY1980" fmla="*/ 3727432 h 6858000"/>
              <a:gd name="connsiteX1981" fmla="*/ 4029115 w 12188651"/>
              <a:gd name="connsiteY1981" fmla="*/ 3534279 h 6858000"/>
              <a:gd name="connsiteX1982" fmla="*/ 4362838 w 12188651"/>
              <a:gd name="connsiteY1982" fmla="*/ 3727431 h 6858000"/>
              <a:gd name="connsiteX1983" fmla="*/ 4362838 w 12188651"/>
              <a:gd name="connsiteY1983" fmla="*/ 4113612 h 6858000"/>
              <a:gd name="connsiteX1984" fmla="*/ 4029115 w 12188651"/>
              <a:gd name="connsiteY1984" fmla="*/ 4306759 h 6858000"/>
              <a:gd name="connsiteX1985" fmla="*/ 3695360 w 12188651"/>
              <a:gd name="connsiteY1985" fmla="*/ 4113612 h 6858000"/>
              <a:gd name="connsiteX1986" fmla="*/ 3695360 w 12188651"/>
              <a:gd name="connsiteY1986" fmla="*/ 3727431 h 6858000"/>
              <a:gd name="connsiteX1987" fmla="*/ 1975142 w 12188651"/>
              <a:gd name="connsiteY1987" fmla="*/ 3534274 h 6858000"/>
              <a:gd name="connsiteX1988" fmla="*/ 2308909 w 12188651"/>
              <a:gd name="connsiteY1988" fmla="*/ 3727426 h 6858000"/>
              <a:gd name="connsiteX1989" fmla="*/ 2308909 w 12188651"/>
              <a:gd name="connsiteY1989" fmla="*/ 4113608 h 6858000"/>
              <a:gd name="connsiteX1990" fmla="*/ 1975142 w 12188651"/>
              <a:gd name="connsiteY1990" fmla="*/ 4306759 h 6858000"/>
              <a:gd name="connsiteX1991" fmla="*/ 1641383 w 12188651"/>
              <a:gd name="connsiteY1991" fmla="*/ 4113608 h 6858000"/>
              <a:gd name="connsiteX1992" fmla="*/ 1641383 w 12188651"/>
              <a:gd name="connsiteY1992" fmla="*/ 3727426 h 6858000"/>
              <a:gd name="connsiteX1993" fmla="*/ 11902654 w 12188651"/>
              <a:gd name="connsiteY1993" fmla="*/ 3336497 h 6858000"/>
              <a:gd name="connsiteX1994" fmla="*/ 12182429 w 12188651"/>
              <a:gd name="connsiteY1994" fmla="*/ 3498382 h 6858000"/>
              <a:gd name="connsiteX1995" fmla="*/ 12188651 w 12188651"/>
              <a:gd name="connsiteY1995" fmla="*/ 3501984 h 6858000"/>
              <a:gd name="connsiteX1996" fmla="*/ 12188651 w 12188651"/>
              <a:gd name="connsiteY1996" fmla="*/ 3547650 h 6858000"/>
              <a:gd name="connsiteX1997" fmla="*/ 11902524 w 12188651"/>
              <a:gd name="connsiteY1997" fmla="*/ 3713173 h 6858000"/>
              <a:gd name="connsiteX1998" fmla="*/ 11577061 w 12188651"/>
              <a:gd name="connsiteY1998" fmla="*/ 3524820 h 6858000"/>
              <a:gd name="connsiteX1999" fmla="*/ 9848833 w 12188651"/>
              <a:gd name="connsiteY1999" fmla="*/ 3336489 h 6858000"/>
              <a:gd name="connsiteX2000" fmla="*/ 10174296 w 12188651"/>
              <a:gd name="connsiteY2000" fmla="*/ 3524818 h 6858000"/>
              <a:gd name="connsiteX2001" fmla="*/ 9848703 w 12188651"/>
              <a:gd name="connsiteY2001" fmla="*/ 3713171 h 6858000"/>
              <a:gd name="connsiteX2002" fmla="*/ 9523242 w 12188651"/>
              <a:gd name="connsiteY2002" fmla="*/ 3524818 h 6858000"/>
              <a:gd name="connsiteX2003" fmla="*/ 7794888 w 12188651"/>
              <a:gd name="connsiteY2003" fmla="*/ 3336477 h 6858000"/>
              <a:gd name="connsiteX2004" fmla="*/ 8120348 w 12188651"/>
              <a:gd name="connsiteY2004" fmla="*/ 3524813 h 6858000"/>
              <a:gd name="connsiteX2005" fmla="*/ 7794758 w 12188651"/>
              <a:gd name="connsiteY2005" fmla="*/ 3713167 h 6858000"/>
              <a:gd name="connsiteX2006" fmla="*/ 7469297 w 12188651"/>
              <a:gd name="connsiteY2006" fmla="*/ 3524813 h 6858000"/>
              <a:gd name="connsiteX2007" fmla="*/ 5741092 w 12188651"/>
              <a:gd name="connsiteY2007" fmla="*/ 3336470 h 6858000"/>
              <a:gd name="connsiteX2008" fmla="*/ 6066533 w 12188651"/>
              <a:gd name="connsiteY2008" fmla="*/ 3524807 h 6858000"/>
              <a:gd name="connsiteX2009" fmla="*/ 5740963 w 12188651"/>
              <a:gd name="connsiteY2009" fmla="*/ 3713162 h 6858000"/>
              <a:gd name="connsiteX2010" fmla="*/ 5415520 w 12188651"/>
              <a:gd name="connsiteY2010" fmla="*/ 3524807 h 6858000"/>
              <a:gd name="connsiteX2011" fmla="*/ 3687317 w 12188651"/>
              <a:gd name="connsiteY2011" fmla="*/ 3336464 h 6858000"/>
              <a:gd name="connsiteX2012" fmla="*/ 4012771 w 12188651"/>
              <a:gd name="connsiteY2012" fmla="*/ 3524805 h 6858000"/>
              <a:gd name="connsiteX2013" fmla="*/ 3687184 w 12188651"/>
              <a:gd name="connsiteY2013" fmla="*/ 3713158 h 6858000"/>
              <a:gd name="connsiteX2014" fmla="*/ 3361732 w 12188651"/>
              <a:gd name="connsiteY2014" fmla="*/ 3524805 h 6858000"/>
              <a:gd name="connsiteX2015" fmla="*/ 1633340 w 12188651"/>
              <a:gd name="connsiteY2015" fmla="*/ 3336454 h 6858000"/>
              <a:gd name="connsiteX2016" fmla="*/ 1958796 w 12188651"/>
              <a:gd name="connsiteY2016" fmla="*/ 3524804 h 6858000"/>
              <a:gd name="connsiteX2017" fmla="*/ 1633208 w 12188651"/>
              <a:gd name="connsiteY2017" fmla="*/ 3713156 h 6858000"/>
              <a:gd name="connsiteX2018" fmla="*/ 1307751 w 12188651"/>
              <a:gd name="connsiteY2018" fmla="*/ 3524804 h 6858000"/>
              <a:gd name="connsiteX2019" fmla="*/ 11113840 w 12188651"/>
              <a:gd name="connsiteY2019" fmla="*/ 3172539 h 6858000"/>
              <a:gd name="connsiteX2020" fmla="*/ 11141600 w 12188651"/>
              <a:gd name="connsiteY2020" fmla="*/ 3184087 h 6858000"/>
              <a:gd name="connsiteX2021" fmla="*/ 11206199 w 12188651"/>
              <a:gd name="connsiteY2021" fmla="*/ 3248805 h 6858000"/>
              <a:gd name="connsiteX2022" fmla="*/ 11217744 w 12188651"/>
              <a:gd name="connsiteY2022" fmla="*/ 3260492 h 6858000"/>
              <a:gd name="connsiteX2023" fmla="*/ 11229289 w 12188651"/>
              <a:gd name="connsiteY2023" fmla="*/ 3248805 h 6858000"/>
              <a:gd name="connsiteX2024" fmla="*/ 11293758 w 12188651"/>
              <a:gd name="connsiteY2024" fmla="*/ 3184087 h 6858000"/>
              <a:gd name="connsiteX2025" fmla="*/ 11321517 w 12188651"/>
              <a:gd name="connsiteY2025" fmla="*/ 3172539 h 6858000"/>
              <a:gd name="connsiteX2026" fmla="*/ 11349147 w 12188651"/>
              <a:gd name="connsiteY2026" fmla="*/ 3184087 h 6858000"/>
              <a:gd name="connsiteX2027" fmla="*/ 11427627 w 12188651"/>
              <a:gd name="connsiteY2027" fmla="*/ 3262689 h 6858000"/>
              <a:gd name="connsiteX2028" fmla="*/ 11439170 w 12188651"/>
              <a:gd name="connsiteY2028" fmla="*/ 3290444 h 6858000"/>
              <a:gd name="connsiteX2029" fmla="*/ 11427757 w 12188651"/>
              <a:gd name="connsiteY2029" fmla="*/ 3318199 h 6858000"/>
              <a:gd name="connsiteX2030" fmla="*/ 11217744 w 12188651"/>
              <a:gd name="connsiteY2030" fmla="*/ 3528579 h 6858000"/>
              <a:gd name="connsiteX2031" fmla="*/ 11007731 w 12188651"/>
              <a:gd name="connsiteY2031" fmla="*/ 3318199 h 6858000"/>
              <a:gd name="connsiteX2032" fmla="*/ 10996253 w 12188651"/>
              <a:gd name="connsiteY2032" fmla="*/ 3290463 h 6858000"/>
              <a:gd name="connsiteX2033" fmla="*/ 11007731 w 12188651"/>
              <a:gd name="connsiteY2033" fmla="*/ 3262819 h 6858000"/>
              <a:gd name="connsiteX2034" fmla="*/ 11086210 w 12188651"/>
              <a:gd name="connsiteY2034" fmla="*/ 3184087 h 6858000"/>
              <a:gd name="connsiteX2035" fmla="*/ 11113840 w 12188651"/>
              <a:gd name="connsiteY2035" fmla="*/ 3172539 h 6858000"/>
              <a:gd name="connsiteX2036" fmla="*/ 9059892 w 12188651"/>
              <a:gd name="connsiteY2036" fmla="*/ 3172530 h 6858000"/>
              <a:gd name="connsiteX2037" fmla="*/ 9087652 w 12188651"/>
              <a:gd name="connsiteY2037" fmla="*/ 3184077 h 6858000"/>
              <a:gd name="connsiteX2038" fmla="*/ 9152251 w 12188651"/>
              <a:gd name="connsiteY2038" fmla="*/ 3248800 h 6858000"/>
              <a:gd name="connsiteX2039" fmla="*/ 9163796 w 12188651"/>
              <a:gd name="connsiteY2039" fmla="*/ 3260473 h 6858000"/>
              <a:gd name="connsiteX2040" fmla="*/ 9175341 w 12188651"/>
              <a:gd name="connsiteY2040" fmla="*/ 3248800 h 6858000"/>
              <a:gd name="connsiteX2041" fmla="*/ 9239810 w 12188651"/>
              <a:gd name="connsiteY2041" fmla="*/ 3184077 h 6858000"/>
              <a:gd name="connsiteX2042" fmla="*/ 9267570 w 12188651"/>
              <a:gd name="connsiteY2042" fmla="*/ 3172530 h 6858000"/>
              <a:gd name="connsiteX2043" fmla="*/ 9295200 w 12188651"/>
              <a:gd name="connsiteY2043" fmla="*/ 3184077 h 6858000"/>
              <a:gd name="connsiteX2044" fmla="*/ 9373678 w 12188651"/>
              <a:gd name="connsiteY2044" fmla="*/ 3262679 h 6858000"/>
              <a:gd name="connsiteX2045" fmla="*/ 9385222 w 12188651"/>
              <a:gd name="connsiteY2045" fmla="*/ 3290436 h 6858000"/>
              <a:gd name="connsiteX2046" fmla="*/ 9373809 w 12188651"/>
              <a:gd name="connsiteY2046" fmla="*/ 3318189 h 6858000"/>
              <a:gd name="connsiteX2047" fmla="*/ 9163797 w 12188651"/>
              <a:gd name="connsiteY2047" fmla="*/ 3528578 h 6858000"/>
              <a:gd name="connsiteX2048" fmla="*/ 8953784 w 12188651"/>
              <a:gd name="connsiteY2048" fmla="*/ 3318189 h 6858000"/>
              <a:gd name="connsiteX2049" fmla="*/ 8942306 w 12188651"/>
              <a:gd name="connsiteY2049" fmla="*/ 3290451 h 6858000"/>
              <a:gd name="connsiteX2050" fmla="*/ 8953783 w 12188651"/>
              <a:gd name="connsiteY2050" fmla="*/ 3262809 h 6858000"/>
              <a:gd name="connsiteX2051" fmla="*/ 9032263 w 12188651"/>
              <a:gd name="connsiteY2051" fmla="*/ 3184077 h 6858000"/>
              <a:gd name="connsiteX2052" fmla="*/ 9059892 w 12188651"/>
              <a:gd name="connsiteY2052" fmla="*/ 3172530 h 6858000"/>
              <a:gd name="connsiteX2053" fmla="*/ 7006076 w 12188651"/>
              <a:gd name="connsiteY2053" fmla="*/ 3172517 h 6858000"/>
              <a:gd name="connsiteX2054" fmla="*/ 7033834 w 12188651"/>
              <a:gd name="connsiteY2054" fmla="*/ 3184064 h 6858000"/>
              <a:gd name="connsiteX2055" fmla="*/ 7098434 w 12188651"/>
              <a:gd name="connsiteY2055" fmla="*/ 3248792 h 6858000"/>
              <a:gd name="connsiteX2056" fmla="*/ 7109978 w 12188651"/>
              <a:gd name="connsiteY2056" fmla="*/ 3260467 h 6858000"/>
              <a:gd name="connsiteX2057" fmla="*/ 7121523 w 12188651"/>
              <a:gd name="connsiteY2057" fmla="*/ 3248792 h 6858000"/>
              <a:gd name="connsiteX2058" fmla="*/ 7185994 w 12188651"/>
              <a:gd name="connsiteY2058" fmla="*/ 3184064 h 6858000"/>
              <a:gd name="connsiteX2059" fmla="*/ 7213751 w 12188651"/>
              <a:gd name="connsiteY2059" fmla="*/ 3172517 h 6858000"/>
              <a:gd name="connsiteX2060" fmla="*/ 7241381 w 12188651"/>
              <a:gd name="connsiteY2060" fmla="*/ 3184064 h 6858000"/>
              <a:gd name="connsiteX2061" fmla="*/ 7319862 w 12188651"/>
              <a:gd name="connsiteY2061" fmla="*/ 3262673 h 6858000"/>
              <a:gd name="connsiteX2062" fmla="*/ 7331405 w 12188651"/>
              <a:gd name="connsiteY2062" fmla="*/ 3290428 h 6858000"/>
              <a:gd name="connsiteX2063" fmla="*/ 7319992 w 12188651"/>
              <a:gd name="connsiteY2063" fmla="*/ 3318178 h 6858000"/>
              <a:gd name="connsiteX2064" fmla="*/ 7109978 w 12188651"/>
              <a:gd name="connsiteY2064" fmla="*/ 3528572 h 6858000"/>
              <a:gd name="connsiteX2065" fmla="*/ 6899966 w 12188651"/>
              <a:gd name="connsiteY2065" fmla="*/ 3318178 h 6858000"/>
              <a:gd name="connsiteX2066" fmla="*/ 6888487 w 12188651"/>
              <a:gd name="connsiteY2066" fmla="*/ 3290444 h 6858000"/>
              <a:gd name="connsiteX2067" fmla="*/ 6899966 w 12188651"/>
              <a:gd name="connsiteY2067" fmla="*/ 3262798 h 6858000"/>
              <a:gd name="connsiteX2068" fmla="*/ 6978446 w 12188651"/>
              <a:gd name="connsiteY2068" fmla="*/ 3184064 h 6858000"/>
              <a:gd name="connsiteX2069" fmla="*/ 7006076 w 12188651"/>
              <a:gd name="connsiteY2069" fmla="*/ 3172517 h 6858000"/>
              <a:gd name="connsiteX2070" fmla="*/ 4952157 w 12188651"/>
              <a:gd name="connsiteY2070" fmla="*/ 3172509 h 6858000"/>
              <a:gd name="connsiteX2071" fmla="*/ 4979924 w 12188651"/>
              <a:gd name="connsiteY2071" fmla="*/ 3184048 h 6858000"/>
              <a:gd name="connsiteX2072" fmla="*/ 5044521 w 12188651"/>
              <a:gd name="connsiteY2072" fmla="*/ 3248772 h 6858000"/>
              <a:gd name="connsiteX2073" fmla="*/ 5056083 w 12188651"/>
              <a:gd name="connsiteY2073" fmla="*/ 3260446 h 6858000"/>
              <a:gd name="connsiteX2074" fmla="*/ 5056083 w 12188651"/>
              <a:gd name="connsiteY2074" fmla="*/ 3260442 h 6858000"/>
              <a:gd name="connsiteX2075" fmla="*/ 5056087 w 12188651"/>
              <a:gd name="connsiteY2075" fmla="*/ 3260455 h 6858000"/>
              <a:gd name="connsiteX2076" fmla="*/ 5067642 w 12188651"/>
              <a:gd name="connsiteY2076" fmla="*/ 3248781 h 6858000"/>
              <a:gd name="connsiteX2077" fmla="*/ 5132091 w 12188651"/>
              <a:gd name="connsiteY2077" fmla="*/ 3184051 h 6858000"/>
              <a:gd name="connsiteX2078" fmla="*/ 5159840 w 12188651"/>
              <a:gd name="connsiteY2078" fmla="*/ 3172509 h 6858000"/>
              <a:gd name="connsiteX2079" fmla="*/ 5187473 w 12188651"/>
              <a:gd name="connsiteY2079" fmla="*/ 3184048 h 6858000"/>
              <a:gd name="connsiteX2080" fmla="*/ 5265932 w 12188651"/>
              <a:gd name="connsiteY2080" fmla="*/ 3262652 h 6858000"/>
              <a:gd name="connsiteX2081" fmla="*/ 5277479 w 12188651"/>
              <a:gd name="connsiteY2081" fmla="*/ 3290410 h 6858000"/>
              <a:gd name="connsiteX2082" fmla="*/ 5266071 w 12188651"/>
              <a:gd name="connsiteY2082" fmla="*/ 3318172 h 6858000"/>
              <a:gd name="connsiteX2083" fmla="*/ 5056083 w 12188651"/>
              <a:gd name="connsiteY2083" fmla="*/ 3528560 h 6858000"/>
              <a:gd name="connsiteX2084" fmla="*/ 4855197 w 12188651"/>
              <a:gd name="connsiteY2084" fmla="*/ 3327353 h 6858000"/>
              <a:gd name="connsiteX2085" fmla="*/ 4846044 w 12188651"/>
              <a:gd name="connsiteY2085" fmla="*/ 3318176 h 6858000"/>
              <a:gd name="connsiteX2086" fmla="*/ 4834566 w 12188651"/>
              <a:gd name="connsiteY2086" fmla="*/ 3290436 h 6858000"/>
              <a:gd name="connsiteX2087" fmla="*/ 4846044 w 12188651"/>
              <a:gd name="connsiteY2087" fmla="*/ 3262790 h 6858000"/>
              <a:gd name="connsiteX2088" fmla="*/ 4924518 w 12188651"/>
              <a:gd name="connsiteY2088" fmla="*/ 3184051 h 6858000"/>
              <a:gd name="connsiteX2089" fmla="*/ 4952157 w 12188651"/>
              <a:gd name="connsiteY2089" fmla="*/ 3172509 h 6858000"/>
              <a:gd name="connsiteX2090" fmla="*/ 2898373 w 12188651"/>
              <a:gd name="connsiteY2090" fmla="*/ 3172493 h 6858000"/>
              <a:gd name="connsiteX2091" fmla="*/ 2914891 w 12188651"/>
              <a:gd name="connsiteY2091" fmla="*/ 3179366 h 6858000"/>
              <a:gd name="connsiteX2092" fmla="*/ 2926113 w 12188651"/>
              <a:gd name="connsiteY2092" fmla="*/ 3184033 h 6858000"/>
              <a:gd name="connsiteX2093" fmla="*/ 2990711 w 12188651"/>
              <a:gd name="connsiteY2093" fmla="*/ 3248759 h 6858000"/>
              <a:gd name="connsiteX2094" fmla="*/ 3002256 w 12188651"/>
              <a:gd name="connsiteY2094" fmla="*/ 3260436 h 6858000"/>
              <a:gd name="connsiteX2095" fmla="*/ 3002263 w 12188651"/>
              <a:gd name="connsiteY2095" fmla="*/ 3260428 h 6858000"/>
              <a:gd name="connsiteX2096" fmla="*/ 3002278 w 12188651"/>
              <a:gd name="connsiteY2096" fmla="*/ 3260446 h 6858000"/>
              <a:gd name="connsiteX2097" fmla="*/ 3013824 w 12188651"/>
              <a:gd name="connsiteY2097" fmla="*/ 3248772 h 6858000"/>
              <a:gd name="connsiteX2098" fmla="*/ 3078289 w 12188651"/>
              <a:gd name="connsiteY2098" fmla="*/ 3184044 h 6858000"/>
              <a:gd name="connsiteX2099" fmla="*/ 3106051 w 12188651"/>
              <a:gd name="connsiteY2099" fmla="*/ 3172493 h 6858000"/>
              <a:gd name="connsiteX2100" fmla="*/ 3119341 w 12188651"/>
              <a:gd name="connsiteY2100" fmla="*/ 3178052 h 6858000"/>
              <a:gd name="connsiteX2101" fmla="*/ 3133663 w 12188651"/>
              <a:gd name="connsiteY2101" fmla="*/ 3184033 h 6858000"/>
              <a:gd name="connsiteX2102" fmla="*/ 3212138 w 12188651"/>
              <a:gd name="connsiteY2102" fmla="*/ 3262641 h 6858000"/>
              <a:gd name="connsiteX2103" fmla="*/ 3223683 w 12188651"/>
              <a:gd name="connsiteY2103" fmla="*/ 3290403 h 6858000"/>
              <a:gd name="connsiteX2104" fmla="*/ 3212269 w 12188651"/>
              <a:gd name="connsiteY2104" fmla="*/ 3318161 h 6858000"/>
              <a:gd name="connsiteX2105" fmla="*/ 3002266 w 12188651"/>
              <a:gd name="connsiteY2105" fmla="*/ 3528555 h 6858000"/>
              <a:gd name="connsiteX2106" fmla="*/ 2792268 w 12188651"/>
              <a:gd name="connsiteY2106" fmla="*/ 3318172 h 6858000"/>
              <a:gd name="connsiteX2107" fmla="*/ 2792268 w 12188651"/>
              <a:gd name="connsiteY2107" fmla="*/ 3262780 h 6858000"/>
              <a:gd name="connsiteX2108" fmla="*/ 2870745 w 12188651"/>
              <a:gd name="connsiteY2108" fmla="*/ 3184044 h 6858000"/>
              <a:gd name="connsiteX2109" fmla="*/ 844397 w 12188651"/>
              <a:gd name="connsiteY2109" fmla="*/ 3172485 h 6858000"/>
              <a:gd name="connsiteX2110" fmla="*/ 872137 w 12188651"/>
              <a:gd name="connsiteY2110" fmla="*/ 3184024 h 6858000"/>
              <a:gd name="connsiteX2111" fmla="*/ 936732 w 12188651"/>
              <a:gd name="connsiteY2111" fmla="*/ 3248751 h 6858000"/>
              <a:gd name="connsiteX2112" fmla="*/ 948278 w 12188651"/>
              <a:gd name="connsiteY2112" fmla="*/ 3260428 h 6858000"/>
              <a:gd name="connsiteX2113" fmla="*/ 948285 w 12188651"/>
              <a:gd name="connsiteY2113" fmla="*/ 3260419 h 6858000"/>
              <a:gd name="connsiteX2114" fmla="*/ 948301 w 12188651"/>
              <a:gd name="connsiteY2114" fmla="*/ 3260436 h 6858000"/>
              <a:gd name="connsiteX2115" fmla="*/ 959846 w 12188651"/>
              <a:gd name="connsiteY2115" fmla="*/ 3248759 h 6858000"/>
              <a:gd name="connsiteX2116" fmla="*/ 1024315 w 12188651"/>
              <a:gd name="connsiteY2116" fmla="*/ 3184033 h 6858000"/>
              <a:gd name="connsiteX2117" fmla="*/ 1052075 w 12188651"/>
              <a:gd name="connsiteY2117" fmla="*/ 3172485 h 6858000"/>
              <a:gd name="connsiteX2118" fmla="*/ 1079685 w 12188651"/>
              <a:gd name="connsiteY2118" fmla="*/ 3184025 h 6858000"/>
              <a:gd name="connsiteX2119" fmla="*/ 1158160 w 12188651"/>
              <a:gd name="connsiteY2119" fmla="*/ 3262631 h 6858000"/>
              <a:gd name="connsiteX2120" fmla="*/ 1169705 w 12188651"/>
              <a:gd name="connsiteY2120" fmla="*/ 3290391 h 6858000"/>
              <a:gd name="connsiteX2121" fmla="*/ 1158290 w 12188651"/>
              <a:gd name="connsiteY2121" fmla="*/ 3318153 h 6858000"/>
              <a:gd name="connsiteX2122" fmla="*/ 948288 w 12188651"/>
              <a:gd name="connsiteY2122" fmla="*/ 3528552 h 6858000"/>
              <a:gd name="connsiteX2123" fmla="*/ 738289 w 12188651"/>
              <a:gd name="connsiteY2123" fmla="*/ 3318161 h 6858000"/>
              <a:gd name="connsiteX2124" fmla="*/ 738289 w 12188651"/>
              <a:gd name="connsiteY2124" fmla="*/ 3262772 h 6858000"/>
              <a:gd name="connsiteX2125" fmla="*/ 816766 w 12188651"/>
              <a:gd name="connsiteY2125" fmla="*/ 3184033 h 6858000"/>
              <a:gd name="connsiteX2126" fmla="*/ 844397 w 12188651"/>
              <a:gd name="connsiteY2126" fmla="*/ 3172485 h 6858000"/>
              <a:gd name="connsiteX2127" fmla="*/ 11113840 w 12188651"/>
              <a:gd name="connsiteY2127" fmla="*/ 3156060 h 6858000"/>
              <a:gd name="connsiteX2128" fmla="*/ 11074665 w 12188651"/>
              <a:gd name="connsiteY2128" fmla="*/ 3172394 h 6858000"/>
              <a:gd name="connsiteX2129" fmla="*/ 10996186 w 12188651"/>
              <a:gd name="connsiteY2129" fmla="*/ 3251138 h 6858000"/>
              <a:gd name="connsiteX2130" fmla="*/ 10979939 w 12188651"/>
              <a:gd name="connsiteY2130" fmla="*/ 3290444 h 6858000"/>
              <a:gd name="connsiteX2131" fmla="*/ 10979941 w 12188651"/>
              <a:gd name="connsiteY2131" fmla="*/ 3290444 h 6858000"/>
              <a:gd name="connsiteX2132" fmla="*/ 10979939 w 12188651"/>
              <a:gd name="connsiteY2132" fmla="*/ 3290449 h 6858000"/>
              <a:gd name="connsiteX2133" fmla="*/ 10996186 w 12188651"/>
              <a:gd name="connsiteY2133" fmla="*/ 3329751 h 6858000"/>
              <a:gd name="connsiteX2134" fmla="*/ 11217744 w 12188651"/>
              <a:gd name="connsiteY2134" fmla="*/ 3551803 h 6858000"/>
              <a:gd name="connsiteX2135" fmla="*/ 11439301 w 12188651"/>
              <a:gd name="connsiteY2135" fmla="*/ 3329751 h 6858000"/>
              <a:gd name="connsiteX2136" fmla="*/ 11455548 w 12188651"/>
              <a:gd name="connsiteY2136" fmla="*/ 3290449 h 6858000"/>
              <a:gd name="connsiteX2137" fmla="*/ 11455546 w 12188651"/>
              <a:gd name="connsiteY2137" fmla="*/ 3290444 h 6858000"/>
              <a:gd name="connsiteX2138" fmla="*/ 11455548 w 12188651"/>
              <a:gd name="connsiteY2138" fmla="*/ 3290444 h 6858000"/>
              <a:gd name="connsiteX2139" fmla="*/ 11439301 w 12188651"/>
              <a:gd name="connsiteY2139" fmla="*/ 3251138 h 6858000"/>
              <a:gd name="connsiteX2140" fmla="*/ 11360822 w 12188651"/>
              <a:gd name="connsiteY2140" fmla="*/ 3172530 h 6858000"/>
              <a:gd name="connsiteX2141" fmla="*/ 11321647 w 12188651"/>
              <a:gd name="connsiteY2141" fmla="*/ 3156189 h 6858000"/>
              <a:gd name="connsiteX2142" fmla="*/ 11321517 w 12188651"/>
              <a:gd name="connsiteY2142" fmla="*/ 3156060 h 6858000"/>
              <a:gd name="connsiteX2143" fmla="*/ 11282213 w 12188651"/>
              <a:gd name="connsiteY2143" fmla="*/ 3172530 h 6858000"/>
              <a:gd name="connsiteX2144" fmla="*/ 11217744 w 12188651"/>
              <a:gd name="connsiteY2144" fmla="*/ 3237128 h 6858000"/>
              <a:gd name="connsiteX2145" fmla="*/ 11153145 w 12188651"/>
              <a:gd name="connsiteY2145" fmla="*/ 3172394 h 6858000"/>
              <a:gd name="connsiteX2146" fmla="*/ 11113840 w 12188651"/>
              <a:gd name="connsiteY2146" fmla="*/ 3156060 h 6858000"/>
              <a:gd name="connsiteX2147" fmla="*/ 9059893 w 12188651"/>
              <a:gd name="connsiteY2147" fmla="*/ 3156047 h 6858000"/>
              <a:gd name="connsiteX2148" fmla="*/ 9020718 w 12188651"/>
              <a:gd name="connsiteY2148" fmla="*/ 3172391 h 6858000"/>
              <a:gd name="connsiteX2149" fmla="*/ 8942239 w 12188651"/>
              <a:gd name="connsiteY2149" fmla="*/ 3251125 h 6858000"/>
              <a:gd name="connsiteX2150" fmla="*/ 8925992 w 12188651"/>
              <a:gd name="connsiteY2150" fmla="*/ 3290430 h 6858000"/>
              <a:gd name="connsiteX2151" fmla="*/ 8925993 w 12188651"/>
              <a:gd name="connsiteY2151" fmla="*/ 3290435 h 6858000"/>
              <a:gd name="connsiteX2152" fmla="*/ 8925991 w 12188651"/>
              <a:gd name="connsiteY2152" fmla="*/ 3290444 h 6858000"/>
              <a:gd name="connsiteX2153" fmla="*/ 8942238 w 12188651"/>
              <a:gd name="connsiteY2153" fmla="*/ 3329746 h 6858000"/>
              <a:gd name="connsiteX2154" fmla="*/ 9163796 w 12188651"/>
              <a:gd name="connsiteY2154" fmla="*/ 3551798 h 6858000"/>
              <a:gd name="connsiteX2155" fmla="*/ 9385353 w 12188651"/>
              <a:gd name="connsiteY2155" fmla="*/ 3329746 h 6858000"/>
              <a:gd name="connsiteX2156" fmla="*/ 9401600 w 12188651"/>
              <a:gd name="connsiteY2156" fmla="*/ 3290444 h 6858000"/>
              <a:gd name="connsiteX2157" fmla="*/ 9401599 w 12188651"/>
              <a:gd name="connsiteY2157" fmla="*/ 3290436 h 6858000"/>
              <a:gd name="connsiteX2158" fmla="*/ 9401601 w 12188651"/>
              <a:gd name="connsiteY2158" fmla="*/ 3290430 h 6858000"/>
              <a:gd name="connsiteX2159" fmla="*/ 9385354 w 12188651"/>
              <a:gd name="connsiteY2159" fmla="*/ 3251125 h 6858000"/>
              <a:gd name="connsiteX2160" fmla="*/ 9306876 w 12188651"/>
              <a:gd name="connsiteY2160" fmla="*/ 3172523 h 6858000"/>
              <a:gd name="connsiteX2161" fmla="*/ 9267701 w 12188651"/>
              <a:gd name="connsiteY2161" fmla="*/ 3156175 h 6858000"/>
              <a:gd name="connsiteX2162" fmla="*/ 9267571 w 12188651"/>
              <a:gd name="connsiteY2162" fmla="*/ 3156047 h 6858000"/>
              <a:gd name="connsiteX2163" fmla="*/ 9228266 w 12188651"/>
              <a:gd name="connsiteY2163" fmla="*/ 3172523 h 6858000"/>
              <a:gd name="connsiteX2164" fmla="*/ 9163797 w 12188651"/>
              <a:gd name="connsiteY2164" fmla="*/ 3237116 h 6858000"/>
              <a:gd name="connsiteX2165" fmla="*/ 9099198 w 12188651"/>
              <a:gd name="connsiteY2165" fmla="*/ 3172391 h 6858000"/>
              <a:gd name="connsiteX2166" fmla="*/ 9059893 w 12188651"/>
              <a:gd name="connsiteY2166" fmla="*/ 3156047 h 6858000"/>
              <a:gd name="connsiteX2167" fmla="*/ 7006076 w 12188651"/>
              <a:gd name="connsiteY2167" fmla="*/ 3156035 h 6858000"/>
              <a:gd name="connsiteX2168" fmla="*/ 6966901 w 12188651"/>
              <a:gd name="connsiteY2168" fmla="*/ 3172384 h 6858000"/>
              <a:gd name="connsiteX2169" fmla="*/ 6888421 w 12188651"/>
              <a:gd name="connsiteY2169" fmla="*/ 3251119 h 6858000"/>
              <a:gd name="connsiteX2170" fmla="*/ 6872174 w 12188651"/>
              <a:gd name="connsiteY2170" fmla="*/ 3290423 h 6858000"/>
              <a:gd name="connsiteX2171" fmla="*/ 6872175 w 12188651"/>
              <a:gd name="connsiteY2171" fmla="*/ 3290428 h 6858000"/>
              <a:gd name="connsiteX2172" fmla="*/ 6872174 w 12188651"/>
              <a:gd name="connsiteY2172" fmla="*/ 3290430 h 6858000"/>
              <a:gd name="connsiteX2173" fmla="*/ 6888421 w 12188651"/>
              <a:gd name="connsiteY2173" fmla="*/ 3329734 h 6858000"/>
              <a:gd name="connsiteX2174" fmla="*/ 7109978 w 12188651"/>
              <a:gd name="connsiteY2174" fmla="*/ 3551795 h 6858000"/>
              <a:gd name="connsiteX2175" fmla="*/ 7331537 w 12188651"/>
              <a:gd name="connsiteY2175" fmla="*/ 3329734 h 6858000"/>
              <a:gd name="connsiteX2176" fmla="*/ 7347783 w 12188651"/>
              <a:gd name="connsiteY2176" fmla="*/ 3290430 h 6858000"/>
              <a:gd name="connsiteX2177" fmla="*/ 7347782 w 12188651"/>
              <a:gd name="connsiteY2177" fmla="*/ 3290428 h 6858000"/>
              <a:gd name="connsiteX2178" fmla="*/ 7347783 w 12188651"/>
              <a:gd name="connsiteY2178" fmla="*/ 3290423 h 6858000"/>
              <a:gd name="connsiteX2179" fmla="*/ 7331537 w 12188651"/>
              <a:gd name="connsiteY2179" fmla="*/ 3251119 h 6858000"/>
              <a:gd name="connsiteX2180" fmla="*/ 7253057 w 12188651"/>
              <a:gd name="connsiteY2180" fmla="*/ 3172509 h 6858000"/>
              <a:gd name="connsiteX2181" fmla="*/ 7213882 w 12188651"/>
              <a:gd name="connsiteY2181" fmla="*/ 3156164 h 6858000"/>
              <a:gd name="connsiteX2182" fmla="*/ 7213751 w 12188651"/>
              <a:gd name="connsiteY2182" fmla="*/ 3156035 h 6858000"/>
              <a:gd name="connsiteX2183" fmla="*/ 7174449 w 12188651"/>
              <a:gd name="connsiteY2183" fmla="*/ 3172509 h 6858000"/>
              <a:gd name="connsiteX2184" fmla="*/ 7109978 w 12188651"/>
              <a:gd name="connsiteY2184" fmla="*/ 3237109 h 6858000"/>
              <a:gd name="connsiteX2185" fmla="*/ 7045379 w 12188651"/>
              <a:gd name="connsiteY2185" fmla="*/ 3172384 h 6858000"/>
              <a:gd name="connsiteX2186" fmla="*/ 7006076 w 12188651"/>
              <a:gd name="connsiteY2186" fmla="*/ 3156035 h 6858000"/>
              <a:gd name="connsiteX2187" fmla="*/ 4952148 w 12188651"/>
              <a:gd name="connsiteY2187" fmla="*/ 3156022 h 6858000"/>
              <a:gd name="connsiteX2188" fmla="*/ 4912971 w 12188651"/>
              <a:gd name="connsiteY2188" fmla="*/ 3172369 h 6858000"/>
              <a:gd name="connsiteX2189" fmla="*/ 4834497 w 12188651"/>
              <a:gd name="connsiteY2189" fmla="*/ 3251103 h 6858000"/>
              <a:gd name="connsiteX2190" fmla="*/ 4834497 w 12188651"/>
              <a:gd name="connsiteY2190" fmla="*/ 3329715 h 6858000"/>
              <a:gd name="connsiteX2191" fmla="*/ 4834505 w 12188651"/>
              <a:gd name="connsiteY2191" fmla="*/ 3329725 h 6858000"/>
              <a:gd name="connsiteX2192" fmla="*/ 4843779 w 12188651"/>
              <a:gd name="connsiteY2192" fmla="*/ 3339026 h 6858000"/>
              <a:gd name="connsiteX2193" fmla="*/ 5056083 w 12188651"/>
              <a:gd name="connsiteY2193" fmla="*/ 3551786 h 6858000"/>
              <a:gd name="connsiteX2194" fmla="*/ 5056083 w 12188651"/>
              <a:gd name="connsiteY2194" fmla="*/ 3551781 h 6858000"/>
              <a:gd name="connsiteX2195" fmla="*/ 5056087 w 12188651"/>
              <a:gd name="connsiteY2195" fmla="*/ 3551792 h 6858000"/>
              <a:gd name="connsiteX2196" fmla="*/ 5277615 w 12188651"/>
              <a:gd name="connsiteY2196" fmla="*/ 3329725 h 6858000"/>
              <a:gd name="connsiteX2197" fmla="*/ 5277615 w 12188651"/>
              <a:gd name="connsiteY2197" fmla="*/ 3251119 h 6858000"/>
              <a:gd name="connsiteX2198" fmla="*/ 5277613 w 12188651"/>
              <a:gd name="connsiteY2198" fmla="*/ 3251108 h 6858000"/>
              <a:gd name="connsiteX2199" fmla="*/ 5277613 w 12188651"/>
              <a:gd name="connsiteY2199" fmla="*/ 3251103 h 6858000"/>
              <a:gd name="connsiteX2200" fmla="*/ 5199129 w 12188651"/>
              <a:gd name="connsiteY2200" fmla="*/ 3172495 h 6858000"/>
              <a:gd name="connsiteX2201" fmla="*/ 5159958 w 12188651"/>
              <a:gd name="connsiteY2201" fmla="*/ 3156152 h 6858000"/>
              <a:gd name="connsiteX2202" fmla="*/ 5159824 w 12188651"/>
              <a:gd name="connsiteY2202" fmla="*/ 3156022 h 6858000"/>
              <a:gd name="connsiteX2203" fmla="*/ 5120536 w 12188651"/>
              <a:gd name="connsiteY2203" fmla="*/ 3172495 h 6858000"/>
              <a:gd name="connsiteX2204" fmla="*/ 5056083 w 12188651"/>
              <a:gd name="connsiteY2204" fmla="*/ 3237093 h 6858000"/>
              <a:gd name="connsiteX2205" fmla="*/ 4991467 w 12188651"/>
              <a:gd name="connsiteY2205" fmla="*/ 3172384 h 6858000"/>
              <a:gd name="connsiteX2206" fmla="*/ 4991467 w 12188651"/>
              <a:gd name="connsiteY2206" fmla="*/ 3172377 h 6858000"/>
              <a:gd name="connsiteX2207" fmla="*/ 4991465 w 12188651"/>
              <a:gd name="connsiteY2207" fmla="*/ 3172369 h 6858000"/>
              <a:gd name="connsiteX2208" fmla="*/ 4952148 w 12188651"/>
              <a:gd name="connsiteY2208" fmla="*/ 3156022 h 6858000"/>
              <a:gd name="connsiteX2209" fmla="*/ 2898351 w 12188651"/>
              <a:gd name="connsiteY2209" fmla="*/ 3156014 h 6858000"/>
              <a:gd name="connsiteX2210" fmla="*/ 2859177 w 12188651"/>
              <a:gd name="connsiteY2210" fmla="*/ 3172357 h 6858000"/>
              <a:gd name="connsiteX2211" fmla="*/ 2780697 w 12188651"/>
              <a:gd name="connsiteY2211" fmla="*/ 3251097 h 6858000"/>
              <a:gd name="connsiteX2212" fmla="*/ 2780697 w 12188651"/>
              <a:gd name="connsiteY2212" fmla="*/ 3329707 h 6858000"/>
              <a:gd name="connsiteX2213" fmla="*/ 3002256 w 12188651"/>
              <a:gd name="connsiteY2213" fmla="*/ 3551785 h 6858000"/>
              <a:gd name="connsiteX2214" fmla="*/ 3002266 w 12188651"/>
              <a:gd name="connsiteY2214" fmla="*/ 3551776 h 6858000"/>
              <a:gd name="connsiteX2215" fmla="*/ 3002278 w 12188651"/>
              <a:gd name="connsiteY2215" fmla="*/ 3551786 h 6858000"/>
              <a:gd name="connsiteX2216" fmla="*/ 3223834 w 12188651"/>
              <a:gd name="connsiteY2216" fmla="*/ 3329715 h 6858000"/>
              <a:gd name="connsiteX2217" fmla="*/ 3223834 w 12188651"/>
              <a:gd name="connsiteY2217" fmla="*/ 3251103 h 6858000"/>
              <a:gd name="connsiteX2218" fmla="*/ 3145357 w 12188651"/>
              <a:gd name="connsiteY2218" fmla="*/ 3172493 h 6858000"/>
              <a:gd name="connsiteX2219" fmla="*/ 3126986 w 12188651"/>
              <a:gd name="connsiteY2219" fmla="*/ 3160235 h 6858000"/>
              <a:gd name="connsiteX2220" fmla="*/ 3126973 w 12188651"/>
              <a:gd name="connsiteY2220" fmla="*/ 3160230 h 6858000"/>
              <a:gd name="connsiteX2221" fmla="*/ 3126963 w 12188651"/>
              <a:gd name="connsiteY2221" fmla="*/ 3160226 h 6858000"/>
              <a:gd name="connsiteX2222" fmla="*/ 3106177 w 12188651"/>
              <a:gd name="connsiteY2222" fmla="*/ 3156144 h 6858000"/>
              <a:gd name="connsiteX2223" fmla="*/ 3106053 w 12188651"/>
              <a:gd name="connsiteY2223" fmla="*/ 3156022 h 6858000"/>
              <a:gd name="connsiteX2224" fmla="*/ 3106044 w 12188651"/>
              <a:gd name="connsiteY2224" fmla="*/ 3156025 h 6858000"/>
              <a:gd name="connsiteX2225" fmla="*/ 3106028 w 12188651"/>
              <a:gd name="connsiteY2225" fmla="*/ 3156014 h 6858000"/>
              <a:gd name="connsiteX2226" fmla="*/ 3066725 w 12188651"/>
              <a:gd name="connsiteY2226" fmla="*/ 3172485 h 6858000"/>
              <a:gd name="connsiteX2227" fmla="*/ 3002263 w 12188651"/>
              <a:gd name="connsiteY2227" fmla="*/ 3237081 h 6858000"/>
              <a:gd name="connsiteX2228" fmla="*/ 2937680 w 12188651"/>
              <a:gd name="connsiteY2228" fmla="*/ 3172367 h 6858000"/>
              <a:gd name="connsiteX2229" fmla="*/ 2919293 w 12188651"/>
              <a:gd name="connsiteY2229" fmla="*/ 3160108 h 6858000"/>
              <a:gd name="connsiteX2230" fmla="*/ 2919279 w 12188651"/>
              <a:gd name="connsiteY2230" fmla="*/ 3160106 h 6858000"/>
              <a:gd name="connsiteX2231" fmla="*/ 2919268 w 12188651"/>
              <a:gd name="connsiteY2231" fmla="*/ 3160101 h 6858000"/>
              <a:gd name="connsiteX2232" fmla="*/ 2898351 w 12188651"/>
              <a:gd name="connsiteY2232" fmla="*/ 3156014 h 6858000"/>
              <a:gd name="connsiteX2233" fmla="*/ 844374 w 12188651"/>
              <a:gd name="connsiteY2233" fmla="*/ 3156001 h 6858000"/>
              <a:gd name="connsiteX2234" fmla="*/ 805200 w 12188651"/>
              <a:gd name="connsiteY2234" fmla="*/ 3172347 h 6858000"/>
              <a:gd name="connsiteX2235" fmla="*/ 726720 w 12188651"/>
              <a:gd name="connsiteY2235" fmla="*/ 3251087 h 6858000"/>
              <a:gd name="connsiteX2236" fmla="*/ 726720 w 12188651"/>
              <a:gd name="connsiteY2236" fmla="*/ 3329699 h 6858000"/>
              <a:gd name="connsiteX2237" fmla="*/ 948278 w 12188651"/>
              <a:gd name="connsiteY2237" fmla="*/ 3551781 h 6858000"/>
              <a:gd name="connsiteX2238" fmla="*/ 948288 w 12188651"/>
              <a:gd name="connsiteY2238" fmla="*/ 3551770 h 6858000"/>
              <a:gd name="connsiteX2239" fmla="*/ 948301 w 12188651"/>
              <a:gd name="connsiteY2239" fmla="*/ 3551785 h 6858000"/>
              <a:gd name="connsiteX2240" fmla="*/ 1169858 w 12188651"/>
              <a:gd name="connsiteY2240" fmla="*/ 3329707 h 6858000"/>
              <a:gd name="connsiteX2241" fmla="*/ 1169858 w 12188651"/>
              <a:gd name="connsiteY2241" fmla="*/ 3251093 h 6858000"/>
              <a:gd name="connsiteX2242" fmla="*/ 1091378 w 12188651"/>
              <a:gd name="connsiteY2242" fmla="*/ 3172485 h 6858000"/>
              <a:gd name="connsiteX2243" fmla="*/ 1073007 w 12188651"/>
              <a:gd name="connsiteY2243" fmla="*/ 3160226 h 6858000"/>
              <a:gd name="connsiteX2244" fmla="*/ 1072995 w 12188651"/>
              <a:gd name="connsiteY2244" fmla="*/ 3160222 h 6858000"/>
              <a:gd name="connsiteX2245" fmla="*/ 1072985 w 12188651"/>
              <a:gd name="connsiteY2245" fmla="*/ 3160218 h 6858000"/>
              <a:gd name="connsiteX2246" fmla="*/ 1052200 w 12188651"/>
              <a:gd name="connsiteY2246" fmla="*/ 3156135 h 6858000"/>
              <a:gd name="connsiteX2247" fmla="*/ 1052075 w 12188651"/>
              <a:gd name="connsiteY2247" fmla="*/ 3156010 h 6858000"/>
              <a:gd name="connsiteX2248" fmla="*/ 1052063 w 12188651"/>
              <a:gd name="connsiteY2248" fmla="*/ 3156012 h 6858000"/>
              <a:gd name="connsiteX2249" fmla="*/ 1052052 w 12188651"/>
              <a:gd name="connsiteY2249" fmla="*/ 3156001 h 6858000"/>
              <a:gd name="connsiteX2250" fmla="*/ 1012749 w 12188651"/>
              <a:gd name="connsiteY2250" fmla="*/ 3172476 h 6858000"/>
              <a:gd name="connsiteX2251" fmla="*/ 948285 w 12188651"/>
              <a:gd name="connsiteY2251" fmla="*/ 3237070 h 6858000"/>
              <a:gd name="connsiteX2252" fmla="*/ 883702 w 12188651"/>
              <a:gd name="connsiteY2252" fmla="*/ 3172357 h 6858000"/>
              <a:gd name="connsiteX2253" fmla="*/ 865315 w 12188651"/>
              <a:gd name="connsiteY2253" fmla="*/ 3160097 h 6858000"/>
              <a:gd name="connsiteX2254" fmla="*/ 865301 w 12188651"/>
              <a:gd name="connsiteY2254" fmla="*/ 3160093 h 6858000"/>
              <a:gd name="connsiteX2255" fmla="*/ 865290 w 12188651"/>
              <a:gd name="connsiteY2255" fmla="*/ 3160088 h 6858000"/>
              <a:gd name="connsiteX2256" fmla="*/ 844374 w 12188651"/>
              <a:gd name="connsiteY2256" fmla="*/ 3156001 h 6858000"/>
              <a:gd name="connsiteX2257" fmla="*/ 11910826 w 12188651"/>
              <a:gd name="connsiteY2257" fmla="*/ 2945539 h 6858000"/>
              <a:gd name="connsiteX2258" fmla="*/ 12188651 w 12188651"/>
              <a:gd name="connsiteY2258" fmla="*/ 3106326 h 6858000"/>
              <a:gd name="connsiteX2259" fmla="*/ 12188651 w 12188651"/>
              <a:gd name="connsiteY2259" fmla="*/ 3483113 h 6858000"/>
              <a:gd name="connsiteX2260" fmla="*/ 12179669 w 12188651"/>
              <a:gd name="connsiteY2260" fmla="*/ 3477916 h 6858000"/>
              <a:gd name="connsiteX2261" fmla="*/ 11910826 w 12188651"/>
              <a:gd name="connsiteY2261" fmla="*/ 3322357 h 6858000"/>
              <a:gd name="connsiteX2262" fmla="*/ 11894481 w 12188651"/>
              <a:gd name="connsiteY2262" fmla="*/ 2945539 h 6858000"/>
              <a:gd name="connsiteX2263" fmla="*/ 11894481 w 12188651"/>
              <a:gd name="connsiteY2263" fmla="*/ 3322357 h 6858000"/>
              <a:gd name="connsiteX2264" fmla="*/ 11568890 w 12188651"/>
              <a:gd name="connsiteY2264" fmla="*/ 3510681 h 6858000"/>
              <a:gd name="connsiteX2265" fmla="*/ 11568890 w 12188651"/>
              <a:gd name="connsiteY2265" fmla="*/ 3133883 h 6858000"/>
              <a:gd name="connsiteX2266" fmla="*/ 9857006 w 12188651"/>
              <a:gd name="connsiteY2266" fmla="*/ 2945522 h 6858000"/>
              <a:gd name="connsiteX2267" fmla="*/ 10182468 w 12188651"/>
              <a:gd name="connsiteY2267" fmla="*/ 3133880 h 6858000"/>
              <a:gd name="connsiteX2268" fmla="*/ 10182468 w 12188651"/>
              <a:gd name="connsiteY2268" fmla="*/ 3510676 h 6858000"/>
              <a:gd name="connsiteX2269" fmla="*/ 9857006 w 12188651"/>
              <a:gd name="connsiteY2269" fmla="*/ 3322348 h 6858000"/>
              <a:gd name="connsiteX2270" fmla="*/ 9840661 w 12188651"/>
              <a:gd name="connsiteY2270" fmla="*/ 2945522 h 6858000"/>
              <a:gd name="connsiteX2271" fmla="*/ 9840661 w 12188651"/>
              <a:gd name="connsiteY2271" fmla="*/ 3322348 h 6858000"/>
              <a:gd name="connsiteX2272" fmla="*/ 9515070 w 12188651"/>
              <a:gd name="connsiteY2272" fmla="*/ 3510676 h 6858000"/>
              <a:gd name="connsiteX2273" fmla="*/ 9515070 w 12188651"/>
              <a:gd name="connsiteY2273" fmla="*/ 3133880 h 6858000"/>
              <a:gd name="connsiteX2274" fmla="*/ 7803060 w 12188651"/>
              <a:gd name="connsiteY2274" fmla="*/ 2945507 h 6858000"/>
              <a:gd name="connsiteX2275" fmla="*/ 8128521 w 12188651"/>
              <a:gd name="connsiteY2275" fmla="*/ 3133865 h 6858000"/>
              <a:gd name="connsiteX2276" fmla="*/ 8128521 w 12188651"/>
              <a:gd name="connsiteY2276" fmla="*/ 3510673 h 6858000"/>
              <a:gd name="connsiteX2277" fmla="*/ 7803060 w 12188651"/>
              <a:gd name="connsiteY2277" fmla="*/ 3322337 h 6858000"/>
              <a:gd name="connsiteX2278" fmla="*/ 7786715 w 12188651"/>
              <a:gd name="connsiteY2278" fmla="*/ 2945507 h 6858000"/>
              <a:gd name="connsiteX2279" fmla="*/ 7786715 w 12188651"/>
              <a:gd name="connsiteY2279" fmla="*/ 3322337 h 6858000"/>
              <a:gd name="connsiteX2280" fmla="*/ 7461125 w 12188651"/>
              <a:gd name="connsiteY2280" fmla="*/ 3510673 h 6858000"/>
              <a:gd name="connsiteX2281" fmla="*/ 7461125 w 12188651"/>
              <a:gd name="connsiteY2281" fmla="*/ 3133865 h 6858000"/>
              <a:gd name="connsiteX2282" fmla="*/ 5732923 w 12188651"/>
              <a:gd name="connsiteY2282" fmla="*/ 2945499 h 6858000"/>
              <a:gd name="connsiteX2283" fmla="*/ 5732923 w 12188651"/>
              <a:gd name="connsiteY2283" fmla="*/ 3322330 h 6858000"/>
              <a:gd name="connsiteX2284" fmla="*/ 5407352 w 12188651"/>
              <a:gd name="connsiteY2284" fmla="*/ 3510667 h 6858000"/>
              <a:gd name="connsiteX2285" fmla="*/ 5407352 w 12188651"/>
              <a:gd name="connsiteY2285" fmla="*/ 3133857 h 6858000"/>
              <a:gd name="connsiteX2286" fmla="*/ 5749264 w 12188651"/>
              <a:gd name="connsiteY2286" fmla="*/ 2945497 h 6858000"/>
              <a:gd name="connsiteX2287" fmla="*/ 6074705 w 12188651"/>
              <a:gd name="connsiteY2287" fmla="*/ 3133857 h 6858000"/>
              <a:gd name="connsiteX2288" fmla="*/ 6074705 w 12188651"/>
              <a:gd name="connsiteY2288" fmla="*/ 3510669 h 6858000"/>
              <a:gd name="connsiteX2289" fmla="*/ 6000145 w 12188651"/>
              <a:gd name="connsiteY2289" fmla="*/ 3467515 h 6858000"/>
              <a:gd name="connsiteX2290" fmla="*/ 5878454 w 12188651"/>
              <a:gd name="connsiteY2290" fmla="*/ 3397098 h 6858000"/>
              <a:gd name="connsiteX2291" fmla="*/ 5749264 w 12188651"/>
              <a:gd name="connsiteY2291" fmla="*/ 3322330 h 6858000"/>
              <a:gd name="connsiteX2292" fmla="*/ 3679140 w 12188651"/>
              <a:gd name="connsiteY2292" fmla="*/ 2945490 h 6858000"/>
              <a:gd name="connsiteX2293" fmla="*/ 3679140 w 12188651"/>
              <a:gd name="connsiteY2293" fmla="*/ 3322322 h 6858000"/>
              <a:gd name="connsiteX2294" fmla="*/ 3353560 w 12188651"/>
              <a:gd name="connsiteY2294" fmla="*/ 3510663 h 6858000"/>
              <a:gd name="connsiteX2295" fmla="*/ 3353560 w 12188651"/>
              <a:gd name="connsiteY2295" fmla="*/ 3133842 h 6858000"/>
              <a:gd name="connsiteX2296" fmla="*/ 3695488 w 12188651"/>
              <a:gd name="connsiteY2296" fmla="*/ 2945487 h 6858000"/>
              <a:gd name="connsiteX2297" fmla="*/ 3801286 w 12188651"/>
              <a:gd name="connsiteY2297" fmla="*/ 3006724 h 6858000"/>
              <a:gd name="connsiteX2298" fmla="*/ 4009955 w 12188651"/>
              <a:gd name="connsiteY2298" fmla="*/ 3127481 h 6858000"/>
              <a:gd name="connsiteX2299" fmla="*/ 4020941 w 12188651"/>
              <a:gd name="connsiteY2299" fmla="*/ 3133840 h 6858000"/>
              <a:gd name="connsiteX2300" fmla="*/ 4020941 w 12188651"/>
              <a:gd name="connsiteY2300" fmla="*/ 3510665 h 6858000"/>
              <a:gd name="connsiteX2301" fmla="*/ 3719511 w 12188651"/>
              <a:gd name="connsiteY2301" fmla="*/ 3336225 h 6858000"/>
              <a:gd name="connsiteX2302" fmla="*/ 3695488 w 12188651"/>
              <a:gd name="connsiteY2302" fmla="*/ 3322325 h 6858000"/>
              <a:gd name="connsiteX2303" fmla="*/ 1625162 w 12188651"/>
              <a:gd name="connsiteY2303" fmla="*/ 2945478 h 6858000"/>
              <a:gd name="connsiteX2304" fmla="*/ 1625162 w 12188651"/>
              <a:gd name="connsiteY2304" fmla="*/ 3322313 h 6858000"/>
              <a:gd name="connsiteX2305" fmla="*/ 1299579 w 12188651"/>
              <a:gd name="connsiteY2305" fmla="*/ 3510659 h 6858000"/>
              <a:gd name="connsiteX2306" fmla="*/ 1299579 w 12188651"/>
              <a:gd name="connsiteY2306" fmla="*/ 3133831 h 6858000"/>
              <a:gd name="connsiteX2307" fmla="*/ 1641512 w 12188651"/>
              <a:gd name="connsiteY2307" fmla="*/ 2945475 h 6858000"/>
              <a:gd name="connsiteX2308" fmla="*/ 1828330 w 12188651"/>
              <a:gd name="connsiteY2308" fmla="*/ 3053589 h 6858000"/>
              <a:gd name="connsiteX2309" fmla="*/ 1966968 w 12188651"/>
              <a:gd name="connsiteY2309" fmla="*/ 3133829 h 6858000"/>
              <a:gd name="connsiteX2310" fmla="*/ 1966968 w 12188651"/>
              <a:gd name="connsiteY2310" fmla="*/ 3510659 h 6858000"/>
              <a:gd name="connsiteX2311" fmla="*/ 1641512 w 12188651"/>
              <a:gd name="connsiteY2311" fmla="*/ 3322313 h 6858000"/>
              <a:gd name="connsiteX2312" fmla="*/ 10532576 w 12188651"/>
              <a:gd name="connsiteY2312" fmla="*/ 2940723 h 6858000"/>
              <a:gd name="connsiteX2313" fmla="*/ 10866339 w 12188651"/>
              <a:gd name="connsiteY2313" fmla="*/ 3133880 h 6858000"/>
              <a:gd name="connsiteX2314" fmla="*/ 10866339 w 12188651"/>
              <a:gd name="connsiteY2314" fmla="*/ 3520144 h 6858000"/>
              <a:gd name="connsiteX2315" fmla="*/ 10532706 w 12188651"/>
              <a:gd name="connsiteY2315" fmla="*/ 3713300 h 6858000"/>
              <a:gd name="connsiteX2316" fmla="*/ 10198941 w 12188651"/>
              <a:gd name="connsiteY2316" fmla="*/ 3520144 h 6858000"/>
              <a:gd name="connsiteX2317" fmla="*/ 10198941 w 12188651"/>
              <a:gd name="connsiteY2317" fmla="*/ 3133880 h 6858000"/>
              <a:gd name="connsiteX2318" fmla="*/ 8478628 w 12188651"/>
              <a:gd name="connsiteY2318" fmla="*/ 2940707 h 6858000"/>
              <a:gd name="connsiteX2319" fmla="*/ 8812392 w 12188651"/>
              <a:gd name="connsiteY2319" fmla="*/ 3133865 h 6858000"/>
              <a:gd name="connsiteX2320" fmla="*/ 8812392 w 12188651"/>
              <a:gd name="connsiteY2320" fmla="*/ 3520144 h 6858000"/>
              <a:gd name="connsiteX2321" fmla="*/ 8478758 w 12188651"/>
              <a:gd name="connsiteY2321" fmla="*/ 3713296 h 6858000"/>
              <a:gd name="connsiteX2322" fmla="*/ 8144995 w 12188651"/>
              <a:gd name="connsiteY2322" fmla="*/ 3520144 h 6858000"/>
              <a:gd name="connsiteX2323" fmla="*/ 8144995 w 12188651"/>
              <a:gd name="connsiteY2323" fmla="*/ 3133865 h 6858000"/>
              <a:gd name="connsiteX2324" fmla="*/ 6424810 w 12188651"/>
              <a:gd name="connsiteY2324" fmla="*/ 2940696 h 6858000"/>
              <a:gd name="connsiteX2325" fmla="*/ 6758573 w 12188651"/>
              <a:gd name="connsiteY2325" fmla="*/ 3133857 h 6858000"/>
              <a:gd name="connsiteX2326" fmla="*/ 6758573 w 12188651"/>
              <a:gd name="connsiteY2326" fmla="*/ 3520138 h 6858000"/>
              <a:gd name="connsiteX2327" fmla="*/ 6424940 w 12188651"/>
              <a:gd name="connsiteY2327" fmla="*/ 3713294 h 6858000"/>
              <a:gd name="connsiteX2328" fmla="*/ 6091179 w 12188651"/>
              <a:gd name="connsiteY2328" fmla="*/ 3520138 h 6858000"/>
              <a:gd name="connsiteX2329" fmla="*/ 6091179 w 12188651"/>
              <a:gd name="connsiteY2329" fmla="*/ 3133857 h 6858000"/>
              <a:gd name="connsiteX2330" fmla="*/ 4371020 w 12188651"/>
              <a:gd name="connsiteY2330" fmla="*/ 2940688 h 6858000"/>
              <a:gd name="connsiteX2331" fmla="*/ 4704773 w 12188651"/>
              <a:gd name="connsiteY2331" fmla="*/ 3133840 h 6858000"/>
              <a:gd name="connsiteX2332" fmla="*/ 4704773 w 12188651"/>
              <a:gd name="connsiteY2332" fmla="*/ 3520136 h 6858000"/>
              <a:gd name="connsiteX2333" fmla="*/ 4371146 w 12188651"/>
              <a:gd name="connsiteY2333" fmla="*/ 3713289 h 6858000"/>
              <a:gd name="connsiteX2334" fmla="*/ 4037424 w 12188651"/>
              <a:gd name="connsiteY2334" fmla="*/ 3520136 h 6858000"/>
              <a:gd name="connsiteX2335" fmla="*/ 4037424 w 12188651"/>
              <a:gd name="connsiteY2335" fmla="*/ 3133842 h 6858000"/>
              <a:gd name="connsiteX2336" fmla="*/ 2317088 w 12188651"/>
              <a:gd name="connsiteY2336" fmla="*/ 2940676 h 6858000"/>
              <a:gd name="connsiteX2337" fmla="*/ 2650840 w 12188651"/>
              <a:gd name="connsiteY2337" fmla="*/ 3133829 h 6858000"/>
              <a:gd name="connsiteX2338" fmla="*/ 2650840 w 12188651"/>
              <a:gd name="connsiteY2338" fmla="*/ 3520133 h 6858000"/>
              <a:gd name="connsiteX2339" fmla="*/ 2317216 w 12188651"/>
              <a:gd name="connsiteY2339" fmla="*/ 3713283 h 6858000"/>
              <a:gd name="connsiteX2340" fmla="*/ 1983450 w 12188651"/>
              <a:gd name="connsiteY2340" fmla="*/ 3520133 h 6858000"/>
              <a:gd name="connsiteX2341" fmla="*/ 1983450 w 12188651"/>
              <a:gd name="connsiteY2341" fmla="*/ 3133831 h 6858000"/>
              <a:gd name="connsiteX2342" fmla="*/ 263242 w 12188651"/>
              <a:gd name="connsiteY2342" fmla="*/ 2940664 h 6858000"/>
              <a:gd name="connsiteX2343" fmla="*/ 596998 w 12188651"/>
              <a:gd name="connsiteY2343" fmla="*/ 3133814 h 6858000"/>
              <a:gd name="connsiteX2344" fmla="*/ 596998 w 12188651"/>
              <a:gd name="connsiteY2344" fmla="*/ 3520129 h 6858000"/>
              <a:gd name="connsiteX2345" fmla="*/ 263368 w 12188651"/>
              <a:gd name="connsiteY2345" fmla="*/ 3713281 h 6858000"/>
              <a:gd name="connsiteX2346" fmla="*/ 0 w 12188651"/>
              <a:gd name="connsiteY2346" fmla="*/ 3560866 h 6858000"/>
              <a:gd name="connsiteX2347" fmla="*/ 0 w 12188651"/>
              <a:gd name="connsiteY2347" fmla="*/ 3093067 h 6858000"/>
              <a:gd name="connsiteX2348" fmla="*/ 11217614 w 12188651"/>
              <a:gd name="connsiteY2348" fmla="*/ 2940473 h 6858000"/>
              <a:gd name="connsiteX2349" fmla="*/ 11551377 w 12188651"/>
              <a:gd name="connsiteY2349" fmla="*/ 3133625 h 6858000"/>
              <a:gd name="connsiteX2350" fmla="*/ 11551377 w 12188651"/>
              <a:gd name="connsiteY2350" fmla="*/ 3519758 h 6858000"/>
              <a:gd name="connsiteX2351" fmla="*/ 11217614 w 12188651"/>
              <a:gd name="connsiteY2351" fmla="*/ 3712908 h 6858000"/>
              <a:gd name="connsiteX2352" fmla="*/ 10883851 w 12188651"/>
              <a:gd name="connsiteY2352" fmla="*/ 3519758 h 6858000"/>
              <a:gd name="connsiteX2353" fmla="*/ 10883851 w 12188651"/>
              <a:gd name="connsiteY2353" fmla="*/ 3133625 h 6858000"/>
              <a:gd name="connsiteX2354" fmla="*/ 9163666 w 12188651"/>
              <a:gd name="connsiteY2354" fmla="*/ 2940462 h 6858000"/>
              <a:gd name="connsiteX2355" fmla="*/ 9497429 w 12188651"/>
              <a:gd name="connsiteY2355" fmla="*/ 3133615 h 6858000"/>
              <a:gd name="connsiteX2356" fmla="*/ 9497429 w 12188651"/>
              <a:gd name="connsiteY2356" fmla="*/ 3519754 h 6858000"/>
              <a:gd name="connsiteX2357" fmla="*/ 9163666 w 12188651"/>
              <a:gd name="connsiteY2357" fmla="*/ 3712908 h 6858000"/>
              <a:gd name="connsiteX2358" fmla="*/ 8829903 w 12188651"/>
              <a:gd name="connsiteY2358" fmla="*/ 3519753 h 6858000"/>
              <a:gd name="connsiteX2359" fmla="*/ 8829903 w 12188651"/>
              <a:gd name="connsiteY2359" fmla="*/ 3133615 h 6858000"/>
              <a:gd name="connsiteX2360" fmla="*/ 7109850 w 12188651"/>
              <a:gd name="connsiteY2360" fmla="*/ 2940450 h 6858000"/>
              <a:gd name="connsiteX2361" fmla="*/ 7443613 w 12188651"/>
              <a:gd name="connsiteY2361" fmla="*/ 3133605 h 6858000"/>
              <a:gd name="connsiteX2362" fmla="*/ 7443613 w 12188651"/>
              <a:gd name="connsiteY2362" fmla="*/ 3519749 h 6858000"/>
              <a:gd name="connsiteX2363" fmla="*/ 7109850 w 12188651"/>
              <a:gd name="connsiteY2363" fmla="*/ 3712903 h 6858000"/>
              <a:gd name="connsiteX2364" fmla="*/ 6776085 w 12188651"/>
              <a:gd name="connsiteY2364" fmla="*/ 3519749 h 6858000"/>
              <a:gd name="connsiteX2365" fmla="*/ 6776085 w 12188651"/>
              <a:gd name="connsiteY2365" fmla="*/ 3133605 h 6858000"/>
              <a:gd name="connsiteX2366" fmla="*/ 5055965 w 12188651"/>
              <a:gd name="connsiteY2366" fmla="*/ 2940439 h 6858000"/>
              <a:gd name="connsiteX2367" fmla="*/ 5389690 w 12188651"/>
              <a:gd name="connsiteY2367" fmla="*/ 3133585 h 6858000"/>
              <a:gd name="connsiteX2368" fmla="*/ 5389690 w 12188651"/>
              <a:gd name="connsiteY2368" fmla="*/ 3519747 h 6858000"/>
              <a:gd name="connsiteX2369" fmla="*/ 5055955 w 12188651"/>
              <a:gd name="connsiteY2369" fmla="*/ 3712897 h 6858000"/>
              <a:gd name="connsiteX2370" fmla="*/ 4722175 w 12188651"/>
              <a:gd name="connsiteY2370" fmla="*/ 3519749 h 6858000"/>
              <a:gd name="connsiteX2371" fmla="*/ 4722175 w 12188651"/>
              <a:gd name="connsiteY2371" fmla="*/ 3133594 h 6858000"/>
              <a:gd name="connsiteX2372" fmla="*/ 3002150 w 12188651"/>
              <a:gd name="connsiteY2372" fmla="*/ 2940429 h 6858000"/>
              <a:gd name="connsiteX2373" fmla="*/ 3335888 w 12188651"/>
              <a:gd name="connsiteY2373" fmla="*/ 3133567 h 6858000"/>
              <a:gd name="connsiteX2374" fmla="*/ 3335888 w 12188651"/>
              <a:gd name="connsiteY2374" fmla="*/ 3519745 h 6858000"/>
              <a:gd name="connsiteX2375" fmla="*/ 3002137 w 12188651"/>
              <a:gd name="connsiteY2375" fmla="*/ 3712891 h 6858000"/>
              <a:gd name="connsiteX2376" fmla="*/ 2668389 w 12188651"/>
              <a:gd name="connsiteY2376" fmla="*/ 3519747 h 6858000"/>
              <a:gd name="connsiteX2377" fmla="*/ 2668389 w 12188651"/>
              <a:gd name="connsiteY2377" fmla="*/ 3133585 h 6858000"/>
              <a:gd name="connsiteX2378" fmla="*/ 948172 w 12188651"/>
              <a:gd name="connsiteY2378" fmla="*/ 2940415 h 6858000"/>
              <a:gd name="connsiteX2379" fmla="*/ 1281911 w 12188651"/>
              <a:gd name="connsiteY2379" fmla="*/ 3133560 h 6858000"/>
              <a:gd name="connsiteX2380" fmla="*/ 1281911 w 12188651"/>
              <a:gd name="connsiteY2380" fmla="*/ 3519738 h 6858000"/>
              <a:gd name="connsiteX2381" fmla="*/ 948159 w 12188651"/>
              <a:gd name="connsiteY2381" fmla="*/ 3712889 h 6858000"/>
              <a:gd name="connsiteX2382" fmla="*/ 614412 w 12188651"/>
              <a:gd name="connsiteY2382" fmla="*/ 3519745 h 6858000"/>
              <a:gd name="connsiteX2383" fmla="*/ 614412 w 12188651"/>
              <a:gd name="connsiteY2383" fmla="*/ 3133570 h 6858000"/>
              <a:gd name="connsiteX2384" fmla="*/ 10875809 w 12188651"/>
              <a:gd name="connsiteY2384" fmla="*/ 2742645 h 6858000"/>
              <a:gd name="connsiteX2385" fmla="*/ 11201258 w 12188651"/>
              <a:gd name="connsiteY2385" fmla="*/ 2930995 h 6858000"/>
              <a:gd name="connsiteX2386" fmla="*/ 10875678 w 12188651"/>
              <a:gd name="connsiteY2386" fmla="*/ 3119343 h 6858000"/>
              <a:gd name="connsiteX2387" fmla="*/ 10550229 w 12188651"/>
              <a:gd name="connsiteY2387" fmla="*/ 2930995 h 6858000"/>
              <a:gd name="connsiteX2388" fmla="*/ 8821860 w 12188651"/>
              <a:gd name="connsiteY2388" fmla="*/ 2742638 h 6858000"/>
              <a:gd name="connsiteX2389" fmla="*/ 9147310 w 12188651"/>
              <a:gd name="connsiteY2389" fmla="*/ 2930991 h 6858000"/>
              <a:gd name="connsiteX2390" fmla="*/ 8821731 w 12188651"/>
              <a:gd name="connsiteY2390" fmla="*/ 3119333 h 6858000"/>
              <a:gd name="connsiteX2391" fmla="*/ 8496280 w 12188651"/>
              <a:gd name="connsiteY2391" fmla="*/ 2930985 h 6858000"/>
              <a:gd name="connsiteX2392" fmla="*/ 6768043 w 12188651"/>
              <a:gd name="connsiteY2392" fmla="*/ 2742623 h 6858000"/>
              <a:gd name="connsiteX2393" fmla="*/ 7093493 w 12188651"/>
              <a:gd name="connsiteY2393" fmla="*/ 2930975 h 6858000"/>
              <a:gd name="connsiteX2394" fmla="*/ 6767913 w 12188651"/>
              <a:gd name="connsiteY2394" fmla="*/ 3119325 h 6858000"/>
              <a:gd name="connsiteX2395" fmla="*/ 6442464 w 12188651"/>
              <a:gd name="connsiteY2395" fmla="*/ 2930975 h 6858000"/>
              <a:gd name="connsiteX2396" fmla="*/ 4714128 w 12188651"/>
              <a:gd name="connsiteY2396" fmla="*/ 2742613 h 6858000"/>
              <a:gd name="connsiteX2397" fmla="*/ 5016384 w 12188651"/>
              <a:gd name="connsiteY2397" fmla="*/ 2917526 h 6858000"/>
              <a:gd name="connsiteX2398" fmla="*/ 5039593 w 12188651"/>
              <a:gd name="connsiteY2398" fmla="*/ 2930956 h 6858000"/>
              <a:gd name="connsiteX2399" fmla="*/ 4713985 w 12188651"/>
              <a:gd name="connsiteY2399" fmla="*/ 3119313 h 6858000"/>
              <a:gd name="connsiteX2400" fmla="*/ 4388545 w 12188651"/>
              <a:gd name="connsiteY2400" fmla="*/ 2930963 h 6858000"/>
              <a:gd name="connsiteX2401" fmla="*/ 2660343 w 12188651"/>
              <a:gd name="connsiteY2401" fmla="*/ 2742602 h 6858000"/>
              <a:gd name="connsiteX2402" fmla="*/ 2985782 w 12188651"/>
              <a:gd name="connsiteY2402" fmla="*/ 2930946 h 6858000"/>
              <a:gd name="connsiteX2403" fmla="*/ 2660193 w 12188651"/>
              <a:gd name="connsiteY2403" fmla="*/ 3119300 h 6858000"/>
              <a:gd name="connsiteX2404" fmla="*/ 2617605 w 12188651"/>
              <a:gd name="connsiteY2404" fmla="*/ 3094653 h 6858000"/>
              <a:gd name="connsiteX2405" fmla="*/ 2334759 w 12188651"/>
              <a:gd name="connsiteY2405" fmla="*/ 2930956 h 6858000"/>
              <a:gd name="connsiteX2406" fmla="*/ 606366 w 12188651"/>
              <a:gd name="connsiteY2406" fmla="*/ 2742589 h 6858000"/>
              <a:gd name="connsiteX2407" fmla="*/ 931803 w 12188651"/>
              <a:gd name="connsiteY2407" fmla="*/ 2930932 h 6858000"/>
              <a:gd name="connsiteX2408" fmla="*/ 606216 w 12188651"/>
              <a:gd name="connsiteY2408" fmla="*/ 3119286 h 6858000"/>
              <a:gd name="connsiteX2409" fmla="*/ 280778 w 12188651"/>
              <a:gd name="connsiteY2409" fmla="*/ 2930946 h 6858000"/>
              <a:gd name="connsiteX2410" fmla="*/ 12140685 w 12188651"/>
              <a:gd name="connsiteY2410" fmla="*/ 2578699 h 6858000"/>
              <a:gd name="connsiteX2411" fmla="*/ 12168445 w 12188651"/>
              <a:gd name="connsiteY2411" fmla="*/ 2590244 h 6858000"/>
              <a:gd name="connsiteX2412" fmla="*/ 12188651 w 12188651"/>
              <a:gd name="connsiteY2412" fmla="*/ 2610493 h 6858000"/>
              <a:gd name="connsiteX2413" fmla="*/ 12188651 w 12188651"/>
              <a:gd name="connsiteY2413" fmla="*/ 2878728 h 6858000"/>
              <a:gd name="connsiteX2414" fmla="*/ 12034576 w 12188651"/>
              <a:gd name="connsiteY2414" fmla="*/ 2724359 h 6858000"/>
              <a:gd name="connsiteX2415" fmla="*/ 12034576 w 12188651"/>
              <a:gd name="connsiteY2415" fmla="*/ 2668969 h 6858000"/>
              <a:gd name="connsiteX2416" fmla="*/ 12113056 w 12188651"/>
              <a:gd name="connsiteY2416" fmla="*/ 2590244 h 6858000"/>
              <a:gd name="connsiteX2417" fmla="*/ 12140685 w 12188651"/>
              <a:gd name="connsiteY2417" fmla="*/ 2578699 h 6858000"/>
              <a:gd name="connsiteX2418" fmla="*/ 10086867 w 12188651"/>
              <a:gd name="connsiteY2418" fmla="*/ 2578676 h 6858000"/>
              <a:gd name="connsiteX2419" fmla="*/ 10114626 w 12188651"/>
              <a:gd name="connsiteY2419" fmla="*/ 2590227 h 6858000"/>
              <a:gd name="connsiteX2420" fmla="*/ 10179226 w 12188651"/>
              <a:gd name="connsiteY2420" fmla="*/ 2654952 h 6858000"/>
              <a:gd name="connsiteX2421" fmla="*/ 10190770 w 12188651"/>
              <a:gd name="connsiteY2421" fmla="*/ 2666628 h 6858000"/>
              <a:gd name="connsiteX2422" fmla="*/ 10202315 w 12188651"/>
              <a:gd name="connsiteY2422" fmla="*/ 2654952 h 6858000"/>
              <a:gd name="connsiteX2423" fmla="*/ 10266786 w 12188651"/>
              <a:gd name="connsiteY2423" fmla="*/ 2590227 h 6858000"/>
              <a:gd name="connsiteX2424" fmla="*/ 10294543 w 12188651"/>
              <a:gd name="connsiteY2424" fmla="*/ 2578676 h 6858000"/>
              <a:gd name="connsiteX2425" fmla="*/ 10322173 w 12188651"/>
              <a:gd name="connsiteY2425" fmla="*/ 2590227 h 6858000"/>
              <a:gd name="connsiteX2426" fmla="*/ 10400653 w 12188651"/>
              <a:gd name="connsiteY2426" fmla="*/ 2668833 h 6858000"/>
              <a:gd name="connsiteX2427" fmla="*/ 10412198 w 12188651"/>
              <a:gd name="connsiteY2427" fmla="*/ 2696581 h 6858000"/>
              <a:gd name="connsiteX2428" fmla="*/ 10400783 w 12188651"/>
              <a:gd name="connsiteY2428" fmla="*/ 2724349 h 6858000"/>
              <a:gd name="connsiteX2429" fmla="*/ 10190770 w 12188651"/>
              <a:gd name="connsiteY2429" fmla="*/ 2934758 h 6858000"/>
              <a:gd name="connsiteX2430" fmla="*/ 9980757 w 12188651"/>
              <a:gd name="connsiteY2430" fmla="*/ 2724349 h 6858000"/>
              <a:gd name="connsiteX2431" fmla="*/ 9980757 w 12188651"/>
              <a:gd name="connsiteY2431" fmla="*/ 2668961 h 6858000"/>
              <a:gd name="connsiteX2432" fmla="*/ 10059237 w 12188651"/>
              <a:gd name="connsiteY2432" fmla="*/ 2590227 h 6858000"/>
              <a:gd name="connsiteX2433" fmla="*/ 10086867 w 12188651"/>
              <a:gd name="connsiteY2433" fmla="*/ 2578676 h 6858000"/>
              <a:gd name="connsiteX2434" fmla="*/ 8032919 w 12188651"/>
              <a:gd name="connsiteY2434" fmla="*/ 2578668 h 6858000"/>
              <a:gd name="connsiteX2435" fmla="*/ 8060679 w 12188651"/>
              <a:gd name="connsiteY2435" fmla="*/ 2590216 h 6858000"/>
              <a:gd name="connsiteX2436" fmla="*/ 8125278 w 12188651"/>
              <a:gd name="connsiteY2436" fmla="*/ 2654936 h 6858000"/>
              <a:gd name="connsiteX2437" fmla="*/ 8136823 w 12188651"/>
              <a:gd name="connsiteY2437" fmla="*/ 2666615 h 6858000"/>
              <a:gd name="connsiteX2438" fmla="*/ 8148368 w 12188651"/>
              <a:gd name="connsiteY2438" fmla="*/ 2654936 h 6858000"/>
              <a:gd name="connsiteX2439" fmla="*/ 8212837 w 12188651"/>
              <a:gd name="connsiteY2439" fmla="*/ 2590216 h 6858000"/>
              <a:gd name="connsiteX2440" fmla="*/ 8240596 w 12188651"/>
              <a:gd name="connsiteY2440" fmla="*/ 2578668 h 6858000"/>
              <a:gd name="connsiteX2441" fmla="*/ 8268226 w 12188651"/>
              <a:gd name="connsiteY2441" fmla="*/ 2590216 h 6858000"/>
              <a:gd name="connsiteX2442" fmla="*/ 8346707 w 12188651"/>
              <a:gd name="connsiteY2442" fmla="*/ 2668813 h 6858000"/>
              <a:gd name="connsiteX2443" fmla="*/ 8358252 w 12188651"/>
              <a:gd name="connsiteY2443" fmla="*/ 2696569 h 6858000"/>
              <a:gd name="connsiteX2444" fmla="*/ 8346837 w 12188651"/>
              <a:gd name="connsiteY2444" fmla="*/ 2724335 h 6858000"/>
              <a:gd name="connsiteX2445" fmla="*/ 8136823 w 12188651"/>
              <a:gd name="connsiteY2445" fmla="*/ 2934740 h 6858000"/>
              <a:gd name="connsiteX2446" fmla="*/ 7926811 w 12188651"/>
              <a:gd name="connsiteY2446" fmla="*/ 2724335 h 6858000"/>
              <a:gd name="connsiteX2447" fmla="*/ 7926811 w 12188651"/>
              <a:gd name="connsiteY2447" fmla="*/ 2668949 h 6858000"/>
              <a:gd name="connsiteX2448" fmla="*/ 8005289 w 12188651"/>
              <a:gd name="connsiteY2448" fmla="*/ 2590216 h 6858000"/>
              <a:gd name="connsiteX2449" fmla="*/ 8032919 w 12188651"/>
              <a:gd name="connsiteY2449" fmla="*/ 2578668 h 6858000"/>
              <a:gd name="connsiteX2450" fmla="*/ 5979110 w 12188651"/>
              <a:gd name="connsiteY2450" fmla="*/ 2578647 h 6858000"/>
              <a:gd name="connsiteX2451" fmla="*/ 6006867 w 12188651"/>
              <a:gd name="connsiteY2451" fmla="*/ 2590201 h 6858000"/>
              <a:gd name="connsiteX2452" fmla="*/ 6071463 w 12188651"/>
              <a:gd name="connsiteY2452" fmla="*/ 2654925 h 6858000"/>
              <a:gd name="connsiteX2453" fmla="*/ 6083008 w 12188651"/>
              <a:gd name="connsiteY2453" fmla="*/ 2666599 h 6858000"/>
              <a:gd name="connsiteX2454" fmla="*/ 6094550 w 12188651"/>
              <a:gd name="connsiteY2454" fmla="*/ 2654925 h 6858000"/>
              <a:gd name="connsiteX2455" fmla="*/ 6159019 w 12188651"/>
              <a:gd name="connsiteY2455" fmla="*/ 2590201 h 6858000"/>
              <a:gd name="connsiteX2456" fmla="*/ 6186779 w 12188651"/>
              <a:gd name="connsiteY2456" fmla="*/ 2578647 h 6858000"/>
              <a:gd name="connsiteX2457" fmla="*/ 6214409 w 12188651"/>
              <a:gd name="connsiteY2457" fmla="*/ 2590201 h 6858000"/>
              <a:gd name="connsiteX2458" fmla="*/ 6292888 w 12188651"/>
              <a:gd name="connsiteY2458" fmla="*/ 2668806 h 6858000"/>
              <a:gd name="connsiteX2459" fmla="*/ 6304433 w 12188651"/>
              <a:gd name="connsiteY2459" fmla="*/ 2696558 h 6858000"/>
              <a:gd name="connsiteX2460" fmla="*/ 6293017 w 12188651"/>
              <a:gd name="connsiteY2460" fmla="*/ 2724322 h 6858000"/>
              <a:gd name="connsiteX2461" fmla="*/ 6083008 w 12188651"/>
              <a:gd name="connsiteY2461" fmla="*/ 2934732 h 6858000"/>
              <a:gd name="connsiteX2462" fmla="*/ 5873007 w 12188651"/>
              <a:gd name="connsiteY2462" fmla="*/ 2724322 h 6858000"/>
              <a:gd name="connsiteX2463" fmla="*/ 5873007 w 12188651"/>
              <a:gd name="connsiteY2463" fmla="*/ 2668929 h 6858000"/>
              <a:gd name="connsiteX2464" fmla="*/ 5951483 w 12188651"/>
              <a:gd name="connsiteY2464" fmla="*/ 2590201 h 6858000"/>
              <a:gd name="connsiteX2465" fmla="*/ 5979110 w 12188651"/>
              <a:gd name="connsiteY2465" fmla="*/ 2578647 h 6858000"/>
              <a:gd name="connsiteX2466" fmla="*/ 3925347 w 12188651"/>
              <a:gd name="connsiteY2466" fmla="*/ 2578637 h 6858000"/>
              <a:gd name="connsiteX2467" fmla="*/ 3953105 w 12188651"/>
              <a:gd name="connsiteY2467" fmla="*/ 2590185 h 6858000"/>
              <a:gd name="connsiteX2468" fmla="*/ 4017704 w 12188651"/>
              <a:gd name="connsiteY2468" fmla="*/ 2654916 h 6858000"/>
              <a:gd name="connsiteX2469" fmla="*/ 4029249 w 12188651"/>
              <a:gd name="connsiteY2469" fmla="*/ 2666587 h 6858000"/>
              <a:gd name="connsiteX2470" fmla="*/ 4040796 w 12188651"/>
              <a:gd name="connsiteY2470" fmla="*/ 2654916 h 6858000"/>
              <a:gd name="connsiteX2471" fmla="*/ 4105266 w 12188651"/>
              <a:gd name="connsiteY2471" fmla="*/ 2590185 h 6858000"/>
              <a:gd name="connsiteX2472" fmla="*/ 4133029 w 12188651"/>
              <a:gd name="connsiteY2472" fmla="*/ 2578637 h 6858000"/>
              <a:gd name="connsiteX2473" fmla="*/ 4160658 w 12188651"/>
              <a:gd name="connsiteY2473" fmla="*/ 2590185 h 6858000"/>
              <a:gd name="connsiteX2474" fmla="*/ 4239088 w 12188651"/>
              <a:gd name="connsiteY2474" fmla="*/ 2668790 h 6858000"/>
              <a:gd name="connsiteX2475" fmla="*/ 4250643 w 12188651"/>
              <a:gd name="connsiteY2475" fmla="*/ 2696546 h 6858000"/>
              <a:gd name="connsiteX2476" fmla="*/ 4239218 w 12188651"/>
              <a:gd name="connsiteY2476" fmla="*/ 2724312 h 6858000"/>
              <a:gd name="connsiteX2477" fmla="*/ 4029249 w 12188651"/>
              <a:gd name="connsiteY2477" fmla="*/ 2934721 h 6858000"/>
              <a:gd name="connsiteX2478" fmla="*/ 3819228 w 12188651"/>
              <a:gd name="connsiteY2478" fmla="*/ 2724312 h 6858000"/>
              <a:gd name="connsiteX2479" fmla="*/ 3819228 w 12188651"/>
              <a:gd name="connsiteY2479" fmla="*/ 2668922 h 6858000"/>
              <a:gd name="connsiteX2480" fmla="*/ 3897713 w 12188651"/>
              <a:gd name="connsiteY2480" fmla="*/ 2590185 h 6858000"/>
              <a:gd name="connsiteX2481" fmla="*/ 3925347 w 12188651"/>
              <a:gd name="connsiteY2481" fmla="*/ 2578637 h 6858000"/>
              <a:gd name="connsiteX2482" fmla="*/ 1871372 w 12188651"/>
              <a:gd name="connsiteY2482" fmla="*/ 2578623 h 6858000"/>
              <a:gd name="connsiteX2483" fmla="*/ 1899133 w 12188651"/>
              <a:gd name="connsiteY2483" fmla="*/ 2590172 h 6858000"/>
              <a:gd name="connsiteX2484" fmla="*/ 1963731 w 12188651"/>
              <a:gd name="connsiteY2484" fmla="*/ 2654901 h 6858000"/>
              <a:gd name="connsiteX2485" fmla="*/ 1975277 w 12188651"/>
              <a:gd name="connsiteY2485" fmla="*/ 2666574 h 6858000"/>
              <a:gd name="connsiteX2486" fmla="*/ 1986820 w 12188651"/>
              <a:gd name="connsiteY2486" fmla="*/ 2654901 h 6858000"/>
              <a:gd name="connsiteX2487" fmla="*/ 2051290 w 12188651"/>
              <a:gd name="connsiteY2487" fmla="*/ 2590172 h 6858000"/>
              <a:gd name="connsiteX2488" fmla="*/ 2079050 w 12188651"/>
              <a:gd name="connsiteY2488" fmla="*/ 2578623 h 6858000"/>
              <a:gd name="connsiteX2489" fmla="*/ 2106688 w 12188651"/>
              <a:gd name="connsiteY2489" fmla="*/ 2590172 h 6858000"/>
              <a:gd name="connsiteX2490" fmla="*/ 2185169 w 12188651"/>
              <a:gd name="connsiteY2490" fmla="*/ 2668781 h 6858000"/>
              <a:gd name="connsiteX2491" fmla="*/ 2196712 w 12188651"/>
              <a:gd name="connsiteY2491" fmla="*/ 2696534 h 6858000"/>
              <a:gd name="connsiteX2492" fmla="*/ 2185297 w 12188651"/>
              <a:gd name="connsiteY2492" fmla="*/ 2724297 h 6858000"/>
              <a:gd name="connsiteX2493" fmla="*/ 1975277 w 12188651"/>
              <a:gd name="connsiteY2493" fmla="*/ 2934709 h 6858000"/>
              <a:gd name="connsiteX2494" fmla="*/ 1765263 w 12188651"/>
              <a:gd name="connsiteY2494" fmla="*/ 2724297 h 6858000"/>
              <a:gd name="connsiteX2495" fmla="*/ 1765263 w 12188651"/>
              <a:gd name="connsiteY2495" fmla="*/ 2668910 h 6858000"/>
              <a:gd name="connsiteX2496" fmla="*/ 1843742 w 12188651"/>
              <a:gd name="connsiteY2496" fmla="*/ 2590172 h 6858000"/>
              <a:gd name="connsiteX2497" fmla="*/ 1871372 w 12188651"/>
              <a:gd name="connsiteY2497" fmla="*/ 2578623 h 6858000"/>
              <a:gd name="connsiteX2498" fmla="*/ 25211 w 12188651"/>
              <a:gd name="connsiteY2498" fmla="*/ 2578608 h 6858000"/>
              <a:gd name="connsiteX2499" fmla="*/ 52840 w 12188651"/>
              <a:gd name="connsiteY2499" fmla="*/ 2590156 h 6858000"/>
              <a:gd name="connsiteX2500" fmla="*/ 131319 w 12188651"/>
              <a:gd name="connsiteY2500" fmla="*/ 2668766 h 6858000"/>
              <a:gd name="connsiteX2501" fmla="*/ 142863 w 12188651"/>
              <a:gd name="connsiteY2501" fmla="*/ 2696524 h 6858000"/>
              <a:gd name="connsiteX2502" fmla="*/ 131448 w 12188651"/>
              <a:gd name="connsiteY2502" fmla="*/ 2724284 h 6858000"/>
              <a:gd name="connsiteX2503" fmla="*/ 0 w 12188651"/>
              <a:gd name="connsiteY2503" fmla="*/ 2855984 h 6858000"/>
              <a:gd name="connsiteX2504" fmla="*/ 0 w 12188651"/>
              <a:gd name="connsiteY2504" fmla="*/ 2589096 h 6858000"/>
              <a:gd name="connsiteX2505" fmla="*/ 10086867 w 12188651"/>
              <a:gd name="connsiteY2505" fmla="*/ 2562208 h 6858000"/>
              <a:gd name="connsiteX2506" fmla="*/ 10047692 w 12188651"/>
              <a:gd name="connsiteY2506" fmla="*/ 2578552 h 6858000"/>
              <a:gd name="connsiteX2507" fmla="*/ 9969212 w 12188651"/>
              <a:gd name="connsiteY2507" fmla="*/ 2657287 h 6858000"/>
              <a:gd name="connsiteX2508" fmla="*/ 9969212 w 12188651"/>
              <a:gd name="connsiteY2508" fmla="*/ 2735892 h 6858000"/>
              <a:gd name="connsiteX2509" fmla="*/ 10190770 w 12188651"/>
              <a:gd name="connsiteY2509" fmla="*/ 2957977 h 6858000"/>
              <a:gd name="connsiteX2510" fmla="*/ 10412328 w 12188651"/>
              <a:gd name="connsiteY2510" fmla="*/ 2735892 h 6858000"/>
              <a:gd name="connsiteX2511" fmla="*/ 10412328 w 12188651"/>
              <a:gd name="connsiteY2511" fmla="*/ 2657287 h 6858000"/>
              <a:gd name="connsiteX2512" fmla="*/ 10333848 w 12188651"/>
              <a:gd name="connsiteY2512" fmla="*/ 2578676 h 6858000"/>
              <a:gd name="connsiteX2513" fmla="*/ 10294673 w 12188651"/>
              <a:gd name="connsiteY2513" fmla="*/ 2562337 h 6858000"/>
              <a:gd name="connsiteX2514" fmla="*/ 10294543 w 12188651"/>
              <a:gd name="connsiteY2514" fmla="*/ 2562208 h 6858000"/>
              <a:gd name="connsiteX2515" fmla="*/ 10255241 w 12188651"/>
              <a:gd name="connsiteY2515" fmla="*/ 2578676 h 6858000"/>
              <a:gd name="connsiteX2516" fmla="*/ 10190770 w 12188651"/>
              <a:gd name="connsiteY2516" fmla="*/ 2643284 h 6858000"/>
              <a:gd name="connsiteX2517" fmla="*/ 10126171 w 12188651"/>
              <a:gd name="connsiteY2517" fmla="*/ 2578552 h 6858000"/>
              <a:gd name="connsiteX2518" fmla="*/ 10086867 w 12188651"/>
              <a:gd name="connsiteY2518" fmla="*/ 2562208 h 6858000"/>
              <a:gd name="connsiteX2519" fmla="*/ 8032919 w 12188651"/>
              <a:gd name="connsiteY2519" fmla="*/ 2562187 h 6858000"/>
              <a:gd name="connsiteX2520" fmla="*/ 7993744 w 12188651"/>
              <a:gd name="connsiteY2520" fmla="*/ 2578533 h 6858000"/>
              <a:gd name="connsiteX2521" fmla="*/ 7915266 w 12188651"/>
              <a:gd name="connsiteY2521" fmla="*/ 2657273 h 6858000"/>
              <a:gd name="connsiteX2522" fmla="*/ 7915266 w 12188651"/>
              <a:gd name="connsiteY2522" fmla="*/ 2735878 h 6858000"/>
              <a:gd name="connsiteX2523" fmla="*/ 8136823 w 12188651"/>
              <a:gd name="connsiteY2523" fmla="*/ 2957963 h 6858000"/>
              <a:gd name="connsiteX2524" fmla="*/ 8358382 w 12188651"/>
              <a:gd name="connsiteY2524" fmla="*/ 2735878 h 6858000"/>
              <a:gd name="connsiteX2525" fmla="*/ 8358382 w 12188651"/>
              <a:gd name="connsiteY2525" fmla="*/ 2657273 h 6858000"/>
              <a:gd name="connsiteX2526" fmla="*/ 8279902 w 12188651"/>
              <a:gd name="connsiteY2526" fmla="*/ 2578668 h 6858000"/>
              <a:gd name="connsiteX2527" fmla="*/ 8240727 w 12188651"/>
              <a:gd name="connsiteY2527" fmla="*/ 2562324 h 6858000"/>
              <a:gd name="connsiteX2528" fmla="*/ 8240596 w 12188651"/>
              <a:gd name="connsiteY2528" fmla="*/ 2562187 h 6858000"/>
              <a:gd name="connsiteX2529" fmla="*/ 8201292 w 12188651"/>
              <a:gd name="connsiteY2529" fmla="*/ 2578668 h 6858000"/>
              <a:gd name="connsiteX2530" fmla="*/ 8136823 w 12188651"/>
              <a:gd name="connsiteY2530" fmla="*/ 2643266 h 6858000"/>
              <a:gd name="connsiteX2531" fmla="*/ 8072224 w 12188651"/>
              <a:gd name="connsiteY2531" fmla="*/ 2578533 h 6858000"/>
              <a:gd name="connsiteX2532" fmla="*/ 8032919 w 12188651"/>
              <a:gd name="connsiteY2532" fmla="*/ 2562187 h 6858000"/>
              <a:gd name="connsiteX2533" fmla="*/ 5979110 w 12188651"/>
              <a:gd name="connsiteY2533" fmla="*/ 2562181 h 6858000"/>
              <a:gd name="connsiteX2534" fmla="*/ 5939938 w 12188651"/>
              <a:gd name="connsiteY2534" fmla="*/ 2578524 h 6858000"/>
              <a:gd name="connsiteX2535" fmla="*/ 5861462 w 12188651"/>
              <a:gd name="connsiteY2535" fmla="*/ 2657262 h 6858000"/>
              <a:gd name="connsiteX2536" fmla="*/ 5861462 w 12188651"/>
              <a:gd name="connsiteY2536" fmla="*/ 2735865 h 6858000"/>
              <a:gd name="connsiteX2537" fmla="*/ 6083008 w 12188651"/>
              <a:gd name="connsiteY2537" fmla="*/ 2957948 h 6858000"/>
              <a:gd name="connsiteX2538" fmla="*/ 6304562 w 12188651"/>
              <a:gd name="connsiteY2538" fmla="*/ 2735865 h 6858000"/>
              <a:gd name="connsiteX2539" fmla="*/ 6304562 w 12188651"/>
              <a:gd name="connsiteY2539" fmla="*/ 2657262 h 6858000"/>
              <a:gd name="connsiteX2540" fmla="*/ 6226084 w 12188651"/>
              <a:gd name="connsiteY2540" fmla="*/ 2578647 h 6858000"/>
              <a:gd name="connsiteX2541" fmla="*/ 6186909 w 12188651"/>
              <a:gd name="connsiteY2541" fmla="*/ 2562308 h 6858000"/>
              <a:gd name="connsiteX2542" fmla="*/ 6186779 w 12188651"/>
              <a:gd name="connsiteY2542" fmla="*/ 2562181 h 6858000"/>
              <a:gd name="connsiteX2543" fmla="*/ 6147474 w 12188651"/>
              <a:gd name="connsiteY2543" fmla="*/ 2578647 h 6858000"/>
              <a:gd name="connsiteX2544" fmla="*/ 6083008 w 12188651"/>
              <a:gd name="connsiteY2544" fmla="*/ 2643253 h 6858000"/>
              <a:gd name="connsiteX2545" fmla="*/ 6018412 w 12188651"/>
              <a:gd name="connsiteY2545" fmla="*/ 2578524 h 6858000"/>
              <a:gd name="connsiteX2546" fmla="*/ 5979110 w 12188651"/>
              <a:gd name="connsiteY2546" fmla="*/ 2562181 h 6858000"/>
              <a:gd name="connsiteX2547" fmla="*/ 3925347 w 12188651"/>
              <a:gd name="connsiteY2547" fmla="*/ 2562165 h 6858000"/>
              <a:gd name="connsiteX2548" fmla="*/ 3886170 w 12188651"/>
              <a:gd name="connsiteY2548" fmla="*/ 2578508 h 6858000"/>
              <a:gd name="connsiteX2549" fmla="*/ 3807684 w 12188651"/>
              <a:gd name="connsiteY2549" fmla="*/ 2657243 h 6858000"/>
              <a:gd name="connsiteX2550" fmla="*/ 3807684 w 12188651"/>
              <a:gd name="connsiteY2550" fmla="*/ 2735855 h 6858000"/>
              <a:gd name="connsiteX2551" fmla="*/ 4029249 w 12188651"/>
              <a:gd name="connsiteY2551" fmla="*/ 2957936 h 6858000"/>
              <a:gd name="connsiteX2552" fmla="*/ 4250768 w 12188651"/>
              <a:gd name="connsiteY2552" fmla="*/ 2735855 h 6858000"/>
              <a:gd name="connsiteX2553" fmla="*/ 4250768 w 12188651"/>
              <a:gd name="connsiteY2553" fmla="*/ 2657243 h 6858000"/>
              <a:gd name="connsiteX2554" fmla="*/ 4172332 w 12188651"/>
              <a:gd name="connsiteY2554" fmla="*/ 2578637 h 6858000"/>
              <a:gd name="connsiteX2555" fmla="*/ 4133157 w 12188651"/>
              <a:gd name="connsiteY2555" fmla="*/ 2562295 h 6858000"/>
              <a:gd name="connsiteX2556" fmla="*/ 4133029 w 12188651"/>
              <a:gd name="connsiteY2556" fmla="*/ 2562165 h 6858000"/>
              <a:gd name="connsiteX2557" fmla="*/ 4093722 w 12188651"/>
              <a:gd name="connsiteY2557" fmla="*/ 2578637 h 6858000"/>
              <a:gd name="connsiteX2558" fmla="*/ 4029249 w 12188651"/>
              <a:gd name="connsiteY2558" fmla="*/ 2643240 h 6858000"/>
              <a:gd name="connsiteX2559" fmla="*/ 3964652 w 12188651"/>
              <a:gd name="connsiteY2559" fmla="*/ 2578508 h 6858000"/>
              <a:gd name="connsiteX2560" fmla="*/ 3925347 w 12188651"/>
              <a:gd name="connsiteY2560" fmla="*/ 2562165 h 6858000"/>
              <a:gd name="connsiteX2561" fmla="*/ 1871372 w 12188651"/>
              <a:gd name="connsiteY2561" fmla="*/ 2562148 h 6858000"/>
              <a:gd name="connsiteX2562" fmla="*/ 1832197 w 12188651"/>
              <a:gd name="connsiteY2562" fmla="*/ 2578496 h 6858000"/>
              <a:gd name="connsiteX2563" fmla="*/ 1753719 w 12188651"/>
              <a:gd name="connsiteY2563" fmla="*/ 2657236 h 6858000"/>
              <a:gd name="connsiteX2564" fmla="*/ 1753719 w 12188651"/>
              <a:gd name="connsiteY2564" fmla="*/ 2735841 h 6858000"/>
              <a:gd name="connsiteX2565" fmla="*/ 1975277 w 12188651"/>
              <a:gd name="connsiteY2565" fmla="*/ 2957928 h 6858000"/>
              <a:gd name="connsiteX2566" fmla="*/ 2196842 w 12188651"/>
              <a:gd name="connsiteY2566" fmla="*/ 2735841 h 6858000"/>
              <a:gd name="connsiteX2567" fmla="*/ 2196842 w 12188651"/>
              <a:gd name="connsiteY2567" fmla="*/ 2657236 h 6858000"/>
              <a:gd name="connsiteX2568" fmla="*/ 2118362 w 12188651"/>
              <a:gd name="connsiteY2568" fmla="*/ 2578623 h 6858000"/>
              <a:gd name="connsiteX2569" fmla="*/ 2079180 w 12188651"/>
              <a:gd name="connsiteY2569" fmla="*/ 2562279 h 6858000"/>
              <a:gd name="connsiteX2570" fmla="*/ 2079050 w 12188651"/>
              <a:gd name="connsiteY2570" fmla="*/ 2562148 h 6858000"/>
              <a:gd name="connsiteX2571" fmla="*/ 2039746 w 12188651"/>
              <a:gd name="connsiteY2571" fmla="*/ 2578623 h 6858000"/>
              <a:gd name="connsiteX2572" fmla="*/ 1975277 w 12188651"/>
              <a:gd name="connsiteY2572" fmla="*/ 2643223 h 6858000"/>
              <a:gd name="connsiteX2573" fmla="*/ 1910677 w 12188651"/>
              <a:gd name="connsiteY2573" fmla="*/ 2578496 h 6858000"/>
              <a:gd name="connsiteX2574" fmla="*/ 1871372 w 12188651"/>
              <a:gd name="connsiteY2574" fmla="*/ 2562148 h 6858000"/>
              <a:gd name="connsiteX2575" fmla="*/ 0 w 12188651"/>
              <a:gd name="connsiteY2575" fmla="*/ 2391946 h 6858000"/>
              <a:gd name="connsiteX2576" fmla="*/ 255065 w 12188651"/>
              <a:gd name="connsiteY2576" fmla="*/ 2539561 h 6858000"/>
              <a:gd name="connsiteX2577" fmla="*/ 255065 w 12188651"/>
              <a:gd name="connsiteY2577" fmla="*/ 2925743 h 6858000"/>
              <a:gd name="connsiteX2578" fmla="*/ 0 w 12188651"/>
              <a:gd name="connsiteY2578" fmla="*/ 3073355 h 6858000"/>
              <a:gd name="connsiteX2579" fmla="*/ 0 w 12188651"/>
              <a:gd name="connsiteY2579" fmla="*/ 2879166 h 6858000"/>
              <a:gd name="connsiteX2580" fmla="*/ 142993 w 12188651"/>
              <a:gd name="connsiteY2580" fmla="*/ 2735832 h 6858000"/>
              <a:gd name="connsiteX2581" fmla="*/ 142993 w 12188651"/>
              <a:gd name="connsiteY2581" fmla="*/ 2657222 h 6858000"/>
              <a:gd name="connsiteX2582" fmla="*/ 64513 w 12188651"/>
              <a:gd name="connsiteY2582" fmla="*/ 2578608 h 6858000"/>
              <a:gd name="connsiteX2583" fmla="*/ 25338 w 12188651"/>
              <a:gd name="connsiteY2583" fmla="*/ 2562265 h 6858000"/>
              <a:gd name="connsiteX2584" fmla="*/ 25211 w 12188651"/>
              <a:gd name="connsiteY2584" fmla="*/ 2562134 h 6858000"/>
              <a:gd name="connsiteX2585" fmla="*/ 4293 w 12188651"/>
              <a:gd name="connsiteY2585" fmla="*/ 2566237 h 6858000"/>
              <a:gd name="connsiteX2586" fmla="*/ 0 w 12188651"/>
              <a:gd name="connsiteY2586" fmla="*/ 2569125 h 6858000"/>
              <a:gd name="connsiteX2587" fmla="*/ 12188651 w 12188651"/>
              <a:gd name="connsiteY2587" fmla="*/ 2378785 h 6858000"/>
              <a:gd name="connsiteX2588" fmla="*/ 12188651 w 12188651"/>
              <a:gd name="connsiteY2588" fmla="*/ 2587244 h 6858000"/>
              <a:gd name="connsiteX2589" fmla="*/ 12179990 w 12188651"/>
              <a:gd name="connsiteY2589" fmla="*/ 2578566 h 6858000"/>
              <a:gd name="connsiteX2590" fmla="*/ 12140685 w 12188651"/>
              <a:gd name="connsiteY2590" fmla="*/ 2562222 h 6858000"/>
              <a:gd name="connsiteX2591" fmla="*/ 12101510 w 12188651"/>
              <a:gd name="connsiteY2591" fmla="*/ 2578566 h 6858000"/>
              <a:gd name="connsiteX2592" fmla="*/ 12023031 w 12188651"/>
              <a:gd name="connsiteY2592" fmla="*/ 2657304 h 6858000"/>
              <a:gd name="connsiteX2593" fmla="*/ 12023031 w 12188651"/>
              <a:gd name="connsiteY2593" fmla="*/ 2735902 h 6858000"/>
              <a:gd name="connsiteX2594" fmla="*/ 12188651 w 12188651"/>
              <a:gd name="connsiteY2594" fmla="*/ 2901917 h 6858000"/>
              <a:gd name="connsiteX2595" fmla="*/ 12188651 w 12188651"/>
              <a:gd name="connsiteY2595" fmla="*/ 3086666 h 6858000"/>
              <a:gd name="connsiteX2596" fmla="*/ 11910696 w 12188651"/>
              <a:gd name="connsiteY2596" fmla="*/ 2925817 h 6858000"/>
              <a:gd name="connsiteX2597" fmla="*/ 11910696 w 12188651"/>
              <a:gd name="connsiteY2597" fmla="*/ 2539653 h 6858000"/>
              <a:gd name="connsiteX2598" fmla="*/ 10883981 w 12188651"/>
              <a:gd name="connsiteY2598" fmla="*/ 2351688 h 6858000"/>
              <a:gd name="connsiteX2599" fmla="*/ 11209441 w 12188651"/>
              <a:gd name="connsiteY2599" fmla="*/ 2540032 h 6858000"/>
              <a:gd name="connsiteX2600" fmla="*/ 11209441 w 12188651"/>
              <a:gd name="connsiteY2600" fmla="*/ 2916853 h 6858000"/>
              <a:gd name="connsiteX2601" fmla="*/ 10883981 w 12188651"/>
              <a:gd name="connsiteY2601" fmla="*/ 2728491 h 6858000"/>
              <a:gd name="connsiteX2602" fmla="*/ 10867636 w 12188651"/>
              <a:gd name="connsiteY2602" fmla="*/ 2351688 h 6858000"/>
              <a:gd name="connsiteX2603" fmla="*/ 10867636 w 12188651"/>
              <a:gd name="connsiteY2603" fmla="*/ 2728491 h 6858000"/>
              <a:gd name="connsiteX2604" fmla="*/ 10542045 w 12188651"/>
              <a:gd name="connsiteY2604" fmla="*/ 2916853 h 6858000"/>
              <a:gd name="connsiteX2605" fmla="*/ 10542045 w 12188651"/>
              <a:gd name="connsiteY2605" fmla="*/ 2540032 h 6858000"/>
              <a:gd name="connsiteX2606" fmla="*/ 8830033 w 12188651"/>
              <a:gd name="connsiteY2606" fmla="*/ 2351669 h 6858000"/>
              <a:gd name="connsiteX2607" fmla="*/ 9155493 w 12188651"/>
              <a:gd name="connsiteY2607" fmla="*/ 2540021 h 6858000"/>
              <a:gd name="connsiteX2608" fmla="*/ 9155493 w 12188651"/>
              <a:gd name="connsiteY2608" fmla="*/ 2916842 h 6858000"/>
              <a:gd name="connsiteX2609" fmla="*/ 8830033 w 12188651"/>
              <a:gd name="connsiteY2609" fmla="*/ 2728478 h 6858000"/>
              <a:gd name="connsiteX2610" fmla="*/ 8813688 w 12188651"/>
              <a:gd name="connsiteY2610" fmla="*/ 2351669 h 6858000"/>
              <a:gd name="connsiteX2611" fmla="*/ 8813688 w 12188651"/>
              <a:gd name="connsiteY2611" fmla="*/ 2728481 h 6858000"/>
              <a:gd name="connsiteX2612" fmla="*/ 8488098 w 12188651"/>
              <a:gd name="connsiteY2612" fmla="*/ 2916842 h 6858000"/>
              <a:gd name="connsiteX2613" fmla="*/ 8488098 w 12188651"/>
              <a:gd name="connsiteY2613" fmla="*/ 2540021 h 6858000"/>
              <a:gd name="connsiteX2614" fmla="*/ 6776215 w 12188651"/>
              <a:gd name="connsiteY2614" fmla="*/ 2351657 h 6858000"/>
              <a:gd name="connsiteX2615" fmla="*/ 7101677 w 12188651"/>
              <a:gd name="connsiteY2615" fmla="*/ 2540012 h 6858000"/>
              <a:gd name="connsiteX2616" fmla="*/ 7101677 w 12188651"/>
              <a:gd name="connsiteY2616" fmla="*/ 2916827 h 6858000"/>
              <a:gd name="connsiteX2617" fmla="*/ 6776215 w 12188651"/>
              <a:gd name="connsiteY2617" fmla="*/ 2728471 h 6858000"/>
              <a:gd name="connsiteX2618" fmla="*/ 6759871 w 12188651"/>
              <a:gd name="connsiteY2618" fmla="*/ 2351657 h 6858000"/>
              <a:gd name="connsiteX2619" fmla="*/ 6759871 w 12188651"/>
              <a:gd name="connsiteY2619" fmla="*/ 2728471 h 6858000"/>
              <a:gd name="connsiteX2620" fmla="*/ 6434280 w 12188651"/>
              <a:gd name="connsiteY2620" fmla="*/ 2916827 h 6858000"/>
              <a:gd name="connsiteX2621" fmla="*/ 6434280 w 12188651"/>
              <a:gd name="connsiteY2621" fmla="*/ 2540012 h 6858000"/>
              <a:gd name="connsiteX2622" fmla="*/ 4705942 w 12188651"/>
              <a:gd name="connsiteY2622" fmla="*/ 2351645 h 6858000"/>
              <a:gd name="connsiteX2623" fmla="*/ 4705942 w 12188651"/>
              <a:gd name="connsiteY2623" fmla="*/ 2728455 h 6858000"/>
              <a:gd name="connsiteX2624" fmla="*/ 4380369 w 12188651"/>
              <a:gd name="connsiteY2624" fmla="*/ 2916811 h 6858000"/>
              <a:gd name="connsiteX2625" fmla="*/ 4380369 w 12188651"/>
              <a:gd name="connsiteY2625" fmla="*/ 2539997 h 6858000"/>
              <a:gd name="connsiteX2626" fmla="*/ 2652144 w 12188651"/>
              <a:gd name="connsiteY2626" fmla="*/ 2351640 h 6858000"/>
              <a:gd name="connsiteX2627" fmla="*/ 2652144 w 12188651"/>
              <a:gd name="connsiteY2627" fmla="*/ 2728447 h 6858000"/>
              <a:gd name="connsiteX2628" fmla="*/ 2326587 w 12188651"/>
              <a:gd name="connsiteY2628" fmla="*/ 2916788 h 6858000"/>
              <a:gd name="connsiteX2629" fmla="*/ 2326587 w 12188651"/>
              <a:gd name="connsiteY2629" fmla="*/ 2539980 h 6858000"/>
              <a:gd name="connsiteX2630" fmla="*/ 4722303 w 12188651"/>
              <a:gd name="connsiteY2630" fmla="*/ 2351638 h 6858000"/>
              <a:gd name="connsiteX2631" fmla="*/ 5047773 w 12188651"/>
              <a:gd name="connsiteY2631" fmla="*/ 2539983 h 6858000"/>
              <a:gd name="connsiteX2632" fmla="*/ 5047773 w 12188651"/>
              <a:gd name="connsiteY2632" fmla="*/ 2916816 h 6858000"/>
              <a:gd name="connsiteX2633" fmla="*/ 4722303 w 12188651"/>
              <a:gd name="connsiteY2633" fmla="*/ 2728468 h 6858000"/>
              <a:gd name="connsiteX2634" fmla="*/ 2668516 w 12188651"/>
              <a:gd name="connsiteY2634" fmla="*/ 2351626 h 6858000"/>
              <a:gd name="connsiteX2635" fmla="*/ 2748692 w 12188651"/>
              <a:gd name="connsiteY2635" fmla="*/ 2398022 h 6858000"/>
              <a:gd name="connsiteX2636" fmla="*/ 2939844 w 12188651"/>
              <a:gd name="connsiteY2636" fmla="*/ 2508648 h 6858000"/>
              <a:gd name="connsiteX2637" fmla="*/ 2993954 w 12188651"/>
              <a:gd name="connsiteY2637" fmla="*/ 2539966 h 6858000"/>
              <a:gd name="connsiteX2638" fmla="*/ 2993954 w 12188651"/>
              <a:gd name="connsiteY2638" fmla="*/ 2916805 h 6858000"/>
              <a:gd name="connsiteX2639" fmla="*/ 2938907 w 12188651"/>
              <a:gd name="connsiteY2639" fmla="*/ 2884945 h 6858000"/>
              <a:gd name="connsiteX2640" fmla="*/ 2668516 w 12188651"/>
              <a:gd name="connsiteY2640" fmla="*/ 2728456 h 6858000"/>
              <a:gd name="connsiteX2641" fmla="*/ 598171 w 12188651"/>
              <a:gd name="connsiteY2641" fmla="*/ 2351626 h 6858000"/>
              <a:gd name="connsiteX2642" fmla="*/ 598171 w 12188651"/>
              <a:gd name="connsiteY2642" fmla="*/ 2728434 h 6858000"/>
              <a:gd name="connsiteX2643" fmla="*/ 272607 w 12188651"/>
              <a:gd name="connsiteY2643" fmla="*/ 2916778 h 6858000"/>
              <a:gd name="connsiteX2644" fmla="*/ 272607 w 12188651"/>
              <a:gd name="connsiteY2644" fmla="*/ 2539968 h 6858000"/>
              <a:gd name="connsiteX2645" fmla="*/ 614543 w 12188651"/>
              <a:gd name="connsiteY2645" fmla="*/ 2351612 h 6858000"/>
              <a:gd name="connsiteX2646" fmla="*/ 939976 w 12188651"/>
              <a:gd name="connsiteY2646" fmla="*/ 2539953 h 6858000"/>
              <a:gd name="connsiteX2647" fmla="*/ 939976 w 12188651"/>
              <a:gd name="connsiteY2647" fmla="*/ 2916793 h 6858000"/>
              <a:gd name="connsiteX2648" fmla="*/ 614543 w 12188651"/>
              <a:gd name="connsiteY2648" fmla="*/ 2728448 h 6858000"/>
              <a:gd name="connsiteX2649" fmla="*/ 11559549 w 12188651"/>
              <a:gd name="connsiteY2649" fmla="*/ 2346879 h 6858000"/>
              <a:gd name="connsiteX2650" fmla="*/ 11893312 w 12188651"/>
              <a:gd name="connsiteY2650" fmla="*/ 2540032 h 6858000"/>
              <a:gd name="connsiteX2651" fmla="*/ 11893312 w 12188651"/>
              <a:gd name="connsiteY2651" fmla="*/ 2926321 h 6858000"/>
              <a:gd name="connsiteX2652" fmla="*/ 11559679 w 12188651"/>
              <a:gd name="connsiteY2652" fmla="*/ 3119473 h 6858000"/>
              <a:gd name="connsiteX2653" fmla="*/ 11225916 w 12188651"/>
              <a:gd name="connsiteY2653" fmla="*/ 2926321 h 6858000"/>
              <a:gd name="connsiteX2654" fmla="*/ 11225916 w 12188651"/>
              <a:gd name="connsiteY2654" fmla="*/ 2540032 h 6858000"/>
              <a:gd name="connsiteX2655" fmla="*/ 9505601 w 12188651"/>
              <a:gd name="connsiteY2655" fmla="*/ 2346870 h 6858000"/>
              <a:gd name="connsiteX2656" fmla="*/ 9839364 w 12188651"/>
              <a:gd name="connsiteY2656" fmla="*/ 2540021 h 6858000"/>
              <a:gd name="connsiteX2657" fmla="*/ 9839364 w 12188651"/>
              <a:gd name="connsiteY2657" fmla="*/ 2926315 h 6858000"/>
              <a:gd name="connsiteX2658" fmla="*/ 9505732 w 12188651"/>
              <a:gd name="connsiteY2658" fmla="*/ 3119464 h 6858000"/>
              <a:gd name="connsiteX2659" fmla="*/ 9171969 w 12188651"/>
              <a:gd name="connsiteY2659" fmla="*/ 2926315 h 6858000"/>
              <a:gd name="connsiteX2660" fmla="*/ 9171969 w 12188651"/>
              <a:gd name="connsiteY2660" fmla="*/ 2540021 h 6858000"/>
              <a:gd name="connsiteX2661" fmla="*/ 7451785 w 12188651"/>
              <a:gd name="connsiteY2661" fmla="*/ 2346860 h 6858000"/>
              <a:gd name="connsiteX2662" fmla="*/ 7785548 w 12188651"/>
              <a:gd name="connsiteY2662" fmla="*/ 2540012 h 6858000"/>
              <a:gd name="connsiteX2663" fmla="*/ 7785548 w 12188651"/>
              <a:gd name="connsiteY2663" fmla="*/ 2926298 h 6858000"/>
              <a:gd name="connsiteX2664" fmla="*/ 7451915 w 12188651"/>
              <a:gd name="connsiteY2664" fmla="*/ 3119455 h 6858000"/>
              <a:gd name="connsiteX2665" fmla="*/ 7118150 w 12188651"/>
              <a:gd name="connsiteY2665" fmla="*/ 2926298 h 6858000"/>
              <a:gd name="connsiteX2666" fmla="*/ 7118150 w 12188651"/>
              <a:gd name="connsiteY2666" fmla="*/ 2540012 h 6858000"/>
              <a:gd name="connsiteX2667" fmla="*/ 5397883 w 12188651"/>
              <a:gd name="connsiteY2667" fmla="*/ 2346843 h 6858000"/>
              <a:gd name="connsiteX2668" fmla="*/ 5731616 w 12188651"/>
              <a:gd name="connsiteY2668" fmla="*/ 2539987 h 6858000"/>
              <a:gd name="connsiteX2669" fmla="*/ 5731616 w 12188651"/>
              <a:gd name="connsiteY2669" fmla="*/ 2926288 h 6858000"/>
              <a:gd name="connsiteX2670" fmla="*/ 5397992 w 12188651"/>
              <a:gd name="connsiteY2670" fmla="*/ 3119437 h 6858000"/>
              <a:gd name="connsiteX2671" fmla="*/ 5293503 w 12188651"/>
              <a:gd name="connsiteY2671" fmla="*/ 3058968 h 6858000"/>
              <a:gd name="connsiteX2672" fmla="*/ 5064269 w 12188651"/>
              <a:gd name="connsiteY2672" fmla="*/ 2926298 h 6858000"/>
              <a:gd name="connsiteX2673" fmla="*/ 5064269 w 12188651"/>
              <a:gd name="connsiteY2673" fmla="*/ 2539997 h 6858000"/>
              <a:gd name="connsiteX2674" fmla="*/ 3344089 w 12188651"/>
              <a:gd name="connsiteY2674" fmla="*/ 2346826 h 6858000"/>
              <a:gd name="connsiteX2675" fmla="*/ 3412199 w 12188651"/>
              <a:gd name="connsiteY2675" fmla="*/ 2386238 h 6858000"/>
              <a:gd name="connsiteX2676" fmla="*/ 3665295 w 12188651"/>
              <a:gd name="connsiteY2676" fmla="*/ 2532714 h 6858000"/>
              <a:gd name="connsiteX2677" fmla="*/ 3677820 w 12188651"/>
              <a:gd name="connsiteY2677" fmla="*/ 2539966 h 6858000"/>
              <a:gd name="connsiteX2678" fmla="*/ 3677820 w 12188651"/>
              <a:gd name="connsiteY2678" fmla="*/ 2926275 h 6858000"/>
              <a:gd name="connsiteX2679" fmla="*/ 3344194 w 12188651"/>
              <a:gd name="connsiteY2679" fmla="*/ 3119426 h 6858000"/>
              <a:gd name="connsiteX2680" fmla="*/ 3184341 w 12188651"/>
              <a:gd name="connsiteY2680" fmla="*/ 3026916 h 6858000"/>
              <a:gd name="connsiteX2681" fmla="*/ 3010455 w 12188651"/>
              <a:gd name="connsiteY2681" fmla="*/ 2926288 h 6858000"/>
              <a:gd name="connsiteX2682" fmla="*/ 3010455 w 12188651"/>
              <a:gd name="connsiteY2682" fmla="*/ 2539980 h 6858000"/>
              <a:gd name="connsiteX2683" fmla="*/ 1290108 w 12188651"/>
              <a:gd name="connsiteY2683" fmla="*/ 2346810 h 6858000"/>
              <a:gd name="connsiteX2684" fmla="*/ 1351079 w 12188651"/>
              <a:gd name="connsiteY2684" fmla="*/ 2382092 h 6858000"/>
              <a:gd name="connsiteX2685" fmla="*/ 1535796 w 12188651"/>
              <a:gd name="connsiteY2685" fmla="*/ 2488993 h 6858000"/>
              <a:gd name="connsiteX2686" fmla="*/ 1623847 w 12188651"/>
              <a:gd name="connsiteY2686" fmla="*/ 2539954 h 6858000"/>
              <a:gd name="connsiteX2687" fmla="*/ 1623847 w 12188651"/>
              <a:gd name="connsiteY2687" fmla="*/ 2926261 h 6858000"/>
              <a:gd name="connsiteX2688" fmla="*/ 1290218 w 12188651"/>
              <a:gd name="connsiteY2688" fmla="*/ 3119416 h 6858000"/>
              <a:gd name="connsiteX2689" fmla="*/ 1213315 w 12188651"/>
              <a:gd name="connsiteY2689" fmla="*/ 3074912 h 6858000"/>
              <a:gd name="connsiteX2690" fmla="*/ 963641 w 12188651"/>
              <a:gd name="connsiteY2690" fmla="*/ 2930424 h 6858000"/>
              <a:gd name="connsiteX2691" fmla="*/ 956477 w 12188651"/>
              <a:gd name="connsiteY2691" fmla="*/ 2926279 h 6858000"/>
              <a:gd name="connsiteX2692" fmla="*/ 956477 w 12188651"/>
              <a:gd name="connsiteY2692" fmla="*/ 2539968 h 6858000"/>
              <a:gd name="connsiteX2693" fmla="*/ 10190640 w 12188651"/>
              <a:gd name="connsiteY2693" fmla="*/ 2346481 h 6858000"/>
              <a:gd name="connsiteX2694" fmla="*/ 10524404 w 12188651"/>
              <a:gd name="connsiteY2694" fmla="*/ 2539629 h 6858000"/>
              <a:gd name="connsiteX2695" fmla="*/ 10524404 w 12188651"/>
              <a:gd name="connsiteY2695" fmla="*/ 2925801 h 6858000"/>
              <a:gd name="connsiteX2696" fmla="*/ 10190640 w 12188651"/>
              <a:gd name="connsiteY2696" fmla="*/ 3118955 h 6858000"/>
              <a:gd name="connsiteX2697" fmla="*/ 9856876 w 12188651"/>
              <a:gd name="connsiteY2697" fmla="*/ 2925801 h 6858000"/>
              <a:gd name="connsiteX2698" fmla="*/ 9856876 w 12188651"/>
              <a:gd name="connsiteY2698" fmla="*/ 2539629 h 6858000"/>
              <a:gd name="connsiteX2699" fmla="*/ 8136693 w 12188651"/>
              <a:gd name="connsiteY2699" fmla="*/ 2346470 h 6858000"/>
              <a:gd name="connsiteX2700" fmla="*/ 8470456 w 12188651"/>
              <a:gd name="connsiteY2700" fmla="*/ 2539621 h 6858000"/>
              <a:gd name="connsiteX2701" fmla="*/ 8470456 w 12188651"/>
              <a:gd name="connsiteY2701" fmla="*/ 2925792 h 6858000"/>
              <a:gd name="connsiteX2702" fmla="*/ 8136693 w 12188651"/>
              <a:gd name="connsiteY2702" fmla="*/ 3118942 h 6858000"/>
              <a:gd name="connsiteX2703" fmla="*/ 7802930 w 12188651"/>
              <a:gd name="connsiteY2703" fmla="*/ 2925792 h 6858000"/>
              <a:gd name="connsiteX2704" fmla="*/ 7802930 w 12188651"/>
              <a:gd name="connsiteY2704" fmla="*/ 2539621 h 6858000"/>
              <a:gd name="connsiteX2705" fmla="*/ 6082876 w 12188651"/>
              <a:gd name="connsiteY2705" fmla="*/ 2346447 h 6858000"/>
              <a:gd name="connsiteX2706" fmla="*/ 6416638 w 12188651"/>
              <a:gd name="connsiteY2706" fmla="*/ 2539608 h 6858000"/>
              <a:gd name="connsiteX2707" fmla="*/ 6416638 w 12188651"/>
              <a:gd name="connsiteY2707" fmla="*/ 2925780 h 6858000"/>
              <a:gd name="connsiteX2708" fmla="*/ 6082876 w 12188651"/>
              <a:gd name="connsiteY2708" fmla="*/ 3118929 h 6858000"/>
              <a:gd name="connsiteX2709" fmla="*/ 5749138 w 12188651"/>
              <a:gd name="connsiteY2709" fmla="*/ 2925780 h 6858000"/>
              <a:gd name="connsiteX2710" fmla="*/ 5749138 w 12188651"/>
              <a:gd name="connsiteY2710" fmla="*/ 2539608 h 6858000"/>
              <a:gd name="connsiteX2711" fmla="*/ 4029122 w 12188651"/>
              <a:gd name="connsiteY2711" fmla="*/ 2346439 h 6858000"/>
              <a:gd name="connsiteX2712" fmla="*/ 4326678 w 12188651"/>
              <a:gd name="connsiteY2712" fmla="*/ 2518660 h 6858000"/>
              <a:gd name="connsiteX2713" fmla="*/ 4362838 w 12188651"/>
              <a:gd name="connsiteY2713" fmla="*/ 2539591 h 6858000"/>
              <a:gd name="connsiteX2714" fmla="*/ 4362838 w 12188651"/>
              <a:gd name="connsiteY2714" fmla="*/ 2925766 h 6858000"/>
              <a:gd name="connsiteX2715" fmla="*/ 4029115 w 12188651"/>
              <a:gd name="connsiteY2715" fmla="*/ 3118919 h 6858000"/>
              <a:gd name="connsiteX2716" fmla="*/ 3695364 w 12188651"/>
              <a:gd name="connsiteY2716" fmla="*/ 2925772 h 6858000"/>
              <a:gd name="connsiteX2717" fmla="*/ 3695364 w 12188651"/>
              <a:gd name="connsiteY2717" fmla="*/ 2539591 h 6858000"/>
              <a:gd name="connsiteX2718" fmla="*/ 1975147 w 12188651"/>
              <a:gd name="connsiteY2718" fmla="*/ 2346423 h 6858000"/>
              <a:gd name="connsiteX2719" fmla="*/ 2308913 w 12188651"/>
              <a:gd name="connsiteY2719" fmla="*/ 2539575 h 6858000"/>
              <a:gd name="connsiteX2720" fmla="*/ 2308913 w 12188651"/>
              <a:gd name="connsiteY2720" fmla="*/ 2925753 h 6858000"/>
              <a:gd name="connsiteX2721" fmla="*/ 1975142 w 12188651"/>
              <a:gd name="connsiteY2721" fmla="*/ 3118908 h 6858000"/>
              <a:gd name="connsiteX2722" fmla="*/ 1641385 w 12188651"/>
              <a:gd name="connsiteY2722" fmla="*/ 2925755 h 6858000"/>
              <a:gd name="connsiteX2723" fmla="*/ 1641385 w 12188651"/>
              <a:gd name="connsiteY2723" fmla="*/ 2539579 h 6858000"/>
              <a:gd name="connsiteX2724" fmla="*/ 11902654 w 12188651"/>
              <a:gd name="connsiteY2724" fmla="*/ 2148664 h 6858000"/>
              <a:gd name="connsiteX2725" fmla="*/ 12188651 w 12188651"/>
              <a:gd name="connsiteY2725" fmla="*/ 2314149 h 6858000"/>
              <a:gd name="connsiteX2726" fmla="*/ 12188651 w 12188651"/>
              <a:gd name="connsiteY2726" fmla="*/ 2359849 h 6858000"/>
              <a:gd name="connsiteX2727" fmla="*/ 11902524 w 12188651"/>
              <a:gd name="connsiteY2727" fmla="*/ 2525372 h 6858000"/>
              <a:gd name="connsiteX2728" fmla="*/ 11577065 w 12188651"/>
              <a:gd name="connsiteY2728" fmla="*/ 2337021 h 6858000"/>
              <a:gd name="connsiteX2729" fmla="*/ 9848833 w 12188651"/>
              <a:gd name="connsiteY2729" fmla="*/ 2148651 h 6858000"/>
              <a:gd name="connsiteX2730" fmla="*/ 10174292 w 12188651"/>
              <a:gd name="connsiteY2730" fmla="*/ 2337004 h 6858000"/>
              <a:gd name="connsiteX2731" fmla="*/ 9848703 w 12188651"/>
              <a:gd name="connsiteY2731" fmla="*/ 2525360 h 6858000"/>
              <a:gd name="connsiteX2732" fmla="*/ 9523246 w 12188651"/>
              <a:gd name="connsiteY2732" fmla="*/ 2337004 h 6858000"/>
              <a:gd name="connsiteX2733" fmla="*/ 7794888 w 12188651"/>
              <a:gd name="connsiteY2733" fmla="*/ 2148635 h 6858000"/>
              <a:gd name="connsiteX2734" fmla="*/ 8120344 w 12188651"/>
              <a:gd name="connsiteY2734" fmla="*/ 2336987 h 6858000"/>
              <a:gd name="connsiteX2735" fmla="*/ 7794758 w 12188651"/>
              <a:gd name="connsiteY2735" fmla="*/ 2525343 h 6858000"/>
              <a:gd name="connsiteX2736" fmla="*/ 7469301 w 12188651"/>
              <a:gd name="connsiteY2736" fmla="*/ 2336987 h 6858000"/>
              <a:gd name="connsiteX2737" fmla="*/ 5741092 w 12188651"/>
              <a:gd name="connsiteY2737" fmla="*/ 2148623 h 6858000"/>
              <a:gd name="connsiteX2738" fmla="*/ 6066529 w 12188651"/>
              <a:gd name="connsiteY2738" fmla="*/ 2336977 h 6858000"/>
              <a:gd name="connsiteX2739" fmla="*/ 5740963 w 12188651"/>
              <a:gd name="connsiteY2739" fmla="*/ 2525334 h 6858000"/>
              <a:gd name="connsiteX2740" fmla="*/ 5415529 w 12188651"/>
              <a:gd name="connsiteY2740" fmla="*/ 2336977 h 6858000"/>
              <a:gd name="connsiteX2741" fmla="*/ 3687323 w 12188651"/>
              <a:gd name="connsiteY2741" fmla="*/ 2148612 h 6858000"/>
              <a:gd name="connsiteX2742" fmla="*/ 4012773 w 12188651"/>
              <a:gd name="connsiteY2742" fmla="*/ 2336961 h 6858000"/>
              <a:gd name="connsiteX2743" fmla="*/ 3687187 w 12188651"/>
              <a:gd name="connsiteY2743" fmla="*/ 2525317 h 6858000"/>
              <a:gd name="connsiteX2744" fmla="*/ 3465770 w 12188651"/>
              <a:gd name="connsiteY2744" fmla="*/ 2397169 h 6858000"/>
              <a:gd name="connsiteX2745" fmla="*/ 3361734 w 12188651"/>
              <a:gd name="connsiteY2745" fmla="*/ 2336966 h 6858000"/>
              <a:gd name="connsiteX2746" fmla="*/ 1633341 w 12188651"/>
              <a:gd name="connsiteY2746" fmla="*/ 2148592 h 6858000"/>
              <a:gd name="connsiteX2747" fmla="*/ 1958797 w 12188651"/>
              <a:gd name="connsiteY2747" fmla="*/ 2336948 h 6858000"/>
              <a:gd name="connsiteX2748" fmla="*/ 1633208 w 12188651"/>
              <a:gd name="connsiteY2748" fmla="*/ 2525303 h 6858000"/>
              <a:gd name="connsiteX2749" fmla="*/ 1561718 w 12188651"/>
              <a:gd name="connsiteY2749" fmla="*/ 2483930 h 6858000"/>
              <a:gd name="connsiteX2750" fmla="*/ 1307753 w 12188651"/>
              <a:gd name="connsiteY2750" fmla="*/ 2336948 h 6858000"/>
              <a:gd name="connsiteX2751" fmla="*/ 11113840 w 12188651"/>
              <a:gd name="connsiteY2751" fmla="*/ 1984709 h 6858000"/>
              <a:gd name="connsiteX2752" fmla="*/ 11141600 w 12188651"/>
              <a:gd name="connsiteY2752" fmla="*/ 1996254 h 6858000"/>
              <a:gd name="connsiteX2753" fmla="*/ 11206199 w 12188651"/>
              <a:gd name="connsiteY2753" fmla="*/ 2060984 h 6858000"/>
              <a:gd name="connsiteX2754" fmla="*/ 11217744 w 12188651"/>
              <a:gd name="connsiteY2754" fmla="*/ 2072657 h 6858000"/>
              <a:gd name="connsiteX2755" fmla="*/ 11229289 w 12188651"/>
              <a:gd name="connsiteY2755" fmla="*/ 2060984 h 6858000"/>
              <a:gd name="connsiteX2756" fmla="*/ 11293758 w 12188651"/>
              <a:gd name="connsiteY2756" fmla="*/ 1996254 h 6858000"/>
              <a:gd name="connsiteX2757" fmla="*/ 11321517 w 12188651"/>
              <a:gd name="connsiteY2757" fmla="*/ 1984709 h 6858000"/>
              <a:gd name="connsiteX2758" fmla="*/ 11349147 w 12188651"/>
              <a:gd name="connsiteY2758" fmla="*/ 1996254 h 6858000"/>
              <a:gd name="connsiteX2759" fmla="*/ 11427627 w 12188651"/>
              <a:gd name="connsiteY2759" fmla="*/ 2074862 h 6858000"/>
              <a:gd name="connsiteX2760" fmla="*/ 11439169 w 12188651"/>
              <a:gd name="connsiteY2760" fmla="*/ 2102615 h 6858000"/>
              <a:gd name="connsiteX2761" fmla="*/ 11427757 w 12188651"/>
              <a:gd name="connsiteY2761" fmla="*/ 2130362 h 6858000"/>
              <a:gd name="connsiteX2762" fmla="*/ 11217744 w 12188651"/>
              <a:gd name="connsiteY2762" fmla="*/ 2340772 h 6858000"/>
              <a:gd name="connsiteX2763" fmla="*/ 11007731 w 12188651"/>
              <a:gd name="connsiteY2763" fmla="*/ 2130362 h 6858000"/>
              <a:gd name="connsiteX2764" fmla="*/ 10996254 w 12188651"/>
              <a:gd name="connsiteY2764" fmla="*/ 2102632 h 6858000"/>
              <a:gd name="connsiteX2765" fmla="*/ 11007731 w 12188651"/>
              <a:gd name="connsiteY2765" fmla="*/ 2074992 h 6858000"/>
              <a:gd name="connsiteX2766" fmla="*/ 11086210 w 12188651"/>
              <a:gd name="connsiteY2766" fmla="*/ 1996254 h 6858000"/>
              <a:gd name="connsiteX2767" fmla="*/ 11113840 w 12188651"/>
              <a:gd name="connsiteY2767" fmla="*/ 1984709 h 6858000"/>
              <a:gd name="connsiteX2768" fmla="*/ 9059892 w 12188651"/>
              <a:gd name="connsiteY2768" fmla="*/ 1984692 h 6858000"/>
              <a:gd name="connsiteX2769" fmla="*/ 9087652 w 12188651"/>
              <a:gd name="connsiteY2769" fmla="*/ 1996238 h 6858000"/>
              <a:gd name="connsiteX2770" fmla="*/ 9152251 w 12188651"/>
              <a:gd name="connsiteY2770" fmla="*/ 2060967 h 6858000"/>
              <a:gd name="connsiteX2771" fmla="*/ 9163796 w 12188651"/>
              <a:gd name="connsiteY2771" fmla="*/ 2072641 h 6858000"/>
              <a:gd name="connsiteX2772" fmla="*/ 9175341 w 12188651"/>
              <a:gd name="connsiteY2772" fmla="*/ 2060967 h 6858000"/>
              <a:gd name="connsiteX2773" fmla="*/ 9239810 w 12188651"/>
              <a:gd name="connsiteY2773" fmla="*/ 1996238 h 6858000"/>
              <a:gd name="connsiteX2774" fmla="*/ 9267570 w 12188651"/>
              <a:gd name="connsiteY2774" fmla="*/ 1984692 h 6858000"/>
              <a:gd name="connsiteX2775" fmla="*/ 9295200 w 12188651"/>
              <a:gd name="connsiteY2775" fmla="*/ 1996238 h 6858000"/>
              <a:gd name="connsiteX2776" fmla="*/ 9373678 w 12188651"/>
              <a:gd name="connsiteY2776" fmla="*/ 2074846 h 6858000"/>
              <a:gd name="connsiteX2777" fmla="*/ 9385220 w 12188651"/>
              <a:gd name="connsiteY2777" fmla="*/ 2102601 h 6858000"/>
              <a:gd name="connsiteX2778" fmla="*/ 9373809 w 12188651"/>
              <a:gd name="connsiteY2778" fmla="*/ 2130340 h 6858000"/>
              <a:gd name="connsiteX2779" fmla="*/ 9163797 w 12188651"/>
              <a:gd name="connsiteY2779" fmla="*/ 2340755 h 6858000"/>
              <a:gd name="connsiteX2780" fmla="*/ 8953784 w 12188651"/>
              <a:gd name="connsiteY2780" fmla="*/ 2130340 h 6858000"/>
              <a:gd name="connsiteX2781" fmla="*/ 8942307 w 12188651"/>
              <a:gd name="connsiteY2781" fmla="*/ 2102615 h 6858000"/>
              <a:gd name="connsiteX2782" fmla="*/ 8953783 w 12188651"/>
              <a:gd name="connsiteY2782" fmla="*/ 2074978 h 6858000"/>
              <a:gd name="connsiteX2783" fmla="*/ 9032263 w 12188651"/>
              <a:gd name="connsiteY2783" fmla="*/ 1996238 h 6858000"/>
              <a:gd name="connsiteX2784" fmla="*/ 9059892 w 12188651"/>
              <a:gd name="connsiteY2784" fmla="*/ 1984692 h 6858000"/>
              <a:gd name="connsiteX2785" fmla="*/ 7006076 w 12188651"/>
              <a:gd name="connsiteY2785" fmla="*/ 1984677 h 6858000"/>
              <a:gd name="connsiteX2786" fmla="*/ 7033834 w 12188651"/>
              <a:gd name="connsiteY2786" fmla="*/ 1996221 h 6858000"/>
              <a:gd name="connsiteX2787" fmla="*/ 7098434 w 12188651"/>
              <a:gd name="connsiteY2787" fmla="*/ 2060951 h 6858000"/>
              <a:gd name="connsiteX2788" fmla="*/ 7109978 w 12188651"/>
              <a:gd name="connsiteY2788" fmla="*/ 2072625 h 6858000"/>
              <a:gd name="connsiteX2789" fmla="*/ 7121523 w 12188651"/>
              <a:gd name="connsiteY2789" fmla="*/ 2060951 h 6858000"/>
              <a:gd name="connsiteX2790" fmla="*/ 7185994 w 12188651"/>
              <a:gd name="connsiteY2790" fmla="*/ 1996221 h 6858000"/>
              <a:gd name="connsiteX2791" fmla="*/ 7213751 w 12188651"/>
              <a:gd name="connsiteY2791" fmla="*/ 1984677 h 6858000"/>
              <a:gd name="connsiteX2792" fmla="*/ 7241381 w 12188651"/>
              <a:gd name="connsiteY2792" fmla="*/ 1996221 h 6858000"/>
              <a:gd name="connsiteX2793" fmla="*/ 7319862 w 12188651"/>
              <a:gd name="connsiteY2793" fmla="*/ 2074831 h 6858000"/>
              <a:gd name="connsiteX2794" fmla="*/ 7331403 w 12188651"/>
              <a:gd name="connsiteY2794" fmla="*/ 2102583 h 6858000"/>
              <a:gd name="connsiteX2795" fmla="*/ 7319992 w 12188651"/>
              <a:gd name="connsiteY2795" fmla="*/ 2130329 h 6858000"/>
              <a:gd name="connsiteX2796" fmla="*/ 7109978 w 12188651"/>
              <a:gd name="connsiteY2796" fmla="*/ 2340739 h 6858000"/>
              <a:gd name="connsiteX2797" fmla="*/ 6899966 w 12188651"/>
              <a:gd name="connsiteY2797" fmla="*/ 2130329 h 6858000"/>
              <a:gd name="connsiteX2798" fmla="*/ 6888488 w 12188651"/>
              <a:gd name="connsiteY2798" fmla="*/ 2102601 h 6858000"/>
              <a:gd name="connsiteX2799" fmla="*/ 6899966 w 12188651"/>
              <a:gd name="connsiteY2799" fmla="*/ 2074961 h 6858000"/>
              <a:gd name="connsiteX2800" fmla="*/ 6978446 w 12188651"/>
              <a:gd name="connsiteY2800" fmla="*/ 1996221 h 6858000"/>
              <a:gd name="connsiteX2801" fmla="*/ 7006076 w 12188651"/>
              <a:gd name="connsiteY2801" fmla="*/ 1984677 h 6858000"/>
              <a:gd name="connsiteX2802" fmla="*/ 4952163 w 12188651"/>
              <a:gd name="connsiteY2802" fmla="*/ 1984659 h 6858000"/>
              <a:gd name="connsiteX2803" fmla="*/ 4979931 w 12188651"/>
              <a:gd name="connsiteY2803" fmla="*/ 1996205 h 6858000"/>
              <a:gd name="connsiteX2804" fmla="*/ 5021209 w 12188651"/>
              <a:gd name="connsiteY2804" fmla="*/ 2037554 h 6858000"/>
              <a:gd name="connsiteX2805" fmla="*/ 5044521 w 12188651"/>
              <a:gd name="connsiteY2805" fmla="*/ 2060919 h 6858000"/>
              <a:gd name="connsiteX2806" fmla="*/ 5056083 w 12188651"/>
              <a:gd name="connsiteY2806" fmla="*/ 2072595 h 6858000"/>
              <a:gd name="connsiteX2807" fmla="*/ 5056083 w 12188651"/>
              <a:gd name="connsiteY2807" fmla="*/ 2072592 h 6858000"/>
              <a:gd name="connsiteX2808" fmla="*/ 5056095 w 12188651"/>
              <a:gd name="connsiteY2808" fmla="*/ 2072609 h 6858000"/>
              <a:gd name="connsiteX2809" fmla="*/ 5067642 w 12188651"/>
              <a:gd name="connsiteY2809" fmla="*/ 2060935 h 6858000"/>
              <a:gd name="connsiteX2810" fmla="*/ 5132091 w 12188651"/>
              <a:gd name="connsiteY2810" fmla="*/ 1996205 h 6858000"/>
              <a:gd name="connsiteX2811" fmla="*/ 5159840 w 12188651"/>
              <a:gd name="connsiteY2811" fmla="*/ 1984659 h 6858000"/>
              <a:gd name="connsiteX2812" fmla="*/ 5187487 w 12188651"/>
              <a:gd name="connsiteY2812" fmla="*/ 1996203 h 6858000"/>
              <a:gd name="connsiteX2813" fmla="*/ 5234645 w 12188651"/>
              <a:gd name="connsiteY2813" fmla="*/ 2043461 h 6858000"/>
              <a:gd name="connsiteX2814" fmla="*/ 5265946 w 12188651"/>
              <a:gd name="connsiteY2814" fmla="*/ 2074804 h 6858000"/>
              <a:gd name="connsiteX2815" fmla="*/ 5277479 w 12188651"/>
              <a:gd name="connsiteY2815" fmla="*/ 2102560 h 6858000"/>
              <a:gd name="connsiteX2816" fmla="*/ 5266071 w 12188651"/>
              <a:gd name="connsiteY2816" fmla="*/ 2130322 h 6858000"/>
              <a:gd name="connsiteX2817" fmla="*/ 5056083 w 12188651"/>
              <a:gd name="connsiteY2817" fmla="*/ 2340720 h 6858000"/>
              <a:gd name="connsiteX2818" fmla="*/ 4969669 w 12188651"/>
              <a:gd name="connsiteY2818" fmla="*/ 2254172 h 6858000"/>
              <a:gd name="connsiteX2819" fmla="*/ 4846040 w 12188651"/>
              <a:gd name="connsiteY2819" fmla="*/ 2130322 h 6858000"/>
              <a:gd name="connsiteX2820" fmla="*/ 4834566 w 12188651"/>
              <a:gd name="connsiteY2820" fmla="*/ 2102591 h 6858000"/>
              <a:gd name="connsiteX2821" fmla="*/ 4846044 w 12188651"/>
              <a:gd name="connsiteY2821" fmla="*/ 2074945 h 6858000"/>
              <a:gd name="connsiteX2822" fmla="*/ 4924518 w 12188651"/>
              <a:gd name="connsiteY2822" fmla="*/ 1996205 h 6858000"/>
              <a:gd name="connsiteX2823" fmla="*/ 4952163 w 12188651"/>
              <a:gd name="connsiteY2823" fmla="*/ 1984659 h 6858000"/>
              <a:gd name="connsiteX2824" fmla="*/ 2898379 w 12188651"/>
              <a:gd name="connsiteY2824" fmla="*/ 1984642 h 6858000"/>
              <a:gd name="connsiteX2825" fmla="*/ 2926124 w 12188651"/>
              <a:gd name="connsiteY2825" fmla="*/ 1996183 h 6858000"/>
              <a:gd name="connsiteX2826" fmla="*/ 2990712 w 12188651"/>
              <a:gd name="connsiteY2826" fmla="*/ 2060903 h 6858000"/>
              <a:gd name="connsiteX2827" fmla="*/ 3002260 w 12188651"/>
              <a:gd name="connsiteY2827" fmla="*/ 2072579 h 6858000"/>
              <a:gd name="connsiteX2828" fmla="*/ 3002262 w 12188651"/>
              <a:gd name="connsiteY2828" fmla="*/ 2072574 h 6858000"/>
              <a:gd name="connsiteX2829" fmla="*/ 3002282 w 12188651"/>
              <a:gd name="connsiteY2829" fmla="*/ 2072593 h 6858000"/>
              <a:gd name="connsiteX2830" fmla="*/ 3013824 w 12188651"/>
              <a:gd name="connsiteY2830" fmla="*/ 2060919 h 6858000"/>
              <a:gd name="connsiteX2831" fmla="*/ 3078292 w 12188651"/>
              <a:gd name="connsiteY2831" fmla="*/ 1996188 h 6858000"/>
              <a:gd name="connsiteX2832" fmla="*/ 3106058 w 12188651"/>
              <a:gd name="connsiteY2832" fmla="*/ 1984642 h 6858000"/>
              <a:gd name="connsiteX2833" fmla="*/ 3133671 w 12188651"/>
              <a:gd name="connsiteY2833" fmla="*/ 1996183 h 6858000"/>
              <a:gd name="connsiteX2834" fmla="*/ 3212141 w 12188651"/>
              <a:gd name="connsiteY2834" fmla="*/ 2074784 h 6858000"/>
              <a:gd name="connsiteX2835" fmla="*/ 3223687 w 12188651"/>
              <a:gd name="connsiteY2835" fmla="*/ 2102544 h 6858000"/>
              <a:gd name="connsiteX2836" fmla="*/ 3212272 w 12188651"/>
              <a:gd name="connsiteY2836" fmla="*/ 2130304 h 6858000"/>
              <a:gd name="connsiteX2837" fmla="*/ 3002263 w 12188651"/>
              <a:gd name="connsiteY2837" fmla="*/ 2340706 h 6858000"/>
              <a:gd name="connsiteX2838" fmla="*/ 2792272 w 12188651"/>
              <a:gd name="connsiteY2838" fmla="*/ 2130322 h 6858000"/>
              <a:gd name="connsiteX2839" fmla="*/ 2792272 w 12188651"/>
              <a:gd name="connsiteY2839" fmla="*/ 2074929 h 6858000"/>
              <a:gd name="connsiteX2840" fmla="*/ 2870746 w 12188651"/>
              <a:gd name="connsiteY2840" fmla="*/ 1996188 h 6858000"/>
              <a:gd name="connsiteX2841" fmla="*/ 2898379 w 12188651"/>
              <a:gd name="connsiteY2841" fmla="*/ 1984642 h 6858000"/>
              <a:gd name="connsiteX2842" fmla="*/ 844398 w 12188651"/>
              <a:gd name="connsiteY2842" fmla="*/ 1984626 h 6858000"/>
              <a:gd name="connsiteX2843" fmla="*/ 872148 w 12188651"/>
              <a:gd name="connsiteY2843" fmla="*/ 1996168 h 6858000"/>
              <a:gd name="connsiteX2844" fmla="*/ 936736 w 12188651"/>
              <a:gd name="connsiteY2844" fmla="*/ 2060888 h 6858000"/>
              <a:gd name="connsiteX2845" fmla="*/ 948281 w 12188651"/>
              <a:gd name="connsiteY2845" fmla="*/ 2072562 h 6858000"/>
              <a:gd name="connsiteX2846" fmla="*/ 948285 w 12188651"/>
              <a:gd name="connsiteY2846" fmla="*/ 2072558 h 6858000"/>
              <a:gd name="connsiteX2847" fmla="*/ 948304 w 12188651"/>
              <a:gd name="connsiteY2847" fmla="*/ 2072577 h 6858000"/>
              <a:gd name="connsiteX2848" fmla="*/ 959848 w 12188651"/>
              <a:gd name="connsiteY2848" fmla="*/ 2060903 h 6858000"/>
              <a:gd name="connsiteX2849" fmla="*/ 1024318 w 12188651"/>
              <a:gd name="connsiteY2849" fmla="*/ 1996172 h 6858000"/>
              <a:gd name="connsiteX2850" fmla="*/ 1052077 w 12188651"/>
              <a:gd name="connsiteY2850" fmla="*/ 1984626 h 6858000"/>
              <a:gd name="connsiteX2851" fmla="*/ 1079695 w 12188651"/>
              <a:gd name="connsiteY2851" fmla="*/ 1996168 h 6858000"/>
              <a:gd name="connsiteX2852" fmla="*/ 1158163 w 12188651"/>
              <a:gd name="connsiteY2852" fmla="*/ 2074768 h 6858000"/>
              <a:gd name="connsiteX2853" fmla="*/ 1169708 w 12188651"/>
              <a:gd name="connsiteY2853" fmla="*/ 2102528 h 6858000"/>
              <a:gd name="connsiteX2854" fmla="*/ 1158294 w 12188651"/>
              <a:gd name="connsiteY2854" fmla="*/ 2130289 h 6858000"/>
              <a:gd name="connsiteX2855" fmla="*/ 948285 w 12188651"/>
              <a:gd name="connsiteY2855" fmla="*/ 2340695 h 6858000"/>
              <a:gd name="connsiteX2856" fmla="*/ 738292 w 12188651"/>
              <a:gd name="connsiteY2856" fmla="*/ 2130304 h 6858000"/>
              <a:gd name="connsiteX2857" fmla="*/ 738292 w 12188651"/>
              <a:gd name="connsiteY2857" fmla="*/ 2074914 h 6858000"/>
              <a:gd name="connsiteX2858" fmla="*/ 816770 w 12188651"/>
              <a:gd name="connsiteY2858" fmla="*/ 1996172 h 6858000"/>
              <a:gd name="connsiteX2859" fmla="*/ 844398 w 12188651"/>
              <a:gd name="connsiteY2859" fmla="*/ 1984626 h 6858000"/>
              <a:gd name="connsiteX2860" fmla="*/ 11113840 w 12188651"/>
              <a:gd name="connsiteY2860" fmla="*/ 1968219 h 6858000"/>
              <a:gd name="connsiteX2861" fmla="*/ 11074665 w 12188651"/>
              <a:gd name="connsiteY2861" fmla="*/ 1984563 h 6858000"/>
              <a:gd name="connsiteX2862" fmla="*/ 10996186 w 12188651"/>
              <a:gd name="connsiteY2862" fmla="*/ 2063301 h 6858000"/>
              <a:gd name="connsiteX2863" fmla="*/ 10979939 w 12188651"/>
              <a:gd name="connsiteY2863" fmla="*/ 2102607 h 6858000"/>
              <a:gd name="connsiteX2864" fmla="*/ 10979942 w 12188651"/>
              <a:gd name="connsiteY2864" fmla="*/ 2102615 h 6858000"/>
              <a:gd name="connsiteX2865" fmla="*/ 10979939 w 12188651"/>
              <a:gd name="connsiteY2865" fmla="*/ 2102624 h 6858000"/>
              <a:gd name="connsiteX2866" fmla="*/ 10996186 w 12188651"/>
              <a:gd name="connsiteY2866" fmla="*/ 2141922 h 6858000"/>
              <a:gd name="connsiteX2867" fmla="*/ 11217744 w 12188651"/>
              <a:gd name="connsiteY2867" fmla="*/ 2364005 h 6858000"/>
              <a:gd name="connsiteX2868" fmla="*/ 11439301 w 12188651"/>
              <a:gd name="connsiteY2868" fmla="*/ 2141922 h 6858000"/>
              <a:gd name="connsiteX2869" fmla="*/ 11455548 w 12188651"/>
              <a:gd name="connsiteY2869" fmla="*/ 2102624 h 6858000"/>
              <a:gd name="connsiteX2870" fmla="*/ 11455545 w 12188651"/>
              <a:gd name="connsiteY2870" fmla="*/ 2102615 h 6858000"/>
              <a:gd name="connsiteX2871" fmla="*/ 11455548 w 12188651"/>
              <a:gd name="connsiteY2871" fmla="*/ 2102607 h 6858000"/>
              <a:gd name="connsiteX2872" fmla="*/ 11439301 w 12188651"/>
              <a:gd name="connsiteY2872" fmla="*/ 2063301 h 6858000"/>
              <a:gd name="connsiteX2873" fmla="*/ 11360822 w 12188651"/>
              <a:gd name="connsiteY2873" fmla="*/ 1984693 h 6858000"/>
              <a:gd name="connsiteX2874" fmla="*/ 11321647 w 12188651"/>
              <a:gd name="connsiteY2874" fmla="*/ 1968348 h 6858000"/>
              <a:gd name="connsiteX2875" fmla="*/ 11321517 w 12188651"/>
              <a:gd name="connsiteY2875" fmla="*/ 1968219 h 6858000"/>
              <a:gd name="connsiteX2876" fmla="*/ 11282213 w 12188651"/>
              <a:gd name="connsiteY2876" fmla="*/ 1984693 h 6858000"/>
              <a:gd name="connsiteX2877" fmla="*/ 11217744 w 12188651"/>
              <a:gd name="connsiteY2877" fmla="*/ 2049294 h 6858000"/>
              <a:gd name="connsiteX2878" fmla="*/ 11153145 w 12188651"/>
              <a:gd name="connsiteY2878" fmla="*/ 1984563 h 6858000"/>
              <a:gd name="connsiteX2879" fmla="*/ 11113840 w 12188651"/>
              <a:gd name="connsiteY2879" fmla="*/ 1968219 h 6858000"/>
              <a:gd name="connsiteX2880" fmla="*/ 9059893 w 12188651"/>
              <a:gd name="connsiteY2880" fmla="*/ 1968203 h 6858000"/>
              <a:gd name="connsiteX2881" fmla="*/ 9020718 w 12188651"/>
              <a:gd name="connsiteY2881" fmla="*/ 1984547 h 6858000"/>
              <a:gd name="connsiteX2882" fmla="*/ 8942239 w 12188651"/>
              <a:gd name="connsiteY2882" fmla="*/ 2063287 h 6858000"/>
              <a:gd name="connsiteX2883" fmla="*/ 8925992 w 12188651"/>
              <a:gd name="connsiteY2883" fmla="*/ 2102593 h 6858000"/>
              <a:gd name="connsiteX2884" fmla="*/ 8925994 w 12188651"/>
              <a:gd name="connsiteY2884" fmla="*/ 2102598 h 6858000"/>
              <a:gd name="connsiteX2885" fmla="*/ 8925991 w 12188651"/>
              <a:gd name="connsiteY2885" fmla="*/ 2102606 h 6858000"/>
              <a:gd name="connsiteX2886" fmla="*/ 8942238 w 12188651"/>
              <a:gd name="connsiteY2886" fmla="*/ 2141902 h 6858000"/>
              <a:gd name="connsiteX2887" fmla="*/ 9163796 w 12188651"/>
              <a:gd name="connsiteY2887" fmla="*/ 2363983 h 6858000"/>
              <a:gd name="connsiteX2888" fmla="*/ 9385353 w 12188651"/>
              <a:gd name="connsiteY2888" fmla="*/ 2141902 h 6858000"/>
              <a:gd name="connsiteX2889" fmla="*/ 9401600 w 12188651"/>
              <a:gd name="connsiteY2889" fmla="*/ 2102606 h 6858000"/>
              <a:gd name="connsiteX2890" fmla="*/ 9401598 w 12188651"/>
              <a:gd name="connsiteY2890" fmla="*/ 2102601 h 6858000"/>
              <a:gd name="connsiteX2891" fmla="*/ 9401601 w 12188651"/>
              <a:gd name="connsiteY2891" fmla="*/ 2102593 h 6858000"/>
              <a:gd name="connsiteX2892" fmla="*/ 9385354 w 12188651"/>
              <a:gd name="connsiteY2892" fmla="*/ 2063287 h 6858000"/>
              <a:gd name="connsiteX2893" fmla="*/ 9306876 w 12188651"/>
              <a:gd name="connsiteY2893" fmla="*/ 1984677 h 6858000"/>
              <a:gd name="connsiteX2894" fmla="*/ 9267701 w 12188651"/>
              <a:gd name="connsiteY2894" fmla="*/ 1968333 h 6858000"/>
              <a:gd name="connsiteX2895" fmla="*/ 9267571 w 12188651"/>
              <a:gd name="connsiteY2895" fmla="*/ 1968203 h 6858000"/>
              <a:gd name="connsiteX2896" fmla="*/ 9228266 w 12188651"/>
              <a:gd name="connsiteY2896" fmla="*/ 1984677 h 6858000"/>
              <a:gd name="connsiteX2897" fmla="*/ 9163797 w 12188651"/>
              <a:gd name="connsiteY2897" fmla="*/ 2049278 h 6858000"/>
              <a:gd name="connsiteX2898" fmla="*/ 9099198 w 12188651"/>
              <a:gd name="connsiteY2898" fmla="*/ 1984547 h 6858000"/>
              <a:gd name="connsiteX2899" fmla="*/ 9059893 w 12188651"/>
              <a:gd name="connsiteY2899" fmla="*/ 1968203 h 6858000"/>
              <a:gd name="connsiteX2900" fmla="*/ 7006076 w 12188651"/>
              <a:gd name="connsiteY2900" fmla="*/ 1968186 h 6858000"/>
              <a:gd name="connsiteX2901" fmla="*/ 6966901 w 12188651"/>
              <a:gd name="connsiteY2901" fmla="*/ 1984530 h 6858000"/>
              <a:gd name="connsiteX2902" fmla="*/ 6888421 w 12188651"/>
              <a:gd name="connsiteY2902" fmla="*/ 2063270 h 6858000"/>
              <a:gd name="connsiteX2903" fmla="*/ 6872173 w 12188651"/>
              <a:gd name="connsiteY2903" fmla="*/ 2102577 h 6858000"/>
              <a:gd name="connsiteX2904" fmla="*/ 6872176 w 12188651"/>
              <a:gd name="connsiteY2904" fmla="*/ 2102583 h 6858000"/>
              <a:gd name="connsiteX2905" fmla="*/ 6872173 w 12188651"/>
              <a:gd name="connsiteY2905" fmla="*/ 2102591 h 6858000"/>
              <a:gd name="connsiteX2906" fmla="*/ 6888421 w 12188651"/>
              <a:gd name="connsiteY2906" fmla="*/ 2141896 h 6858000"/>
              <a:gd name="connsiteX2907" fmla="*/ 7109978 w 12188651"/>
              <a:gd name="connsiteY2907" fmla="*/ 2363976 h 6858000"/>
              <a:gd name="connsiteX2908" fmla="*/ 7331537 w 12188651"/>
              <a:gd name="connsiteY2908" fmla="*/ 2141896 h 6858000"/>
              <a:gd name="connsiteX2909" fmla="*/ 7347783 w 12188651"/>
              <a:gd name="connsiteY2909" fmla="*/ 2102591 h 6858000"/>
              <a:gd name="connsiteX2910" fmla="*/ 7347780 w 12188651"/>
              <a:gd name="connsiteY2910" fmla="*/ 2102583 h 6858000"/>
              <a:gd name="connsiteX2911" fmla="*/ 7347783 w 12188651"/>
              <a:gd name="connsiteY2911" fmla="*/ 2102577 h 6858000"/>
              <a:gd name="connsiteX2912" fmla="*/ 7331537 w 12188651"/>
              <a:gd name="connsiteY2912" fmla="*/ 2063270 h 6858000"/>
              <a:gd name="connsiteX2913" fmla="*/ 7253057 w 12188651"/>
              <a:gd name="connsiteY2913" fmla="*/ 1984660 h 6858000"/>
              <a:gd name="connsiteX2914" fmla="*/ 7213882 w 12188651"/>
              <a:gd name="connsiteY2914" fmla="*/ 1968316 h 6858000"/>
              <a:gd name="connsiteX2915" fmla="*/ 7213751 w 12188651"/>
              <a:gd name="connsiteY2915" fmla="*/ 1968186 h 6858000"/>
              <a:gd name="connsiteX2916" fmla="*/ 7174449 w 12188651"/>
              <a:gd name="connsiteY2916" fmla="*/ 1984660 h 6858000"/>
              <a:gd name="connsiteX2917" fmla="*/ 7109978 w 12188651"/>
              <a:gd name="connsiteY2917" fmla="*/ 2049261 h 6858000"/>
              <a:gd name="connsiteX2918" fmla="*/ 7045379 w 12188651"/>
              <a:gd name="connsiteY2918" fmla="*/ 1984530 h 6858000"/>
              <a:gd name="connsiteX2919" fmla="*/ 7006076 w 12188651"/>
              <a:gd name="connsiteY2919" fmla="*/ 1968186 h 6858000"/>
              <a:gd name="connsiteX2920" fmla="*/ 4952154 w 12188651"/>
              <a:gd name="connsiteY2920" fmla="*/ 1968169 h 6858000"/>
              <a:gd name="connsiteX2921" fmla="*/ 4912971 w 12188651"/>
              <a:gd name="connsiteY2921" fmla="*/ 1984514 h 6858000"/>
              <a:gd name="connsiteX2922" fmla="*/ 4834497 w 12188651"/>
              <a:gd name="connsiteY2922" fmla="*/ 2063254 h 6858000"/>
              <a:gd name="connsiteX2923" fmla="*/ 4834497 w 12188651"/>
              <a:gd name="connsiteY2923" fmla="*/ 2141866 h 6858000"/>
              <a:gd name="connsiteX2924" fmla="*/ 4834505 w 12188651"/>
              <a:gd name="connsiteY2924" fmla="*/ 2141879 h 6858000"/>
              <a:gd name="connsiteX2925" fmla="*/ 4969761 w 12188651"/>
              <a:gd name="connsiteY2925" fmla="*/ 2277444 h 6858000"/>
              <a:gd name="connsiteX2926" fmla="*/ 5056083 w 12188651"/>
              <a:gd name="connsiteY2926" fmla="*/ 2363949 h 6858000"/>
              <a:gd name="connsiteX2927" fmla="*/ 5056083 w 12188651"/>
              <a:gd name="connsiteY2927" fmla="*/ 2363940 h 6858000"/>
              <a:gd name="connsiteX2928" fmla="*/ 5056095 w 12188651"/>
              <a:gd name="connsiteY2928" fmla="*/ 2363964 h 6858000"/>
              <a:gd name="connsiteX2929" fmla="*/ 5277619 w 12188651"/>
              <a:gd name="connsiteY2929" fmla="*/ 2141879 h 6858000"/>
              <a:gd name="connsiteX2930" fmla="*/ 5277619 w 12188651"/>
              <a:gd name="connsiteY2930" fmla="*/ 2063270 h 6858000"/>
              <a:gd name="connsiteX2931" fmla="*/ 5277615 w 12188651"/>
              <a:gd name="connsiteY2931" fmla="*/ 2063260 h 6858000"/>
              <a:gd name="connsiteX2932" fmla="*/ 5277613 w 12188651"/>
              <a:gd name="connsiteY2932" fmla="*/ 2063254 h 6858000"/>
              <a:gd name="connsiteX2933" fmla="*/ 5199129 w 12188651"/>
              <a:gd name="connsiteY2933" fmla="*/ 1984644 h 6858000"/>
              <a:gd name="connsiteX2934" fmla="*/ 5159958 w 12188651"/>
              <a:gd name="connsiteY2934" fmla="*/ 1968300 h 6858000"/>
              <a:gd name="connsiteX2935" fmla="*/ 5159834 w 12188651"/>
              <a:gd name="connsiteY2935" fmla="*/ 1968169 h 6858000"/>
              <a:gd name="connsiteX2936" fmla="*/ 5120536 w 12188651"/>
              <a:gd name="connsiteY2936" fmla="*/ 1984644 h 6858000"/>
              <a:gd name="connsiteX2937" fmla="*/ 5056083 w 12188651"/>
              <a:gd name="connsiteY2937" fmla="*/ 2049243 h 6858000"/>
              <a:gd name="connsiteX2938" fmla="*/ 5013371 w 12188651"/>
              <a:gd name="connsiteY2938" fmla="*/ 2006464 h 6858000"/>
              <a:gd name="connsiteX2939" fmla="*/ 4991465 w 12188651"/>
              <a:gd name="connsiteY2939" fmla="*/ 1984514 h 6858000"/>
              <a:gd name="connsiteX2940" fmla="*/ 4952154 w 12188651"/>
              <a:gd name="connsiteY2940" fmla="*/ 1968169 h 6858000"/>
              <a:gd name="connsiteX2941" fmla="*/ 2898356 w 12188651"/>
              <a:gd name="connsiteY2941" fmla="*/ 1968153 h 6858000"/>
              <a:gd name="connsiteX2942" fmla="*/ 2859181 w 12188651"/>
              <a:gd name="connsiteY2942" fmla="*/ 1984498 h 6858000"/>
              <a:gd name="connsiteX2943" fmla="*/ 2780699 w 12188651"/>
              <a:gd name="connsiteY2943" fmla="*/ 2063238 h 6858000"/>
              <a:gd name="connsiteX2944" fmla="*/ 2780699 w 12188651"/>
              <a:gd name="connsiteY2944" fmla="*/ 2141849 h 6858000"/>
              <a:gd name="connsiteX2945" fmla="*/ 3002260 w 12188651"/>
              <a:gd name="connsiteY2945" fmla="*/ 2363931 h 6858000"/>
              <a:gd name="connsiteX2946" fmla="*/ 3002263 w 12188651"/>
              <a:gd name="connsiteY2946" fmla="*/ 2363925 h 6858000"/>
              <a:gd name="connsiteX2947" fmla="*/ 3002282 w 12188651"/>
              <a:gd name="connsiteY2947" fmla="*/ 2363946 h 6858000"/>
              <a:gd name="connsiteX2948" fmla="*/ 3223840 w 12188651"/>
              <a:gd name="connsiteY2948" fmla="*/ 2141866 h 6858000"/>
              <a:gd name="connsiteX2949" fmla="*/ 3223840 w 12188651"/>
              <a:gd name="connsiteY2949" fmla="*/ 2063254 h 6858000"/>
              <a:gd name="connsiteX2950" fmla="*/ 3145359 w 12188651"/>
              <a:gd name="connsiteY2950" fmla="*/ 1984642 h 6858000"/>
              <a:gd name="connsiteX2951" fmla="*/ 3126988 w 12188651"/>
              <a:gd name="connsiteY2951" fmla="*/ 1972385 h 6858000"/>
              <a:gd name="connsiteX2952" fmla="*/ 3126965 w 12188651"/>
              <a:gd name="connsiteY2952" fmla="*/ 1972369 h 6858000"/>
              <a:gd name="connsiteX2953" fmla="*/ 3106173 w 12188651"/>
              <a:gd name="connsiteY2953" fmla="*/ 1968284 h 6858000"/>
              <a:gd name="connsiteX2954" fmla="*/ 3106058 w 12188651"/>
              <a:gd name="connsiteY2954" fmla="*/ 1968169 h 6858000"/>
              <a:gd name="connsiteX2955" fmla="*/ 3106050 w 12188651"/>
              <a:gd name="connsiteY2955" fmla="*/ 1968170 h 6858000"/>
              <a:gd name="connsiteX2956" fmla="*/ 3106032 w 12188651"/>
              <a:gd name="connsiteY2956" fmla="*/ 1968153 h 6858000"/>
              <a:gd name="connsiteX2957" fmla="*/ 3066728 w 12188651"/>
              <a:gd name="connsiteY2957" fmla="*/ 1984627 h 6858000"/>
              <a:gd name="connsiteX2958" fmla="*/ 3002263 w 12188651"/>
              <a:gd name="connsiteY2958" fmla="*/ 2049224 h 6858000"/>
              <a:gd name="connsiteX2959" fmla="*/ 2937683 w 12188651"/>
              <a:gd name="connsiteY2959" fmla="*/ 1984514 h 6858000"/>
              <a:gd name="connsiteX2960" fmla="*/ 2919295 w 12188651"/>
              <a:gd name="connsiteY2960" fmla="*/ 1972255 h 6858000"/>
              <a:gd name="connsiteX2961" fmla="*/ 2919269 w 12188651"/>
              <a:gd name="connsiteY2961" fmla="*/ 1972239 h 6858000"/>
              <a:gd name="connsiteX2962" fmla="*/ 2898356 w 12188651"/>
              <a:gd name="connsiteY2962" fmla="*/ 1968153 h 6858000"/>
              <a:gd name="connsiteX2963" fmla="*/ 844377 w 12188651"/>
              <a:gd name="connsiteY2963" fmla="*/ 1968136 h 6858000"/>
              <a:gd name="connsiteX2964" fmla="*/ 805203 w 12188651"/>
              <a:gd name="connsiteY2964" fmla="*/ 1984482 h 6858000"/>
              <a:gd name="connsiteX2965" fmla="*/ 726723 w 12188651"/>
              <a:gd name="connsiteY2965" fmla="*/ 2063222 h 6858000"/>
              <a:gd name="connsiteX2966" fmla="*/ 726723 w 12188651"/>
              <a:gd name="connsiteY2966" fmla="*/ 2141834 h 6858000"/>
              <a:gd name="connsiteX2967" fmla="*/ 948281 w 12188651"/>
              <a:gd name="connsiteY2967" fmla="*/ 2363918 h 6858000"/>
              <a:gd name="connsiteX2968" fmla="*/ 948286 w 12188651"/>
              <a:gd name="connsiteY2968" fmla="*/ 2363911 h 6858000"/>
              <a:gd name="connsiteX2969" fmla="*/ 948304 w 12188651"/>
              <a:gd name="connsiteY2969" fmla="*/ 2363931 h 6858000"/>
              <a:gd name="connsiteX2970" fmla="*/ 1169859 w 12188651"/>
              <a:gd name="connsiteY2970" fmla="*/ 2141849 h 6858000"/>
              <a:gd name="connsiteX2971" fmla="*/ 1169859 w 12188651"/>
              <a:gd name="connsiteY2971" fmla="*/ 2063237 h 6858000"/>
              <a:gd name="connsiteX2972" fmla="*/ 1091381 w 12188651"/>
              <a:gd name="connsiteY2972" fmla="*/ 1984626 h 6858000"/>
              <a:gd name="connsiteX2973" fmla="*/ 1087230 w 12188651"/>
              <a:gd name="connsiteY2973" fmla="*/ 1981855 h 6858000"/>
              <a:gd name="connsiteX2974" fmla="*/ 1072988 w 12188651"/>
              <a:gd name="connsiteY2974" fmla="*/ 1972352 h 6858000"/>
              <a:gd name="connsiteX2975" fmla="*/ 1052193 w 12188651"/>
              <a:gd name="connsiteY2975" fmla="*/ 1968268 h 6858000"/>
              <a:gd name="connsiteX2976" fmla="*/ 1052077 w 12188651"/>
              <a:gd name="connsiteY2976" fmla="*/ 1968152 h 6858000"/>
              <a:gd name="connsiteX2977" fmla="*/ 1052071 w 12188651"/>
              <a:gd name="connsiteY2977" fmla="*/ 1968153 h 6858000"/>
              <a:gd name="connsiteX2978" fmla="*/ 1052055 w 12188651"/>
              <a:gd name="connsiteY2978" fmla="*/ 1968136 h 6858000"/>
              <a:gd name="connsiteX2979" fmla="*/ 1012751 w 12188651"/>
              <a:gd name="connsiteY2979" fmla="*/ 1984611 h 6858000"/>
              <a:gd name="connsiteX2980" fmla="*/ 948285 w 12188651"/>
              <a:gd name="connsiteY2980" fmla="*/ 2049209 h 6858000"/>
              <a:gd name="connsiteX2981" fmla="*/ 883704 w 12188651"/>
              <a:gd name="connsiteY2981" fmla="*/ 1984497 h 6858000"/>
              <a:gd name="connsiteX2982" fmla="*/ 883682 w 12188651"/>
              <a:gd name="connsiteY2982" fmla="*/ 1984482 h 6858000"/>
              <a:gd name="connsiteX2983" fmla="*/ 883681 w 12188651"/>
              <a:gd name="connsiteY2983" fmla="*/ 1984482 h 6858000"/>
              <a:gd name="connsiteX2984" fmla="*/ 844377 w 12188651"/>
              <a:gd name="connsiteY2984" fmla="*/ 1968136 h 6858000"/>
              <a:gd name="connsiteX2985" fmla="*/ 11910826 w 12188651"/>
              <a:gd name="connsiteY2985" fmla="*/ 1757693 h 6858000"/>
              <a:gd name="connsiteX2986" fmla="*/ 12188651 w 12188651"/>
              <a:gd name="connsiteY2986" fmla="*/ 1918485 h 6858000"/>
              <a:gd name="connsiteX2987" fmla="*/ 12188651 w 12188651"/>
              <a:gd name="connsiteY2987" fmla="*/ 2295294 h 6858000"/>
              <a:gd name="connsiteX2988" fmla="*/ 11910826 w 12188651"/>
              <a:gd name="connsiteY2988" fmla="*/ 2134524 h 6858000"/>
              <a:gd name="connsiteX2989" fmla="*/ 11894481 w 12188651"/>
              <a:gd name="connsiteY2989" fmla="*/ 1757693 h 6858000"/>
              <a:gd name="connsiteX2990" fmla="*/ 11894481 w 12188651"/>
              <a:gd name="connsiteY2990" fmla="*/ 2134524 h 6858000"/>
              <a:gd name="connsiteX2991" fmla="*/ 11568890 w 12188651"/>
              <a:gd name="connsiteY2991" fmla="*/ 2322864 h 6858000"/>
              <a:gd name="connsiteX2992" fmla="*/ 11568890 w 12188651"/>
              <a:gd name="connsiteY2992" fmla="*/ 1946054 h 6858000"/>
              <a:gd name="connsiteX2993" fmla="*/ 9857006 w 12188651"/>
              <a:gd name="connsiteY2993" fmla="*/ 1757678 h 6858000"/>
              <a:gd name="connsiteX2994" fmla="*/ 10182468 w 12188651"/>
              <a:gd name="connsiteY2994" fmla="*/ 1946038 h 6858000"/>
              <a:gd name="connsiteX2995" fmla="*/ 10182468 w 12188651"/>
              <a:gd name="connsiteY2995" fmla="*/ 2322844 h 6858000"/>
              <a:gd name="connsiteX2996" fmla="*/ 9857006 w 12188651"/>
              <a:gd name="connsiteY2996" fmla="*/ 2134505 h 6858000"/>
              <a:gd name="connsiteX2997" fmla="*/ 9840661 w 12188651"/>
              <a:gd name="connsiteY2997" fmla="*/ 1757678 h 6858000"/>
              <a:gd name="connsiteX2998" fmla="*/ 9840661 w 12188651"/>
              <a:gd name="connsiteY2998" fmla="*/ 2134505 h 6858000"/>
              <a:gd name="connsiteX2999" fmla="*/ 9515070 w 12188651"/>
              <a:gd name="connsiteY2999" fmla="*/ 2322844 h 6858000"/>
              <a:gd name="connsiteX3000" fmla="*/ 9515070 w 12188651"/>
              <a:gd name="connsiteY3000" fmla="*/ 1946038 h 6858000"/>
              <a:gd name="connsiteX3001" fmla="*/ 7803060 w 12188651"/>
              <a:gd name="connsiteY3001" fmla="*/ 1757662 h 6858000"/>
              <a:gd name="connsiteX3002" fmla="*/ 8128521 w 12188651"/>
              <a:gd name="connsiteY3002" fmla="*/ 1946022 h 6858000"/>
              <a:gd name="connsiteX3003" fmla="*/ 8128521 w 12188651"/>
              <a:gd name="connsiteY3003" fmla="*/ 2322839 h 6858000"/>
              <a:gd name="connsiteX3004" fmla="*/ 7803060 w 12188651"/>
              <a:gd name="connsiteY3004" fmla="*/ 2134492 h 6858000"/>
              <a:gd name="connsiteX3005" fmla="*/ 7786715 w 12188651"/>
              <a:gd name="connsiteY3005" fmla="*/ 1757662 h 6858000"/>
              <a:gd name="connsiteX3006" fmla="*/ 7786715 w 12188651"/>
              <a:gd name="connsiteY3006" fmla="*/ 2134492 h 6858000"/>
              <a:gd name="connsiteX3007" fmla="*/ 7461125 w 12188651"/>
              <a:gd name="connsiteY3007" fmla="*/ 2322839 h 6858000"/>
              <a:gd name="connsiteX3008" fmla="*/ 7461125 w 12188651"/>
              <a:gd name="connsiteY3008" fmla="*/ 1946022 h 6858000"/>
              <a:gd name="connsiteX3009" fmla="*/ 5732923 w 12188651"/>
              <a:gd name="connsiteY3009" fmla="*/ 1757647 h 6858000"/>
              <a:gd name="connsiteX3010" fmla="*/ 5732923 w 12188651"/>
              <a:gd name="connsiteY3010" fmla="*/ 2134484 h 6858000"/>
              <a:gd name="connsiteX3011" fmla="*/ 5407352 w 12188651"/>
              <a:gd name="connsiteY3011" fmla="*/ 2322830 h 6858000"/>
              <a:gd name="connsiteX3012" fmla="*/ 5407352 w 12188651"/>
              <a:gd name="connsiteY3012" fmla="*/ 1946005 h 6858000"/>
              <a:gd name="connsiteX3013" fmla="*/ 5749266 w 12188651"/>
              <a:gd name="connsiteY3013" fmla="*/ 1757646 h 6858000"/>
              <a:gd name="connsiteX3014" fmla="*/ 6074705 w 12188651"/>
              <a:gd name="connsiteY3014" fmla="*/ 1946005 h 6858000"/>
              <a:gd name="connsiteX3015" fmla="*/ 6074705 w 12188651"/>
              <a:gd name="connsiteY3015" fmla="*/ 2322830 h 6858000"/>
              <a:gd name="connsiteX3016" fmla="*/ 5749266 w 12188651"/>
              <a:gd name="connsiteY3016" fmla="*/ 2134484 h 6858000"/>
              <a:gd name="connsiteX3017" fmla="*/ 3679144 w 12188651"/>
              <a:gd name="connsiteY3017" fmla="*/ 1757633 h 6858000"/>
              <a:gd name="connsiteX3018" fmla="*/ 3679144 w 12188651"/>
              <a:gd name="connsiteY3018" fmla="*/ 2134464 h 6858000"/>
              <a:gd name="connsiteX3019" fmla="*/ 3353563 w 12188651"/>
              <a:gd name="connsiteY3019" fmla="*/ 2322807 h 6858000"/>
              <a:gd name="connsiteX3020" fmla="*/ 3353563 w 12188651"/>
              <a:gd name="connsiteY3020" fmla="*/ 1945988 h 6858000"/>
              <a:gd name="connsiteX3021" fmla="*/ 3695494 w 12188651"/>
              <a:gd name="connsiteY3021" fmla="*/ 1757631 h 6858000"/>
              <a:gd name="connsiteX3022" fmla="*/ 4020945 w 12188651"/>
              <a:gd name="connsiteY3022" fmla="*/ 1945986 h 6858000"/>
              <a:gd name="connsiteX3023" fmla="*/ 4020945 w 12188651"/>
              <a:gd name="connsiteY3023" fmla="*/ 2322809 h 6858000"/>
              <a:gd name="connsiteX3024" fmla="*/ 3733755 w 12188651"/>
              <a:gd name="connsiteY3024" fmla="*/ 2156613 h 6858000"/>
              <a:gd name="connsiteX3025" fmla="*/ 3695494 w 12188651"/>
              <a:gd name="connsiteY3025" fmla="*/ 2134468 h 6858000"/>
              <a:gd name="connsiteX3026" fmla="*/ 1625166 w 12188651"/>
              <a:gd name="connsiteY3026" fmla="*/ 1757617 h 6858000"/>
              <a:gd name="connsiteX3027" fmla="*/ 1625166 w 12188651"/>
              <a:gd name="connsiteY3027" fmla="*/ 2134450 h 6858000"/>
              <a:gd name="connsiteX3028" fmla="*/ 1299581 w 12188651"/>
              <a:gd name="connsiteY3028" fmla="*/ 2322797 h 6858000"/>
              <a:gd name="connsiteX3029" fmla="*/ 1299581 w 12188651"/>
              <a:gd name="connsiteY3029" fmla="*/ 1945972 h 6858000"/>
              <a:gd name="connsiteX3030" fmla="*/ 1641515 w 12188651"/>
              <a:gd name="connsiteY3030" fmla="*/ 1757615 h 6858000"/>
              <a:gd name="connsiteX3031" fmla="*/ 1966969 w 12188651"/>
              <a:gd name="connsiteY3031" fmla="*/ 1945969 h 6858000"/>
              <a:gd name="connsiteX3032" fmla="*/ 1966969 w 12188651"/>
              <a:gd name="connsiteY3032" fmla="*/ 2322802 h 6858000"/>
              <a:gd name="connsiteX3033" fmla="*/ 1914926 w 12188651"/>
              <a:gd name="connsiteY3033" fmla="*/ 2292686 h 6858000"/>
              <a:gd name="connsiteX3034" fmla="*/ 1641515 w 12188651"/>
              <a:gd name="connsiteY3034" fmla="*/ 2134455 h 6858000"/>
              <a:gd name="connsiteX3035" fmla="*/ 10532576 w 12188651"/>
              <a:gd name="connsiteY3035" fmla="*/ 1752878 h 6858000"/>
              <a:gd name="connsiteX3036" fmla="*/ 10866339 w 12188651"/>
              <a:gd name="connsiteY3036" fmla="*/ 1946038 h 6858000"/>
              <a:gd name="connsiteX3037" fmla="*/ 10866339 w 12188651"/>
              <a:gd name="connsiteY3037" fmla="*/ 2332329 h 6858000"/>
              <a:gd name="connsiteX3038" fmla="*/ 10532706 w 12188651"/>
              <a:gd name="connsiteY3038" fmla="*/ 2525485 h 6858000"/>
              <a:gd name="connsiteX3039" fmla="*/ 10198941 w 12188651"/>
              <a:gd name="connsiteY3039" fmla="*/ 2332329 h 6858000"/>
              <a:gd name="connsiteX3040" fmla="*/ 10198941 w 12188651"/>
              <a:gd name="connsiteY3040" fmla="*/ 1946038 h 6858000"/>
              <a:gd name="connsiteX3041" fmla="*/ 8478628 w 12188651"/>
              <a:gd name="connsiteY3041" fmla="*/ 1752864 h 6858000"/>
              <a:gd name="connsiteX3042" fmla="*/ 8812392 w 12188651"/>
              <a:gd name="connsiteY3042" fmla="*/ 1946022 h 6858000"/>
              <a:gd name="connsiteX3043" fmla="*/ 8812392 w 12188651"/>
              <a:gd name="connsiteY3043" fmla="*/ 2332319 h 6858000"/>
              <a:gd name="connsiteX3044" fmla="*/ 8478758 w 12188651"/>
              <a:gd name="connsiteY3044" fmla="*/ 2525474 h 6858000"/>
              <a:gd name="connsiteX3045" fmla="*/ 8144995 w 12188651"/>
              <a:gd name="connsiteY3045" fmla="*/ 2332319 h 6858000"/>
              <a:gd name="connsiteX3046" fmla="*/ 8144995 w 12188651"/>
              <a:gd name="connsiteY3046" fmla="*/ 1946022 h 6858000"/>
              <a:gd name="connsiteX3047" fmla="*/ 6424810 w 12188651"/>
              <a:gd name="connsiteY3047" fmla="*/ 1752847 h 6858000"/>
              <a:gd name="connsiteX3048" fmla="*/ 6758573 w 12188651"/>
              <a:gd name="connsiteY3048" fmla="*/ 1946005 h 6858000"/>
              <a:gd name="connsiteX3049" fmla="*/ 6758573 w 12188651"/>
              <a:gd name="connsiteY3049" fmla="*/ 2332304 h 6858000"/>
              <a:gd name="connsiteX3050" fmla="*/ 6424940 w 12188651"/>
              <a:gd name="connsiteY3050" fmla="*/ 2525464 h 6858000"/>
              <a:gd name="connsiteX3051" fmla="*/ 6091179 w 12188651"/>
              <a:gd name="connsiteY3051" fmla="*/ 2332304 h 6858000"/>
              <a:gd name="connsiteX3052" fmla="*/ 6091179 w 12188651"/>
              <a:gd name="connsiteY3052" fmla="*/ 1946005 h 6858000"/>
              <a:gd name="connsiteX3053" fmla="*/ 4371020 w 12188651"/>
              <a:gd name="connsiteY3053" fmla="*/ 1752830 h 6858000"/>
              <a:gd name="connsiteX3054" fmla="*/ 4704777 w 12188651"/>
              <a:gd name="connsiteY3054" fmla="*/ 1945988 h 6858000"/>
              <a:gd name="connsiteX3055" fmla="*/ 4704777 w 12188651"/>
              <a:gd name="connsiteY3055" fmla="*/ 2332286 h 6858000"/>
              <a:gd name="connsiteX3056" fmla="*/ 4371146 w 12188651"/>
              <a:gd name="connsiteY3056" fmla="*/ 2525446 h 6858000"/>
              <a:gd name="connsiteX3057" fmla="*/ 4037427 w 12188651"/>
              <a:gd name="connsiteY3057" fmla="*/ 2332293 h 6858000"/>
              <a:gd name="connsiteX3058" fmla="*/ 4037427 w 12188651"/>
              <a:gd name="connsiteY3058" fmla="*/ 1945988 h 6858000"/>
              <a:gd name="connsiteX3059" fmla="*/ 2317092 w 12188651"/>
              <a:gd name="connsiteY3059" fmla="*/ 1752815 h 6858000"/>
              <a:gd name="connsiteX3060" fmla="*/ 2650846 w 12188651"/>
              <a:gd name="connsiteY3060" fmla="*/ 1945968 h 6858000"/>
              <a:gd name="connsiteX3061" fmla="*/ 2650846 w 12188651"/>
              <a:gd name="connsiteY3061" fmla="*/ 2332273 h 6858000"/>
              <a:gd name="connsiteX3062" fmla="*/ 2317216 w 12188651"/>
              <a:gd name="connsiteY3062" fmla="*/ 2525431 h 6858000"/>
              <a:gd name="connsiteX3063" fmla="*/ 2153844 w 12188651"/>
              <a:gd name="connsiteY3063" fmla="*/ 2430884 h 6858000"/>
              <a:gd name="connsiteX3064" fmla="*/ 1983452 w 12188651"/>
              <a:gd name="connsiteY3064" fmla="*/ 2332275 h 6858000"/>
              <a:gd name="connsiteX3065" fmla="*/ 1983452 w 12188651"/>
              <a:gd name="connsiteY3065" fmla="*/ 1945972 h 6858000"/>
              <a:gd name="connsiteX3066" fmla="*/ 263245 w 12188651"/>
              <a:gd name="connsiteY3066" fmla="*/ 1752799 h 6858000"/>
              <a:gd name="connsiteX3067" fmla="*/ 597001 w 12188651"/>
              <a:gd name="connsiteY3067" fmla="*/ 1945952 h 6858000"/>
              <a:gd name="connsiteX3068" fmla="*/ 597001 w 12188651"/>
              <a:gd name="connsiteY3068" fmla="*/ 2332264 h 6858000"/>
              <a:gd name="connsiteX3069" fmla="*/ 263368 w 12188651"/>
              <a:gd name="connsiteY3069" fmla="*/ 2525419 h 6858000"/>
              <a:gd name="connsiteX3070" fmla="*/ 83447 w 12188651"/>
              <a:gd name="connsiteY3070" fmla="*/ 2421295 h 6858000"/>
              <a:gd name="connsiteX3071" fmla="*/ 0 w 12188651"/>
              <a:gd name="connsiteY3071" fmla="*/ 2373002 h 6858000"/>
              <a:gd name="connsiteX3072" fmla="*/ 0 w 12188651"/>
              <a:gd name="connsiteY3072" fmla="*/ 1905204 h 6858000"/>
              <a:gd name="connsiteX3073" fmla="*/ 11217614 w 12188651"/>
              <a:gd name="connsiteY3073" fmla="*/ 1752635 h 6858000"/>
              <a:gd name="connsiteX3074" fmla="*/ 11551377 w 12188651"/>
              <a:gd name="connsiteY3074" fmla="*/ 1945795 h 6858000"/>
              <a:gd name="connsiteX3075" fmla="*/ 11551377 w 12188651"/>
              <a:gd name="connsiteY3075" fmla="*/ 2331944 h 6858000"/>
              <a:gd name="connsiteX3076" fmla="*/ 11217614 w 12188651"/>
              <a:gd name="connsiteY3076" fmla="*/ 2525105 h 6858000"/>
              <a:gd name="connsiteX3077" fmla="*/ 10883851 w 12188651"/>
              <a:gd name="connsiteY3077" fmla="*/ 2331944 h 6858000"/>
              <a:gd name="connsiteX3078" fmla="*/ 10883851 w 12188651"/>
              <a:gd name="connsiteY3078" fmla="*/ 1945795 h 6858000"/>
              <a:gd name="connsiteX3079" fmla="*/ 9163666 w 12188651"/>
              <a:gd name="connsiteY3079" fmla="*/ 1752617 h 6858000"/>
              <a:gd name="connsiteX3080" fmla="*/ 9497429 w 12188651"/>
              <a:gd name="connsiteY3080" fmla="*/ 1945779 h 6858000"/>
              <a:gd name="connsiteX3081" fmla="*/ 9497429 w 12188651"/>
              <a:gd name="connsiteY3081" fmla="*/ 2331929 h 6858000"/>
              <a:gd name="connsiteX3082" fmla="*/ 9163666 w 12188651"/>
              <a:gd name="connsiteY3082" fmla="*/ 2525089 h 6858000"/>
              <a:gd name="connsiteX3083" fmla="*/ 8829903 w 12188651"/>
              <a:gd name="connsiteY3083" fmla="*/ 2331929 h 6858000"/>
              <a:gd name="connsiteX3084" fmla="*/ 8829903 w 12188651"/>
              <a:gd name="connsiteY3084" fmla="*/ 1945778 h 6858000"/>
              <a:gd name="connsiteX3085" fmla="*/ 7109850 w 12188651"/>
              <a:gd name="connsiteY3085" fmla="*/ 1752603 h 6858000"/>
              <a:gd name="connsiteX3086" fmla="*/ 7443613 w 12188651"/>
              <a:gd name="connsiteY3086" fmla="*/ 1945761 h 6858000"/>
              <a:gd name="connsiteX3087" fmla="*/ 7443613 w 12188651"/>
              <a:gd name="connsiteY3087" fmla="*/ 2331916 h 6858000"/>
              <a:gd name="connsiteX3088" fmla="*/ 7109850 w 12188651"/>
              <a:gd name="connsiteY3088" fmla="*/ 2525078 h 6858000"/>
              <a:gd name="connsiteX3089" fmla="*/ 6776085 w 12188651"/>
              <a:gd name="connsiteY3089" fmla="*/ 2331916 h 6858000"/>
              <a:gd name="connsiteX3090" fmla="*/ 6776085 w 12188651"/>
              <a:gd name="connsiteY3090" fmla="*/ 1945761 h 6858000"/>
              <a:gd name="connsiteX3091" fmla="*/ 5055971 w 12188651"/>
              <a:gd name="connsiteY3091" fmla="*/ 1752586 h 6858000"/>
              <a:gd name="connsiteX3092" fmla="*/ 5262114 w 12188651"/>
              <a:gd name="connsiteY3092" fmla="*/ 1871903 h 6858000"/>
              <a:gd name="connsiteX3093" fmla="*/ 5389698 w 12188651"/>
              <a:gd name="connsiteY3093" fmla="*/ 1945736 h 6858000"/>
              <a:gd name="connsiteX3094" fmla="*/ 5389698 w 12188651"/>
              <a:gd name="connsiteY3094" fmla="*/ 2331901 h 6858000"/>
              <a:gd name="connsiteX3095" fmla="*/ 5055949 w 12188651"/>
              <a:gd name="connsiteY3095" fmla="*/ 2525062 h 6858000"/>
              <a:gd name="connsiteX3096" fmla="*/ 4722181 w 12188651"/>
              <a:gd name="connsiteY3096" fmla="*/ 2331905 h 6858000"/>
              <a:gd name="connsiteX3097" fmla="*/ 4722181 w 12188651"/>
              <a:gd name="connsiteY3097" fmla="*/ 1945745 h 6858000"/>
              <a:gd name="connsiteX3098" fmla="*/ 3002152 w 12188651"/>
              <a:gd name="connsiteY3098" fmla="*/ 1752570 h 6858000"/>
              <a:gd name="connsiteX3099" fmla="*/ 3335890 w 12188651"/>
              <a:gd name="connsiteY3099" fmla="*/ 1945712 h 6858000"/>
              <a:gd name="connsiteX3100" fmla="*/ 3335890 w 12188651"/>
              <a:gd name="connsiteY3100" fmla="*/ 2331889 h 6858000"/>
              <a:gd name="connsiteX3101" fmla="*/ 3002127 w 12188651"/>
              <a:gd name="connsiteY3101" fmla="*/ 2525047 h 6858000"/>
              <a:gd name="connsiteX3102" fmla="*/ 2731183 w 12188651"/>
              <a:gd name="connsiteY3102" fmla="*/ 2368243 h 6858000"/>
              <a:gd name="connsiteX3103" fmla="*/ 2668390 w 12188651"/>
              <a:gd name="connsiteY3103" fmla="*/ 2331903 h 6858000"/>
              <a:gd name="connsiteX3104" fmla="*/ 2668390 w 12188651"/>
              <a:gd name="connsiteY3104" fmla="*/ 1945729 h 6858000"/>
              <a:gd name="connsiteX3105" fmla="*/ 948175 w 12188651"/>
              <a:gd name="connsiteY3105" fmla="*/ 1752555 h 6858000"/>
              <a:gd name="connsiteX3106" fmla="*/ 1281914 w 12188651"/>
              <a:gd name="connsiteY3106" fmla="*/ 1945698 h 6858000"/>
              <a:gd name="connsiteX3107" fmla="*/ 1281914 w 12188651"/>
              <a:gd name="connsiteY3107" fmla="*/ 2331876 h 6858000"/>
              <a:gd name="connsiteX3108" fmla="*/ 948153 w 12188651"/>
              <a:gd name="connsiteY3108" fmla="*/ 2525032 h 6858000"/>
              <a:gd name="connsiteX3109" fmla="*/ 940570 w 12188651"/>
              <a:gd name="connsiteY3109" fmla="*/ 2520648 h 6858000"/>
              <a:gd name="connsiteX3110" fmla="*/ 614414 w 12188651"/>
              <a:gd name="connsiteY3110" fmla="*/ 2331889 h 6858000"/>
              <a:gd name="connsiteX3111" fmla="*/ 614414 w 12188651"/>
              <a:gd name="connsiteY3111" fmla="*/ 1945713 h 6858000"/>
              <a:gd name="connsiteX3112" fmla="*/ 10875809 w 12188651"/>
              <a:gd name="connsiteY3112" fmla="*/ 1554804 h 6858000"/>
              <a:gd name="connsiteX3113" fmla="*/ 11201255 w 12188651"/>
              <a:gd name="connsiteY3113" fmla="*/ 1743155 h 6858000"/>
              <a:gd name="connsiteX3114" fmla="*/ 10875678 w 12188651"/>
              <a:gd name="connsiteY3114" fmla="*/ 1931508 h 6858000"/>
              <a:gd name="connsiteX3115" fmla="*/ 10550231 w 12188651"/>
              <a:gd name="connsiteY3115" fmla="*/ 1743155 h 6858000"/>
              <a:gd name="connsiteX3116" fmla="*/ 8821860 w 12188651"/>
              <a:gd name="connsiteY3116" fmla="*/ 1554788 h 6858000"/>
              <a:gd name="connsiteX3117" fmla="*/ 9147308 w 12188651"/>
              <a:gd name="connsiteY3117" fmla="*/ 1743140 h 6858000"/>
              <a:gd name="connsiteX3118" fmla="*/ 8821731 w 12188651"/>
              <a:gd name="connsiteY3118" fmla="*/ 1931491 h 6858000"/>
              <a:gd name="connsiteX3119" fmla="*/ 8496282 w 12188651"/>
              <a:gd name="connsiteY3119" fmla="*/ 1743140 h 6858000"/>
              <a:gd name="connsiteX3120" fmla="*/ 6768043 w 12188651"/>
              <a:gd name="connsiteY3120" fmla="*/ 1554775 h 6858000"/>
              <a:gd name="connsiteX3121" fmla="*/ 7093491 w 12188651"/>
              <a:gd name="connsiteY3121" fmla="*/ 1743124 h 6858000"/>
              <a:gd name="connsiteX3122" fmla="*/ 6767913 w 12188651"/>
              <a:gd name="connsiteY3122" fmla="*/ 1931475 h 6858000"/>
              <a:gd name="connsiteX3123" fmla="*/ 6442466 w 12188651"/>
              <a:gd name="connsiteY3123" fmla="*/ 1743125 h 6858000"/>
              <a:gd name="connsiteX3124" fmla="*/ 4714128 w 12188651"/>
              <a:gd name="connsiteY3124" fmla="*/ 1554758 h 6858000"/>
              <a:gd name="connsiteX3125" fmla="*/ 4997319 w 12188651"/>
              <a:gd name="connsiteY3125" fmla="*/ 1718649 h 6858000"/>
              <a:gd name="connsiteX3126" fmla="*/ 5039593 w 12188651"/>
              <a:gd name="connsiteY3126" fmla="*/ 1743102 h 6858000"/>
              <a:gd name="connsiteX3127" fmla="*/ 4713993 w 12188651"/>
              <a:gd name="connsiteY3127" fmla="*/ 1931459 h 6858000"/>
              <a:gd name="connsiteX3128" fmla="*/ 4512543 w 12188651"/>
              <a:gd name="connsiteY3128" fmla="*/ 1814871 h 6858000"/>
              <a:gd name="connsiteX3129" fmla="*/ 4388549 w 12188651"/>
              <a:gd name="connsiteY3129" fmla="*/ 1743112 h 6858000"/>
              <a:gd name="connsiteX3130" fmla="*/ 2660349 w 12188651"/>
              <a:gd name="connsiteY3130" fmla="*/ 1554742 h 6858000"/>
              <a:gd name="connsiteX3131" fmla="*/ 2985784 w 12188651"/>
              <a:gd name="connsiteY3131" fmla="*/ 1743084 h 6858000"/>
              <a:gd name="connsiteX3132" fmla="*/ 2660193 w 12188651"/>
              <a:gd name="connsiteY3132" fmla="*/ 1931442 h 6858000"/>
              <a:gd name="connsiteX3133" fmla="*/ 2334764 w 12188651"/>
              <a:gd name="connsiteY3133" fmla="*/ 1743101 h 6858000"/>
              <a:gd name="connsiteX3134" fmla="*/ 606372 w 12188651"/>
              <a:gd name="connsiteY3134" fmla="*/ 1554728 h 6858000"/>
              <a:gd name="connsiteX3135" fmla="*/ 931804 w 12188651"/>
              <a:gd name="connsiteY3135" fmla="*/ 1743069 h 6858000"/>
              <a:gd name="connsiteX3136" fmla="*/ 606216 w 12188651"/>
              <a:gd name="connsiteY3136" fmla="*/ 1931425 h 6858000"/>
              <a:gd name="connsiteX3137" fmla="*/ 280783 w 12188651"/>
              <a:gd name="connsiteY3137" fmla="*/ 1743083 h 6858000"/>
              <a:gd name="connsiteX3138" fmla="*/ 12140685 w 12188651"/>
              <a:gd name="connsiteY3138" fmla="*/ 1390835 h 6858000"/>
              <a:gd name="connsiteX3139" fmla="*/ 12168445 w 12188651"/>
              <a:gd name="connsiteY3139" fmla="*/ 1402380 h 6858000"/>
              <a:gd name="connsiteX3140" fmla="*/ 12188651 w 12188651"/>
              <a:gd name="connsiteY3140" fmla="*/ 1422630 h 6858000"/>
              <a:gd name="connsiteX3141" fmla="*/ 12188651 w 12188651"/>
              <a:gd name="connsiteY3141" fmla="*/ 1690880 h 6858000"/>
              <a:gd name="connsiteX3142" fmla="*/ 12034576 w 12188651"/>
              <a:gd name="connsiteY3142" fmla="*/ 1536513 h 6858000"/>
              <a:gd name="connsiteX3143" fmla="*/ 12034576 w 12188651"/>
              <a:gd name="connsiteY3143" fmla="*/ 1481120 h 6858000"/>
              <a:gd name="connsiteX3144" fmla="*/ 12113056 w 12188651"/>
              <a:gd name="connsiteY3144" fmla="*/ 1402380 h 6858000"/>
              <a:gd name="connsiteX3145" fmla="*/ 12140685 w 12188651"/>
              <a:gd name="connsiteY3145" fmla="*/ 1390835 h 6858000"/>
              <a:gd name="connsiteX3146" fmla="*/ 10086867 w 12188651"/>
              <a:gd name="connsiteY3146" fmla="*/ 1390817 h 6858000"/>
              <a:gd name="connsiteX3147" fmla="*/ 10114626 w 12188651"/>
              <a:gd name="connsiteY3147" fmla="*/ 1402365 h 6858000"/>
              <a:gd name="connsiteX3148" fmla="*/ 10179226 w 12188651"/>
              <a:gd name="connsiteY3148" fmla="*/ 1467099 h 6858000"/>
              <a:gd name="connsiteX3149" fmla="*/ 10190770 w 12188651"/>
              <a:gd name="connsiteY3149" fmla="*/ 1478768 h 6858000"/>
              <a:gd name="connsiteX3150" fmla="*/ 10202315 w 12188651"/>
              <a:gd name="connsiteY3150" fmla="*/ 1467099 h 6858000"/>
              <a:gd name="connsiteX3151" fmla="*/ 10266786 w 12188651"/>
              <a:gd name="connsiteY3151" fmla="*/ 1402365 h 6858000"/>
              <a:gd name="connsiteX3152" fmla="*/ 10294543 w 12188651"/>
              <a:gd name="connsiteY3152" fmla="*/ 1390817 h 6858000"/>
              <a:gd name="connsiteX3153" fmla="*/ 10322173 w 12188651"/>
              <a:gd name="connsiteY3153" fmla="*/ 1402365 h 6858000"/>
              <a:gd name="connsiteX3154" fmla="*/ 10400653 w 12188651"/>
              <a:gd name="connsiteY3154" fmla="*/ 1480975 h 6858000"/>
              <a:gd name="connsiteX3155" fmla="*/ 10412198 w 12188651"/>
              <a:gd name="connsiteY3155" fmla="*/ 1508734 h 6858000"/>
              <a:gd name="connsiteX3156" fmla="*/ 10400783 w 12188651"/>
              <a:gd name="connsiteY3156" fmla="*/ 1536497 h 6858000"/>
              <a:gd name="connsiteX3157" fmla="*/ 10190770 w 12188651"/>
              <a:gd name="connsiteY3157" fmla="*/ 1746909 h 6858000"/>
              <a:gd name="connsiteX3158" fmla="*/ 9980757 w 12188651"/>
              <a:gd name="connsiteY3158" fmla="*/ 1536497 h 6858000"/>
              <a:gd name="connsiteX3159" fmla="*/ 9980757 w 12188651"/>
              <a:gd name="connsiteY3159" fmla="*/ 1481104 h 6858000"/>
              <a:gd name="connsiteX3160" fmla="*/ 10059237 w 12188651"/>
              <a:gd name="connsiteY3160" fmla="*/ 1402365 h 6858000"/>
              <a:gd name="connsiteX3161" fmla="*/ 10086867 w 12188651"/>
              <a:gd name="connsiteY3161" fmla="*/ 1390817 h 6858000"/>
              <a:gd name="connsiteX3162" fmla="*/ 8032919 w 12188651"/>
              <a:gd name="connsiteY3162" fmla="*/ 1390801 h 6858000"/>
              <a:gd name="connsiteX3163" fmla="*/ 8060679 w 12188651"/>
              <a:gd name="connsiteY3163" fmla="*/ 1402350 h 6858000"/>
              <a:gd name="connsiteX3164" fmla="*/ 8125278 w 12188651"/>
              <a:gd name="connsiteY3164" fmla="*/ 1467080 h 6858000"/>
              <a:gd name="connsiteX3165" fmla="*/ 8136823 w 12188651"/>
              <a:gd name="connsiteY3165" fmla="*/ 1478755 h 6858000"/>
              <a:gd name="connsiteX3166" fmla="*/ 8148368 w 12188651"/>
              <a:gd name="connsiteY3166" fmla="*/ 1467080 h 6858000"/>
              <a:gd name="connsiteX3167" fmla="*/ 8212837 w 12188651"/>
              <a:gd name="connsiteY3167" fmla="*/ 1402350 h 6858000"/>
              <a:gd name="connsiteX3168" fmla="*/ 8240596 w 12188651"/>
              <a:gd name="connsiteY3168" fmla="*/ 1390801 h 6858000"/>
              <a:gd name="connsiteX3169" fmla="*/ 8268226 w 12188651"/>
              <a:gd name="connsiteY3169" fmla="*/ 1402350 h 6858000"/>
              <a:gd name="connsiteX3170" fmla="*/ 8346707 w 12188651"/>
              <a:gd name="connsiteY3170" fmla="*/ 1480959 h 6858000"/>
              <a:gd name="connsiteX3171" fmla="*/ 8358252 w 12188651"/>
              <a:gd name="connsiteY3171" fmla="*/ 1508720 h 6858000"/>
              <a:gd name="connsiteX3172" fmla="*/ 8346837 w 12188651"/>
              <a:gd name="connsiteY3172" fmla="*/ 1536482 h 6858000"/>
              <a:gd name="connsiteX3173" fmla="*/ 8136823 w 12188651"/>
              <a:gd name="connsiteY3173" fmla="*/ 1746895 h 6858000"/>
              <a:gd name="connsiteX3174" fmla="*/ 7926811 w 12188651"/>
              <a:gd name="connsiteY3174" fmla="*/ 1536482 h 6858000"/>
              <a:gd name="connsiteX3175" fmla="*/ 7926811 w 12188651"/>
              <a:gd name="connsiteY3175" fmla="*/ 1481089 h 6858000"/>
              <a:gd name="connsiteX3176" fmla="*/ 8005289 w 12188651"/>
              <a:gd name="connsiteY3176" fmla="*/ 1402350 h 6858000"/>
              <a:gd name="connsiteX3177" fmla="*/ 8032919 w 12188651"/>
              <a:gd name="connsiteY3177" fmla="*/ 1390801 h 6858000"/>
              <a:gd name="connsiteX3178" fmla="*/ 5979110 w 12188651"/>
              <a:gd name="connsiteY3178" fmla="*/ 1390787 h 6858000"/>
              <a:gd name="connsiteX3179" fmla="*/ 6006869 w 12188651"/>
              <a:gd name="connsiteY3179" fmla="*/ 1402333 h 6858000"/>
              <a:gd name="connsiteX3180" fmla="*/ 6071463 w 12188651"/>
              <a:gd name="connsiteY3180" fmla="*/ 1467065 h 6858000"/>
              <a:gd name="connsiteX3181" fmla="*/ 6083008 w 12188651"/>
              <a:gd name="connsiteY3181" fmla="*/ 1478738 h 6858000"/>
              <a:gd name="connsiteX3182" fmla="*/ 6094550 w 12188651"/>
              <a:gd name="connsiteY3182" fmla="*/ 1467065 h 6858000"/>
              <a:gd name="connsiteX3183" fmla="*/ 6159019 w 12188651"/>
              <a:gd name="connsiteY3183" fmla="*/ 1402333 h 6858000"/>
              <a:gd name="connsiteX3184" fmla="*/ 6186779 w 12188651"/>
              <a:gd name="connsiteY3184" fmla="*/ 1390787 h 6858000"/>
              <a:gd name="connsiteX3185" fmla="*/ 6214409 w 12188651"/>
              <a:gd name="connsiteY3185" fmla="*/ 1402333 h 6858000"/>
              <a:gd name="connsiteX3186" fmla="*/ 6292888 w 12188651"/>
              <a:gd name="connsiteY3186" fmla="*/ 1480945 h 6858000"/>
              <a:gd name="connsiteX3187" fmla="*/ 6304433 w 12188651"/>
              <a:gd name="connsiteY3187" fmla="*/ 1508704 h 6858000"/>
              <a:gd name="connsiteX3188" fmla="*/ 6293017 w 12188651"/>
              <a:gd name="connsiteY3188" fmla="*/ 1536467 h 6858000"/>
              <a:gd name="connsiteX3189" fmla="*/ 6083008 w 12188651"/>
              <a:gd name="connsiteY3189" fmla="*/ 1746878 h 6858000"/>
              <a:gd name="connsiteX3190" fmla="*/ 5873007 w 12188651"/>
              <a:gd name="connsiteY3190" fmla="*/ 1536467 h 6858000"/>
              <a:gd name="connsiteX3191" fmla="*/ 5873007 w 12188651"/>
              <a:gd name="connsiteY3191" fmla="*/ 1481074 h 6858000"/>
              <a:gd name="connsiteX3192" fmla="*/ 5951483 w 12188651"/>
              <a:gd name="connsiteY3192" fmla="*/ 1402333 h 6858000"/>
              <a:gd name="connsiteX3193" fmla="*/ 5979110 w 12188651"/>
              <a:gd name="connsiteY3193" fmla="*/ 1390787 h 6858000"/>
              <a:gd name="connsiteX3194" fmla="*/ 3925347 w 12188651"/>
              <a:gd name="connsiteY3194" fmla="*/ 1390772 h 6858000"/>
              <a:gd name="connsiteX3195" fmla="*/ 3953107 w 12188651"/>
              <a:gd name="connsiteY3195" fmla="*/ 1402317 h 6858000"/>
              <a:gd name="connsiteX3196" fmla="*/ 4017707 w 12188651"/>
              <a:gd name="connsiteY3196" fmla="*/ 1467050 h 6858000"/>
              <a:gd name="connsiteX3197" fmla="*/ 4029252 w 12188651"/>
              <a:gd name="connsiteY3197" fmla="*/ 1478722 h 6858000"/>
              <a:gd name="connsiteX3198" fmla="*/ 4040800 w 12188651"/>
              <a:gd name="connsiteY3198" fmla="*/ 1467050 h 6858000"/>
              <a:gd name="connsiteX3199" fmla="*/ 4105268 w 12188651"/>
              <a:gd name="connsiteY3199" fmla="*/ 1402317 h 6858000"/>
              <a:gd name="connsiteX3200" fmla="*/ 4133031 w 12188651"/>
              <a:gd name="connsiteY3200" fmla="*/ 1390772 h 6858000"/>
              <a:gd name="connsiteX3201" fmla="*/ 4160659 w 12188651"/>
              <a:gd name="connsiteY3201" fmla="*/ 1402317 h 6858000"/>
              <a:gd name="connsiteX3202" fmla="*/ 4239088 w 12188651"/>
              <a:gd name="connsiteY3202" fmla="*/ 1480930 h 6858000"/>
              <a:gd name="connsiteX3203" fmla="*/ 4250643 w 12188651"/>
              <a:gd name="connsiteY3203" fmla="*/ 1508688 h 6858000"/>
              <a:gd name="connsiteX3204" fmla="*/ 4239218 w 12188651"/>
              <a:gd name="connsiteY3204" fmla="*/ 1536452 h 6858000"/>
              <a:gd name="connsiteX3205" fmla="*/ 4029252 w 12188651"/>
              <a:gd name="connsiteY3205" fmla="*/ 1746862 h 6858000"/>
              <a:gd name="connsiteX3206" fmla="*/ 3819232 w 12188651"/>
              <a:gd name="connsiteY3206" fmla="*/ 1536452 h 6858000"/>
              <a:gd name="connsiteX3207" fmla="*/ 3819232 w 12188651"/>
              <a:gd name="connsiteY3207" fmla="*/ 1481059 h 6858000"/>
              <a:gd name="connsiteX3208" fmla="*/ 3897719 w 12188651"/>
              <a:gd name="connsiteY3208" fmla="*/ 1402317 h 6858000"/>
              <a:gd name="connsiteX3209" fmla="*/ 3925347 w 12188651"/>
              <a:gd name="connsiteY3209" fmla="*/ 1390772 h 6858000"/>
              <a:gd name="connsiteX3210" fmla="*/ 1871374 w 12188651"/>
              <a:gd name="connsiteY3210" fmla="*/ 1390756 h 6858000"/>
              <a:gd name="connsiteX3211" fmla="*/ 1899135 w 12188651"/>
              <a:gd name="connsiteY3211" fmla="*/ 1402302 h 6858000"/>
              <a:gd name="connsiteX3212" fmla="*/ 1963733 w 12188651"/>
              <a:gd name="connsiteY3212" fmla="*/ 1467034 h 6858000"/>
              <a:gd name="connsiteX3213" fmla="*/ 1975278 w 12188651"/>
              <a:gd name="connsiteY3213" fmla="*/ 1478707 h 6858000"/>
              <a:gd name="connsiteX3214" fmla="*/ 1986823 w 12188651"/>
              <a:gd name="connsiteY3214" fmla="*/ 1467034 h 6858000"/>
              <a:gd name="connsiteX3215" fmla="*/ 2051293 w 12188651"/>
              <a:gd name="connsiteY3215" fmla="*/ 1402302 h 6858000"/>
              <a:gd name="connsiteX3216" fmla="*/ 2079052 w 12188651"/>
              <a:gd name="connsiteY3216" fmla="*/ 1390756 h 6858000"/>
              <a:gd name="connsiteX3217" fmla="*/ 2106690 w 12188651"/>
              <a:gd name="connsiteY3217" fmla="*/ 1402302 h 6858000"/>
              <a:gd name="connsiteX3218" fmla="*/ 2185169 w 12188651"/>
              <a:gd name="connsiteY3218" fmla="*/ 1480915 h 6858000"/>
              <a:gd name="connsiteX3219" fmla="*/ 2196714 w 12188651"/>
              <a:gd name="connsiteY3219" fmla="*/ 1508674 h 6858000"/>
              <a:gd name="connsiteX3220" fmla="*/ 2185300 w 12188651"/>
              <a:gd name="connsiteY3220" fmla="*/ 1536435 h 6858000"/>
              <a:gd name="connsiteX3221" fmla="*/ 1975278 w 12188651"/>
              <a:gd name="connsiteY3221" fmla="*/ 1746846 h 6858000"/>
              <a:gd name="connsiteX3222" fmla="*/ 1765266 w 12188651"/>
              <a:gd name="connsiteY3222" fmla="*/ 1536435 h 6858000"/>
              <a:gd name="connsiteX3223" fmla="*/ 1765266 w 12188651"/>
              <a:gd name="connsiteY3223" fmla="*/ 1481044 h 6858000"/>
              <a:gd name="connsiteX3224" fmla="*/ 1843744 w 12188651"/>
              <a:gd name="connsiteY3224" fmla="*/ 1402302 h 6858000"/>
              <a:gd name="connsiteX3225" fmla="*/ 1871374 w 12188651"/>
              <a:gd name="connsiteY3225" fmla="*/ 1390756 h 6858000"/>
              <a:gd name="connsiteX3226" fmla="*/ 25213 w 12188651"/>
              <a:gd name="connsiteY3226" fmla="*/ 1390741 h 6858000"/>
              <a:gd name="connsiteX3227" fmla="*/ 52843 w 12188651"/>
              <a:gd name="connsiteY3227" fmla="*/ 1402286 h 6858000"/>
              <a:gd name="connsiteX3228" fmla="*/ 131322 w 12188651"/>
              <a:gd name="connsiteY3228" fmla="*/ 1480899 h 6858000"/>
              <a:gd name="connsiteX3229" fmla="*/ 142866 w 12188651"/>
              <a:gd name="connsiteY3229" fmla="*/ 1508658 h 6858000"/>
              <a:gd name="connsiteX3230" fmla="*/ 131451 w 12188651"/>
              <a:gd name="connsiteY3230" fmla="*/ 1536419 h 6858000"/>
              <a:gd name="connsiteX3231" fmla="*/ 0 w 12188651"/>
              <a:gd name="connsiteY3231" fmla="*/ 1668120 h 6858000"/>
              <a:gd name="connsiteX3232" fmla="*/ 0 w 12188651"/>
              <a:gd name="connsiteY3232" fmla="*/ 1401227 h 6858000"/>
              <a:gd name="connsiteX3233" fmla="*/ 10086867 w 12188651"/>
              <a:gd name="connsiteY3233" fmla="*/ 1374341 h 6858000"/>
              <a:gd name="connsiteX3234" fmla="*/ 10047692 w 12188651"/>
              <a:gd name="connsiteY3234" fmla="*/ 1390688 h 6858000"/>
              <a:gd name="connsiteX3235" fmla="*/ 9969212 w 12188651"/>
              <a:gd name="connsiteY3235" fmla="*/ 1469432 h 6858000"/>
              <a:gd name="connsiteX3236" fmla="*/ 9969212 w 12188651"/>
              <a:gd name="connsiteY3236" fmla="*/ 1548042 h 6858000"/>
              <a:gd name="connsiteX3237" fmla="*/ 10190770 w 12188651"/>
              <a:gd name="connsiteY3237" fmla="*/ 1770130 h 6858000"/>
              <a:gd name="connsiteX3238" fmla="*/ 10412328 w 12188651"/>
              <a:gd name="connsiteY3238" fmla="*/ 1548042 h 6858000"/>
              <a:gd name="connsiteX3239" fmla="*/ 10412328 w 12188651"/>
              <a:gd name="connsiteY3239" fmla="*/ 1469432 h 6858000"/>
              <a:gd name="connsiteX3240" fmla="*/ 10333848 w 12188651"/>
              <a:gd name="connsiteY3240" fmla="*/ 1390817 h 6858000"/>
              <a:gd name="connsiteX3241" fmla="*/ 10294673 w 12188651"/>
              <a:gd name="connsiteY3241" fmla="*/ 1374473 h 6858000"/>
              <a:gd name="connsiteX3242" fmla="*/ 10294543 w 12188651"/>
              <a:gd name="connsiteY3242" fmla="*/ 1374341 h 6858000"/>
              <a:gd name="connsiteX3243" fmla="*/ 10255241 w 12188651"/>
              <a:gd name="connsiteY3243" fmla="*/ 1390817 h 6858000"/>
              <a:gd name="connsiteX3244" fmla="*/ 10190770 w 12188651"/>
              <a:gd name="connsiteY3244" fmla="*/ 1455423 h 6858000"/>
              <a:gd name="connsiteX3245" fmla="*/ 10126171 w 12188651"/>
              <a:gd name="connsiteY3245" fmla="*/ 1390688 h 6858000"/>
              <a:gd name="connsiteX3246" fmla="*/ 10086867 w 12188651"/>
              <a:gd name="connsiteY3246" fmla="*/ 1374341 h 6858000"/>
              <a:gd name="connsiteX3247" fmla="*/ 8032919 w 12188651"/>
              <a:gd name="connsiteY3247" fmla="*/ 1374327 h 6858000"/>
              <a:gd name="connsiteX3248" fmla="*/ 7993744 w 12188651"/>
              <a:gd name="connsiteY3248" fmla="*/ 1390674 h 6858000"/>
              <a:gd name="connsiteX3249" fmla="*/ 7915266 w 12188651"/>
              <a:gd name="connsiteY3249" fmla="*/ 1469418 h 6858000"/>
              <a:gd name="connsiteX3250" fmla="*/ 7915266 w 12188651"/>
              <a:gd name="connsiteY3250" fmla="*/ 1548027 h 6858000"/>
              <a:gd name="connsiteX3251" fmla="*/ 8136823 w 12188651"/>
              <a:gd name="connsiteY3251" fmla="*/ 1770114 h 6858000"/>
              <a:gd name="connsiteX3252" fmla="*/ 8358382 w 12188651"/>
              <a:gd name="connsiteY3252" fmla="*/ 1548027 h 6858000"/>
              <a:gd name="connsiteX3253" fmla="*/ 8358382 w 12188651"/>
              <a:gd name="connsiteY3253" fmla="*/ 1469418 h 6858000"/>
              <a:gd name="connsiteX3254" fmla="*/ 8279902 w 12188651"/>
              <a:gd name="connsiteY3254" fmla="*/ 1390801 h 6858000"/>
              <a:gd name="connsiteX3255" fmla="*/ 8240727 w 12188651"/>
              <a:gd name="connsiteY3255" fmla="*/ 1374457 h 6858000"/>
              <a:gd name="connsiteX3256" fmla="*/ 8240596 w 12188651"/>
              <a:gd name="connsiteY3256" fmla="*/ 1374327 h 6858000"/>
              <a:gd name="connsiteX3257" fmla="*/ 8201292 w 12188651"/>
              <a:gd name="connsiteY3257" fmla="*/ 1390801 h 6858000"/>
              <a:gd name="connsiteX3258" fmla="*/ 8136823 w 12188651"/>
              <a:gd name="connsiteY3258" fmla="*/ 1455407 h 6858000"/>
              <a:gd name="connsiteX3259" fmla="*/ 8072224 w 12188651"/>
              <a:gd name="connsiteY3259" fmla="*/ 1390674 h 6858000"/>
              <a:gd name="connsiteX3260" fmla="*/ 8032919 w 12188651"/>
              <a:gd name="connsiteY3260" fmla="*/ 1374327 h 6858000"/>
              <a:gd name="connsiteX3261" fmla="*/ 5979110 w 12188651"/>
              <a:gd name="connsiteY3261" fmla="*/ 1374312 h 6858000"/>
              <a:gd name="connsiteX3262" fmla="*/ 5939938 w 12188651"/>
              <a:gd name="connsiteY3262" fmla="*/ 1390658 h 6858000"/>
              <a:gd name="connsiteX3263" fmla="*/ 5861464 w 12188651"/>
              <a:gd name="connsiteY3263" fmla="*/ 1469401 h 6858000"/>
              <a:gd name="connsiteX3264" fmla="*/ 5861464 w 12188651"/>
              <a:gd name="connsiteY3264" fmla="*/ 1548011 h 6858000"/>
              <a:gd name="connsiteX3265" fmla="*/ 6083008 w 12188651"/>
              <a:gd name="connsiteY3265" fmla="*/ 1770098 h 6858000"/>
              <a:gd name="connsiteX3266" fmla="*/ 6304562 w 12188651"/>
              <a:gd name="connsiteY3266" fmla="*/ 1548011 h 6858000"/>
              <a:gd name="connsiteX3267" fmla="*/ 6304562 w 12188651"/>
              <a:gd name="connsiteY3267" fmla="*/ 1469401 h 6858000"/>
              <a:gd name="connsiteX3268" fmla="*/ 6226084 w 12188651"/>
              <a:gd name="connsiteY3268" fmla="*/ 1390787 h 6858000"/>
              <a:gd name="connsiteX3269" fmla="*/ 6186909 w 12188651"/>
              <a:gd name="connsiteY3269" fmla="*/ 1374443 h 6858000"/>
              <a:gd name="connsiteX3270" fmla="*/ 6186779 w 12188651"/>
              <a:gd name="connsiteY3270" fmla="*/ 1374312 h 6858000"/>
              <a:gd name="connsiteX3271" fmla="*/ 6147474 w 12188651"/>
              <a:gd name="connsiteY3271" fmla="*/ 1390787 h 6858000"/>
              <a:gd name="connsiteX3272" fmla="*/ 6083008 w 12188651"/>
              <a:gd name="connsiteY3272" fmla="*/ 1455390 h 6858000"/>
              <a:gd name="connsiteX3273" fmla="*/ 6018412 w 12188651"/>
              <a:gd name="connsiteY3273" fmla="*/ 1390658 h 6858000"/>
              <a:gd name="connsiteX3274" fmla="*/ 5979110 w 12188651"/>
              <a:gd name="connsiteY3274" fmla="*/ 1374312 h 6858000"/>
              <a:gd name="connsiteX3275" fmla="*/ 3925347 w 12188651"/>
              <a:gd name="connsiteY3275" fmla="*/ 1374297 h 6858000"/>
              <a:gd name="connsiteX3276" fmla="*/ 3886173 w 12188651"/>
              <a:gd name="connsiteY3276" fmla="*/ 1390643 h 6858000"/>
              <a:gd name="connsiteX3277" fmla="*/ 3807688 w 12188651"/>
              <a:gd name="connsiteY3277" fmla="*/ 1469387 h 6858000"/>
              <a:gd name="connsiteX3278" fmla="*/ 3807688 w 12188651"/>
              <a:gd name="connsiteY3278" fmla="*/ 1547996 h 6858000"/>
              <a:gd name="connsiteX3279" fmla="*/ 4029252 w 12188651"/>
              <a:gd name="connsiteY3279" fmla="*/ 1770082 h 6858000"/>
              <a:gd name="connsiteX3280" fmla="*/ 4250768 w 12188651"/>
              <a:gd name="connsiteY3280" fmla="*/ 1547996 h 6858000"/>
              <a:gd name="connsiteX3281" fmla="*/ 4250768 w 12188651"/>
              <a:gd name="connsiteY3281" fmla="*/ 1469387 h 6858000"/>
              <a:gd name="connsiteX3282" fmla="*/ 4172334 w 12188651"/>
              <a:gd name="connsiteY3282" fmla="*/ 1390772 h 6858000"/>
              <a:gd name="connsiteX3283" fmla="*/ 4133161 w 12188651"/>
              <a:gd name="connsiteY3283" fmla="*/ 1374426 h 6858000"/>
              <a:gd name="connsiteX3284" fmla="*/ 4133031 w 12188651"/>
              <a:gd name="connsiteY3284" fmla="*/ 1374297 h 6858000"/>
              <a:gd name="connsiteX3285" fmla="*/ 4093725 w 12188651"/>
              <a:gd name="connsiteY3285" fmla="*/ 1390772 h 6858000"/>
              <a:gd name="connsiteX3286" fmla="*/ 4029252 w 12188651"/>
              <a:gd name="connsiteY3286" fmla="*/ 1455376 h 6858000"/>
              <a:gd name="connsiteX3287" fmla="*/ 3964654 w 12188651"/>
              <a:gd name="connsiteY3287" fmla="*/ 1390643 h 6858000"/>
              <a:gd name="connsiteX3288" fmla="*/ 3925347 w 12188651"/>
              <a:gd name="connsiteY3288" fmla="*/ 1374297 h 6858000"/>
              <a:gd name="connsiteX3289" fmla="*/ 1871374 w 12188651"/>
              <a:gd name="connsiteY3289" fmla="*/ 1374282 h 6858000"/>
              <a:gd name="connsiteX3290" fmla="*/ 1832200 w 12188651"/>
              <a:gd name="connsiteY3290" fmla="*/ 1390627 h 6858000"/>
              <a:gd name="connsiteX3291" fmla="*/ 1753721 w 12188651"/>
              <a:gd name="connsiteY3291" fmla="*/ 1469369 h 6858000"/>
              <a:gd name="connsiteX3292" fmla="*/ 1753721 w 12188651"/>
              <a:gd name="connsiteY3292" fmla="*/ 1547980 h 6858000"/>
              <a:gd name="connsiteX3293" fmla="*/ 1975278 w 12188651"/>
              <a:gd name="connsiteY3293" fmla="*/ 1770066 h 6858000"/>
              <a:gd name="connsiteX3294" fmla="*/ 2196846 w 12188651"/>
              <a:gd name="connsiteY3294" fmla="*/ 1547980 h 6858000"/>
              <a:gd name="connsiteX3295" fmla="*/ 2196846 w 12188651"/>
              <a:gd name="connsiteY3295" fmla="*/ 1469369 h 6858000"/>
              <a:gd name="connsiteX3296" fmla="*/ 2118368 w 12188651"/>
              <a:gd name="connsiteY3296" fmla="*/ 1390756 h 6858000"/>
              <a:gd name="connsiteX3297" fmla="*/ 2079181 w 12188651"/>
              <a:gd name="connsiteY3297" fmla="*/ 1374411 h 6858000"/>
              <a:gd name="connsiteX3298" fmla="*/ 2079052 w 12188651"/>
              <a:gd name="connsiteY3298" fmla="*/ 1374282 h 6858000"/>
              <a:gd name="connsiteX3299" fmla="*/ 2039748 w 12188651"/>
              <a:gd name="connsiteY3299" fmla="*/ 1390756 h 6858000"/>
              <a:gd name="connsiteX3300" fmla="*/ 1975278 w 12188651"/>
              <a:gd name="connsiteY3300" fmla="*/ 1455359 h 6858000"/>
              <a:gd name="connsiteX3301" fmla="*/ 1910679 w 12188651"/>
              <a:gd name="connsiteY3301" fmla="*/ 1390627 h 6858000"/>
              <a:gd name="connsiteX3302" fmla="*/ 1871374 w 12188651"/>
              <a:gd name="connsiteY3302" fmla="*/ 1374282 h 6858000"/>
              <a:gd name="connsiteX3303" fmla="*/ 0 w 12188651"/>
              <a:gd name="connsiteY3303" fmla="*/ 1204081 h 6858000"/>
              <a:gd name="connsiteX3304" fmla="*/ 186352 w 12188651"/>
              <a:gd name="connsiteY3304" fmla="*/ 1311926 h 6858000"/>
              <a:gd name="connsiteX3305" fmla="*/ 255068 w 12188651"/>
              <a:gd name="connsiteY3305" fmla="*/ 1351694 h 6858000"/>
              <a:gd name="connsiteX3306" fmla="*/ 255068 w 12188651"/>
              <a:gd name="connsiteY3306" fmla="*/ 1737878 h 6858000"/>
              <a:gd name="connsiteX3307" fmla="*/ 0 w 12188651"/>
              <a:gd name="connsiteY3307" fmla="*/ 1885492 h 6858000"/>
              <a:gd name="connsiteX3308" fmla="*/ 0 w 12188651"/>
              <a:gd name="connsiteY3308" fmla="*/ 1691301 h 6858000"/>
              <a:gd name="connsiteX3309" fmla="*/ 142995 w 12188651"/>
              <a:gd name="connsiteY3309" fmla="*/ 1547965 h 6858000"/>
              <a:gd name="connsiteX3310" fmla="*/ 142995 w 12188651"/>
              <a:gd name="connsiteY3310" fmla="*/ 1469353 h 6858000"/>
              <a:gd name="connsiteX3311" fmla="*/ 64516 w 12188651"/>
              <a:gd name="connsiteY3311" fmla="*/ 1390741 h 6858000"/>
              <a:gd name="connsiteX3312" fmla="*/ 25341 w 12188651"/>
              <a:gd name="connsiteY3312" fmla="*/ 1374396 h 6858000"/>
              <a:gd name="connsiteX3313" fmla="*/ 25213 w 12188651"/>
              <a:gd name="connsiteY3313" fmla="*/ 1374267 h 6858000"/>
              <a:gd name="connsiteX3314" fmla="*/ 4296 w 12188651"/>
              <a:gd name="connsiteY3314" fmla="*/ 1378369 h 6858000"/>
              <a:gd name="connsiteX3315" fmla="*/ 0 w 12188651"/>
              <a:gd name="connsiteY3315" fmla="*/ 1381259 h 6858000"/>
              <a:gd name="connsiteX3316" fmla="*/ 12188651 w 12188651"/>
              <a:gd name="connsiteY3316" fmla="*/ 1190935 h 6858000"/>
              <a:gd name="connsiteX3317" fmla="*/ 12188651 w 12188651"/>
              <a:gd name="connsiteY3317" fmla="*/ 1399384 h 6858000"/>
              <a:gd name="connsiteX3318" fmla="*/ 12179990 w 12188651"/>
              <a:gd name="connsiteY3318" fmla="*/ 1390703 h 6858000"/>
              <a:gd name="connsiteX3319" fmla="*/ 12140685 w 12188651"/>
              <a:gd name="connsiteY3319" fmla="*/ 1374358 h 6858000"/>
              <a:gd name="connsiteX3320" fmla="*/ 12101510 w 12188651"/>
              <a:gd name="connsiteY3320" fmla="*/ 1390703 h 6858000"/>
              <a:gd name="connsiteX3321" fmla="*/ 12023031 w 12188651"/>
              <a:gd name="connsiteY3321" fmla="*/ 1469451 h 6858000"/>
              <a:gd name="connsiteX3322" fmla="*/ 12023031 w 12188651"/>
              <a:gd name="connsiteY3322" fmla="*/ 1548057 h 6858000"/>
              <a:gd name="connsiteX3323" fmla="*/ 12188651 w 12188651"/>
              <a:gd name="connsiteY3323" fmla="*/ 1714074 h 6858000"/>
              <a:gd name="connsiteX3324" fmla="*/ 12188651 w 12188651"/>
              <a:gd name="connsiteY3324" fmla="*/ 1898836 h 6858000"/>
              <a:gd name="connsiteX3325" fmla="*/ 11910696 w 12188651"/>
              <a:gd name="connsiteY3325" fmla="*/ 1737973 h 6858000"/>
              <a:gd name="connsiteX3326" fmla="*/ 11910696 w 12188651"/>
              <a:gd name="connsiteY3326" fmla="*/ 1351792 h 6858000"/>
              <a:gd name="connsiteX3327" fmla="*/ 10883981 w 12188651"/>
              <a:gd name="connsiteY3327" fmla="*/ 1163824 h 6858000"/>
              <a:gd name="connsiteX3328" fmla="*/ 11209441 w 12188651"/>
              <a:gd name="connsiteY3328" fmla="*/ 1352175 h 6858000"/>
              <a:gd name="connsiteX3329" fmla="*/ 11209441 w 12188651"/>
              <a:gd name="connsiteY3329" fmla="*/ 1729007 h 6858000"/>
              <a:gd name="connsiteX3330" fmla="*/ 10883981 w 12188651"/>
              <a:gd name="connsiteY3330" fmla="*/ 1540647 h 6858000"/>
              <a:gd name="connsiteX3331" fmla="*/ 10867636 w 12188651"/>
              <a:gd name="connsiteY3331" fmla="*/ 1163824 h 6858000"/>
              <a:gd name="connsiteX3332" fmla="*/ 10867636 w 12188651"/>
              <a:gd name="connsiteY3332" fmla="*/ 1540647 h 6858000"/>
              <a:gd name="connsiteX3333" fmla="*/ 10542045 w 12188651"/>
              <a:gd name="connsiteY3333" fmla="*/ 1729007 h 6858000"/>
              <a:gd name="connsiteX3334" fmla="*/ 10542045 w 12188651"/>
              <a:gd name="connsiteY3334" fmla="*/ 1352175 h 6858000"/>
              <a:gd name="connsiteX3335" fmla="*/ 8830033 w 12188651"/>
              <a:gd name="connsiteY3335" fmla="*/ 1163807 h 6858000"/>
              <a:gd name="connsiteX3336" fmla="*/ 9155493 w 12188651"/>
              <a:gd name="connsiteY3336" fmla="*/ 1352160 h 6858000"/>
              <a:gd name="connsiteX3337" fmla="*/ 9155493 w 12188651"/>
              <a:gd name="connsiteY3337" fmla="*/ 1728992 h 6858000"/>
              <a:gd name="connsiteX3338" fmla="*/ 8830033 w 12188651"/>
              <a:gd name="connsiteY3338" fmla="*/ 1540632 h 6858000"/>
              <a:gd name="connsiteX3339" fmla="*/ 8813688 w 12188651"/>
              <a:gd name="connsiteY3339" fmla="*/ 1163807 h 6858000"/>
              <a:gd name="connsiteX3340" fmla="*/ 8813688 w 12188651"/>
              <a:gd name="connsiteY3340" fmla="*/ 1540632 h 6858000"/>
              <a:gd name="connsiteX3341" fmla="*/ 8488098 w 12188651"/>
              <a:gd name="connsiteY3341" fmla="*/ 1728992 h 6858000"/>
              <a:gd name="connsiteX3342" fmla="*/ 8488098 w 12188651"/>
              <a:gd name="connsiteY3342" fmla="*/ 1352159 h 6858000"/>
              <a:gd name="connsiteX3343" fmla="*/ 6776215 w 12188651"/>
              <a:gd name="connsiteY3343" fmla="*/ 1163791 h 6858000"/>
              <a:gd name="connsiteX3344" fmla="*/ 7101677 w 12188651"/>
              <a:gd name="connsiteY3344" fmla="*/ 1352145 h 6858000"/>
              <a:gd name="connsiteX3345" fmla="*/ 7101677 w 12188651"/>
              <a:gd name="connsiteY3345" fmla="*/ 1728975 h 6858000"/>
              <a:gd name="connsiteX3346" fmla="*/ 6776215 w 12188651"/>
              <a:gd name="connsiteY3346" fmla="*/ 1540617 h 6858000"/>
              <a:gd name="connsiteX3347" fmla="*/ 6759871 w 12188651"/>
              <a:gd name="connsiteY3347" fmla="*/ 1163791 h 6858000"/>
              <a:gd name="connsiteX3348" fmla="*/ 6759871 w 12188651"/>
              <a:gd name="connsiteY3348" fmla="*/ 1540617 h 6858000"/>
              <a:gd name="connsiteX3349" fmla="*/ 6434280 w 12188651"/>
              <a:gd name="connsiteY3349" fmla="*/ 1728975 h 6858000"/>
              <a:gd name="connsiteX3350" fmla="*/ 6434280 w 12188651"/>
              <a:gd name="connsiteY3350" fmla="*/ 1352145 h 6858000"/>
              <a:gd name="connsiteX3351" fmla="*/ 4705942 w 12188651"/>
              <a:gd name="connsiteY3351" fmla="*/ 1163780 h 6858000"/>
              <a:gd name="connsiteX3352" fmla="*/ 4705942 w 12188651"/>
              <a:gd name="connsiteY3352" fmla="*/ 1540601 h 6858000"/>
              <a:gd name="connsiteX3353" fmla="*/ 4380369 w 12188651"/>
              <a:gd name="connsiteY3353" fmla="*/ 1728954 h 6858000"/>
              <a:gd name="connsiteX3354" fmla="*/ 4380369 w 12188651"/>
              <a:gd name="connsiteY3354" fmla="*/ 1352132 h 6858000"/>
              <a:gd name="connsiteX3355" fmla="*/ 4722303 w 12188651"/>
              <a:gd name="connsiteY3355" fmla="*/ 1163775 h 6858000"/>
              <a:gd name="connsiteX3356" fmla="*/ 5047773 w 12188651"/>
              <a:gd name="connsiteY3356" fmla="*/ 1352118 h 6858000"/>
              <a:gd name="connsiteX3357" fmla="*/ 5047773 w 12188651"/>
              <a:gd name="connsiteY3357" fmla="*/ 1728959 h 6858000"/>
              <a:gd name="connsiteX3358" fmla="*/ 5020104 w 12188651"/>
              <a:gd name="connsiteY3358" fmla="*/ 1712952 h 6858000"/>
              <a:gd name="connsiteX3359" fmla="*/ 4722303 w 12188651"/>
              <a:gd name="connsiteY3359" fmla="*/ 1540609 h 6858000"/>
              <a:gd name="connsiteX3360" fmla="*/ 2652150 w 12188651"/>
              <a:gd name="connsiteY3360" fmla="*/ 1163775 h 6858000"/>
              <a:gd name="connsiteX3361" fmla="*/ 2652150 w 12188651"/>
              <a:gd name="connsiteY3361" fmla="*/ 1540587 h 6858000"/>
              <a:gd name="connsiteX3362" fmla="*/ 2326589 w 12188651"/>
              <a:gd name="connsiteY3362" fmla="*/ 1728927 h 6858000"/>
              <a:gd name="connsiteX3363" fmla="*/ 2326589 w 12188651"/>
              <a:gd name="connsiteY3363" fmla="*/ 1352115 h 6858000"/>
              <a:gd name="connsiteX3364" fmla="*/ 2668521 w 12188651"/>
              <a:gd name="connsiteY3364" fmla="*/ 1163761 h 6858000"/>
              <a:gd name="connsiteX3365" fmla="*/ 2993956 w 12188651"/>
              <a:gd name="connsiteY3365" fmla="*/ 1352102 h 6858000"/>
              <a:gd name="connsiteX3366" fmla="*/ 2993956 w 12188651"/>
              <a:gd name="connsiteY3366" fmla="*/ 1728943 h 6858000"/>
              <a:gd name="connsiteX3367" fmla="*/ 2668521 w 12188651"/>
              <a:gd name="connsiteY3367" fmla="*/ 1540601 h 6858000"/>
              <a:gd name="connsiteX3368" fmla="*/ 598173 w 12188651"/>
              <a:gd name="connsiteY3368" fmla="*/ 1163759 h 6858000"/>
              <a:gd name="connsiteX3369" fmla="*/ 598173 w 12188651"/>
              <a:gd name="connsiteY3369" fmla="*/ 1540571 h 6858000"/>
              <a:gd name="connsiteX3370" fmla="*/ 272611 w 12188651"/>
              <a:gd name="connsiteY3370" fmla="*/ 1728912 h 6858000"/>
              <a:gd name="connsiteX3371" fmla="*/ 272611 w 12188651"/>
              <a:gd name="connsiteY3371" fmla="*/ 1352101 h 6858000"/>
              <a:gd name="connsiteX3372" fmla="*/ 614544 w 12188651"/>
              <a:gd name="connsiteY3372" fmla="*/ 1163745 h 6858000"/>
              <a:gd name="connsiteX3373" fmla="*/ 939978 w 12188651"/>
              <a:gd name="connsiteY3373" fmla="*/ 1352086 h 6858000"/>
              <a:gd name="connsiteX3374" fmla="*/ 939978 w 12188651"/>
              <a:gd name="connsiteY3374" fmla="*/ 1728928 h 6858000"/>
              <a:gd name="connsiteX3375" fmla="*/ 614544 w 12188651"/>
              <a:gd name="connsiteY3375" fmla="*/ 1540585 h 6858000"/>
              <a:gd name="connsiteX3376" fmla="*/ 11559549 w 12188651"/>
              <a:gd name="connsiteY3376" fmla="*/ 1159023 h 6858000"/>
              <a:gd name="connsiteX3377" fmla="*/ 11893312 w 12188651"/>
              <a:gd name="connsiteY3377" fmla="*/ 1352175 h 6858000"/>
              <a:gd name="connsiteX3378" fmla="*/ 11893312 w 12188651"/>
              <a:gd name="connsiteY3378" fmla="*/ 1738478 h 6858000"/>
              <a:gd name="connsiteX3379" fmla="*/ 11559679 w 12188651"/>
              <a:gd name="connsiteY3379" fmla="*/ 1931637 h 6858000"/>
              <a:gd name="connsiteX3380" fmla="*/ 11225916 w 12188651"/>
              <a:gd name="connsiteY3380" fmla="*/ 1738478 h 6858000"/>
              <a:gd name="connsiteX3381" fmla="*/ 11225916 w 12188651"/>
              <a:gd name="connsiteY3381" fmla="*/ 1352175 h 6858000"/>
              <a:gd name="connsiteX3382" fmla="*/ 9505601 w 12188651"/>
              <a:gd name="connsiteY3382" fmla="*/ 1159008 h 6858000"/>
              <a:gd name="connsiteX3383" fmla="*/ 9839364 w 12188651"/>
              <a:gd name="connsiteY3383" fmla="*/ 1352160 h 6858000"/>
              <a:gd name="connsiteX3384" fmla="*/ 9839364 w 12188651"/>
              <a:gd name="connsiteY3384" fmla="*/ 1738464 h 6858000"/>
              <a:gd name="connsiteX3385" fmla="*/ 9505732 w 12188651"/>
              <a:gd name="connsiteY3385" fmla="*/ 1931620 h 6858000"/>
              <a:gd name="connsiteX3386" fmla="*/ 9171969 w 12188651"/>
              <a:gd name="connsiteY3386" fmla="*/ 1738463 h 6858000"/>
              <a:gd name="connsiteX3387" fmla="*/ 9171969 w 12188651"/>
              <a:gd name="connsiteY3387" fmla="*/ 1352159 h 6858000"/>
              <a:gd name="connsiteX3388" fmla="*/ 7451785 w 12188651"/>
              <a:gd name="connsiteY3388" fmla="*/ 1158991 h 6858000"/>
              <a:gd name="connsiteX3389" fmla="*/ 7785548 w 12188651"/>
              <a:gd name="connsiteY3389" fmla="*/ 1352145 h 6858000"/>
              <a:gd name="connsiteX3390" fmla="*/ 7785548 w 12188651"/>
              <a:gd name="connsiteY3390" fmla="*/ 1738447 h 6858000"/>
              <a:gd name="connsiteX3391" fmla="*/ 7451915 w 12188651"/>
              <a:gd name="connsiteY3391" fmla="*/ 1931604 h 6858000"/>
              <a:gd name="connsiteX3392" fmla="*/ 7118150 w 12188651"/>
              <a:gd name="connsiteY3392" fmla="*/ 1738447 h 6858000"/>
              <a:gd name="connsiteX3393" fmla="*/ 7118150 w 12188651"/>
              <a:gd name="connsiteY3393" fmla="*/ 1352145 h 6858000"/>
              <a:gd name="connsiteX3394" fmla="*/ 5397886 w 12188651"/>
              <a:gd name="connsiteY3394" fmla="*/ 1158976 h 6858000"/>
              <a:gd name="connsiteX3395" fmla="*/ 5452129 w 12188651"/>
              <a:gd name="connsiteY3395" fmla="*/ 1190368 h 6858000"/>
              <a:gd name="connsiteX3396" fmla="*/ 5731616 w 12188651"/>
              <a:gd name="connsiteY3396" fmla="*/ 1352126 h 6858000"/>
              <a:gd name="connsiteX3397" fmla="*/ 5731616 w 12188651"/>
              <a:gd name="connsiteY3397" fmla="*/ 1738431 h 6858000"/>
              <a:gd name="connsiteX3398" fmla="*/ 5397992 w 12188651"/>
              <a:gd name="connsiteY3398" fmla="*/ 1931587 h 6858000"/>
              <a:gd name="connsiteX3399" fmla="*/ 5182218 w 12188651"/>
              <a:gd name="connsiteY3399" fmla="*/ 1806716 h 6858000"/>
              <a:gd name="connsiteX3400" fmla="*/ 5064275 w 12188651"/>
              <a:gd name="connsiteY3400" fmla="*/ 1738445 h 6858000"/>
              <a:gd name="connsiteX3401" fmla="*/ 5064275 w 12188651"/>
              <a:gd name="connsiteY3401" fmla="*/ 1352132 h 6858000"/>
              <a:gd name="connsiteX3402" fmla="*/ 3344093 w 12188651"/>
              <a:gd name="connsiteY3402" fmla="*/ 1158962 h 6858000"/>
              <a:gd name="connsiteX3403" fmla="*/ 3677824 w 12188651"/>
              <a:gd name="connsiteY3403" fmla="*/ 1352102 h 6858000"/>
              <a:gd name="connsiteX3404" fmla="*/ 3677824 w 12188651"/>
              <a:gd name="connsiteY3404" fmla="*/ 1738415 h 6858000"/>
              <a:gd name="connsiteX3405" fmla="*/ 3344194 w 12188651"/>
              <a:gd name="connsiteY3405" fmla="*/ 1931571 h 6858000"/>
              <a:gd name="connsiteX3406" fmla="*/ 3010459 w 12188651"/>
              <a:gd name="connsiteY3406" fmla="*/ 1738430 h 6858000"/>
              <a:gd name="connsiteX3407" fmla="*/ 3010459 w 12188651"/>
              <a:gd name="connsiteY3407" fmla="*/ 1352115 h 6858000"/>
              <a:gd name="connsiteX3408" fmla="*/ 1290110 w 12188651"/>
              <a:gd name="connsiteY3408" fmla="*/ 1158945 h 6858000"/>
              <a:gd name="connsiteX3409" fmla="*/ 1623849 w 12188651"/>
              <a:gd name="connsiteY3409" fmla="*/ 1352087 h 6858000"/>
              <a:gd name="connsiteX3410" fmla="*/ 1623849 w 12188651"/>
              <a:gd name="connsiteY3410" fmla="*/ 1738399 h 6858000"/>
              <a:gd name="connsiteX3411" fmla="*/ 1290217 w 12188651"/>
              <a:gd name="connsiteY3411" fmla="*/ 1931555 h 6858000"/>
              <a:gd name="connsiteX3412" fmla="*/ 956479 w 12188651"/>
              <a:gd name="connsiteY3412" fmla="*/ 1738413 h 6858000"/>
              <a:gd name="connsiteX3413" fmla="*/ 956479 w 12188651"/>
              <a:gd name="connsiteY3413" fmla="*/ 1352101 h 6858000"/>
              <a:gd name="connsiteX3414" fmla="*/ 10190640 w 12188651"/>
              <a:gd name="connsiteY3414" fmla="*/ 1158620 h 6858000"/>
              <a:gd name="connsiteX3415" fmla="*/ 10524404 w 12188651"/>
              <a:gd name="connsiteY3415" fmla="*/ 1351774 h 6858000"/>
              <a:gd name="connsiteX3416" fmla="*/ 10524404 w 12188651"/>
              <a:gd name="connsiteY3416" fmla="*/ 1737958 h 6858000"/>
              <a:gd name="connsiteX3417" fmla="*/ 10190640 w 12188651"/>
              <a:gd name="connsiteY3417" fmla="*/ 1931118 h 6858000"/>
              <a:gd name="connsiteX3418" fmla="*/ 9856876 w 12188651"/>
              <a:gd name="connsiteY3418" fmla="*/ 1737958 h 6858000"/>
              <a:gd name="connsiteX3419" fmla="*/ 9856876 w 12188651"/>
              <a:gd name="connsiteY3419" fmla="*/ 1351774 h 6858000"/>
              <a:gd name="connsiteX3420" fmla="*/ 8136693 w 12188651"/>
              <a:gd name="connsiteY3420" fmla="*/ 1158604 h 6858000"/>
              <a:gd name="connsiteX3421" fmla="*/ 8470456 w 12188651"/>
              <a:gd name="connsiteY3421" fmla="*/ 1351760 h 6858000"/>
              <a:gd name="connsiteX3422" fmla="*/ 8470456 w 12188651"/>
              <a:gd name="connsiteY3422" fmla="*/ 1737941 h 6858000"/>
              <a:gd name="connsiteX3423" fmla="*/ 8136693 w 12188651"/>
              <a:gd name="connsiteY3423" fmla="*/ 1931100 h 6858000"/>
              <a:gd name="connsiteX3424" fmla="*/ 7802930 w 12188651"/>
              <a:gd name="connsiteY3424" fmla="*/ 1737941 h 6858000"/>
              <a:gd name="connsiteX3425" fmla="*/ 7802930 w 12188651"/>
              <a:gd name="connsiteY3425" fmla="*/ 1351760 h 6858000"/>
              <a:gd name="connsiteX3426" fmla="*/ 6082876 w 12188651"/>
              <a:gd name="connsiteY3426" fmla="*/ 1158588 h 6858000"/>
              <a:gd name="connsiteX3427" fmla="*/ 6416638 w 12188651"/>
              <a:gd name="connsiteY3427" fmla="*/ 1351744 h 6858000"/>
              <a:gd name="connsiteX3428" fmla="*/ 6416638 w 12188651"/>
              <a:gd name="connsiteY3428" fmla="*/ 1737925 h 6858000"/>
              <a:gd name="connsiteX3429" fmla="*/ 6082876 w 12188651"/>
              <a:gd name="connsiteY3429" fmla="*/ 1931085 h 6858000"/>
              <a:gd name="connsiteX3430" fmla="*/ 5749138 w 12188651"/>
              <a:gd name="connsiteY3430" fmla="*/ 1737927 h 6858000"/>
              <a:gd name="connsiteX3431" fmla="*/ 5749138 w 12188651"/>
              <a:gd name="connsiteY3431" fmla="*/ 1351744 h 6858000"/>
              <a:gd name="connsiteX3432" fmla="*/ 4029124 w 12188651"/>
              <a:gd name="connsiteY3432" fmla="*/ 1158575 h 6858000"/>
              <a:gd name="connsiteX3433" fmla="*/ 4362838 w 12188651"/>
              <a:gd name="connsiteY3433" fmla="*/ 1351727 h 6858000"/>
              <a:gd name="connsiteX3434" fmla="*/ 4362838 w 12188651"/>
              <a:gd name="connsiteY3434" fmla="*/ 1737910 h 6858000"/>
              <a:gd name="connsiteX3435" fmla="*/ 4029120 w 12188651"/>
              <a:gd name="connsiteY3435" fmla="*/ 1931068 h 6858000"/>
              <a:gd name="connsiteX3436" fmla="*/ 3695368 w 12188651"/>
              <a:gd name="connsiteY3436" fmla="*/ 1737913 h 6858000"/>
              <a:gd name="connsiteX3437" fmla="*/ 3695368 w 12188651"/>
              <a:gd name="connsiteY3437" fmla="*/ 1351729 h 6858000"/>
              <a:gd name="connsiteX3438" fmla="*/ 1975151 w 12188651"/>
              <a:gd name="connsiteY3438" fmla="*/ 1158559 h 6858000"/>
              <a:gd name="connsiteX3439" fmla="*/ 2252090 w 12188651"/>
              <a:gd name="connsiteY3439" fmla="*/ 1318821 h 6858000"/>
              <a:gd name="connsiteX3440" fmla="*/ 2308917 w 12188651"/>
              <a:gd name="connsiteY3440" fmla="*/ 1351709 h 6858000"/>
              <a:gd name="connsiteX3441" fmla="*/ 2308917 w 12188651"/>
              <a:gd name="connsiteY3441" fmla="*/ 1737894 h 6858000"/>
              <a:gd name="connsiteX3442" fmla="*/ 1975144 w 12188651"/>
              <a:gd name="connsiteY3442" fmla="*/ 1931051 h 6858000"/>
              <a:gd name="connsiteX3443" fmla="*/ 1641388 w 12188651"/>
              <a:gd name="connsiteY3443" fmla="*/ 1737898 h 6858000"/>
              <a:gd name="connsiteX3444" fmla="*/ 1641388 w 12188651"/>
              <a:gd name="connsiteY3444" fmla="*/ 1351714 h 6858000"/>
              <a:gd name="connsiteX3445" fmla="*/ 11902654 w 12188651"/>
              <a:gd name="connsiteY3445" fmla="*/ 960799 h 6858000"/>
              <a:gd name="connsiteX3446" fmla="*/ 12188651 w 12188651"/>
              <a:gd name="connsiteY3446" fmla="*/ 1126327 h 6858000"/>
              <a:gd name="connsiteX3447" fmla="*/ 12188651 w 12188651"/>
              <a:gd name="connsiteY3447" fmla="*/ 1171992 h 6858000"/>
              <a:gd name="connsiteX3448" fmla="*/ 11902524 w 12188651"/>
              <a:gd name="connsiteY3448" fmla="*/ 1337516 h 6858000"/>
              <a:gd name="connsiteX3449" fmla="*/ 11577065 w 12188651"/>
              <a:gd name="connsiteY3449" fmla="*/ 1149161 h 6858000"/>
              <a:gd name="connsiteX3450" fmla="*/ 9848833 w 12188651"/>
              <a:gd name="connsiteY3450" fmla="*/ 960784 h 6858000"/>
              <a:gd name="connsiteX3451" fmla="*/ 10174292 w 12188651"/>
              <a:gd name="connsiteY3451" fmla="*/ 1149145 h 6858000"/>
              <a:gd name="connsiteX3452" fmla="*/ 9848703 w 12188651"/>
              <a:gd name="connsiteY3452" fmla="*/ 1337499 h 6858000"/>
              <a:gd name="connsiteX3453" fmla="*/ 9523246 w 12188651"/>
              <a:gd name="connsiteY3453" fmla="*/ 1149145 h 6858000"/>
              <a:gd name="connsiteX3454" fmla="*/ 7794888 w 12188651"/>
              <a:gd name="connsiteY3454" fmla="*/ 960771 h 6858000"/>
              <a:gd name="connsiteX3455" fmla="*/ 8120344 w 12188651"/>
              <a:gd name="connsiteY3455" fmla="*/ 1149132 h 6858000"/>
              <a:gd name="connsiteX3456" fmla="*/ 7794758 w 12188651"/>
              <a:gd name="connsiteY3456" fmla="*/ 1337484 h 6858000"/>
              <a:gd name="connsiteX3457" fmla="*/ 7469301 w 12188651"/>
              <a:gd name="connsiteY3457" fmla="*/ 1149132 h 6858000"/>
              <a:gd name="connsiteX3458" fmla="*/ 5741094 w 12188651"/>
              <a:gd name="connsiteY3458" fmla="*/ 960756 h 6858000"/>
              <a:gd name="connsiteX3459" fmla="*/ 6066529 w 12188651"/>
              <a:gd name="connsiteY3459" fmla="*/ 1149115 h 6858000"/>
              <a:gd name="connsiteX3460" fmla="*/ 5740963 w 12188651"/>
              <a:gd name="connsiteY3460" fmla="*/ 1337471 h 6858000"/>
              <a:gd name="connsiteX3461" fmla="*/ 5504553 w 12188651"/>
              <a:gd name="connsiteY3461" fmla="*/ 1200643 h 6858000"/>
              <a:gd name="connsiteX3462" fmla="*/ 5415532 w 12188651"/>
              <a:gd name="connsiteY3462" fmla="*/ 1149117 h 6858000"/>
              <a:gd name="connsiteX3463" fmla="*/ 3687323 w 12188651"/>
              <a:gd name="connsiteY3463" fmla="*/ 960742 h 6858000"/>
              <a:gd name="connsiteX3464" fmla="*/ 4012774 w 12188651"/>
              <a:gd name="connsiteY3464" fmla="*/ 1149098 h 6858000"/>
              <a:gd name="connsiteX3465" fmla="*/ 3687188 w 12188651"/>
              <a:gd name="connsiteY3465" fmla="*/ 1337454 h 6858000"/>
              <a:gd name="connsiteX3466" fmla="*/ 3361738 w 12188651"/>
              <a:gd name="connsiteY3466" fmla="*/ 1149102 h 6858000"/>
              <a:gd name="connsiteX3467" fmla="*/ 1633346 w 12188651"/>
              <a:gd name="connsiteY3467" fmla="*/ 960729 h 6858000"/>
              <a:gd name="connsiteX3468" fmla="*/ 1958798 w 12188651"/>
              <a:gd name="connsiteY3468" fmla="*/ 1149083 h 6858000"/>
              <a:gd name="connsiteX3469" fmla="*/ 1633210 w 12188651"/>
              <a:gd name="connsiteY3469" fmla="*/ 1337440 h 6858000"/>
              <a:gd name="connsiteX3470" fmla="*/ 1307756 w 12188651"/>
              <a:gd name="connsiteY3470" fmla="*/ 1149086 h 6858000"/>
              <a:gd name="connsiteX3471" fmla="*/ 11113840 w 12188651"/>
              <a:gd name="connsiteY3471" fmla="*/ 796828 h 6858000"/>
              <a:gd name="connsiteX3472" fmla="*/ 11141600 w 12188651"/>
              <a:gd name="connsiteY3472" fmla="*/ 808373 h 6858000"/>
              <a:gd name="connsiteX3473" fmla="*/ 11206199 w 12188651"/>
              <a:gd name="connsiteY3473" fmla="*/ 873104 h 6858000"/>
              <a:gd name="connsiteX3474" fmla="*/ 11217744 w 12188651"/>
              <a:gd name="connsiteY3474" fmla="*/ 884778 h 6858000"/>
              <a:gd name="connsiteX3475" fmla="*/ 11229289 w 12188651"/>
              <a:gd name="connsiteY3475" fmla="*/ 873104 h 6858000"/>
              <a:gd name="connsiteX3476" fmla="*/ 11293758 w 12188651"/>
              <a:gd name="connsiteY3476" fmla="*/ 808373 h 6858000"/>
              <a:gd name="connsiteX3477" fmla="*/ 11321517 w 12188651"/>
              <a:gd name="connsiteY3477" fmla="*/ 796828 h 6858000"/>
              <a:gd name="connsiteX3478" fmla="*/ 11349147 w 12188651"/>
              <a:gd name="connsiteY3478" fmla="*/ 808373 h 6858000"/>
              <a:gd name="connsiteX3479" fmla="*/ 11427627 w 12188651"/>
              <a:gd name="connsiteY3479" fmla="*/ 886983 h 6858000"/>
              <a:gd name="connsiteX3480" fmla="*/ 11439169 w 12188651"/>
              <a:gd name="connsiteY3480" fmla="*/ 914736 h 6858000"/>
              <a:gd name="connsiteX3481" fmla="*/ 11427757 w 12188651"/>
              <a:gd name="connsiteY3481" fmla="*/ 942490 h 6858000"/>
              <a:gd name="connsiteX3482" fmla="*/ 11217744 w 12188651"/>
              <a:gd name="connsiteY3482" fmla="*/ 1152909 h 6858000"/>
              <a:gd name="connsiteX3483" fmla="*/ 11007731 w 12188651"/>
              <a:gd name="connsiteY3483" fmla="*/ 942490 h 6858000"/>
              <a:gd name="connsiteX3484" fmla="*/ 10996253 w 12188651"/>
              <a:gd name="connsiteY3484" fmla="*/ 914754 h 6858000"/>
              <a:gd name="connsiteX3485" fmla="*/ 11007731 w 12188651"/>
              <a:gd name="connsiteY3485" fmla="*/ 887113 h 6858000"/>
              <a:gd name="connsiteX3486" fmla="*/ 11086210 w 12188651"/>
              <a:gd name="connsiteY3486" fmla="*/ 808373 h 6858000"/>
              <a:gd name="connsiteX3487" fmla="*/ 11113840 w 12188651"/>
              <a:gd name="connsiteY3487" fmla="*/ 796828 h 6858000"/>
              <a:gd name="connsiteX3488" fmla="*/ 9059892 w 12188651"/>
              <a:gd name="connsiteY3488" fmla="*/ 796812 h 6858000"/>
              <a:gd name="connsiteX3489" fmla="*/ 9087652 w 12188651"/>
              <a:gd name="connsiteY3489" fmla="*/ 808358 h 6858000"/>
              <a:gd name="connsiteX3490" fmla="*/ 9152251 w 12188651"/>
              <a:gd name="connsiteY3490" fmla="*/ 873089 h 6858000"/>
              <a:gd name="connsiteX3491" fmla="*/ 9163796 w 12188651"/>
              <a:gd name="connsiteY3491" fmla="*/ 884763 h 6858000"/>
              <a:gd name="connsiteX3492" fmla="*/ 9175341 w 12188651"/>
              <a:gd name="connsiteY3492" fmla="*/ 873089 h 6858000"/>
              <a:gd name="connsiteX3493" fmla="*/ 9239810 w 12188651"/>
              <a:gd name="connsiteY3493" fmla="*/ 808358 h 6858000"/>
              <a:gd name="connsiteX3494" fmla="*/ 9267570 w 12188651"/>
              <a:gd name="connsiteY3494" fmla="*/ 796812 h 6858000"/>
              <a:gd name="connsiteX3495" fmla="*/ 9295200 w 12188651"/>
              <a:gd name="connsiteY3495" fmla="*/ 808358 h 6858000"/>
              <a:gd name="connsiteX3496" fmla="*/ 9373678 w 12188651"/>
              <a:gd name="connsiteY3496" fmla="*/ 886967 h 6858000"/>
              <a:gd name="connsiteX3497" fmla="*/ 9385221 w 12188651"/>
              <a:gd name="connsiteY3497" fmla="*/ 914725 h 6858000"/>
              <a:gd name="connsiteX3498" fmla="*/ 9373809 w 12188651"/>
              <a:gd name="connsiteY3498" fmla="*/ 942476 h 6858000"/>
              <a:gd name="connsiteX3499" fmla="*/ 9163797 w 12188651"/>
              <a:gd name="connsiteY3499" fmla="*/ 1152894 h 6858000"/>
              <a:gd name="connsiteX3500" fmla="*/ 8953784 w 12188651"/>
              <a:gd name="connsiteY3500" fmla="*/ 942476 h 6858000"/>
              <a:gd name="connsiteX3501" fmla="*/ 8942307 w 12188651"/>
              <a:gd name="connsiteY3501" fmla="*/ 914737 h 6858000"/>
              <a:gd name="connsiteX3502" fmla="*/ 8953783 w 12188651"/>
              <a:gd name="connsiteY3502" fmla="*/ 887100 h 6858000"/>
              <a:gd name="connsiteX3503" fmla="*/ 9032263 w 12188651"/>
              <a:gd name="connsiteY3503" fmla="*/ 808358 h 6858000"/>
              <a:gd name="connsiteX3504" fmla="*/ 9059892 w 12188651"/>
              <a:gd name="connsiteY3504" fmla="*/ 796812 h 6858000"/>
              <a:gd name="connsiteX3505" fmla="*/ 7006076 w 12188651"/>
              <a:gd name="connsiteY3505" fmla="*/ 796800 h 6858000"/>
              <a:gd name="connsiteX3506" fmla="*/ 7033834 w 12188651"/>
              <a:gd name="connsiteY3506" fmla="*/ 808345 h 6858000"/>
              <a:gd name="connsiteX3507" fmla="*/ 7098434 w 12188651"/>
              <a:gd name="connsiteY3507" fmla="*/ 873075 h 6858000"/>
              <a:gd name="connsiteX3508" fmla="*/ 7109978 w 12188651"/>
              <a:gd name="connsiteY3508" fmla="*/ 884750 h 6858000"/>
              <a:gd name="connsiteX3509" fmla="*/ 7121523 w 12188651"/>
              <a:gd name="connsiteY3509" fmla="*/ 873075 h 6858000"/>
              <a:gd name="connsiteX3510" fmla="*/ 7185994 w 12188651"/>
              <a:gd name="connsiteY3510" fmla="*/ 808345 h 6858000"/>
              <a:gd name="connsiteX3511" fmla="*/ 7213751 w 12188651"/>
              <a:gd name="connsiteY3511" fmla="*/ 796800 h 6858000"/>
              <a:gd name="connsiteX3512" fmla="*/ 7241381 w 12188651"/>
              <a:gd name="connsiteY3512" fmla="*/ 808345 h 6858000"/>
              <a:gd name="connsiteX3513" fmla="*/ 7319862 w 12188651"/>
              <a:gd name="connsiteY3513" fmla="*/ 886956 h 6858000"/>
              <a:gd name="connsiteX3514" fmla="*/ 7331404 w 12188651"/>
              <a:gd name="connsiteY3514" fmla="*/ 914710 h 6858000"/>
              <a:gd name="connsiteX3515" fmla="*/ 7319992 w 12188651"/>
              <a:gd name="connsiteY3515" fmla="*/ 942463 h 6858000"/>
              <a:gd name="connsiteX3516" fmla="*/ 7109978 w 12188651"/>
              <a:gd name="connsiteY3516" fmla="*/ 1152879 h 6858000"/>
              <a:gd name="connsiteX3517" fmla="*/ 6899966 w 12188651"/>
              <a:gd name="connsiteY3517" fmla="*/ 942463 h 6858000"/>
              <a:gd name="connsiteX3518" fmla="*/ 6888488 w 12188651"/>
              <a:gd name="connsiteY3518" fmla="*/ 914725 h 6858000"/>
              <a:gd name="connsiteX3519" fmla="*/ 6899966 w 12188651"/>
              <a:gd name="connsiteY3519" fmla="*/ 887085 h 6858000"/>
              <a:gd name="connsiteX3520" fmla="*/ 6978446 w 12188651"/>
              <a:gd name="connsiteY3520" fmla="*/ 808345 h 6858000"/>
              <a:gd name="connsiteX3521" fmla="*/ 7006076 w 12188651"/>
              <a:gd name="connsiteY3521" fmla="*/ 796800 h 6858000"/>
              <a:gd name="connsiteX3522" fmla="*/ 4952163 w 12188651"/>
              <a:gd name="connsiteY3522" fmla="*/ 796785 h 6858000"/>
              <a:gd name="connsiteX3523" fmla="*/ 4979931 w 12188651"/>
              <a:gd name="connsiteY3523" fmla="*/ 808330 h 6858000"/>
              <a:gd name="connsiteX3524" fmla="*/ 4999601 w 12188651"/>
              <a:gd name="connsiteY3524" fmla="*/ 828037 h 6858000"/>
              <a:gd name="connsiteX3525" fmla="*/ 5044528 w 12188651"/>
              <a:gd name="connsiteY3525" fmla="*/ 873049 h 6858000"/>
              <a:gd name="connsiteX3526" fmla="*/ 5056083 w 12188651"/>
              <a:gd name="connsiteY3526" fmla="*/ 884723 h 6858000"/>
              <a:gd name="connsiteX3527" fmla="*/ 5056083 w 12188651"/>
              <a:gd name="connsiteY3527" fmla="*/ 884718 h 6858000"/>
              <a:gd name="connsiteX3528" fmla="*/ 5056096 w 12188651"/>
              <a:gd name="connsiteY3528" fmla="*/ 884737 h 6858000"/>
              <a:gd name="connsiteX3529" fmla="*/ 5067648 w 12188651"/>
              <a:gd name="connsiteY3529" fmla="*/ 873062 h 6858000"/>
              <a:gd name="connsiteX3530" fmla="*/ 5132091 w 12188651"/>
              <a:gd name="connsiteY3530" fmla="*/ 808330 h 6858000"/>
              <a:gd name="connsiteX3531" fmla="*/ 5159840 w 12188651"/>
              <a:gd name="connsiteY3531" fmla="*/ 796785 h 6858000"/>
              <a:gd name="connsiteX3532" fmla="*/ 5187487 w 12188651"/>
              <a:gd name="connsiteY3532" fmla="*/ 808327 h 6858000"/>
              <a:gd name="connsiteX3533" fmla="*/ 5260329 w 12188651"/>
              <a:gd name="connsiteY3533" fmla="*/ 881304 h 6858000"/>
              <a:gd name="connsiteX3534" fmla="*/ 5265946 w 12188651"/>
              <a:gd name="connsiteY3534" fmla="*/ 886927 h 6858000"/>
              <a:gd name="connsiteX3535" fmla="*/ 5277479 w 12188651"/>
              <a:gd name="connsiteY3535" fmla="*/ 914688 h 6858000"/>
              <a:gd name="connsiteX3536" fmla="*/ 5266075 w 12188651"/>
              <a:gd name="connsiteY3536" fmla="*/ 942448 h 6858000"/>
              <a:gd name="connsiteX3537" fmla="*/ 5056083 w 12188651"/>
              <a:gd name="connsiteY3537" fmla="*/ 1152860 h 6858000"/>
              <a:gd name="connsiteX3538" fmla="*/ 4940608 w 12188651"/>
              <a:gd name="connsiteY3538" fmla="*/ 1037194 h 6858000"/>
              <a:gd name="connsiteX3539" fmla="*/ 4846044 w 12188651"/>
              <a:gd name="connsiteY3539" fmla="*/ 942452 h 6858000"/>
              <a:gd name="connsiteX3540" fmla="*/ 4834566 w 12188651"/>
              <a:gd name="connsiteY3540" fmla="*/ 914718 h 6858000"/>
              <a:gd name="connsiteX3541" fmla="*/ 4846044 w 12188651"/>
              <a:gd name="connsiteY3541" fmla="*/ 887070 h 6858000"/>
              <a:gd name="connsiteX3542" fmla="*/ 4924518 w 12188651"/>
              <a:gd name="connsiteY3542" fmla="*/ 808330 h 6858000"/>
              <a:gd name="connsiteX3543" fmla="*/ 4952163 w 12188651"/>
              <a:gd name="connsiteY3543" fmla="*/ 796785 h 6858000"/>
              <a:gd name="connsiteX3544" fmla="*/ 2898379 w 12188651"/>
              <a:gd name="connsiteY3544" fmla="*/ 796772 h 6858000"/>
              <a:gd name="connsiteX3545" fmla="*/ 2926124 w 12188651"/>
              <a:gd name="connsiteY3545" fmla="*/ 808309 h 6858000"/>
              <a:gd name="connsiteX3546" fmla="*/ 2990715 w 12188651"/>
              <a:gd name="connsiteY3546" fmla="*/ 873034 h 6858000"/>
              <a:gd name="connsiteX3547" fmla="*/ 3002260 w 12188651"/>
              <a:gd name="connsiteY3547" fmla="*/ 884709 h 6858000"/>
              <a:gd name="connsiteX3548" fmla="*/ 3002266 w 12188651"/>
              <a:gd name="connsiteY3548" fmla="*/ 884703 h 6858000"/>
              <a:gd name="connsiteX3549" fmla="*/ 3002284 w 12188651"/>
              <a:gd name="connsiteY3549" fmla="*/ 884723 h 6858000"/>
              <a:gd name="connsiteX3550" fmla="*/ 3013828 w 12188651"/>
              <a:gd name="connsiteY3550" fmla="*/ 873046 h 6858000"/>
              <a:gd name="connsiteX3551" fmla="*/ 3078300 w 12188651"/>
              <a:gd name="connsiteY3551" fmla="*/ 808316 h 6858000"/>
              <a:gd name="connsiteX3552" fmla="*/ 3106059 w 12188651"/>
              <a:gd name="connsiteY3552" fmla="*/ 796772 h 6858000"/>
              <a:gd name="connsiteX3553" fmla="*/ 3133671 w 12188651"/>
              <a:gd name="connsiteY3553" fmla="*/ 808309 h 6858000"/>
              <a:gd name="connsiteX3554" fmla="*/ 3212143 w 12188651"/>
              <a:gd name="connsiteY3554" fmla="*/ 886914 h 6858000"/>
              <a:gd name="connsiteX3555" fmla="*/ 3223689 w 12188651"/>
              <a:gd name="connsiteY3555" fmla="*/ 914674 h 6858000"/>
              <a:gd name="connsiteX3556" fmla="*/ 3212274 w 12188651"/>
              <a:gd name="connsiteY3556" fmla="*/ 942434 h 6858000"/>
              <a:gd name="connsiteX3557" fmla="*/ 3002266 w 12188651"/>
              <a:gd name="connsiteY3557" fmla="*/ 1152843 h 6858000"/>
              <a:gd name="connsiteX3558" fmla="*/ 2792274 w 12188651"/>
              <a:gd name="connsiteY3558" fmla="*/ 942447 h 6858000"/>
              <a:gd name="connsiteX3559" fmla="*/ 2792274 w 12188651"/>
              <a:gd name="connsiteY3559" fmla="*/ 887057 h 6858000"/>
              <a:gd name="connsiteX3560" fmla="*/ 2870749 w 12188651"/>
              <a:gd name="connsiteY3560" fmla="*/ 808316 h 6858000"/>
              <a:gd name="connsiteX3561" fmla="*/ 2898379 w 12188651"/>
              <a:gd name="connsiteY3561" fmla="*/ 796772 h 6858000"/>
              <a:gd name="connsiteX3562" fmla="*/ 844401 w 12188651"/>
              <a:gd name="connsiteY3562" fmla="*/ 796757 h 6858000"/>
              <a:gd name="connsiteX3563" fmla="*/ 872145 w 12188651"/>
              <a:gd name="connsiteY3563" fmla="*/ 808295 h 6858000"/>
              <a:gd name="connsiteX3564" fmla="*/ 936739 w 12188651"/>
              <a:gd name="connsiteY3564" fmla="*/ 873020 h 6858000"/>
              <a:gd name="connsiteX3565" fmla="*/ 948284 w 12188651"/>
              <a:gd name="connsiteY3565" fmla="*/ 884695 h 6858000"/>
              <a:gd name="connsiteX3566" fmla="*/ 948289 w 12188651"/>
              <a:gd name="connsiteY3566" fmla="*/ 884690 h 6858000"/>
              <a:gd name="connsiteX3567" fmla="*/ 948306 w 12188651"/>
              <a:gd name="connsiteY3567" fmla="*/ 884708 h 6858000"/>
              <a:gd name="connsiteX3568" fmla="*/ 959851 w 12188651"/>
              <a:gd name="connsiteY3568" fmla="*/ 873033 h 6858000"/>
              <a:gd name="connsiteX3569" fmla="*/ 1024320 w 12188651"/>
              <a:gd name="connsiteY3569" fmla="*/ 808302 h 6858000"/>
              <a:gd name="connsiteX3570" fmla="*/ 1052080 w 12188651"/>
              <a:gd name="connsiteY3570" fmla="*/ 796757 h 6858000"/>
              <a:gd name="connsiteX3571" fmla="*/ 1079695 w 12188651"/>
              <a:gd name="connsiteY3571" fmla="*/ 808295 h 6858000"/>
              <a:gd name="connsiteX3572" fmla="*/ 1158166 w 12188651"/>
              <a:gd name="connsiteY3572" fmla="*/ 886900 h 6858000"/>
              <a:gd name="connsiteX3573" fmla="*/ 1169710 w 12188651"/>
              <a:gd name="connsiteY3573" fmla="*/ 914660 h 6858000"/>
              <a:gd name="connsiteX3574" fmla="*/ 1158298 w 12188651"/>
              <a:gd name="connsiteY3574" fmla="*/ 942421 h 6858000"/>
              <a:gd name="connsiteX3575" fmla="*/ 948288 w 12188651"/>
              <a:gd name="connsiteY3575" fmla="*/ 1152829 h 6858000"/>
              <a:gd name="connsiteX3576" fmla="*/ 738294 w 12188651"/>
              <a:gd name="connsiteY3576" fmla="*/ 942434 h 6858000"/>
              <a:gd name="connsiteX3577" fmla="*/ 738294 w 12188651"/>
              <a:gd name="connsiteY3577" fmla="*/ 887043 h 6858000"/>
              <a:gd name="connsiteX3578" fmla="*/ 816772 w 12188651"/>
              <a:gd name="connsiteY3578" fmla="*/ 808302 h 6858000"/>
              <a:gd name="connsiteX3579" fmla="*/ 844401 w 12188651"/>
              <a:gd name="connsiteY3579" fmla="*/ 796757 h 6858000"/>
              <a:gd name="connsiteX3580" fmla="*/ 11113840 w 12188651"/>
              <a:gd name="connsiteY3580" fmla="*/ 780338 h 6858000"/>
              <a:gd name="connsiteX3581" fmla="*/ 11074665 w 12188651"/>
              <a:gd name="connsiteY3581" fmla="*/ 796683 h 6858000"/>
              <a:gd name="connsiteX3582" fmla="*/ 10996186 w 12188651"/>
              <a:gd name="connsiteY3582" fmla="*/ 875425 h 6858000"/>
              <a:gd name="connsiteX3583" fmla="*/ 10979939 w 12188651"/>
              <a:gd name="connsiteY3583" fmla="*/ 914730 h 6858000"/>
              <a:gd name="connsiteX3584" fmla="*/ 10979942 w 12188651"/>
              <a:gd name="connsiteY3584" fmla="*/ 914736 h 6858000"/>
              <a:gd name="connsiteX3585" fmla="*/ 10979939 w 12188651"/>
              <a:gd name="connsiteY3585" fmla="*/ 914744 h 6858000"/>
              <a:gd name="connsiteX3586" fmla="*/ 10996186 w 12188651"/>
              <a:gd name="connsiteY3586" fmla="*/ 954050 h 6858000"/>
              <a:gd name="connsiteX3587" fmla="*/ 11217744 w 12188651"/>
              <a:gd name="connsiteY3587" fmla="*/ 1176145 h 6858000"/>
              <a:gd name="connsiteX3588" fmla="*/ 11439301 w 12188651"/>
              <a:gd name="connsiteY3588" fmla="*/ 954050 h 6858000"/>
              <a:gd name="connsiteX3589" fmla="*/ 11455548 w 12188651"/>
              <a:gd name="connsiteY3589" fmla="*/ 914744 h 6858000"/>
              <a:gd name="connsiteX3590" fmla="*/ 11455545 w 12188651"/>
              <a:gd name="connsiteY3590" fmla="*/ 914736 h 6858000"/>
              <a:gd name="connsiteX3591" fmla="*/ 11455548 w 12188651"/>
              <a:gd name="connsiteY3591" fmla="*/ 914730 h 6858000"/>
              <a:gd name="connsiteX3592" fmla="*/ 11439301 w 12188651"/>
              <a:gd name="connsiteY3592" fmla="*/ 875425 h 6858000"/>
              <a:gd name="connsiteX3593" fmla="*/ 11360822 w 12188651"/>
              <a:gd name="connsiteY3593" fmla="*/ 796812 h 6858000"/>
              <a:gd name="connsiteX3594" fmla="*/ 11321647 w 12188651"/>
              <a:gd name="connsiteY3594" fmla="*/ 780468 h 6858000"/>
              <a:gd name="connsiteX3595" fmla="*/ 11321517 w 12188651"/>
              <a:gd name="connsiteY3595" fmla="*/ 780338 h 6858000"/>
              <a:gd name="connsiteX3596" fmla="*/ 11282213 w 12188651"/>
              <a:gd name="connsiteY3596" fmla="*/ 796812 h 6858000"/>
              <a:gd name="connsiteX3597" fmla="*/ 11217744 w 12188651"/>
              <a:gd name="connsiteY3597" fmla="*/ 861415 h 6858000"/>
              <a:gd name="connsiteX3598" fmla="*/ 11153145 w 12188651"/>
              <a:gd name="connsiteY3598" fmla="*/ 796683 h 6858000"/>
              <a:gd name="connsiteX3599" fmla="*/ 11113840 w 12188651"/>
              <a:gd name="connsiteY3599" fmla="*/ 780338 h 6858000"/>
              <a:gd name="connsiteX3600" fmla="*/ 9059893 w 12188651"/>
              <a:gd name="connsiteY3600" fmla="*/ 780324 h 6858000"/>
              <a:gd name="connsiteX3601" fmla="*/ 9020718 w 12188651"/>
              <a:gd name="connsiteY3601" fmla="*/ 796669 h 6858000"/>
              <a:gd name="connsiteX3602" fmla="*/ 8942239 w 12188651"/>
              <a:gd name="connsiteY3602" fmla="*/ 875411 h 6858000"/>
              <a:gd name="connsiteX3603" fmla="*/ 8925992 w 12188651"/>
              <a:gd name="connsiteY3603" fmla="*/ 914717 h 6858000"/>
              <a:gd name="connsiteX3604" fmla="*/ 8925994 w 12188651"/>
              <a:gd name="connsiteY3604" fmla="*/ 914722 h 6858000"/>
              <a:gd name="connsiteX3605" fmla="*/ 8925991 w 12188651"/>
              <a:gd name="connsiteY3605" fmla="*/ 914730 h 6858000"/>
              <a:gd name="connsiteX3606" fmla="*/ 8942238 w 12188651"/>
              <a:gd name="connsiteY3606" fmla="*/ 954035 h 6858000"/>
              <a:gd name="connsiteX3607" fmla="*/ 9163796 w 12188651"/>
              <a:gd name="connsiteY3607" fmla="*/ 1176130 h 6858000"/>
              <a:gd name="connsiteX3608" fmla="*/ 9385353 w 12188651"/>
              <a:gd name="connsiteY3608" fmla="*/ 954035 h 6858000"/>
              <a:gd name="connsiteX3609" fmla="*/ 9401600 w 12188651"/>
              <a:gd name="connsiteY3609" fmla="*/ 914730 h 6858000"/>
              <a:gd name="connsiteX3610" fmla="*/ 9401598 w 12188651"/>
              <a:gd name="connsiteY3610" fmla="*/ 914725 h 6858000"/>
              <a:gd name="connsiteX3611" fmla="*/ 9401601 w 12188651"/>
              <a:gd name="connsiteY3611" fmla="*/ 914717 h 6858000"/>
              <a:gd name="connsiteX3612" fmla="*/ 9385354 w 12188651"/>
              <a:gd name="connsiteY3612" fmla="*/ 875411 h 6858000"/>
              <a:gd name="connsiteX3613" fmla="*/ 9306876 w 12188651"/>
              <a:gd name="connsiteY3613" fmla="*/ 796800 h 6858000"/>
              <a:gd name="connsiteX3614" fmla="*/ 9267701 w 12188651"/>
              <a:gd name="connsiteY3614" fmla="*/ 780454 h 6858000"/>
              <a:gd name="connsiteX3615" fmla="*/ 9267571 w 12188651"/>
              <a:gd name="connsiteY3615" fmla="*/ 780324 h 6858000"/>
              <a:gd name="connsiteX3616" fmla="*/ 9228266 w 12188651"/>
              <a:gd name="connsiteY3616" fmla="*/ 796800 h 6858000"/>
              <a:gd name="connsiteX3617" fmla="*/ 9163797 w 12188651"/>
              <a:gd name="connsiteY3617" fmla="*/ 861401 h 6858000"/>
              <a:gd name="connsiteX3618" fmla="*/ 9099198 w 12188651"/>
              <a:gd name="connsiteY3618" fmla="*/ 796669 h 6858000"/>
              <a:gd name="connsiteX3619" fmla="*/ 9059893 w 12188651"/>
              <a:gd name="connsiteY3619" fmla="*/ 780324 h 6858000"/>
              <a:gd name="connsiteX3620" fmla="*/ 7006076 w 12188651"/>
              <a:gd name="connsiteY3620" fmla="*/ 780310 h 6858000"/>
              <a:gd name="connsiteX3621" fmla="*/ 6966901 w 12188651"/>
              <a:gd name="connsiteY3621" fmla="*/ 796656 h 6858000"/>
              <a:gd name="connsiteX3622" fmla="*/ 6888421 w 12188651"/>
              <a:gd name="connsiteY3622" fmla="*/ 875397 h 6858000"/>
              <a:gd name="connsiteX3623" fmla="*/ 6872174 w 12188651"/>
              <a:gd name="connsiteY3623" fmla="*/ 914703 h 6858000"/>
              <a:gd name="connsiteX3624" fmla="*/ 6872176 w 12188651"/>
              <a:gd name="connsiteY3624" fmla="*/ 914710 h 6858000"/>
              <a:gd name="connsiteX3625" fmla="*/ 6872174 w 12188651"/>
              <a:gd name="connsiteY3625" fmla="*/ 914717 h 6858000"/>
              <a:gd name="connsiteX3626" fmla="*/ 6888421 w 12188651"/>
              <a:gd name="connsiteY3626" fmla="*/ 954021 h 6858000"/>
              <a:gd name="connsiteX3627" fmla="*/ 7109978 w 12188651"/>
              <a:gd name="connsiteY3627" fmla="*/ 1176113 h 6858000"/>
              <a:gd name="connsiteX3628" fmla="*/ 7331537 w 12188651"/>
              <a:gd name="connsiteY3628" fmla="*/ 954021 h 6858000"/>
              <a:gd name="connsiteX3629" fmla="*/ 7347783 w 12188651"/>
              <a:gd name="connsiteY3629" fmla="*/ 914717 h 6858000"/>
              <a:gd name="connsiteX3630" fmla="*/ 7347780 w 12188651"/>
              <a:gd name="connsiteY3630" fmla="*/ 914710 h 6858000"/>
              <a:gd name="connsiteX3631" fmla="*/ 7347783 w 12188651"/>
              <a:gd name="connsiteY3631" fmla="*/ 914703 h 6858000"/>
              <a:gd name="connsiteX3632" fmla="*/ 7331537 w 12188651"/>
              <a:gd name="connsiteY3632" fmla="*/ 875397 h 6858000"/>
              <a:gd name="connsiteX3633" fmla="*/ 7253057 w 12188651"/>
              <a:gd name="connsiteY3633" fmla="*/ 796785 h 6858000"/>
              <a:gd name="connsiteX3634" fmla="*/ 7213882 w 12188651"/>
              <a:gd name="connsiteY3634" fmla="*/ 780440 h 6858000"/>
              <a:gd name="connsiteX3635" fmla="*/ 7213751 w 12188651"/>
              <a:gd name="connsiteY3635" fmla="*/ 780310 h 6858000"/>
              <a:gd name="connsiteX3636" fmla="*/ 7174449 w 12188651"/>
              <a:gd name="connsiteY3636" fmla="*/ 796785 h 6858000"/>
              <a:gd name="connsiteX3637" fmla="*/ 7109978 w 12188651"/>
              <a:gd name="connsiteY3637" fmla="*/ 861387 h 6858000"/>
              <a:gd name="connsiteX3638" fmla="*/ 7045379 w 12188651"/>
              <a:gd name="connsiteY3638" fmla="*/ 796656 h 6858000"/>
              <a:gd name="connsiteX3639" fmla="*/ 7006076 w 12188651"/>
              <a:gd name="connsiteY3639" fmla="*/ 780310 h 6858000"/>
              <a:gd name="connsiteX3640" fmla="*/ 4952154 w 12188651"/>
              <a:gd name="connsiteY3640" fmla="*/ 780296 h 6858000"/>
              <a:gd name="connsiteX3641" fmla="*/ 4912973 w 12188651"/>
              <a:gd name="connsiteY3641" fmla="*/ 796641 h 6858000"/>
              <a:gd name="connsiteX3642" fmla="*/ 4834497 w 12188651"/>
              <a:gd name="connsiteY3642" fmla="*/ 875382 h 6858000"/>
              <a:gd name="connsiteX3643" fmla="*/ 4834497 w 12188651"/>
              <a:gd name="connsiteY3643" fmla="*/ 953994 h 6858000"/>
              <a:gd name="connsiteX3644" fmla="*/ 4834505 w 12188651"/>
              <a:gd name="connsiteY3644" fmla="*/ 954001 h 6858000"/>
              <a:gd name="connsiteX3645" fmla="*/ 4834511 w 12188651"/>
              <a:gd name="connsiteY3645" fmla="*/ 954008 h 6858000"/>
              <a:gd name="connsiteX3646" fmla="*/ 4925572 w 12188651"/>
              <a:gd name="connsiteY3646" fmla="*/ 1045292 h 6858000"/>
              <a:gd name="connsiteX3647" fmla="*/ 5056083 w 12188651"/>
              <a:gd name="connsiteY3647" fmla="*/ 1176084 h 6858000"/>
              <a:gd name="connsiteX3648" fmla="*/ 5056083 w 12188651"/>
              <a:gd name="connsiteY3648" fmla="*/ 1176081 h 6858000"/>
              <a:gd name="connsiteX3649" fmla="*/ 5056096 w 12188651"/>
              <a:gd name="connsiteY3649" fmla="*/ 1176099 h 6858000"/>
              <a:gd name="connsiteX3650" fmla="*/ 5277619 w 12188651"/>
              <a:gd name="connsiteY3650" fmla="*/ 954008 h 6858000"/>
              <a:gd name="connsiteX3651" fmla="*/ 5277619 w 12188651"/>
              <a:gd name="connsiteY3651" fmla="*/ 875395 h 6858000"/>
              <a:gd name="connsiteX3652" fmla="*/ 5277613 w 12188651"/>
              <a:gd name="connsiteY3652" fmla="*/ 875386 h 6858000"/>
              <a:gd name="connsiteX3653" fmla="*/ 5277613 w 12188651"/>
              <a:gd name="connsiteY3653" fmla="*/ 875382 h 6858000"/>
              <a:gd name="connsiteX3654" fmla="*/ 5199129 w 12188651"/>
              <a:gd name="connsiteY3654" fmla="*/ 796772 h 6858000"/>
              <a:gd name="connsiteX3655" fmla="*/ 5159958 w 12188651"/>
              <a:gd name="connsiteY3655" fmla="*/ 780426 h 6858000"/>
              <a:gd name="connsiteX3656" fmla="*/ 5159834 w 12188651"/>
              <a:gd name="connsiteY3656" fmla="*/ 780296 h 6858000"/>
              <a:gd name="connsiteX3657" fmla="*/ 5120536 w 12188651"/>
              <a:gd name="connsiteY3657" fmla="*/ 796772 h 6858000"/>
              <a:gd name="connsiteX3658" fmla="*/ 5056083 w 12188651"/>
              <a:gd name="connsiteY3658" fmla="*/ 861369 h 6858000"/>
              <a:gd name="connsiteX3659" fmla="*/ 5001140 w 12188651"/>
              <a:gd name="connsiteY3659" fmla="*/ 806336 h 6858000"/>
              <a:gd name="connsiteX3660" fmla="*/ 4991465 w 12188651"/>
              <a:gd name="connsiteY3660" fmla="*/ 796641 h 6858000"/>
              <a:gd name="connsiteX3661" fmla="*/ 4952154 w 12188651"/>
              <a:gd name="connsiteY3661" fmla="*/ 780296 h 6858000"/>
              <a:gd name="connsiteX3662" fmla="*/ 2898359 w 12188651"/>
              <a:gd name="connsiteY3662" fmla="*/ 780282 h 6858000"/>
              <a:gd name="connsiteX3663" fmla="*/ 2859182 w 12188651"/>
              <a:gd name="connsiteY3663" fmla="*/ 796627 h 6858000"/>
              <a:gd name="connsiteX3664" fmla="*/ 2780702 w 12188651"/>
              <a:gd name="connsiteY3664" fmla="*/ 875369 h 6858000"/>
              <a:gd name="connsiteX3665" fmla="*/ 2780702 w 12188651"/>
              <a:gd name="connsiteY3665" fmla="*/ 953981 h 6858000"/>
              <a:gd name="connsiteX3666" fmla="*/ 3002260 w 12188651"/>
              <a:gd name="connsiteY3666" fmla="*/ 1176068 h 6858000"/>
              <a:gd name="connsiteX3667" fmla="*/ 3002266 w 12188651"/>
              <a:gd name="connsiteY3667" fmla="*/ 1176063 h 6858000"/>
              <a:gd name="connsiteX3668" fmla="*/ 3002284 w 12188651"/>
              <a:gd name="connsiteY3668" fmla="*/ 1176082 h 6858000"/>
              <a:gd name="connsiteX3669" fmla="*/ 3223843 w 12188651"/>
              <a:gd name="connsiteY3669" fmla="*/ 953994 h 6858000"/>
              <a:gd name="connsiteX3670" fmla="*/ 3223843 w 12188651"/>
              <a:gd name="connsiteY3670" fmla="*/ 875382 h 6858000"/>
              <a:gd name="connsiteX3671" fmla="*/ 3145363 w 12188651"/>
              <a:gd name="connsiteY3671" fmla="*/ 796772 h 6858000"/>
              <a:gd name="connsiteX3672" fmla="*/ 3126992 w 12188651"/>
              <a:gd name="connsiteY3672" fmla="*/ 784512 h 6858000"/>
              <a:gd name="connsiteX3673" fmla="*/ 3126986 w 12188651"/>
              <a:gd name="connsiteY3673" fmla="*/ 784511 h 6858000"/>
              <a:gd name="connsiteX3674" fmla="*/ 3126967 w 12188651"/>
              <a:gd name="connsiteY3674" fmla="*/ 784499 h 6858000"/>
              <a:gd name="connsiteX3675" fmla="*/ 3106177 w 12188651"/>
              <a:gd name="connsiteY3675" fmla="*/ 780415 h 6858000"/>
              <a:gd name="connsiteX3676" fmla="*/ 3106059 w 12188651"/>
              <a:gd name="connsiteY3676" fmla="*/ 780295 h 6858000"/>
              <a:gd name="connsiteX3677" fmla="*/ 3106051 w 12188651"/>
              <a:gd name="connsiteY3677" fmla="*/ 780298 h 6858000"/>
              <a:gd name="connsiteX3678" fmla="*/ 3106034 w 12188651"/>
              <a:gd name="connsiteY3678" fmla="*/ 780282 h 6858000"/>
              <a:gd name="connsiteX3679" fmla="*/ 3066731 w 12188651"/>
              <a:gd name="connsiteY3679" fmla="*/ 796757 h 6858000"/>
              <a:gd name="connsiteX3680" fmla="*/ 3002266 w 12188651"/>
              <a:gd name="connsiteY3680" fmla="*/ 861353 h 6858000"/>
              <a:gd name="connsiteX3681" fmla="*/ 2937685 w 12188651"/>
              <a:gd name="connsiteY3681" fmla="*/ 796641 h 6858000"/>
              <a:gd name="connsiteX3682" fmla="*/ 2919300 w 12188651"/>
              <a:gd name="connsiteY3682" fmla="*/ 784382 h 6858000"/>
              <a:gd name="connsiteX3683" fmla="*/ 2919293 w 12188651"/>
              <a:gd name="connsiteY3683" fmla="*/ 784381 h 6858000"/>
              <a:gd name="connsiteX3684" fmla="*/ 2919273 w 12188651"/>
              <a:gd name="connsiteY3684" fmla="*/ 784369 h 6858000"/>
              <a:gd name="connsiteX3685" fmla="*/ 2898359 w 12188651"/>
              <a:gd name="connsiteY3685" fmla="*/ 780282 h 6858000"/>
              <a:gd name="connsiteX3686" fmla="*/ 844379 w 12188651"/>
              <a:gd name="connsiteY3686" fmla="*/ 780268 h 6858000"/>
              <a:gd name="connsiteX3687" fmla="*/ 805206 w 12188651"/>
              <a:gd name="connsiteY3687" fmla="*/ 796613 h 6858000"/>
              <a:gd name="connsiteX3688" fmla="*/ 726726 w 12188651"/>
              <a:gd name="connsiteY3688" fmla="*/ 875355 h 6858000"/>
              <a:gd name="connsiteX3689" fmla="*/ 726726 w 12188651"/>
              <a:gd name="connsiteY3689" fmla="*/ 953966 h 6858000"/>
              <a:gd name="connsiteX3690" fmla="*/ 948284 w 12188651"/>
              <a:gd name="connsiteY3690" fmla="*/ 1176053 h 6858000"/>
              <a:gd name="connsiteX3691" fmla="*/ 948288 w 12188651"/>
              <a:gd name="connsiteY3691" fmla="*/ 1176048 h 6858000"/>
              <a:gd name="connsiteX3692" fmla="*/ 948306 w 12188651"/>
              <a:gd name="connsiteY3692" fmla="*/ 1176067 h 6858000"/>
              <a:gd name="connsiteX3693" fmla="*/ 1169863 w 12188651"/>
              <a:gd name="connsiteY3693" fmla="*/ 953980 h 6858000"/>
              <a:gd name="connsiteX3694" fmla="*/ 1169863 w 12188651"/>
              <a:gd name="connsiteY3694" fmla="*/ 875369 h 6858000"/>
              <a:gd name="connsiteX3695" fmla="*/ 1091384 w 12188651"/>
              <a:gd name="connsiteY3695" fmla="*/ 796757 h 6858000"/>
              <a:gd name="connsiteX3696" fmla="*/ 1073012 w 12188651"/>
              <a:gd name="connsiteY3696" fmla="*/ 784498 h 6858000"/>
              <a:gd name="connsiteX3697" fmla="*/ 1073010 w 12188651"/>
              <a:gd name="connsiteY3697" fmla="*/ 784497 h 6858000"/>
              <a:gd name="connsiteX3698" fmla="*/ 1072991 w 12188651"/>
              <a:gd name="connsiteY3698" fmla="*/ 784484 h 6858000"/>
              <a:gd name="connsiteX3699" fmla="*/ 1052198 w 12188651"/>
              <a:gd name="connsiteY3699" fmla="*/ 780401 h 6858000"/>
              <a:gd name="connsiteX3700" fmla="*/ 1052080 w 12188651"/>
              <a:gd name="connsiteY3700" fmla="*/ 780282 h 6858000"/>
              <a:gd name="connsiteX3701" fmla="*/ 1052072 w 12188651"/>
              <a:gd name="connsiteY3701" fmla="*/ 780283 h 6858000"/>
              <a:gd name="connsiteX3702" fmla="*/ 1052057 w 12188651"/>
              <a:gd name="connsiteY3702" fmla="*/ 780268 h 6858000"/>
              <a:gd name="connsiteX3703" fmla="*/ 1012754 w 12188651"/>
              <a:gd name="connsiteY3703" fmla="*/ 796743 h 6858000"/>
              <a:gd name="connsiteX3704" fmla="*/ 948290 w 12188651"/>
              <a:gd name="connsiteY3704" fmla="*/ 861340 h 6858000"/>
              <a:gd name="connsiteX3705" fmla="*/ 883707 w 12188651"/>
              <a:gd name="connsiteY3705" fmla="*/ 796627 h 6858000"/>
              <a:gd name="connsiteX3706" fmla="*/ 865320 w 12188651"/>
              <a:gd name="connsiteY3706" fmla="*/ 784368 h 6858000"/>
              <a:gd name="connsiteX3707" fmla="*/ 865315 w 12188651"/>
              <a:gd name="connsiteY3707" fmla="*/ 784367 h 6858000"/>
              <a:gd name="connsiteX3708" fmla="*/ 865296 w 12188651"/>
              <a:gd name="connsiteY3708" fmla="*/ 784354 h 6858000"/>
              <a:gd name="connsiteX3709" fmla="*/ 844379 w 12188651"/>
              <a:gd name="connsiteY3709" fmla="*/ 780268 h 6858000"/>
              <a:gd name="connsiteX3710" fmla="*/ 11910826 w 12188651"/>
              <a:gd name="connsiteY3710" fmla="*/ 569816 h 6858000"/>
              <a:gd name="connsiteX3711" fmla="*/ 12188651 w 12188651"/>
              <a:gd name="connsiteY3711" fmla="*/ 730603 h 6858000"/>
              <a:gd name="connsiteX3712" fmla="*/ 12188651 w 12188651"/>
              <a:gd name="connsiteY3712" fmla="*/ 1107455 h 6858000"/>
              <a:gd name="connsiteX3713" fmla="*/ 11910826 w 12188651"/>
              <a:gd name="connsiteY3713" fmla="*/ 946654 h 6858000"/>
              <a:gd name="connsiteX3714" fmla="*/ 11894481 w 12188651"/>
              <a:gd name="connsiteY3714" fmla="*/ 569816 h 6858000"/>
              <a:gd name="connsiteX3715" fmla="*/ 11894481 w 12188651"/>
              <a:gd name="connsiteY3715" fmla="*/ 946654 h 6858000"/>
              <a:gd name="connsiteX3716" fmla="*/ 11568890 w 12188651"/>
              <a:gd name="connsiteY3716" fmla="*/ 1135023 h 6858000"/>
              <a:gd name="connsiteX3717" fmla="*/ 11568890 w 12188651"/>
              <a:gd name="connsiteY3717" fmla="*/ 758171 h 6858000"/>
              <a:gd name="connsiteX3718" fmla="*/ 9857006 w 12188651"/>
              <a:gd name="connsiteY3718" fmla="*/ 569803 h 6858000"/>
              <a:gd name="connsiteX3719" fmla="*/ 10182468 w 12188651"/>
              <a:gd name="connsiteY3719" fmla="*/ 758157 h 6858000"/>
              <a:gd name="connsiteX3720" fmla="*/ 10182468 w 12188651"/>
              <a:gd name="connsiteY3720" fmla="*/ 1135005 h 6858000"/>
              <a:gd name="connsiteX3721" fmla="*/ 9857006 w 12188651"/>
              <a:gd name="connsiteY3721" fmla="*/ 946640 h 6858000"/>
              <a:gd name="connsiteX3722" fmla="*/ 9840661 w 12188651"/>
              <a:gd name="connsiteY3722" fmla="*/ 569803 h 6858000"/>
              <a:gd name="connsiteX3723" fmla="*/ 9840661 w 12188651"/>
              <a:gd name="connsiteY3723" fmla="*/ 946640 h 6858000"/>
              <a:gd name="connsiteX3724" fmla="*/ 9515070 w 12188651"/>
              <a:gd name="connsiteY3724" fmla="*/ 1135005 h 6858000"/>
              <a:gd name="connsiteX3725" fmla="*/ 9515070 w 12188651"/>
              <a:gd name="connsiteY3725" fmla="*/ 758157 h 6858000"/>
              <a:gd name="connsiteX3726" fmla="*/ 7803060 w 12188651"/>
              <a:gd name="connsiteY3726" fmla="*/ 569788 h 6858000"/>
              <a:gd name="connsiteX3727" fmla="*/ 8128521 w 12188651"/>
              <a:gd name="connsiteY3727" fmla="*/ 758143 h 6858000"/>
              <a:gd name="connsiteX3728" fmla="*/ 8128521 w 12188651"/>
              <a:gd name="connsiteY3728" fmla="*/ 1134990 h 6858000"/>
              <a:gd name="connsiteX3729" fmla="*/ 7803060 w 12188651"/>
              <a:gd name="connsiteY3729" fmla="*/ 946626 h 6858000"/>
              <a:gd name="connsiteX3730" fmla="*/ 7786715 w 12188651"/>
              <a:gd name="connsiteY3730" fmla="*/ 569788 h 6858000"/>
              <a:gd name="connsiteX3731" fmla="*/ 7786715 w 12188651"/>
              <a:gd name="connsiteY3731" fmla="*/ 946626 h 6858000"/>
              <a:gd name="connsiteX3732" fmla="*/ 7461125 w 12188651"/>
              <a:gd name="connsiteY3732" fmla="*/ 1134990 h 6858000"/>
              <a:gd name="connsiteX3733" fmla="*/ 7461125 w 12188651"/>
              <a:gd name="connsiteY3733" fmla="*/ 758143 h 6858000"/>
              <a:gd name="connsiteX3734" fmla="*/ 5749267 w 12188651"/>
              <a:gd name="connsiteY3734" fmla="*/ 569774 h 6858000"/>
              <a:gd name="connsiteX3735" fmla="*/ 6074705 w 12188651"/>
              <a:gd name="connsiteY3735" fmla="*/ 758130 h 6858000"/>
              <a:gd name="connsiteX3736" fmla="*/ 6074705 w 12188651"/>
              <a:gd name="connsiteY3736" fmla="*/ 1134975 h 6858000"/>
              <a:gd name="connsiteX3737" fmla="*/ 5749267 w 12188651"/>
              <a:gd name="connsiteY3737" fmla="*/ 946613 h 6858000"/>
              <a:gd name="connsiteX3738" fmla="*/ 5732923 w 12188651"/>
              <a:gd name="connsiteY3738" fmla="*/ 569774 h 6858000"/>
              <a:gd name="connsiteX3739" fmla="*/ 5732923 w 12188651"/>
              <a:gd name="connsiteY3739" fmla="*/ 946611 h 6858000"/>
              <a:gd name="connsiteX3740" fmla="*/ 5407356 w 12188651"/>
              <a:gd name="connsiteY3740" fmla="*/ 1134972 h 6858000"/>
              <a:gd name="connsiteX3741" fmla="*/ 5407356 w 12188651"/>
              <a:gd name="connsiteY3741" fmla="*/ 758130 h 6858000"/>
              <a:gd name="connsiteX3742" fmla="*/ 3679146 w 12188651"/>
              <a:gd name="connsiteY3742" fmla="*/ 569764 h 6858000"/>
              <a:gd name="connsiteX3743" fmla="*/ 3679146 w 12188651"/>
              <a:gd name="connsiteY3743" fmla="*/ 946598 h 6858000"/>
              <a:gd name="connsiteX3744" fmla="*/ 3353565 w 12188651"/>
              <a:gd name="connsiteY3744" fmla="*/ 1134955 h 6858000"/>
              <a:gd name="connsiteX3745" fmla="*/ 3353565 w 12188651"/>
              <a:gd name="connsiteY3745" fmla="*/ 758117 h 6858000"/>
              <a:gd name="connsiteX3746" fmla="*/ 3695498 w 12188651"/>
              <a:gd name="connsiteY3746" fmla="*/ 569759 h 6858000"/>
              <a:gd name="connsiteX3747" fmla="*/ 4020947 w 12188651"/>
              <a:gd name="connsiteY3747" fmla="*/ 758112 h 6858000"/>
              <a:gd name="connsiteX3748" fmla="*/ 4020947 w 12188651"/>
              <a:gd name="connsiteY3748" fmla="*/ 1134957 h 6858000"/>
              <a:gd name="connsiteX3749" fmla="*/ 3695498 w 12188651"/>
              <a:gd name="connsiteY3749" fmla="*/ 946601 h 6858000"/>
              <a:gd name="connsiteX3750" fmla="*/ 1625167 w 12188651"/>
              <a:gd name="connsiteY3750" fmla="*/ 569748 h 6858000"/>
              <a:gd name="connsiteX3751" fmla="*/ 1625167 w 12188651"/>
              <a:gd name="connsiteY3751" fmla="*/ 946584 h 6858000"/>
              <a:gd name="connsiteX3752" fmla="*/ 1299584 w 12188651"/>
              <a:gd name="connsiteY3752" fmla="*/ 1134940 h 6858000"/>
              <a:gd name="connsiteX3753" fmla="*/ 1299584 w 12188651"/>
              <a:gd name="connsiteY3753" fmla="*/ 758102 h 6858000"/>
              <a:gd name="connsiteX3754" fmla="*/ 1641516 w 12188651"/>
              <a:gd name="connsiteY3754" fmla="*/ 569745 h 6858000"/>
              <a:gd name="connsiteX3755" fmla="*/ 1966972 w 12188651"/>
              <a:gd name="connsiteY3755" fmla="*/ 758098 h 6858000"/>
              <a:gd name="connsiteX3756" fmla="*/ 1966972 w 12188651"/>
              <a:gd name="connsiteY3756" fmla="*/ 1134943 h 6858000"/>
              <a:gd name="connsiteX3757" fmla="*/ 1641516 w 12188651"/>
              <a:gd name="connsiteY3757" fmla="*/ 946587 h 6858000"/>
              <a:gd name="connsiteX3758" fmla="*/ 10532576 w 12188651"/>
              <a:gd name="connsiteY3758" fmla="*/ 565003 h 6858000"/>
              <a:gd name="connsiteX3759" fmla="*/ 10866339 w 12188651"/>
              <a:gd name="connsiteY3759" fmla="*/ 758157 h 6858000"/>
              <a:gd name="connsiteX3760" fmla="*/ 10866339 w 12188651"/>
              <a:gd name="connsiteY3760" fmla="*/ 1144474 h 6858000"/>
              <a:gd name="connsiteX3761" fmla="*/ 10532706 w 12188651"/>
              <a:gd name="connsiteY3761" fmla="*/ 1337629 h 6858000"/>
              <a:gd name="connsiteX3762" fmla="*/ 10198941 w 12188651"/>
              <a:gd name="connsiteY3762" fmla="*/ 1144474 h 6858000"/>
              <a:gd name="connsiteX3763" fmla="*/ 10198941 w 12188651"/>
              <a:gd name="connsiteY3763" fmla="*/ 758157 h 6858000"/>
              <a:gd name="connsiteX3764" fmla="*/ 8478628 w 12188651"/>
              <a:gd name="connsiteY3764" fmla="*/ 564988 h 6858000"/>
              <a:gd name="connsiteX3765" fmla="*/ 8812392 w 12188651"/>
              <a:gd name="connsiteY3765" fmla="*/ 758143 h 6858000"/>
              <a:gd name="connsiteX3766" fmla="*/ 8812392 w 12188651"/>
              <a:gd name="connsiteY3766" fmla="*/ 1144459 h 6858000"/>
              <a:gd name="connsiteX3767" fmla="*/ 8478758 w 12188651"/>
              <a:gd name="connsiteY3767" fmla="*/ 1337616 h 6858000"/>
              <a:gd name="connsiteX3768" fmla="*/ 8144995 w 12188651"/>
              <a:gd name="connsiteY3768" fmla="*/ 1144459 h 6858000"/>
              <a:gd name="connsiteX3769" fmla="*/ 8144995 w 12188651"/>
              <a:gd name="connsiteY3769" fmla="*/ 758143 h 6858000"/>
              <a:gd name="connsiteX3770" fmla="*/ 6424810 w 12188651"/>
              <a:gd name="connsiteY3770" fmla="*/ 564974 h 6858000"/>
              <a:gd name="connsiteX3771" fmla="*/ 6758573 w 12188651"/>
              <a:gd name="connsiteY3771" fmla="*/ 758130 h 6858000"/>
              <a:gd name="connsiteX3772" fmla="*/ 6758573 w 12188651"/>
              <a:gd name="connsiteY3772" fmla="*/ 1144443 h 6858000"/>
              <a:gd name="connsiteX3773" fmla="*/ 6424940 w 12188651"/>
              <a:gd name="connsiteY3773" fmla="*/ 1337600 h 6858000"/>
              <a:gd name="connsiteX3774" fmla="*/ 6091179 w 12188651"/>
              <a:gd name="connsiteY3774" fmla="*/ 1144443 h 6858000"/>
              <a:gd name="connsiteX3775" fmla="*/ 6091179 w 12188651"/>
              <a:gd name="connsiteY3775" fmla="*/ 758130 h 6858000"/>
              <a:gd name="connsiteX3776" fmla="*/ 4371020 w 12188651"/>
              <a:gd name="connsiteY3776" fmla="*/ 564960 h 6858000"/>
              <a:gd name="connsiteX3777" fmla="*/ 4704777 w 12188651"/>
              <a:gd name="connsiteY3777" fmla="*/ 758114 h 6858000"/>
              <a:gd name="connsiteX3778" fmla="*/ 4704777 w 12188651"/>
              <a:gd name="connsiteY3778" fmla="*/ 1144429 h 6858000"/>
              <a:gd name="connsiteX3779" fmla="*/ 4371146 w 12188651"/>
              <a:gd name="connsiteY3779" fmla="*/ 1337586 h 6858000"/>
              <a:gd name="connsiteX3780" fmla="*/ 4203813 w 12188651"/>
              <a:gd name="connsiteY3780" fmla="*/ 1240748 h 6858000"/>
              <a:gd name="connsiteX3781" fmla="*/ 4037427 w 12188651"/>
              <a:gd name="connsiteY3781" fmla="*/ 1144432 h 6858000"/>
              <a:gd name="connsiteX3782" fmla="*/ 4037427 w 12188651"/>
              <a:gd name="connsiteY3782" fmla="*/ 758117 h 6858000"/>
              <a:gd name="connsiteX3783" fmla="*/ 2317096 w 12188651"/>
              <a:gd name="connsiteY3783" fmla="*/ 564946 h 6858000"/>
              <a:gd name="connsiteX3784" fmla="*/ 2650849 w 12188651"/>
              <a:gd name="connsiteY3784" fmla="*/ 758098 h 6858000"/>
              <a:gd name="connsiteX3785" fmla="*/ 2650849 w 12188651"/>
              <a:gd name="connsiteY3785" fmla="*/ 1144413 h 6858000"/>
              <a:gd name="connsiteX3786" fmla="*/ 2317220 w 12188651"/>
              <a:gd name="connsiteY3786" fmla="*/ 1337570 h 6858000"/>
              <a:gd name="connsiteX3787" fmla="*/ 1983454 w 12188651"/>
              <a:gd name="connsiteY3787" fmla="*/ 1144417 h 6858000"/>
              <a:gd name="connsiteX3788" fmla="*/ 1983454 w 12188651"/>
              <a:gd name="connsiteY3788" fmla="*/ 758102 h 6858000"/>
              <a:gd name="connsiteX3789" fmla="*/ 263248 w 12188651"/>
              <a:gd name="connsiteY3789" fmla="*/ 564931 h 6858000"/>
              <a:gd name="connsiteX3790" fmla="*/ 597003 w 12188651"/>
              <a:gd name="connsiteY3790" fmla="*/ 758084 h 6858000"/>
              <a:gd name="connsiteX3791" fmla="*/ 597003 w 12188651"/>
              <a:gd name="connsiteY3791" fmla="*/ 1144398 h 6858000"/>
              <a:gd name="connsiteX3792" fmla="*/ 263372 w 12188651"/>
              <a:gd name="connsiteY3792" fmla="*/ 1337554 h 6858000"/>
              <a:gd name="connsiteX3793" fmla="*/ 0 w 12188651"/>
              <a:gd name="connsiteY3793" fmla="*/ 1185135 h 6858000"/>
              <a:gd name="connsiteX3794" fmla="*/ 0 w 12188651"/>
              <a:gd name="connsiteY3794" fmla="*/ 717338 h 6858000"/>
              <a:gd name="connsiteX3795" fmla="*/ 11217614 w 12188651"/>
              <a:gd name="connsiteY3795" fmla="*/ 564628 h 6858000"/>
              <a:gd name="connsiteX3796" fmla="*/ 11551377 w 12188651"/>
              <a:gd name="connsiteY3796" fmla="*/ 757782 h 6858000"/>
              <a:gd name="connsiteX3797" fmla="*/ 11551377 w 12188651"/>
              <a:gd name="connsiteY3797" fmla="*/ 1143957 h 6858000"/>
              <a:gd name="connsiteX3798" fmla="*/ 11217614 w 12188651"/>
              <a:gd name="connsiteY3798" fmla="*/ 1337111 h 6858000"/>
              <a:gd name="connsiteX3799" fmla="*/ 10883851 w 12188651"/>
              <a:gd name="connsiteY3799" fmla="*/ 1143959 h 6858000"/>
              <a:gd name="connsiteX3800" fmla="*/ 10883851 w 12188651"/>
              <a:gd name="connsiteY3800" fmla="*/ 757782 h 6858000"/>
              <a:gd name="connsiteX3801" fmla="*/ 9163666 w 12188651"/>
              <a:gd name="connsiteY3801" fmla="*/ 564614 h 6858000"/>
              <a:gd name="connsiteX3802" fmla="*/ 9497429 w 12188651"/>
              <a:gd name="connsiteY3802" fmla="*/ 757768 h 6858000"/>
              <a:gd name="connsiteX3803" fmla="*/ 9497429 w 12188651"/>
              <a:gd name="connsiteY3803" fmla="*/ 1143944 h 6858000"/>
              <a:gd name="connsiteX3804" fmla="*/ 9163666 w 12188651"/>
              <a:gd name="connsiteY3804" fmla="*/ 1337098 h 6858000"/>
              <a:gd name="connsiteX3805" fmla="*/ 8829903 w 12188651"/>
              <a:gd name="connsiteY3805" fmla="*/ 1143941 h 6858000"/>
              <a:gd name="connsiteX3806" fmla="*/ 8829903 w 12188651"/>
              <a:gd name="connsiteY3806" fmla="*/ 757768 h 6858000"/>
              <a:gd name="connsiteX3807" fmla="*/ 7109850 w 12188651"/>
              <a:gd name="connsiteY3807" fmla="*/ 564599 h 6858000"/>
              <a:gd name="connsiteX3808" fmla="*/ 7443613 w 12188651"/>
              <a:gd name="connsiteY3808" fmla="*/ 757755 h 6858000"/>
              <a:gd name="connsiteX3809" fmla="*/ 7443613 w 12188651"/>
              <a:gd name="connsiteY3809" fmla="*/ 1143928 h 6858000"/>
              <a:gd name="connsiteX3810" fmla="*/ 7109850 w 12188651"/>
              <a:gd name="connsiteY3810" fmla="*/ 1337082 h 6858000"/>
              <a:gd name="connsiteX3811" fmla="*/ 6776085 w 12188651"/>
              <a:gd name="connsiteY3811" fmla="*/ 1143928 h 6858000"/>
              <a:gd name="connsiteX3812" fmla="*/ 6776085 w 12188651"/>
              <a:gd name="connsiteY3812" fmla="*/ 757755 h 6858000"/>
              <a:gd name="connsiteX3813" fmla="*/ 5055971 w 12188651"/>
              <a:gd name="connsiteY3813" fmla="*/ 564585 h 6858000"/>
              <a:gd name="connsiteX3814" fmla="*/ 5143887 w 12188651"/>
              <a:gd name="connsiteY3814" fmla="*/ 615477 h 6858000"/>
              <a:gd name="connsiteX3815" fmla="*/ 5389701 w 12188651"/>
              <a:gd name="connsiteY3815" fmla="*/ 757730 h 6858000"/>
              <a:gd name="connsiteX3816" fmla="*/ 5389701 w 12188651"/>
              <a:gd name="connsiteY3816" fmla="*/ 1143911 h 6858000"/>
              <a:gd name="connsiteX3817" fmla="*/ 5055949 w 12188651"/>
              <a:gd name="connsiteY3817" fmla="*/ 1337066 h 6858000"/>
              <a:gd name="connsiteX3818" fmla="*/ 4722183 w 12188651"/>
              <a:gd name="connsiteY3818" fmla="*/ 1143920 h 6858000"/>
              <a:gd name="connsiteX3819" fmla="*/ 4722183 w 12188651"/>
              <a:gd name="connsiteY3819" fmla="*/ 757740 h 6858000"/>
              <a:gd name="connsiteX3820" fmla="*/ 3002159 w 12188651"/>
              <a:gd name="connsiteY3820" fmla="*/ 564571 h 6858000"/>
              <a:gd name="connsiteX3821" fmla="*/ 3016027 w 12188651"/>
              <a:gd name="connsiteY3821" fmla="*/ 572597 h 6858000"/>
              <a:gd name="connsiteX3822" fmla="*/ 3335897 w 12188651"/>
              <a:gd name="connsiteY3822" fmla="*/ 757711 h 6858000"/>
              <a:gd name="connsiteX3823" fmla="*/ 3335897 w 12188651"/>
              <a:gd name="connsiteY3823" fmla="*/ 1143896 h 6858000"/>
              <a:gd name="connsiteX3824" fmla="*/ 3002127 w 12188651"/>
              <a:gd name="connsiteY3824" fmla="*/ 1337052 h 6858000"/>
              <a:gd name="connsiteX3825" fmla="*/ 2668394 w 12188651"/>
              <a:gd name="connsiteY3825" fmla="*/ 1143911 h 6858000"/>
              <a:gd name="connsiteX3826" fmla="*/ 2668394 w 12188651"/>
              <a:gd name="connsiteY3826" fmla="*/ 757727 h 6858000"/>
              <a:gd name="connsiteX3827" fmla="*/ 948179 w 12188651"/>
              <a:gd name="connsiteY3827" fmla="*/ 564556 h 6858000"/>
              <a:gd name="connsiteX3828" fmla="*/ 1281917 w 12188651"/>
              <a:gd name="connsiteY3828" fmla="*/ 757697 h 6858000"/>
              <a:gd name="connsiteX3829" fmla="*/ 1281917 w 12188651"/>
              <a:gd name="connsiteY3829" fmla="*/ 1143881 h 6858000"/>
              <a:gd name="connsiteX3830" fmla="*/ 948154 w 12188651"/>
              <a:gd name="connsiteY3830" fmla="*/ 1337037 h 6858000"/>
              <a:gd name="connsiteX3831" fmla="*/ 740385 w 12188651"/>
              <a:gd name="connsiteY3831" fmla="*/ 1216797 h 6858000"/>
              <a:gd name="connsiteX3832" fmla="*/ 614417 w 12188651"/>
              <a:gd name="connsiteY3832" fmla="*/ 1143897 h 6858000"/>
              <a:gd name="connsiteX3833" fmla="*/ 614417 w 12188651"/>
              <a:gd name="connsiteY3833" fmla="*/ 757713 h 6858000"/>
              <a:gd name="connsiteX3834" fmla="*/ 10875809 w 12188651"/>
              <a:gd name="connsiteY3834" fmla="*/ 366803 h 6858000"/>
              <a:gd name="connsiteX3835" fmla="*/ 11201256 w 12188651"/>
              <a:gd name="connsiteY3835" fmla="*/ 555149 h 6858000"/>
              <a:gd name="connsiteX3836" fmla="*/ 10875678 w 12188651"/>
              <a:gd name="connsiteY3836" fmla="*/ 743498 h 6858000"/>
              <a:gd name="connsiteX3837" fmla="*/ 10550231 w 12188651"/>
              <a:gd name="connsiteY3837" fmla="*/ 555149 h 6858000"/>
              <a:gd name="connsiteX3838" fmla="*/ 8821860 w 12188651"/>
              <a:gd name="connsiteY3838" fmla="*/ 366789 h 6858000"/>
              <a:gd name="connsiteX3839" fmla="*/ 9147308 w 12188651"/>
              <a:gd name="connsiteY3839" fmla="*/ 555135 h 6858000"/>
              <a:gd name="connsiteX3840" fmla="*/ 8821731 w 12188651"/>
              <a:gd name="connsiteY3840" fmla="*/ 743485 h 6858000"/>
              <a:gd name="connsiteX3841" fmla="*/ 8496282 w 12188651"/>
              <a:gd name="connsiteY3841" fmla="*/ 555135 h 6858000"/>
              <a:gd name="connsiteX3842" fmla="*/ 6768043 w 12188651"/>
              <a:gd name="connsiteY3842" fmla="*/ 366774 h 6858000"/>
              <a:gd name="connsiteX3843" fmla="*/ 7093491 w 12188651"/>
              <a:gd name="connsiteY3843" fmla="*/ 555121 h 6858000"/>
              <a:gd name="connsiteX3844" fmla="*/ 6767913 w 12188651"/>
              <a:gd name="connsiteY3844" fmla="*/ 743469 h 6858000"/>
              <a:gd name="connsiteX3845" fmla="*/ 6442466 w 12188651"/>
              <a:gd name="connsiteY3845" fmla="*/ 555121 h 6858000"/>
              <a:gd name="connsiteX3846" fmla="*/ 4714128 w 12188651"/>
              <a:gd name="connsiteY3846" fmla="*/ 366759 h 6858000"/>
              <a:gd name="connsiteX3847" fmla="*/ 5039593 w 12188651"/>
              <a:gd name="connsiteY3847" fmla="*/ 555101 h 6858000"/>
              <a:gd name="connsiteX3848" fmla="*/ 4713993 w 12188651"/>
              <a:gd name="connsiteY3848" fmla="*/ 743455 h 6858000"/>
              <a:gd name="connsiteX3849" fmla="*/ 4388549 w 12188651"/>
              <a:gd name="connsiteY3849" fmla="*/ 555110 h 6858000"/>
              <a:gd name="connsiteX3850" fmla="*/ 2660353 w 12188651"/>
              <a:gd name="connsiteY3850" fmla="*/ 366745 h 6858000"/>
              <a:gd name="connsiteX3851" fmla="*/ 2961041 w 12188651"/>
              <a:gd name="connsiteY3851" fmla="*/ 540764 h 6858000"/>
              <a:gd name="connsiteX3852" fmla="*/ 2985786 w 12188651"/>
              <a:gd name="connsiteY3852" fmla="*/ 555084 h 6858000"/>
              <a:gd name="connsiteX3853" fmla="*/ 2660196 w 12188651"/>
              <a:gd name="connsiteY3853" fmla="*/ 743441 h 6858000"/>
              <a:gd name="connsiteX3854" fmla="*/ 2334766 w 12188651"/>
              <a:gd name="connsiteY3854" fmla="*/ 555101 h 6858000"/>
              <a:gd name="connsiteX3855" fmla="*/ 606375 w 12188651"/>
              <a:gd name="connsiteY3855" fmla="*/ 366730 h 6858000"/>
              <a:gd name="connsiteX3856" fmla="*/ 931808 w 12188651"/>
              <a:gd name="connsiteY3856" fmla="*/ 555071 h 6858000"/>
              <a:gd name="connsiteX3857" fmla="*/ 606218 w 12188651"/>
              <a:gd name="connsiteY3857" fmla="*/ 743426 h 6858000"/>
              <a:gd name="connsiteX3858" fmla="*/ 280784 w 12188651"/>
              <a:gd name="connsiteY3858" fmla="*/ 555086 h 6858000"/>
              <a:gd name="connsiteX3859" fmla="*/ 12140685 w 12188651"/>
              <a:gd name="connsiteY3859" fmla="*/ 202966 h 6858000"/>
              <a:gd name="connsiteX3860" fmla="*/ 12168445 w 12188651"/>
              <a:gd name="connsiteY3860" fmla="*/ 214509 h 6858000"/>
              <a:gd name="connsiteX3861" fmla="*/ 12188651 w 12188651"/>
              <a:gd name="connsiteY3861" fmla="*/ 234757 h 6858000"/>
              <a:gd name="connsiteX3862" fmla="*/ 12188651 w 12188651"/>
              <a:gd name="connsiteY3862" fmla="*/ 503007 h 6858000"/>
              <a:gd name="connsiteX3863" fmla="*/ 12034576 w 12188651"/>
              <a:gd name="connsiteY3863" fmla="*/ 348641 h 6858000"/>
              <a:gd name="connsiteX3864" fmla="*/ 12034576 w 12188651"/>
              <a:gd name="connsiteY3864" fmla="*/ 293253 h 6858000"/>
              <a:gd name="connsiteX3865" fmla="*/ 12113056 w 12188651"/>
              <a:gd name="connsiteY3865" fmla="*/ 214509 h 6858000"/>
              <a:gd name="connsiteX3866" fmla="*/ 12140685 w 12188651"/>
              <a:gd name="connsiteY3866" fmla="*/ 202966 h 6858000"/>
              <a:gd name="connsiteX3867" fmla="*/ 10086867 w 12188651"/>
              <a:gd name="connsiteY3867" fmla="*/ 202950 h 6858000"/>
              <a:gd name="connsiteX3868" fmla="*/ 10114626 w 12188651"/>
              <a:gd name="connsiteY3868" fmla="*/ 214495 h 6858000"/>
              <a:gd name="connsiteX3869" fmla="*/ 10179226 w 12188651"/>
              <a:gd name="connsiteY3869" fmla="*/ 279226 h 6858000"/>
              <a:gd name="connsiteX3870" fmla="*/ 10190770 w 12188651"/>
              <a:gd name="connsiteY3870" fmla="*/ 290903 h 6858000"/>
              <a:gd name="connsiteX3871" fmla="*/ 10202315 w 12188651"/>
              <a:gd name="connsiteY3871" fmla="*/ 279226 h 6858000"/>
              <a:gd name="connsiteX3872" fmla="*/ 10266786 w 12188651"/>
              <a:gd name="connsiteY3872" fmla="*/ 214495 h 6858000"/>
              <a:gd name="connsiteX3873" fmla="*/ 10294543 w 12188651"/>
              <a:gd name="connsiteY3873" fmla="*/ 202950 h 6858000"/>
              <a:gd name="connsiteX3874" fmla="*/ 10322173 w 12188651"/>
              <a:gd name="connsiteY3874" fmla="*/ 214495 h 6858000"/>
              <a:gd name="connsiteX3875" fmla="*/ 10400653 w 12188651"/>
              <a:gd name="connsiteY3875" fmla="*/ 293106 h 6858000"/>
              <a:gd name="connsiteX3876" fmla="*/ 10412198 w 12188651"/>
              <a:gd name="connsiteY3876" fmla="*/ 320867 h 6858000"/>
              <a:gd name="connsiteX3877" fmla="*/ 10400783 w 12188651"/>
              <a:gd name="connsiteY3877" fmla="*/ 348627 h 6858000"/>
              <a:gd name="connsiteX3878" fmla="*/ 10190770 w 12188651"/>
              <a:gd name="connsiteY3878" fmla="*/ 559036 h 6858000"/>
              <a:gd name="connsiteX3879" fmla="*/ 9980757 w 12188651"/>
              <a:gd name="connsiteY3879" fmla="*/ 348627 h 6858000"/>
              <a:gd name="connsiteX3880" fmla="*/ 9980757 w 12188651"/>
              <a:gd name="connsiteY3880" fmla="*/ 293236 h 6858000"/>
              <a:gd name="connsiteX3881" fmla="*/ 10059237 w 12188651"/>
              <a:gd name="connsiteY3881" fmla="*/ 214495 h 6858000"/>
              <a:gd name="connsiteX3882" fmla="*/ 10086867 w 12188651"/>
              <a:gd name="connsiteY3882" fmla="*/ 202950 h 6858000"/>
              <a:gd name="connsiteX3883" fmla="*/ 8032919 w 12188651"/>
              <a:gd name="connsiteY3883" fmla="*/ 202936 h 6858000"/>
              <a:gd name="connsiteX3884" fmla="*/ 8060679 w 12188651"/>
              <a:gd name="connsiteY3884" fmla="*/ 214481 h 6858000"/>
              <a:gd name="connsiteX3885" fmla="*/ 8125278 w 12188651"/>
              <a:gd name="connsiteY3885" fmla="*/ 279212 h 6858000"/>
              <a:gd name="connsiteX3886" fmla="*/ 8136823 w 12188651"/>
              <a:gd name="connsiteY3886" fmla="*/ 290888 h 6858000"/>
              <a:gd name="connsiteX3887" fmla="*/ 8148368 w 12188651"/>
              <a:gd name="connsiteY3887" fmla="*/ 279212 h 6858000"/>
              <a:gd name="connsiteX3888" fmla="*/ 8212837 w 12188651"/>
              <a:gd name="connsiteY3888" fmla="*/ 214481 h 6858000"/>
              <a:gd name="connsiteX3889" fmla="*/ 8240596 w 12188651"/>
              <a:gd name="connsiteY3889" fmla="*/ 202936 h 6858000"/>
              <a:gd name="connsiteX3890" fmla="*/ 8268226 w 12188651"/>
              <a:gd name="connsiteY3890" fmla="*/ 214481 h 6858000"/>
              <a:gd name="connsiteX3891" fmla="*/ 8346707 w 12188651"/>
              <a:gd name="connsiteY3891" fmla="*/ 293091 h 6858000"/>
              <a:gd name="connsiteX3892" fmla="*/ 8358252 w 12188651"/>
              <a:gd name="connsiteY3892" fmla="*/ 320853 h 6858000"/>
              <a:gd name="connsiteX3893" fmla="*/ 8346837 w 12188651"/>
              <a:gd name="connsiteY3893" fmla="*/ 348613 h 6858000"/>
              <a:gd name="connsiteX3894" fmla="*/ 8136823 w 12188651"/>
              <a:gd name="connsiteY3894" fmla="*/ 559021 h 6858000"/>
              <a:gd name="connsiteX3895" fmla="*/ 7926811 w 12188651"/>
              <a:gd name="connsiteY3895" fmla="*/ 348613 h 6858000"/>
              <a:gd name="connsiteX3896" fmla="*/ 7926811 w 12188651"/>
              <a:gd name="connsiteY3896" fmla="*/ 293223 h 6858000"/>
              <a:gd name="connsiteX3897" fmla="*/ 8005289 w 12188651"/>
              <a:gd name="connsiteY3897" fmla="*/ 214481 h 6858000"/>
              <a:gd name="connsiteX3898" fmla="*/ 8032919 w 12188651"/>
              <a:gd name="connsiteY3898" fmla="*/ 202936 h 6858000"/>
              <a:gd name="connsiteX3899" fmla="*/ 5979111 w 12188651"/>
              <a:gd name="connsiteY3899" fmla="*/ 202922 h 6858000"/>
              <a:gd name="connsiteX3900" fmla="*/ 6006869 w 12188651"/>
              <a:gd name="connsiteY3900" fmla="*/ 214466 h 6858000"/>
              <a:gd name="connsiteX3901" fmla="*/ 6071463 w 12188651"/>
              <a:gd name="connsiteY3901" fmla="*/ 279197 h 6858000"/>
              <a:gd name="connsiteX3902" fmla="*/ 6083008 w 12188651"/>
              <a:gd name="connsiteY3902" fmla="*/ 290872 h 6858000"/>
              <a:gd name="connsiteX3903" fmla="*/ 6094550 w 12188651"/>
              <a:gd name="connsiteY3903" fmla="*/ 279197 h 6858000"/>
              <a:gd name="connsiteX3904" fmla="*/ 6159019 w 12188651"/>
              <a:gd name="connsiteY3904" fmla="*/ 214466 h 6858000"/>
              <a:gd name="connsiteX3905" fmla="*/ 6186779 w 12188651"/>
              <a:gd name="connsiteY3905" fmla="*/ 202922 h 6858000"/>
              <a:gd name="connsiteX3906" fmla="*/ 6214409 w 12188651"/>
              <a:gd name="connsiteY3906" fmla="*/ 214466 h 6858000"/>
              <a:gd name="connsiteX3907" fmla="*/ 6292888 w 12188651"/>
              <a:gd name="connsiteY3907" fmla="*/ 293078 h 6858000"/>
              <a:gd name="connsiteX3908" fmla="*/ 6304433 w 12188651"/>
              <a:gd name="connsiteY3908" fmla="*/ 320838 h 6858000"/>
              <a:gd name="connsiteX3909" fmla="*/ 6293017 w 12188651"/>
              <a:gd name="connsiteY3909" fmla="*/ 348599 h 6858000"/>
              <a:gd name="connsiteX3910" fmla="*/ 6083008 w 12188651"/>
              <a:gd name="connsiteY3910" fmla="*/ 559007 h 6858000"/>
              <a:gd name="connsiteX3911" fmla="*/ 5873007 w 12188651"/>
              <a:gd name="connsiteY3911" fmla="*/ 348599 h 6858000"/>
              <a:gd name="connsiteX3912" fmla="*/ 5873007 w 12188651"/>
              <a:gd name="connsiteY3912" fmla="*/ 293208 h 6858000"/>
              <a:gd name="connsiteX3913" fmla="*/ 5951485 w 12188651"/>
              <a:gd name="connsiteY3913" fmla="*/ 214466 h 6858000"/>
              <a:gd name="connsiteX3914" fmla="*/ 5979111 w 12188651"/>
              <a:gd name="connsiteY3914" fmla="*/ 202922 h 6858000"/>
              <a:gd name="connsiteX3915" fmla="*/ 3925350 w 12188651"/>
              <a:gd name="connsiteY3915" fmla="*/ 202907 h 6858000"/>
              <a:gd name="connsiteX3916" fmla="*/ 3953107 w 12188651"/>
              <a:gd name="connsiteY3916" fmla="*/ 214451 h 6858000"/>
              <a:gd name="connsiteX3917" fmla="*/ 4017710 w 12188651"/>
              <a:gd name="connsiteY3917" fmla="*/ 279184 h 6858000"/>
              <a:gd name="connsiteX3918" fmla="*/ 4029255 w 12188651"/>
              <a:gd name="connsiteY3918" fmla="*/ 290858 h 6858000"/>
              <a:gd name="connsiteX3919" fmla="*/ 4040802 w 12188651"/>
              <a:gd name="connsiteY3919" fmla="*/ 279184 h 6858000"/>
              <a:gd name="connsiteX3920" fmla="*/ 4105272 w 12188651"/>
              <a:gd name="connsiteY3920" fmla="*/ 214451 h 6858000"/>
              <a:gd name="connsiteX3921" fmla="*/ 4133033 w 12188651"/>
              <a:gd name="connsiteY3921" fmla="*/ 202907 h 6858000"/>
              <a:gd name="connsiteX3922" fmla="*/ 4160664 w 12188651"/>
              <a:gd name="connsiteY3922" fmla="*/ 214451 h 6858000"/>
              <a:gd name="connsiteX3923" fmla="*/ 4239091 w 12188651"/>
              <a:gd name="connsiteY3923" fmla="*/ 293063 h 6858000"/>
              <a:gd name="connsiteX3924" fmla="*/ 4250643 w 12188651"/>
              <a:gd name="connsiteY3924" fmla="*/ 320823 h 6858000"/>
              <a:gd name="connsiteX3925" fmla="*/ 4239218 w 12188651"/>
              <a:gd name="connsiteY3925" fmla="*/ 348583 h 6858000"/>
              <a:gd name="connsiteX3926" fmla="*/ 4029255 w 12188651"/>
              <a:gd name="connsiteY3926" fmla="*/ 558992 h 6858000"/>
              <a:gd name="connsiteX3927" fmla="*/ 3819236 w 12188651"/>
              <a:gd name="connsiteY3927" fmla="*/ 348583 h 6858000"/>
              <a:gd name="connsiteX3928" fmla="*/ 3819236 w 12188651"/>
              <a:gd name="connsiteY3928" fmla="*/ 293193 h 6858000"/>
              <a:gd name="connsiteX3929" fmla="*/ 3897721 w 12188651"/>
              <a:gd name="connsiteY3929" fmla="*/ 214451 h 6858000"/>
              <a:gd name="connsiteX3930" fmla="*/ 3925350 w 12188651"/>
              <a:gd name="connsiteY3930" fmla="*/ 202907 h 6858000"/>
              <a:gd name="connsiteX3931" fmla="*/ 1871377 w 12188651"/>
              <a:gd name="connsiteY3931" fmla="*/ 202891 h 6858000"/>
              <a:gd name="connsiteX3932" fmla="*/ 1899135 w 12188651"/>
              <a:gd name="connsiteY3932" fmla="*/ 214436 h 6858000"/>
              <a:gd name="connsiteX3933" fmla="*/ 1963735 w 12188651"/>
              <a:gd name="connsiteY3933" fmla="*/ 279169 h 6858000"/>
              <a:gd name="connsiteX3934" fmla="*/ 1975281 w 12188651"/>
              <a:gd name="connsiteY3934" fmla="*/ 290844 h 6858000"/>
              <a:gd name="connsiteX3935" fmla="*/ 1986824 w 12188651"/>
              <a:gd name="connsiteY3935" fmla="*/ 279169 h 6858000"/>
              <a:gd name="connsiteX3936" fmla="*/ 2051295 w 12188651"/>
              <a:gd name="connsiteY3936" fmla="*/ 214436 h 6858000"/>
              <a:gd name="connsiteX3937" fmla="*/ 2079054 w 12188651"/>
              <a:gd name="connsiteY3937" fmla="*/ 202891 h 6858000"/>
              <a:gd name="connsiteX3938" fmla="*/ 2106692 w 12188651"/>
              <a:gd name="connsiteY3938" fmla="*/ 214436 h 6858000"/>
              <a:gd name="connsiteX3939" fmla="*/ 2185175 w 12188651"/>
              <a:gd name="connsiteY3939" fmla="*/ 293048 h 6858000"/>
              <a:gd name="connsiteX3940" fmla="*/ 2196719 w 12188651"/>
              <a:gd name="connsiteY3940" fmla="*/ 320809 h 6858000"/>
              <a:gd name="connsiteX3941" fmla="*/ 2185303 w 12188651"/>
              <a:gd name="connsiteY3941" fmla="*/ 348569 h 6858000"/>
              <a:gd name="connsiteX3942" fmla="*/ 1975281 w 12188651"/>
              <a:gd name="connsiteY3942" fmla="*/ 558978 h 6858000"/>
              <a:gd name="connsiteX3943" fmla="*/ 1765268 w 12188651"/>
              <a:gd name="connsiteY3943" fmla="*/ 348569 h 6858000"/>
              <a:gd name="connsiteX3944" fmla="*/ 1765268 w 12188651"/>
              <a:gd name="connsiteY3944" fmla="*/ 293179 h 6858000"/>
              <a:gd name="connsiteX3945" fmla="*/ 1843747 w 12188651"/>
              <a:gd name="connsiteY3945" fmla="*/ 214436 h 6858000"/>
              <a:gd name="connsiteX3946" fmla="*/ 1871377 w 12188651"/>
              <a:gd name="connsiteY3946" fmla="*/ 202891 h 6858000"/>
              <a:gd name="connsiteX3947" fmla="*/ 25217 w 12188651"/>
              <a:gd name="connsiteY3947" fmla="*/ 202877 h 6858000"/>
              <a:gd name="connsiteX3948" fmla="*/ 52846 w 12188651"/>
              <a:gd name="connsiteY3948" fmla="*/ 214422 h 6858000"/>
              <a:gd name="connsiteX3949" fmla="*/ 131324 w 12188651"/>
              <a:gd name="connsiteY3949" fmla="*/ 293033 h 6858000"/>
              <a:gd name="connsiteX3950" fmla="*/ 142867 w 12188651"/>
              <a:gd name="connsiteY3950" fmla="*/ 320794 h 6858000"/>
              <a:gd name="connsiteX3951" fmla="*/ 131454 w 12188651"/>
              <a:gd name="connsiteY3951" fmla="*/ 348554 h 6858000"/>
              <a:gd name="connsiteX3952" fmla="*/ 0 w 12188651"/>
              <a:gd name="connsiteY3952" fmla="*/ 480257 h 6858000"/>
              <a:gd name="connsiteX3953" fmla="*/ 0 w 12188651"/>
              <a:gd name="connsiteY3953" fmla="*/ 213364 h 6858000"/>
              <a:gd name="connsiteX3954" fmla="*/ 10086867 w 12188651"/>
              <a:gd name="connsiteY3954" fmla="*/ 186475 h 6858000"/>
              <a:gd name="connsiteX3955" fmla="*/ 10047692 w 12188651"/>
              <a:gd name="connsiteY3955" fmla="*/ 202821 h 6858000"/>
              <a:gd name="connsiteX3956" fmla="*/ 9969212 w 12188651"/>
              <a:gd name="connsiteY3956" fmla="*/ 281561 h 6858000"/>
              <a:gd name="connsiteX3957" fmla="*/ 9969212 w 12188651"/>
              <a:gd name="connsiteY3957" fmla="*/ 360173 h 6858000"/>
              <a:gd name="connsiteX3958" fmla="*/ 10190770 w 12188651"/>
              <a:gd name="connsiteY3958" fmla="*/ 582255 h 6858000"/>
              <a:gd name="connsiteX3959" fmla="*/ 10412328 w 12188651"/>
              <a:gd name="connsiteY3959" fmla="*/ 360173 h 6858000"/>
              <a:gd name="connsiteX3960" fmla="*/ 10412328 w 12188651"/>
              <a:gd name="connsiteY3960" fmla="*/ 281561 h 6858000"/>
              <a:gd name="connsiteX3961" fmla="*/ 10333848 w 12188651"/>
              <a:gd name="connsiteY3961" fmla="*/ 202950 h 6858000"/>
              <a:gd name="connsiteX3962" fmla="*/ 10294673 w 12188651"/>
              <a:gd name="connsiteY3962" fmla="*/ 186606 h 6858000"/>
              <a:gd name="connsiteX3963" fmla="*/ 10294543 w 12188651"/>
              <a:gd name="connsiteY3963" fmla="*/ 186475 h 6858000"/>
              <a:gd name="connsiteX3964" fmla="*/ 10255241 w 12188651"/>
              <a:gd name="connsiteY3964" fmla="*/ 202950 h 6858000"/>
              <a:gd name="connsiteX3965" fmla="*/ 10190770 w 12188651"/>
              <a:gd name="connsiteY3965" fmla="*/ 267553 h 6858000"/>
              <a:gd name="connsiteX3966" fmla="*/ 10126171 w 12188651"/>
              <a:gd name="connsiteY3966" fmla="*/ 202821 h 6858000"/>
              <a:gd name="connsiteX3967" fmla="*/ 10086867 w 12188651"/>
              <a:gd name="connsiteY3967" fmla="*/ 186475 h 6858000"/>
              <a:gd name="connsiteX3968" fmla="*/ 8032919 w 12188651"/>
              <a:gd name="connsiteY3968" fmla="*/ 186461 h 6858000"/>
              <a:gd name="connsiteX3969" fmla="*/ 7993744 w 12188651"/>
              <a:gd name="connsiteY3969" fmla="*/ 202806 h 6858000"/>
              <a:gd name="connsiteX3970" fmla="*/ 7915266 w 12188651"/>
              <a:gd name="connsiteY3970" fmla="*/ 281547 h 6858000"/>
              <a:gd name="connsiteX3971" fmla="*/ 7915266 w 12188651"/>
              <a:gd name="connsiteY3971" fmla="*/ 360159 h 6858000"/>
              <a:gd name="connsiteX3972" fmla="*/ 8136823 w 12188651"/>
              <a:gd name="connsiteY3972" fmla="*/ 582242 h 6858000"/>
              <a:gd name="connsiteX3973" fmla="*/ 8358382 w 12188651"/>
              <a:gd name="connsiteY3973" fmla="*/ 360159 h 6858000"/>
              <a:gd name="connsiteX3974" fmla="*/ 8358382 w 12188651"/>
              <a:gd name="connsiteY3974" fmla="*/ 281547 h 6858000"/>
              <a:gd name="connsiteX3975" fmla="*/ 8279902 w 12188651"/>
              <a:gd name="connsiteY3975" fmla="*/ 202936 h 6858000"/>
              <a:gd name="connsiteX3976" fmla="*/ 8240727 w 12188651"/>
              <a:gd name="connsiteY3976" fmla="*/ 186591 h 6858000"/>
              <a:gd name="connsiteX3977" fmla="*/ 8240596 w 12188651"/>
              <a:gd name="connsiteY3977" fmla="*/ 186461 h 6858000"/>
              <a:gd name="connsiteX3978" fmla="*/ 8201292 w 12188651"/>
              <a:gd name="connsiteY3978" fmla="*/ 202936 h 6858000"/>
              <a:gd name="connsiteX3979" fmla="*/ 8136823 w 12188651"/>
              <a:gd name="connsiteY3979" fmla="*/ 267537 h 6858000"/>
              <a:gd name="connsiteX3980" fmla="*/ 8072224 w 12188651"/>
              <a:gd name="connsiteY3980" fmla="*/ 202806 h 6858000"/>
              <a:gd name="connsiteX3981" fmla="*/ 8032919 w 12188651"/>
              <a:gd name="connsiteY3981" fmla="*/ 186461 h 6858000"/>
              <a:gd name="connsiteX3982" fmla="*/ 5979111 w 12188651"/>
              <a:gd name="connsiteY3982" fmla="*/ 186446 h 6858000"/>
              <a:gd name="connsiteX3983" fmla="*/ 5939940 w 12188651"/>
              <a:gd name="connsiteY3983" fmla="*/ 202790 h 6858000"/>
              <a:gd name="connsiteX3984" fmla="*/ 5861464 w 12188651"/>
              <a:gd name="connsiteY3984" fmla="*/ 281532 h 6858000"/>
              <a:gd name="connsiteX3985" fmla="*/ 5861464 w 12188651"/>
              <a:gd name="connsiteY3985" fmla="*/ 360144 h 6858000"/>
              <a:gd name="connsiteX3986" fmla="*/ 6083008 w 12188651"/>
              <a:gd name="connsiteY3986" fmla="*/ 582227 h 6858000"/>
              <a:gd name="connsiteX3987" fmla="*/ 6304562 w 12188651"/>
              <a:gd name="connsiteY3987" fmla="*/ 360144 h 6858000"/>
              <a:gd name="connsiteX3988" fmla="*/ 6304562 w 12188651"/>
              <a:gd name="connsiteY3988" fmla="*/ 281532 h 6858000"/>
              <a:gd name="connsiteX3989" fmla="*/ 6226084 w 12188651"/>
              <a:gd name="connsiteY3989" fmla="*/ 202922 h 6858000"/>
              <a:gd name="connsiteX3990" fmla="*/ 6186909 w 12188651"/>
              <a:gd name="connsiteY3990" fmla="*/ 186576 h 6858000"/>
              <a:gd name="connsiteX3991" fmla="*/ 6186779 w 12188651"/>
              <a:gd name="connsiteY3991" fmla="*/ 186446 h 6858000"/>
              <a:gd name="connsiteX3992" fmla="*/ 6147474 w 12188651"/>
              <a:gd name="connsiteY3992" fmla="*/ 202922 h 6858000"/>
              <a:gd name="connsiteX3993" fmla="*/ 6083008 w 12188651"/>
              <a:gd name="connsiteY3993" fmla="*/ 267522 h 6858000"/>
              <a:gd name="connsiteX3994" fmla="*/ 6018412 w 12188651"/>
              <a:gd name="connsiteY3994" fmla="*/ 202790 h 6858000"/>
              <a:gd name="connsiteX3995" fmla="*/ 5979111 w 12188651"/>
              <a:gd name="connsiteY3995" fmla="*/ 186446 h 6858000"/>
              <a:gd name="connsiteX3996" fmla="*/ 3925350 w 12188651"/>
              <a:gd name="connsiteY3996" fmla="*/ 186431 h 6858000"/>
              <a:gd name="connsiteX3997" fmla="*/ 3886173 w 12188651"/>
              <a:gd name="connsiteY3997" fmla="*/ 202777 h 6858000"/>
              <a:gd name="connsiteX3998" fmla="*/ 3807690 w 12188651"/>
              <a:gd name="connsiteY3998" fmla="*/ 281518 h 6858000"/>
              <a:gd name="connsiteX3999" fmla="*/ 3807690 w 12188651"/>
              <a:gd name="connsiteY3999" fmla="*/ 360128 h 6858000"/>
              <a:gd name="connsiteX4000" fmla="*/ 4029255 w 12188651"/>
              <a:gd name="connsiteY4000" fmla="*/ 582213 h 6858000"/>
              <a:gd name="connsiteX4001" fmla="*/ 4250768 w 12188651"/>
              <a:gd name="connsiteY4001" fmla="*/ 360128 h 6858000"/>
              <a:gd name="connsiteX4002" fmla="*/ 4250768 w 12188651"/>
              <a:gd name="connsiteY4002" fmla="*/ 281518 h 6858000"/>
              <a:gd name="connsiteX4003" fmla="*/ 4172338 w 12188651"/>
              <a:gd name="connsiteY4003" fmla="*/ 202907 h 6858000"/>
              <a:gd name="connsiteX4004" fmla="*/ 4133162 w 12188651"/>
              <a:gd name="connsiteY4004" fmla="*/ 186561 h 6858000"/>
              <a:gd name="connsiteX4005" fmla="*/ 4133033 w 12188651"/>
              <a:gd name="connsiteY4005" fmla="*/ 186431 h 6858000"/>
              <a:gd name="connsiteX4006" fmla="*/ 4093728 w 12188651"/>
              <a:gd name="connsiteY4006" fmla="*/ 202907 h 6858000"/>
              <a:gd name="connsiteX4007" fmla="*/ 4029255 w 12188651"/>
              <a:gd name="connsiteY4007" fmla="*/ 267508 h 6858000"/>
              <a:gd name="connsiteX4008" fmla="*/ 3964656 w 12188651"/>
              <a:gd name="connsiteY4008" fmla="*/ 202777 h 6858000"/>
              <a:gd name="connsiteX4009" fmla="*/ 3925350 w 12188651"/>
              <a:gd name="connsiteY4009" fmla="*/ 186431 h 6858000"/>
              <a:gd name="connsiteX4010" fmla="*/ 1871377 w 12188651"/>
              <a:gd name="connsiteY4010" fmla="*/ 186416 h 6858000"/>
              <a:gd name="connsiteX4011" fmla="*/ 1832202 w 12188651"/>
              <a:gd name="connsiteY4011" fmla="*/ 202761 h 6858000"/>
              <a:gd name="connsiteX4012" fmla="*/ 1753725 w 12188651"/>
              <a:gd name="connsiteY4012" fmla="*/ 281503 h 6858000"/>
              <a:gd name="connsiteX4013" fmla="*/ 1753725 w 12188651"/>
              <a:gd name="connsiteY4013" fmla="*/ 360115 h 6858000"/>
              <a:gd name="connsiteX4014" fmla="*/ 1975281 w 12188651"/>
              <a:gd name="connsiteY4014" fmla="*/ 582199 h 6858000"/>
              <a:gd name="connsiteX4015" fmla="*/ 2196847 w 12188651"/>
              <a:gd name="connsiteY4015" fmla="*/ 360115 h 6858000"/>
              <a:gd name="connsiteX4016" fmla="*/ 2196847 w 12188651"/>
              <a:gd name="connsiteY4016" fmla="*/ 281503 h 6858000"/>
              <a:gd name="connsiteX4017" fmla="*/ 2118368 w 12188651"/>
              <a:gd name="connsiteY4017" fmla="*/ 202891 h 6858000"/>
              <a:gd name="connsiteX4018" fmla="*/ 2079182 w 12188651"/>
              <a:gd name="connsiteY4018" fmla="*/ 186547 h 6858000"/>
              <a:gd name="connsiteX4019" fmla="*/ 2079054 w 12188651"/>
              <a:gd name="connsiteY4019" fmla="*/ 186416 h 6858000"/>
              <a:gd name="connsiteX4020" fmla="*/ 2039750 w 12188651"/>
              <a:gd name="connsiteY4020" fmla="*/ 202891 h 6858000"/>
              <a:gd name="connsiteX4021" fmla="*/ 1975281 w 12188651"/>
              <a:gd name="connsiteY4021" fmla="*/ 267493 h 6858000"/>
              <a:gd name="connsiteX4022" fmla="*/ 1910682 w 12188651"/>
              <a:gd name="connsiteY4022" fmla="*/ 202761 h 6858000"/>
              <a:gd name="connsiteX4023" fmla="*/ 1871377 w 12188651"/>
              <a:gd name="connsiteY4023" fmla="*/ 186416 h 6858000"/>
              <a:gd name="connsiteX4024" fmla="*/ 0 w 12188651"/>
              <a:gd name="connsiteY4024" fmla="*/ 16212 h 6858000"/>
              <a:gd name="connsiteX4025" fmla="*/ 255071 w 12188651"/>
              <a:gd name="connsiteY4025" fmla="*/ 163827 h 6858000"/>
              <a:gd name="connsiteX4026" fmla="*/ 255071 w 12188651"/>
              <a:gd name="connsiteY4026" fmla="*/ 550010 h 6858000"/>
              <a:gd name="connsiteX4027" fmla="*/ 0 w 12188651"/>
              <a:gd name="connsiteY4027" fmla="*/ 697625 h 6858000"/>
              <a:gd name="connsiteX4028" fmla="*/ 0 w 12188651"/>
              <a:gd name="connsiteY4028" fmla="*/ 503439 h 6858000"/>
              <a:gd name="connsiteX4029" fmla="*/ 143000 w 12188651"/>
              <a:gd name="connsiteY4029" fmla="*/ 360100 h 6858000"/>
              <a:gd name="connsiteX4030" fmla="*/ 143000 w 12188651"/>
              <a:gd name="connsiteY4030" fmla="*/ 281489 h 6858000"/>
              <a:gd name="connsiteX4031" fmla="*/ 64519 w 12188651"/>
              <a:gd name="connsiteY4031" fmla="*/ 202877 h 6858000"/>
              <a:gd name="connsiteX4032" fmla="*/ 25344 w 12188651"/>
              <a:gd name="connsiteY4032" fmla="*/ 186532 h 6858000"/>
              <a:gd name="connsiteX4033" fmla="*/ 25217 w 12188651"/>
              <a:gd name="connsiteY4033" fmla="*/ 186401 h 6858000"/>
              <a:gd name="connsiteX4034" fmla="*/ 4299 w 12188651"/>
              <a:gd name="connsiteY4034" fmla="*/ 190504 h 6858000"/>
              <a:gd name="connsiteX4035" fmla="*/ 0 w 12188651"/>
              <a:gd name="connsiteY4035" fmla="*/ 193396 h 6858000"/>
              <a:gd name="connsiteX4036" fmla="*/ 12188651 w 12188651"/>
              <a:gd name="connsiteY4036" fmla="*/ 3063 h 6858000"/>
              <a:gd name="connsiteX4037" fmla="*/ 12188651 w 12188651"/>
              <a:gd name="connsiteY4037" fmla="*/ 211515 h 6858000"/>
              <a:gd name="connsiteX4038" fmla="*/ 12179990 w 12188651"/>
              <a:gd name="connsiteY4038" fmla="*/ 202835 h 6858000"/>
              <a:gd name="connsiteX4039" fmla="*/ 12140685 w 12188651"/>
              <a:gd name="connsiteY4039" fmla="*/ 186490 h 6858000"/>
              <a:gd name="connsiteX4040" fmla="*/ 12101510 w 12188651"/>
              <a:gd name="connsiteY4040" fmla="*/ 202835 h 6858000"/>
              <a:gd name="connsiteX4041" fmla="*/ 12023031 w 12188651"/>
              <a:gd name="connsiteY4041" fmla="*/ 281576 h 6858000"/>
              <a:gd name="connsiteX4042" fmla="*/ 12023031 w 12188651"/>
              <a:gd name="connsiteY4042" fmla="*/ 360188 h 6858000"/>
              <a:gd name="connsiteX4043" fmla="*/ 12188651 w 12188651"/>
              <a:gd name="connsiteY4043" fmla="*/ 526200 h 6858000"/>
              <a:gd name="connsiteX4044" fmla="*/ 12188651 w 12188651"/>
              <a:gd name="connsiteY4044" fmla="*/ 710954 h 6858000"/>
              <a:gd name="connsiteX4045" fmla="*/ 11910696 w 12188651"/>
              <a:gd name="connsiteY4045" fmla="*/ 550094 h 6858000"/>
              <a:gd name="connsiteX4046" fmla="*/ 11910696 w 12188651"/>
              <a:gd name="connsiteY4046" fmla="*/ 163920 h 6858000"/>
              <a:gd name="connsiteX4047" fmla="*/ 11643950 w 12188651"/>
              <a:gd name="connsiteY4047" fmla="*/ 0 h 6858000"/>
              <a:gd name="connsiteX4048" fmla="*/ 12161201 w 12188651"/>
              <a:gd name="connsiteY4048" fmla="*/ 0 h 6858000"/>
              <a:gd name="connsiteX4049" fmla="*/ 11902524 w 12188651"/>
              <a:gd name="connsiteY4049" fmla="*/ 149646 h 6858000"/>
              <a:gd name="connsiteX4050" fmla="*/ 11509496 w 12188651"/>
              <a:gd name="connsiteY4050" fmla="*/ 0 h 6858000"/>
              <a:gd name="connsiteX4051" fmla="*/ 11609622 w 12188651"/>
              <a:gd name="connsiteY4051" fmla="*/ 0 h 6858000"/>
              <a:gd name="connsiteX4052" fmla="*/ 11893312 w 12188651"/>
              <a:gd name="connsiteY4052" fmla="*/ 164177 h 6858000"/>
              <a:gd name="connsiteX4053" fmla="*/ 11893312 w 12188651"/>
              <a:gd name="connsiteY4053" fmla="*/ 550471 h 6858000"/>
              <a:gd name="connsiteX4054" fmla="*/ 11559679 w 12188651"/>
              <a:gd name="connsiteY4054" fmla="*/ 743626 h 6858000"/>
              <a:gd name="connsiteX4055" fmla="*/ 11225916 w 12188651"/>
              <a:gd name="connsiteY4055" fmla="*/ 550471 h 6858000"/>
              <a:gd name="connsiteX4056" fmla="*/ 11225916 w 12188651"/>
              <a:gd name="connsiteY4056" fmla="*/ 164178 h 6858000"/>
              <a:gd name="connsiteX4057" fmla="*/ 10959725 w 12188651"/>
              <a:gd name="connsiteY4057" fmla="*/ 0 h 6858000"/>
              <a:gd name="connsiteX4058" fmla="*/ 11475502 w 12188651"/>
              <a:gd name="connsiteY4058" fmla="*/ 0 h 6858000"/>
              <a:gd name="connsiteX4059" fmla="*/ 11217614 w 12188651"/>
              <a:gd name="connsiteY4059" fmla="*/ 149246 h 6858000"/>
              <a:gd name="connsiteX4060" fmla="*/ 10883981 w 12188651"/>
              <a:gd name="connsiteY4060" fmla="*/ 0 h 6858000"/>
              <a:gd name="connsiteX4061" fmla="*/ 10925760 w 12188651"/>
              <a:gd name="connsiteY4061" fmla="*/ 0 h 6858000"/>
              <a:gd name="connsiteX4062" fmla="*/ 11209441 w 12188651"/>
              <a:gd name="connsiteY4062" fmla="*/ 164177 h 6858000"/>
              <a:gd name="connsiteX4063" fmla="*/ 11209441 w 12188651"/>
              <a:gd name="connsiteY4063" fmla="*/ 541003 h 6858000"/>
              <a:gd name="connsiteX4064" fmla="*/ 10883981 w 12188651"/>
              <a:gd name="connsiteY4064" fmla="*/ 352647 h 6858000"/>
              <a:gd name="connsiteX4065" fmla="*/ 10825841 w 12188651"/>
              <a:gd name="connsiteY4065" fmla="*/ 0 h 6858000"/>
              <a:gd name="connsiteX4066" fmla="*/ 10867636 w 12188651"/>
              <a:gd name="connsiteY4066" fmla="*/ 0 h 6858000"/>
              <a:gd name="connsiteX4067" fmla="*/ 10867636 w 12188651"/>
              <a:gd name="connsiteY4067" fmla="*/ 352647 h 6858000"/>
              <a:gd name="connsiteX4068" fmla="*/ 10542045 w 12188651"/>
              <a:gd name="connsiteY4068" fmla="*/ 541003 h 6858000"/>
              <a:gd name="connsiteX4069" fmla="*/ 10542045 w 12188651"/>
              <a:gd name="connsiteY4069" fmla="*/ 164178 h 6858000"/>
              <a:gd name="connsiteX4070" fmla="*/ 10273927 w 12188651"/>
              <a:gd name="connsiteY4070" fmla="*/ 0 h 6858000"/>
              <a:gd name="connsiteX4071" fmla="*/ 10791383 w 12188651"/>
              <a:gd name="connsiteY4071" fmla="*/ 0 h 6858000"/>
              <a:gd name="connsiteX4072" fmla="*/ 10532706 w 12188651"/>
              <a:gd name="connsiteY4072" fmla="*/ 149760 h 6858000"/>
              <a:gd name="connsiteX4073" fmla="*/ 10140095 w 12188651"/>
              <a:gd name="connsiteY4073" fmla="*/ 0 h 6858000"/>
              <a:gd name="connsiteX4074" fmla="*/ 10241185 w 12188651"/>
              <a:gd name="connsiteY4074" fmla="*/ 0 h 6858000"/>
              <a:gd name="connsiteX4075" fmla="*/ 10524404 w 12188651"/>
              <a:gd name="connsiteY4075" fmla="*/ 163905 h 6858000"/>
              <a:gd name="connsiteX4076" fmla="*/ 10524404 w 12188651"/>
              <a:gd name="connsiteY4076" fmla="*/ 550081 h 6858000"/>
              <a:gd name="connsiteX4077" fmla="*/ 10190640 w 12188651"/>
              <a:gd name="connsiteY4077" fmla="*/ 743237 h 6858000"/>
              <a:gd name="connsiteX4078" fmla="*/ 9856876 w 12188651"/>
              <a:gd name="connsiteY4078" fmla="*/ 550081 h 6858000"/>
              <a:gd name="connsiteX4079" fmla="*/ 9856876 w 12188651"/>
              <a:gd name="connsiteY4079" fmla="*/ 163905 h 6858000"/>
              <a:gd name="connsiteX4080" fmla="*/ 9590156 w 12188651"/>
              <a:gd name="connsiteY4080" fmla="*/ 0 h 6858000"/>
              <a:gd name="connsiteX4081" fmla="*/ 10107355 w 12188651"/>
              <a:gd name="connsiteY4081" fmla="*/ 0 h 6858000"/>
              <a:gd name="connsiteX4082" fmla="*/ 9848703 w 12188651"/>
              <a:gd name="connsiteY4082" fmla="*/ 149632 h 6858000"/>
              <a:gd name="connsiteX4083" fmla="*/ 9455523 w 12188651"/>
              <a:gd name="connsiteY4083" fmla="*/ 0 h 6858000"/>
              <a:gd name="connsiteX4084" fmla="*/ 9555699 w 12188651"/>
              <a:gd name="connsiteY4084" fmla="*/ 0 h 6858000"/>
              <a:gd name="connsiteX4085" fmla="*/ 9839364 w 12188651"/>
              <a:gd name="connsiteY4085" fmla="*/ 164163 h 6858000"/>
              <a:gd name="connsiteX4086" fmla="*/ 9839364 w 12188651"/>
              <a:gd name="connsiteY4086" fmla="*/ 550457 h 6858000"/>
              <a:gd name="connsiteX4087" fmla="*/ 9505732 w 12188651"/>
              <a:gd name="connsiteY4087" fmla="*/ 743612 h 6858000"/>
              <a:gd name="connsiteX4088" fmla="*/ 9171969 w 12188651"/>
              <a:gd name="connsiteY4088" fmla="*/ 550457 h 6858000"/>
              <a:gd name="connsiteX4089" fmla="*/ 9171969 w 12188651"/>
              <a:gd name="connsiteY4089" fmla="*/ 164163 h 6858000"/>
              <a:gd name="connsiteX4090" fmla="*/ 8905803 w 12188651"/>
              <a:gd name="connsiteY4090" fmla="*/ 0 h 6858000"/>
              <a:gd name="connsiteX4091" fmla="*/ 9421530 w 12188651"/>
              <a:gd name="connsiteY4091" fmla="*/ 0 h 6858000"/>
              <a:gd name="connsiteX4092" fmla="*/ 9163666 w 12188651"/>
              <a:gd name="connsiteY4092" fmla="*/ 149231 h 6858000"/>
              <a:gd name="connsiteX4093" fmla="*/ 8830033 w 12188651"/>
              <a:gd name="connsiteY4093" fmla="*/ 0 h 6858000"/>
              <a:gd name="connsiteX4094" fmla="*/ 8871836 w 12188651"/>
              <a:gd name="connsiteY4094" fmla="*/ 0 h 6858000"/>
              <a:gd name="connsiteX4095" fmla="*/ 9155493 w 12188651"/>
              <a:gd name="connsiteY4095" fmla="*/ 164163 h 6858000"/>
              <a:gd name="connsiteX4096" fmla="*/ 9155493 w 12188651"/>
              <a:gd name="connsiteY4096" fmla="*/ 540989 h 6858000"/>
              <a:gd name="connsiteX4097" fmla="*/ 8830033 w 12188651"/>
              <a:gd name="connsiteY4097" fmla="*/ 352632 h 6858000"/>
              <a:gd name="connsiteX4098" fmla="*/ 8771868 w 12188651"/>
              <a:gd name="connsiteY4098" fmla="*/ 0 h 6858000"/>
              <a:gd name="connsiteX4099" fmla="*/ 8813688 w 12188651"/>
              <a:gd name="connsiteY4099" fmla="*/ 0 h 6858000"/>
              <a:gd name="connsiteX4100" fmla="*/ 8813688 w 12188651"/>
              <a:gd name="connsiteY4100" fmla="*/ 352633 h 6858000"/>
              <a:gd name="connsiteX4101" fmla="*/ 8488098 w 12188651"/>
              <a:gd name="connsiteY4101" fmla="*/ 540989 h 6858000"/>
              <a:gd name="connsiteX4102" fmla="*/ 8488098 w 12188651"/>
              <a:gd name="connsiteY4102" fmla="*/ 164163 h 6858000"/>
              <a:gd name="connsiteX4103" fmla="*/ 8220006 w 12188651"/>
              <a:gd name="connsiteY4103" fmla="*/ 0 h 6858000"/>
              <a:gd name="connsiteX4104" fmla="*/ 8737411 w 12188651"/>
              <a:gd name="connsiteY4104" fmla="*/ 0 h 6858000"/>
              <a:gd name="connsiteX4105" fmla="*/ 8478758 w 12188651"/>
              <a:gd name="connsiteY4105" fmla="*/ 149746 h 6858000"/>
              <a:gd name="connsiteX4106" fmla="*/ 8086123 w 12188651"/>
              <a:gd name="connsiteY4106" fmla="*/ 0 h 6858000"/>
              <a:gd name="connsiteX4107" fmla="*/ 8187263 w 12188651"/>
              <a:gd name="connsiteY4107" fmla="*/ 0 h 6858000"/>
              <a:gd name="connsiteX4108" fmla="*/ 8470456 w 12188651"/>
              <a:gd name="connsiteY4108" fmla="*/ 163890 h 6858000"/>
              <a:gd name="connsiteX4109" fmla="*/ 8470456 w 12188651"/>
              <a:gd name="connsiteY4109" fmla="*/ 550066 h 6858000"/>
              <a:gd name="connsiteX4110" fmla="*/ 8136693 w 12188651"/>
              <a:gd name="connsiteY4110" fmla="*/ 743223 h 6858000"/>
              <a:gd name="connsiteX4111" fmla="*/ 7802930 w 12188651"/>
              <a:gd name="connsiteY4111" fmla="*/ 550066 h 6858000"/>
              <a:gd name="connsiteX4112" fmla="*/ 7802930 w 12188651"/>
              <a:gd name="connsiteY4112" fmla="*/ 163890 h 6858000"/>
              <a:gd name="connsiteX4113" fmla="*/ 7536237 w 12188651"/>
              <a:gd name="connsiteY4113" fmla="*/ 0 h 6858000"/>
              <a:gd name="connsiteX4114" fmla="*/ 8053383 w 12188651"/>
              <a:gd name="connsiteY4114" fmla="*/ 0 h 6858000"/>
              <a:gd name="connsiteX4115" fmla="*/ 7794758 w 12188651"/>
              <a:gd name="connsiteY4115" fmla="*/ 149616 h 6858000"/>
              <a:gd name="connsiteX4116" fmla="*/ 7401681 w 12188651"/>
              <a:gd name="connsiteY4116" fmla="*/ 0 h 6858000"/>
              <a:gd name="connsiteX4117" fmla="*/ 7501908 w 12188651"/>
              <a:gd name="connsiteY4117" fmla="*/ 0 h 6858000"/>
              <a:gd name="connsiteX4118" fmla="*/ 7785548 w 12188651"/>
              <a:gd name="connsiteY4118" fmla="*/ 164149 h 6858000"/>
              <a:gd name="connsiteX4119" fmla="*/ 7785548 w 12188651"/>
              <a:gd name="connsiteY4119" fmla="*/ 550443 h 6858000"/>
              <a:gd name="connsiteX4120" fmla="*/ 7451915 w 12188651"/>
              <a:gd name="connsiteY4120" fmla="*/ 743599 h 6858000"/>
              <a:gd name="connsiteX4121" fmla="*/ 7118150 w 12188651"/>
              <a:gd name="connsiteY4121" fmla="*/ 550443 h 6858000"/>
              <a:gd name="connsiteX4122" fmla="*/ 7118150 w 12188651"/>
              <a:gd name="connsiteY4122" fmla="*/ 164149 h 6858000"/>
              <a:gd name="connsiteX4123" fmla="*/ 6852010 w 12188651"/>
              <a:gd name="connsiteY4123" fmla="*/ 0 h 6858000"/>
              <a:gd name="connsiteX4124" fmla="*/ 7367688 w 12188651"/>
              <a:gd name="connsiteY4124" fmla="*/ 0 h 6858000"/>
              <a:gd name="connsiteX4125" fmla="*/ 7109850 w 12188651"/>
              <a:gd name="connsiteY4125" fmla="*/ 149217 h 6858000"/>
              <a:gd name="connsiteX4126" fmla="*/ 6776215 w 12188651"/>
              <a:gd name="connsiteY4126" fmla="*/ 0 h 6858000"/>
              <a:gd name="connsiteX4127" fmla="*/ 6818044 w 12188651"/>
              <a:gd name="connsiteY4127" fmla="*/ 0 h 6858000"/>
              <a:gd name="connsiteX4128" fmla="*/ 7101677 w 12188651"/>
              <a:gd name="connsiteY4128" fmla="*/ 164149 h 6858000"/>
              <a:gd name="connsiteX4129" fmla="*/ 7101677 w 12188651"/>
              <a:gd name="connsiteY4129" fmla="*/ 540974 h 6858000"/>
              <a:gd name="connsiteX4130" fmla="*/ 6776215 w 12188651"/>
              <a:gd name="connsiteY4130" fmla="*/ 352617 h 6858000"/>
              <a:gd name="connsiteX4131" fmla="*/ 6718025 w 12188651"/>
              <a:gd name="connsiteY4131" fmla="*/ 0 h 6858000"/>
              <a:gd name="connsiteX4132" fmla="*/ 6759871 w 12188651"/>
              <a:gd name="connsiteY4132" fmla="*/ 0 h 6858000"/>
              <a:gd name="connsiteX4133" fmla="*/ 6759871 w 12188651"/>
              <a:gd name="connsiteY4133" fmla="*/ 352617 h 6858000"/>
              <a:gd name="connsiteX4134" fmla="*/ 6434280 w 12188651"/>
              <a:gd name="connsiteY4134" fmla="*/ 540974 h 6858000"/>
              <a:gd name="connsiteX4135" fmla="*/ 6434280 w 12188651"/>
              <a:gd name="connsiteY4135" fmla="*/ 164149 h 6858000"/>
              <a:gd name="connsiteX4136" fmla="*/ 6166213 w 12188651"/>
              <a:gd name="connsiteY4136" fmla="*/ 0 h 6858000"/>
              <a:gd name="connsiteX4137" fmla="*/ 6683567 w 12188651"/>
              <a:gd name="connsiteY4137" fmla="*/ 0 h 6858000"/>
              <a:gd name="connsiteX4138" fmla="*/ 6424940 w 12188651"/>
              <a:gd name="connsiteY4138" fmla="*/ 149731 h 6858000"/>
              <a:gd name="connsiteX4139" fmla="*/ 6032286 w 12188651"/>
              <a:gd name="connsiteY4139" fmla="*/ 0 h 6858000"/>
              <a:gd name="connsiteX4140" fmla="*/ 6133471 w 12188651"/>
              <a:gd name="connsiteY4140" fmla="*/ 0 h 6858000"/>
              <a:gd name="connsiteX4141" fmla="*/ 6416638 w 12188651"/>
              <a:gd name="connsiteY4141" fmla="*/ 163875 h 6858000"/>
              <a:gd name="connsiteX4142" fmla="*/ 6416638 w 12188651"/>
              <a:gd name="connsiteY4142" fmla="*/ 550053 h 6858000"/>
              <a:gd name="connsiteX4143" fmla="*/ 6082876 w 12188651"/>
              <a:gd name="connsiteY4143" fmla="*/ 743207 h 6858000"/>
              <a:gd name="connsiteX4144" fmla="*/ 5749140 w 12188651"/>
              <a:gd name="connsiteY4144" fmla="*/ 550054 h 6858000"/>
              <a:gd name="connsiteX4145" fmla="*/ 5749140 w 12188651"/>
              <a:gd name="connsiteY4145" fmla="*/ 163875 h 6858000"/>
              <a:gd name="connsiteX4146" fmla="*/ 5482485 w 12188651"/>
              <a:gd name="connsiteY4146" fmla="*/ 0 h 6858000"/>
              <a:gd name="connsiteX4147" fmla="*/ 5999546 w 12188651"/>
              <a:gd name="connsiteY4147" fmla="*/ 0 h 6858000"/>
              <a:gd name="connsiteX4148" fmla="*/ 5740963 w 12188651"/>
              <a:gd name="connsiteY4148" fmla="*/ 149601 h 6858000"/>
              <a:gd name="connsiteX4149" fmla="*/ 5347761 w 12188651"/>
              <a:gd name="connsiteY4149" fmla="*/ 0 h 6858000"/>
              <a:gd name="connsiteX4150" fmla="*/ 5448034 w 12188651"/>
              <a:gd name="connsiteY4150" fmla="*/ 0 h 6858000"/>
              <a:gd name="connsiteX4151" fmla="*/ 5731618 w 12188651"/>
              <a:gd name="connsiteY4151" fmla="*/ 164130 h 6858000"/>
              <a:gd name="connsiteX4152" fmla="*/ 5731618 w 12188651"/>
              <a:gd name="connsiteY4152" fmla="*/ 550429 h 6858000"/>
              <a:gd name="connsiteX4153" fmla="*/ 5398000 w 12188651"/>
              <a:gd name="connsiteY4153" fmla="*/ 743584 h 6858000"/>
              <a:gd name="connsiteX4154" fmla="*/ 5064275 w 12188651"/>
              <a:gd name="connsiteY4154" fmla="*/ 550443 h 6858000"/>
              <a:gd name="connsiteX4155" fmla="*/ 5064275 w 12188651"/>
              <a:gd name="connsiteY4155" fmla="*/ 164134 h 6858000"/>
              <a:gd name="connsiteX4156" fmla="*/ 4798110 w 12188651"/>
              <a:gd name="connsiteY4156" fmla="*/ 0 h 6858000"/>
              <a:gd name="connsiteX4157" fmla="*/ 5313753 w 12188651"/>
              <a:gd name="connsiteY4157" fmla="*/ 0 h 6858000"/>
              <a:gd name="connsiteX4158" fmla="*/ 5055955 w 12188651"/>
              <a:gd name="connsiteY4158" fmla="*/ 149201 h 6858000"/>
              <a:gd name="connsiteX4159" fmla="*/ 4816718 w 12188651"/>
              <a:gd name="connsiteY4159" fmla="*/ 10771 h 6858000"/>
              <a:gd name="connsiteX4160" fmla="*/ 4722313 w 12188651"/>
              <a:gd name="connsiteY4160" fmla="*/ 0 h 6858000"/>
              <a:gd name="connsiteX4161" fmla="*/ 4764172 w 12188651"/>
              <a:gd name="connsiteY4161" fmla="*/ 0 h 6858000"/>
              <a:gd name="connsiteX4162" fmla="*/ 5047775 w 12188651"/>
              <a:gd name="connsiteY4162" fmla="*/ 164120 h 6858000"/>
              <a:gd name="connsiteX4163" fmla="*/ 5047775 w 12188651"/>
              <a:gd name="connsiteY4163" fmla="*/ 540960 h 6858000"/>
              <a:gd name="connsiteX4164" fmla="*/ 4722313 w 12188651"/>
              <a:gd name="connsiteY4164" fmla="*/ 352611 h 6858000"/>
              <a:gd name="connsiteX4165" fmla="*/ 4664088 w 12188651"/>
              <a:gd name="connsiteY4165" fmla="*/ 0 h 6858000"/>
              <a:gd name="connsiteX4166" fmla="*/ 4705942 w 12188651"/>
              <a:gd name="connsiteY4166" fmla="*/ 0 h 6858000"/>
              <a:gd name="connsiteX4167" fmla="*/ 4705942 w 12188651"/>
              <a:gd name="connsiteY4167" fmla="*/ 352603 h 6858000"/>
              <a:gd name="connsiteX4168" fmla="*/ 4380369 w 12188651"/>
              <a:gd name="connsiteY4168" fmla="*/ 540954 h 6858000"/>
              <a:gd name="connsiteX4169" fmla="*/ 4380369 w 12188651"/>
              <a:gd name="connsiteY4169" fmla="*/ 164134 h 6858000"/>
              <a:gd name="connsiteX4170" fmla="*/ 4112484 w 12188651"/>
              <a:gd name="connsiteY4170" fmla="*/ 0 h 6858000"/>
              <a:gd name="connsiteX4171" fmla="*/ 4629754 w 12188651"/>
              <a:gd name="connsiteY4171" fmla="*/ 0 h 6858000"/>
              <a:gd name="connsiteX4172" fmla="*/ 4371146 w 12188651"/>
              <a:gd name="connsiteY4172" fmla="*/ 149717 h 6858000"/>
              <a:gd name="connsiteX4173" fmla="*/ 3978507 w 12188651"/>
              <a:gd name="connsiteY4173" fmla="*/ 0 h 6858000"/>
              <a:gd name="connsiteX4174" fmla="*/ 4079738 w 12188651"/>
              <a:gd name="connsiteY4174" fmla="*/ 0 h 6858000"/>
              <a:gd name="connsiteX4175" fmla="*/ 4207107 w 12188651"/>
              <a:gd name="connsiteY4175" fmla="*/ 73731 h 6858000"/>
              <a:gd name="connsiteX4176" fmla="*/ 4362838 w 12188651"/>
              <a:gd name="connsiteY4176" fmla="*/ 163859 h 6858000"/>
              <a:gd name="connsiteX4177" fmla="*/ 4362838 w 12188651"/>
              <a:gd name="connsiteY4177" fmla="*/ 550038 h 6858000"/>
              <a:gd name="connsiteX4178" fmla="*/ 4029120 w 12188651"/>
              <a:gd name="connsiteY4178" fmla="*/ 743194 h 6858000"/>
              <a:gd name="connsiteX4179" fmla="*/ 3695368 w 12188651"/>
              <a:gd name="connsiteY4179" fmla="*/ 550042 h 6858000"/>
              <a:gd name="connsiteX4180" fmla="*/ 3695368 w 12188651"/>
              <a:gd name="connsiteY4180" fmla="*/ 163860 h 6858000"/>
              <a:gd name="connsiteX4181" fmla="*/ 3428727 w 12188651"/>
              <a:gd name="connsiteY4181" fmla="*/ 0 h 6858000"/>
              <a:gd name="connsiteX4182" fmla="*/ 3945759 w 12188651"/>
              <a:gd name="connsiteY4182" fmla="*/ 0 h 6858000"/>
              <a:gd name="connsiteX4183" fmla="*/ 3687190 w 12188651"/>
              <a:gd name="connsiteY4183" fmla="*/ 149586 h 6858000"/>
              <a:gd name="connsiteX4184" fmla="*/ 3293942 w 12188651"/>
              <a:gd name="connsiteY4184" fmla="*/ 0 h 6858000"/>
              <a:gd name="connsiteX4185" fmla="*/ 3394267 w 12188651"/>
              <a:gd name="connsiteY4185" fmla="*/ 0 h 6858000"/>
              <a:gd name="connsiteX4186" fmla="*/ 3677828 w 12188651"/>
              <a:gd name="connsiteY4186" fmla="*/ 164102 h 6858000"/>
              <a:gd name="connsiteX4187" fmla="*/ 3677828 w 12188651"/>
              <a:gd name="connsiteY4187" fmla="*/ 550415 h 6858000"/>
              <a:gd name="connsiteX4188" fmla="*/ 3344198 w 12188651"/>
              <a:gd name="connsiteY4188" fmla="*/ 743570 h 6858000"/>
              <a:gd name="connsiteX4189" fmla="*/ 3010461 w 12188651"/>
              <a:gd name="connsiteY4189" fmla="*/ 550429 h 6858000"/>
              <a:gd name="connsiteX4190" fmla="*/ 3010461 w 12188651"/>
              <a:gd name="connsiteY4190" fmla="*/ 164119 h 6858000"/>
              <a:gd name="connsiteX4191" fmla="*/ 2744346 w 12188651"/>
              <a:gd name="connsiteY4191" fmla="*/ 0 h 6858000"/>
              <a:gd name="connsiteX4192" fmla="*/ 3259920 w 12188651"/>
              <a:gd name="connsiteY4192" fmla="*/ 0 h 6858000"/>
              <a:gd name="connsiteX4193" fmla="*/ 3002133 w 12188651"/>
              <a:gd name="connsiteY4193" fmla="*/ 149187 h 6858000"/>
              <a:gd name="connsiteX4194" fmla="*/ 2867142 w 12188651"/>
              <a:gd name="connsiteY4194" fmla="*/ 71063 h 6858000"/>
              <a:gd name="connsiteX4195" fmla="*/ 2668523 w 12188651"/>
              <a:gd name="connsiteY4195" fmla="*/ 0 h 6858000"/>
              <a:gd name="connsiteX4196" fmla="*/ 2710404 w 12188651"/>
              <a:gd name="connsiteY4196" fmla="*/ 0 h 6858000"/>
              <a:gd name="connsiteX4197" fmla="*/ 2993958 w 12188651"/>
              <a:gd name="connsiteY4197" fmla="*/ 164103 h 6858000"/>
              <a:gd name="connsiteX4198" fmla="*/ 2993958 w 12188651"/>
              <a:gd name="connsiteY4198" fmla="*/ 540944 h 6858000"/>
              <a:gd name="connsiteX4199" fmla="*/ 2778118 w 12188651"/>
              <a:gd name="connsiteY4199" fmla="*/ 416029 h 6858000"/>
              <a:gd name="connsiteX4200" fmla="*/ 2737216 w 12188651"/>
              <a:gd name="connsiteY4200" fmla="*/ 392357 h 6858000"/>
              <a:gd name="connsiteX4201" fmla="*/ 2734179 w 12188651"/>
              <a:gd name="connsiteY4201" fmla="*/ 390600 h 6858000"/>
              <a:gd name="connsiteX4202" fmla="*/ 2668523 w 12188651"/>
              <a:gd name="connsiteY4202" fmla="*/ 352604 h 6858000"/>
              <a:gd name="connsiteX4203" fmla="*/ 2610283 w 12188651"/>
              <a:gd name="connsiteY4203" fmla="*/ 0 h 6858000"/>
              <a:gd name="connsiteX4204" fmla="*/ 2652154 w 12188651"/>
              <a:gd name="connsiteY4204" fmla="*/ 0 h 6858000"/>
              <a:gd name="connsiteX4205" fmla="*/ 2652154 w 12188651"/>
              <a:gd name="connsiteY4205" fmla="*/ 352589 h 6858000"/>
              <a:gd name="connsiteX4206" fmla="*/ 2326593 w 12188651"/>
              <a:gd name="connsiteY4206" fmla="*/ 540928 h 6858000"/>
              <a:gd name="connsiteX4207" fmla="*/ 2326593 w 12188651"/>
              <a:gd name="connsiteY4207" fmla="*/ 164119 h 6858000"/>
              <a:gd name="connsiteX4208" fmla="*/ 2058538 w 12188651"/>
              <a:gd name="connsiteY4208" fmla="*/ 0 h 6858000"/>
              <a:gd name="connsiteX4209" fmla="*/ 2575794 w 12188651"/>
              <a:gd name="connsiteY4209" fmla="*/ 0 h 6858000"/>
              <a:gd name="connsiteX4210" fmla="*/ 2317223 w 12188651"/>
              <a:gd name="connsiteY4210" fmla="*/ 149702 h 6858000"/>
              <a:gd name="connsiteX4211" fmla="*/ 2260282 w 12188651"/>
              <a:gd name="connsiteY4211" fmla="*/ 116749 h 6858000"/>
              <a:gd name="connsiteX4212" fmla="*/ 1924507 w 12188651"/>
              <a:gd name="connsiteY4212" fmla="*/ 0 h 6858000"/>
              <a:gd name="connsiteX4213" fmla="*/ 2025801 w 12188651"/>
              <a:gd name="connsiteY4213" fmla="*/ 0 h 6858000"/>
              <a:gd name="connsiteX4214" fmla="*/ 2308919 w 12188651"/>
              <a:gd name="connsiteY4214" fmla="*/ 163842 h 6858000"/>
              <a:gd name="connsiteX4215" fmla="*/ 2308919 w 12188651"/>
              <a:gd name="connsiteY4215" fmla="*/ 550024 h 6858000"/>
              <a:gd name="connsiteX4216" fmla="*/ 1975146 w 12188651"/>
              <a:gd name="connsiteY4216" fmla="*/ 743180 h 6858000"/>
              <a:gd name="connsiteX4217" fmla="*/ 1641391 w 12188651"/>
              <a:gd name="connsiteY4217" fmla="*/ 550028 h 6858000"/>
              <a:gd name="connsiteX4218" fmla="*/ 1641391 w 12188651"/>
              <a:gd name="connsiteY4218" fmla="*/ 163846 h 6858000"/>
              <a:gd name="connsiteX4219" fmla="*/ 1374768 w 12188651"/>
              <a:gd name="connsiteY4219" fmla="*/ 0 h 6858000"/>
              <a:gd name="connsiteX4220" fmla="*/ 1891761 w 12188651"/>
              <a:gd name="connsiteY4220" fmla="*/ 0 h 6858000"/>
              <a:gd name="connsiteX4221" fmla="*/ 1633212 w 12188651"/>
              <a:gd name="connsiteY4221" fmla="*/ 149572 h 6858000"/>
              <a:gd name="connsiteX4222" fmla="*/ 1239933 w 12188651"/>
              <a:gd name="connsiteY4222" fmla="*/ 0 h 6858000"/>
              <a:gd name="connsiteX4223" fmla="*/ 1340313 w 12188651"/>
              <a:gd name="connsiteY4223" fmla="*/ 0 h 6858000"/>
              <a:gd name="connsiteX4224" fmla="*/ 1623852 w 12188651"/>
              <a:gd name="connsiteY4224" fmla="*/ 164090 h 6858000"/>
              <a:gd name="connsiteX4225" fmla="*/ 1623852 w 12188651"/>
              <a:gd name="connsiteY4225" fmla="*/ 550400 h 6858000"/>
              <a:gd name="connsiteX4226" fmla="*/ 1290219 w 12188651"/>
              <a:gd name="connsiteY4226" fmla="*/ 743557 h 6858000"/>
              <a:gd name="connsiteX4227" fmla="*/ 956480 w 12188651"/>
              <a:gd name="connsiteY4227" fmla="*/ 550415 h 6858000"/>
              <a:gd name="connsiteX4228" fmla="*/ 956480 w 12188651"/>
              <a:gd name="connsiteY4228" fmla="*/ 164104 h 6858000"/>
              <a:gd name="connsiteX4229" fmla="*/ 690398 w 12188651"/>
              <a:gd name="connsiteY4229" fmla="*/ 0 h 6858000"/>
              <a:gd name="connsiteX4230" fmla="*/ 1205918 w 12188651"/>
              <a:gd name="connsiteY4230" fmla="*/ 0 h 6858000"/>
              <a:gd name="connsiteX4231" fmla="*/ 948156 w 12188651"/>
              <a:gd name="connsiteY4231" fmla="*/ 149172 h 6858000"/>
              <a:gd name="connsiteX4232" fmla="*/ 614547 w 12188651"/>
              <a:gd name="connsiteY4232" fmla="*/ 0 h 6858000"/>
              <a:gd name="connsiteX4233" fmla="*/ 656453 w 12188651"/>
              <a:gd name="connsiteY4233" fmla="*/ 0 h 6858000"/>
              <a:gd name="connsiteX4234" fmla="*/ 939981 w 12188651"/>
              <a:gd name="connsiteY4234" fmla="*/ 164089 h 6858000"/>
              <a:gd name="connsiteX4235" fmla="*/ 939981 w 12188651"/>
              <a:gd name="connsiteY4235" fmla="*/ 540931 h 6858000"/>
              <a:gd name="connsiteX4236" fmla="*/ 760662 w 12188651"/>
              <a:gd name="connsiteY4236" fmla="*/ 437152 h 6858000"/>
              <a:gd name="connsiteX4237" fmla="*/ 614547 w 12188651"/>
              <a:gd name="connsiteY4237" fmla="*/ 352589 h 6858000"/>
              <a:gd name="connsiteX4238" fmla="*/ 556281 w 12188651"/>
              <a:gd name="connsiteY4238" fmla="*/ 0 h 6858000"/>
              <a:gd name="connsiteX4239" fmla="*/ 598177 w 12188651"/>
              <a:gd name="connsiteY4239" fmla="*/ 0 h 6858000"/>
              <a:gd name="connsiteX4240" fmla="*/ 598177 w 12188651"/>
              <a:gd name="connsiteY4240" fmla="*/ 352574 h 6858000"/>
              <a:gd name="connsiteX4241" fmla="*/ 272612 w 12188651"/>
              <a:gd name="connsiteY4241" fmla="*/ 540915 h 6858000"/>
              <a:gd name="connsiteX4242" fmla="*/ 272612 w 12188651"/>
              <a:gd name="connsiteY4242" fmla="*/ 164104 h 6858000"/>
              <a:gd name="connsiteX4243" fmla="*/ 4723 w 12188651"/>
              <a:gd name="connsiteY4243" fmla="*/ 0 h 6858000"/>
              <a:gd name="connsiteX4244" fmla="*/ 521923 w 12188651"/>
              <a:gd name="connsiteY4244" fmla="*/ 0 h 6858000"/>
              <a:gd name="connsiteX4245" fmla="*/ 263373 w 12188651"/>
              <a:gd name="connsiteY4245" fmla="*/ 14968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Lst>
            <a:rect l="l" t="t" r="r" b="b"/>
            <a:pathLst>
              <a:path w="12188651" h="6858000">
                <a:moveTo>
                  <a:pt x="2898356" y="6736207"/>
                </a:moveTo>
                <a:lnTo>
                  <a:pt x="2926103" y="6747747"/>
                </a:lnTo>
                <a:lnTo>
                  <a:pt x="2990703" y="6812479"/>
                </a:lnTo>
                <a:lnTo>
                  <a:pt x="3002247" y="6824154"/>
                </a:lnTo>
                <a:lnTo>
                  <a:pt x="3002260" y="6824142"/>
                </a:lnTo>
                <a:lnTo>
                  <a:pt x="3002268" y="6824154"/>
                </a:lnTo>
                <a:lnTo>
                  <a:pt x="3013815" y="6812479"/>
                </a:lnTo>
                <a:lnTo>
                  <a:pt x="3078283" y="6747747"/>
                </a:lnTo>
                <a:lnTo>
                  <a:pt x="3106032" y="6736207"/>
                </a:lnTo>
                <a:lnTo>
                  <a:pt x="3133652" y="6747747"/>
                </a:lnTo>
                <a:lnTo>
                  <a:pt x="3212130" y="6826359"/>
                </a:lnTo>
                <a:cubicBezTo>
                  <a:pt x="3219521" y="6833753"/>
                  <a:pt x="3223544" y="6843613"/>
                  <a:pt x="3223674" y="6854120"/>
                </a:cubicBezTo>
                <a:lnTo>
                  <a:pt x="3222078" y="6858000"/>
                </a:lnTo>
                <a:lnTo>
                  <a:pt x="2782374" y="6858000"/>
                </a:lnTo>
                <a:lnTo>
                  <a:pt x="2780774" y="6854136"/>
                </a:lnTo>
                <a:cubicBezTo>
                  <a:pt x="2780774" y="6844099"/>
                  <a:pt x="2784604" y="6834078"/>
                  <a:pt x="2792259" y="6826489"/>
                </a:cubicBezTo>
                <a:lnTo>
                  <a:pt x="2870736" y="6747747"/>
                </a:lnTo>
                <a:close/>
                <a:moveTo>
                  <a:pt x="844377" y="6736207"/>
                </a:moveTo>
                <a:lnTo>
                  <a:pt x="872125" y="6747747"/>
                </a:lnTo>
                <a:lnTo>
                  <a:pt x="936724" y="6812479"/>
                </a:lnTo>
                <a:lnTo>
                  <a:pt x="948269" y="6824154"/>
                </a:lnTo>
                <a:lnTo>
                  <a:pt x="948282" y="6824142"/>
                </a:lnTo>
                <a:lnTo>
                  <a:pt x="948294" y="6824154"/>
                </a:lnTo>
                <a:lnTo>
                  <a:pt x="959838" y="6812479"/>
                </a:lnTo>
                <a:lnTo>
                  <a:pt x="1024306" y="6747747"/>
                </a:lnTo>
                <a:lnTo>
                  <a:pt x="1052055" y="6736207"/>
                </a:lnTo>
                <a:lnTo>
                  <a:pt x="1079674" y="6747747"/>
                </a:lnTo>
                <a:lnTo>
                  <a:pt x="1158152" y="6826359"/>
                </a:lnTo>
                <a:cubicBezTo>
                  <a:pt x="1165546" y="6833753"/>
                  <a:pt x="1169568" y="6843613"/>
                  <a:pt x="1169697" y="6854120"/>
                </a:cubicBezTo>
                <a:lnTo>
                  <a:pt x="1168102" y="6858000"/>
                </a:lnTo>
                <a:lnTo>
                  <a:pt x="728400" y="6858000"/>
                </a:lnTo>
                <a:lnTo>
                  <a:pt x="726801" y="6854136"/>
                </a:lnTo>
                <a:cubicBezTo>
                  <a:pt x="726801" y="6844099"/>
                  <a:pt x="730627" y="6834078"/>
                  <a:pt x="738281" y="6826489"/>
                </a:cubicBezTo>
                <a:lnTo>
                  <a:pt x="816760" y="6747747"/>
                </a:lnTo>
                <a:close/>
                <a:moveTo>
                  <a:pt x="4952154" y="6736204"/>
                </a:moveTo>
                <a:lnTo>
                  <a:pt x="4979914" y="6747747"/>
                </a:lnTo>
                <a:lnTo>
                  <a:pt x="5044520" y="6812479"/>
                </a:lnTo>
                <a:lnTo>
                  <a:pt x="5056064" y="6824154"/>
                </a:lnTo>
                <a:lnTo>
                  <a:pt x="5056083" y="6824144"/>
                </a:lnTo>
                <a:lnTo>
                  <a:pt x="5056087" y="6824154"/>
                </a:lnTo>
                <a:lnTo>
                  <a:pt x="5067633" y="6812479"/>
                </a:lnTo>
                <a:lnTo>
                  <a:pt x="5132089" y="6747747"/>
                </a:lnTo>
                <a:lnTo>
                  <a:pt x="5159834" y="6736204"/>
                </a:lnTo>
                <a:lnTo>
                  <a:pt x="5187464" y="6747747"/>
                </a:lnTo>
                <a:lnTo>
                  <a:pt x="5265932" y="6826359"/>
                </a:lnTo>
                <a:cubicBezTo>
                  <a:pt x="5273331" y="6833753"/>
                  <a:pt x="5277341" y="6843613"/>
                  <a:pt x="5277479" y="6854120"/>
                </a:cubicBezTo>
                <a:lnTo>
                  <a:pt x="5275883" y="6858000"/>
                </a:lnTo>
                <a:lnTo>
                  <a:pt x="4836166" y="6858000"/>
                </a:lnTo>
                <a:lnTo>
                  <a:pt x="4834566" y="6854136"/>
                </a:lnTo>
                <a:cubicBezTo>
                  <a:pt x="4834566" y="6844099"/>
                  <a:pt x="4838398" y="6834078"/>
                  <a:pt x="4846044" y="6826489"/>
                </a:cubicBezTo>
                <a:lnTo>
                  <a:pt x="4924518" y="6747747"/>
                </a:lnTo>
                <a:close/>
                <a:moveTo>
                  <a:pt x="11113840" y="6736202"/>
                </a:moveTo>
                <a:cubicBezTo>
                  <a:pt x="11124348" y="6736202"/>
                  <a:pt x="11134206" y="6740354"/>
                  <a:pt x="11141600" y="6747747"/>
                </a:cubicBezTo>
                <a:lnTo>
                  <a:pt x="11206199" y="6812479"/>
                </a:lnTo>
                <a:lnTo>
                  <a:pt x="11217744" y="6824154"/>
                </a:lnTo>
                <a:lnTo>
                  <a:pt x="11229289" y="6812479"/>
                </a:lnTo>
                <a:lnTo>
                  <a:pt x="11293758" y="6747747"/>
                </a:lnTo>
                <a:cubicBezTo>
                  <a:pt x="11301152" y="6740224"/>
                  <a:pt x="11311011" y="6736202"/>
                  <a:pt x="11321517" y="6736202"/>
                </a:cubicBezTo>
                <a:cubicBezTo>
                  <a:pt x="11331896" y="6736202"/>
                  <a:pt x="11341755" y="6740354"/>
                  <a:pt x="11349147" y="6747747"/>
                </a:cubicBezTo>
                <a:lnTo>
                  <a:pt x="11427627" y="6826359"/>
                </a:lnTo>
                <a:cubicBezTo>
                  <a:pt x="11435021" y="6833753"/>
                  <a:pt x="11439042" y="6843613"/>
                  <a:pt x="11439172" y="6854120"/>
                </a:cubicBezTo>
                <a:lnTo>
                  <a:pt x="11437577" y="6858000"/>
                </a:lnTo>
                <a:lnTo>
                  <a:pt x="10997850" y="6858000"/>
                </a:lnTo>
                <a:lnTo>
                  <a:pt x="10996251" y="6854136"/>
                </a:lnTo>
                <a:cubicBezTo>
                  <a:pt x="10996251" y="6844099"/>
                  <a:pt x="11000077" y="6834078"/>
                  <a:pt x="11007731" y="6826489"/>
                </a:cubicBezTo>
                <a:lnTo>
                  <a:pt x="11086210" y="6747747"/>
                </a:lnTo>
                <a:cubicBezTo>
                  <a:pt x="11093605" y="6740354"/>
                  <a:pt x="11103333" y="6736202"/>
                  <a:pt x="11113840" y="6736202"/>
                </a:cubicBezTo>
                <a:close/>
                <a:moveTo>
                  <a:pt x="9059892" y="6736202"/>
                </a:moveTo>
                <a:lnTo>
                  <a:pt x="9087652" y="6747747"/>
                </a:lnTo>
                <a:lnTo>
                  <a:pt x="9152251" y="6812479"/>
                </a:lnTo>
                <a:lnTo>
                  <a:pt x="9163796" y="6824154"/>
                </a:lnTo>
                <a:lnTo>
                  <a:pt x="9163797" y="6824154"/>
                </a:lnTo>
                <a:lnTo>
                  <a:pt x="9175342" y="6812479"/>
                </a:lnTo>
                <a:lnTo>
                  <a:pt x="9239811" y="6747747"/>
                </a:lnTo>
                <a:lnTo>
                  <a:pt x="9267570" y="6736202"/>
                </a:lnTo>
                <a:lnTo>
                  <a:pt x="9295200" y="6747747"/>
                </a:lnTo>
                <a:lnTo>
                  <a:pt x="9373678" y="6826359"/>
                </a:lnTo>
                <a:cubicBezTo>
                  <a:pt x="9381073" y="6833753"/>
                  <a:pt x="9385093" y="6843613"/>
                  <a:pt x="9385223" y="6854120"/>
                </a:cubicBezTo>
                <a:lnTo>
                  <a:pt x="9383628" y="6858000"/>
                </a:lnTo>
                <a:lnTo>
                  <a:pt x="8943904" y="6858000"/>
                </a:lnTo>
                <a:lnTo>
                  <a:pt x="8942305" y="6854136"/>
                </a:lnTo>
                <a:cubicBezTo>
                  <a:pt x="8942305" y="6844099"/>
                  <a:pt x="8946131" y="6834078"/>
                  <a:pt x="8953784" y="6826489"/>
                </a:cubicBezTo>
                <a:lnTo>
                  <a:pt x="9032264" y="6747747"/>
                </a:lnTo>
                <a:close/>
                <a:moveTo>
                  <a:pt x="7006076" y="6736202"/>
                </a:moveTo>
                <a:cubicBezTo>
                  <a:pt x="7016582" y="6736202"/>
                  <a:pt x="7026440" y="6740354"/>
                  <a:pt x="7033834" y="6747747"/>
                </a:cubicBezTo>
                <a:lnTo>
                  <a:pt x="7098434" y="6812479"/>
                </a:lnTo>
                <a:lnTo>
                  <a:pt x="7109978" y="6824154"/>
                </a:lnTo>
                <a:lnTo>
                  <a:pt x="7121523" y="6812479"/>
                </a:lnTo>
                <a:lnTo>
                  <a:pt x="7185994" y="6747747"/>
                </a:lnTo>
                <a:cubicBezTo>
                  <a:pt x="7193387" y="6740224"/>
                  <a:pt x="7203245" y="6736202"/>
                  <a:pt x="7213751" y="6736202"/>
                </a:cubicBezTo>
                <a:cubicBezTo>
                  <a:pt x="7224130" y="6736202"/>
                  <a:pt x="7233989" y="6740354"/>
                  <a:pt x="7241381" y="6747747"/>
                </a:cubicBezTo>
                <a:lnTo>
                  <a:pt x="7319862" y="6826359"/>
                </a:lnTo>
                <a:cubicBezTo>
                  <a:pt x="7327255" y="6833753"/>
                  <a:pt x="7331276" y="6843613"/>
                  <a:pt x="7331407" y="6854120"/>
                </a:cubicBezTo>
                <a:lnTo>
                  <a:pt x="7329812" y="6858000"/>
                </a:lnTo>
                <a:lnTo>
                  <a:pt x="6890084" y="6858000"/>
                </a:lnTo>
                <a:lnTo>
                  <a:pt x="6888485" y="6854136"/>
                </a:lnTo>
                <a:cubicBezTo>
                  <a:pt x="6888485" y="6844099"/>
                  <a:pt x="6892312" y="6834078"/>
                  <a:pt x="6899966" y="6826489"/>
                </a:cubicBezTo>
                <a:lnTo>
                  <a:pt x="6978446" y="6747747"/>
                </a:lnTo>
                <a:cubicBezTo>
                  <a:pt x="6985839" y="6740354"/>
                  <a:pt x="6995568" y="6736202"/>
                  <a:pt x="7006076" y="6736202"/>
                </a:cubicBezTo>
                <a:close/>
                <a:moveTo>
                  <a:pt x="3679133" y="6509063"/>
                </a:moveTo>
                <a:lnTo>
                  <a:pt x="3679133" y="6858000"/>
                </a:lnTo>
                <a:lnTo>
                  <a:pt x="3353551" y="6858000"/>
                </a:lnTo>
                <a:lnTo>
                  <a:pt x="3353551" y="6697415"/>
                </a:lnTo>
                <a:close/>
                <a:moveTo>
                  <a:pt x="3695482" y="6509061"/>
                </a:moveTo>
                <a:lnTo>
                  <a:pt x="4020937" y="6697415"/>
                </a:lnTo>
                <a:lnTo>
                  <a:pt x="4020937" y="6858000"/>
                </a:lnTo>
                <a:lnTo>
                  <a:pt x="3695482" y="6858000"/>
                </a:lnTo>
                <a:close/>
                <a:moveTo>
                  <a:pt x="1641506" y="6509061"/>
                </a:moveTo>
                <a:lnTo>
                  <a:pt x="1966962" y="6697415"/>
                </a:lnTo>
                <a:lnTo>
                  <a:pt x="1966962" y="6858000"/>
                </a:lnTo>
                <a:lnTo>
                  <a:pt x="1641506" y="6858000"/>
                </a:lnTo>
                <a:close/>
                <a:moveTo>
                  <a:pt x="1625155" y="6509061"/>
                </a:moveTo>
                <a:lnTo>
                  <a:pt x="1625155" y="6858000"/>
                </a:lnTo>
                <a:lnTo>
                  <a:pt x="1299571" y="6858000"/>
                </a:lnTo>
                <a:lnTo>
                  <a:pt x="1299571" y="6697415"/>
                </a:lnTo>
                <a:close/>
                <a:moveTo>
                  <a:pt x="5749262" y="6509059"/>
                </a:moveTo>
                <a:lnTo>
                  <a:pt x="6074705" y="6697415"/>
                </a:lnTo>
                <a:lnTo>
                  <a:pt x="6074705" y="6858000"/>
                </a:lnTo>
                <a:lnTo>
                  <a:pt x="5749262" y="6858000"/>
                </a:lnTo>
                <a:close/>
                <a:moveTo>
                  <a:pt x="5732919" y="6509059"/>
                </a:moveTo>
                <a:lnTo>
                  <a:pt x="5732919" y="6858000"/>
                </a:lnTo>
                <a:lnTo>
                  <a:pt x="5407350" y="6858000"/>
                </a:lnTo>
                <a:lnTo>
                  <a:pt x="5407350" y="6697415"/>
                </a:lnTo>
                <a:close/>
                <a:moveTo>
                  <a:pt x="11910826" y="6509058"/>
                </a:moveTo>
                <a:lnTo>
                  <a:pt x="12188651" y="6669846"/>
                </a:lnTo>
                <a:lnTo>
                  <a:pt x="12188651" y="6858000"/>
                </a:lnTo>
                <a:lnTo>
                  <a:pt x="11910826" y="6858000"/>
                </a:lnTo>
                <a:close/>
                <a:moveTo>
                  <a:pt x="11894481" y="6509058"/>
                </a:moveTo>
                <a:lnTo>
                  <a:pt x="11894481" y="6858000"/>
                </a:lnTo>
                <a:lnTo>
                  <a:pt x="11568890" y="6858000"/>
                </a:lnTo>
                <a:lnTo>
                  <a:pt x="11568890" y="6697415"/>
                </a:lnTo>
                <a:close/>
                <a:moveTo>
                  <a:pt x="9857006" y="6509058"/>
                </a:moveTo>
                <a:lnTo>
                  <a:pt x="10182468" y="6697415"/>
                </a:lnTo>
                <a:lnTo>
                  <a:pt x="10182468" y="6858000"/>
                </a:lnTo>
                <a:lnTo>
                  <a:pt x="9857006" y="6858000"/>
                </a:lnTo>
                <a:close/>
                <a:moveTo>
                  <a:pt x="9840661" y="6509058"/>
                </a:moveTo>
                <a:lnTo>
                  <a:pt x="9840661" y="6858000"/>
                </a:lnTo>
                <a:lnTo>
                  <a:pt x="9515070" y="6858000"/>
                </a:lnTo>
                <a:lnTo>
                  <a:pt x="9515070" y="6697415"/>
                </a:lnTo>
                <a:close/>
                <a:moveTo>
                  <a:pt x="7803060" y="6509058"/>
                </a:moveTo>
                <a:lnTo>
                  <a:pt x="8128521" y="6697415"/>
                </a:lnTo>
                <a:lnTo>
                  <a:pt x="8128521" y="6858000"/>
                </a:lnTo>
                <a:lnTo>
                  <a:pt x="7803060" y="6858000"/>
                </a:lnTo>
                <a:close/>
                <a:moveTo>
                  <a:pt x="7786715" y="6509058"/>
                </a:moveTo>
                <a:lnTo>
                  <a:pt x="7786715" y="6858000"/>
                </a:lnTo>
                <a:lnTo>
                  <a:pt x="7461125" y="6858000"/>
                </a:lnTo>
                <a:lnTo>
                  <a:pt x="7461125" y="6697415"/>
                </a:lnTo>
                <a:close/>
                <a:moveTo>
                  <a:pt x="2317076" y="6504260"/>
                </a:moveTo>
                <a:lnTo>
                  <a:pt x="2650835" y="6697415"/>
                </a:lnTo>
                <a:lnTo>
                  <a:pt x="2650835" y="6858000"/>
                </a:lnTo>
                <a:lnTo>
                  <a:pt x="1983442" y="6858000"/>
                </a:lnTo>
                <a:lnTo>
                  <a:pt x="1983442" y="6697415"/>
                </a:lnTo>
                <a:close/>
                <a:moveTo>
                  <a:pt x="263230" y="6504260"/>
                </a:moveTo>
                <a:lnTo>
                  <a:pt x="596989" y="6697415"/>
                </a:lnTo>
                <a:lnTo>
                  <a:pt x="596989" y="6858000"/>
                </a:lnTo>
                <a:lnTo>
                  <a:pt x="0" y="6858000"/>
                </a:lnTo>
                <a:lnTo>
                  <a:pt x="0" y="6656657"/>
                </a:lnTo>
                <a:close/>
                <a:moveTo>
                  <a:pt x="10532576" y="6504258"/>
                </a:moveTo>
                <a:lnTo>
                  <a:pt x="10866339" y="6697415"/>
                </a:lnTo>
                <a:lnTo>
                  <a:pt x="10866339" y="6858000"/>
                </a:lnTo>
                <a:lnTo>
                  <a:pt x="10198941" y="6858000"/>
                </a:lnTo>
                <a:lnTo>
                  <a:pt x="10198941" y="6697415"/>
                </a:lnTo>
                <a:close/>
                <a:moveTo>
                  <a:pt x="8478628" y="6504258"/>
                </a:moveTo>
                <a:lnTo>
                  <a:pt x="8812392" y="6697415"/>
                </a:lnTo>
                <a:lnTo>
                  <a:pt x="8812392" y="6858000"/>
                </a:lnTo>
                <a:lnTo>
                  <a:pt x="8144995" y="6858000"/>
                </a:lnTo>
                <a:lnTo>
                  <a:pt x="8144995" y="6697415"/>
                </a:lnTo>
                <a:close/>
                <a:moveTo>
                  <a:pt x="6424810" y="6504258"/>
                </a:moveTo>
                <a:lnTo>
                  <a:pt x="6758573" y="6697415"/>
                </a:lnTo>
                <a:lnTo>
                  <a:pt x="6758573" y="6858000"/>
                </a:lnTo>
                <a:lnTo>
                  <a:pt x="6091179" y="6858000"/>
                </a:lnTo>
                <a:lnTo>
                  <a:pt x="6091179" y="6697415"/>
                </a:lnTo>
                <a:close/>
                <a:moveTo>
                  <a:pt x="4371009" y="6504258"/>
                </a:moveTo>
                <a:lnTo>
                  <a:pt x="4704773" y="6697415"/>
                </a:lnTo>
                <a:lnTo>
                  <a:pt x="4704773" y="6858000"/>
                </a:lnTo>
                <a:lnTo>
                  <a:pt x="4037417" y="6858000"/>
                </a:lnTo>
                <a:lnTo>
                  <a:pt x="4037417" y="6697415"/>
                </a:lnTo>
                <a:close/>
                <a:moveTo>
                  <a:pt x="3002127" y="6504006"/>
                </a:moveTo>
                <a:lnTo>
                  <a:pt x="3335880" y="6697155"/>
                </a:lnTo>
                <a:lnTo>
                  <a:pt x="3335880" y="6858000"/>
                </a:lnTo>
                <a:lnTo>
                  <a:pt x="3238471" y="6858000"/>
                </a:lnTo>
                <a:lnTo>
                  <a:pt x="3240074" y="6854120"/>
                </a:lnTo>
                <a:cubicBezTo>
                  <a:pt x="3240074" y="6839883"/>
                  <a:pt x="3234660" y="6825646"/>
                  <a:pt x="3223830" y="6814814"/>
                </a:cubicBezTo>
                <a:lnTo>
                  <a:pt x="3145351" y="6736202"/>
                </a:lnTo>
                <a:cubicBezTo>
                  <a:pt x="3134450" y="6725305"/>
                  <a:pt x="3120314" y="6719857"/>
                  <a:pt x="3106173" y="6719857"/>
                </a:cubicBezTo>
                <a:lnTo>
                  <a:pt x="3106046" y="6719727"/>
                </a:lnTo>
                <a:lnTo>
                  <a:pt x="3106024" y="6719731"/>
                </a:lnTo>
                <a:lnTo>
                  <a:pt x="3106018" y="6719727"/>
                </a:lnTo>
                <a:cubicBezTo>
                  <a:pt x="3091751" y="6719727"/>
                  <a:pt x="3077614" y="6725176"/>
                  <a:pt x="3066715" y="6736202"/>
                </a:cubicBezTo>
                <a:lnTo>
                  <a:pt x="3002260" y="6800792"/>
                </a:lnTo>
                <a:lnTo>
                  <a:pt x="2937672" y="6736072"/>
                </a:lnTo>
                <a:cubicBezTo>
                  <a:pt x="2926776" y="6725176"/>
                  <a:pt x="2912631" y="6719727"/>
                  <a:pt x="2898367" y="6719727"/>
                </a:cubicBezTo>
                <a:lnTo>
                  <a:pt x="2898356" y="6719730"/>
                </a:lnTo>
                <a:lnTo>
                  <a:pt x="2898342" y="6719727"/>
                </a:lnTo>
                <a:cubicBezTo>
                  <a:pt x="2884072" y="6719727"/>
                  <a:pt x="2869934" y="6725176"/>
                  <a:pt x="2859168" y="6736072"/>
                </a:cubicBezTo>
                <a:lnTo>
                  <a:pt x="2780689" y="6814814"/>
                </a:lnTo>
                <a:cubicBezTo>
                  <a:pt x="2769856" y="6825646"/>
                  <a:pt x="2764442" y="6839883"/>
                  <a:pt x="2764442" y="6854120"/>
                </a:cubicBezTo>
                <a:lnTo>
                  <a:pt x="2766045" y="6858000"/>
                </a:lnTo>
                <a:lnTo>
                  <a:pt x="2668379" y="6858000"/>
                </a:lnTo>
                <a:lnTo>
                  <a:pt x="2668379" y="6697155"/>
                </a:lnTo>
                <a:close/>
                <a:moveTo>
                  <a:pt x="948152" y="6504006"/>
                </a:moveTo>
                <a:lnTo>
                  <a:pt x="1281903" y="6697155"/>
                </a:lnTo>
                <a:lnTo>
                  <a:pt x="1281903" y="6858000"/>
                </a:lnTo>
                <a:lnTo>
                  <a:pt x="1184494" y="6858000"/>
                </a:lnTo>
                <a:lnTo>
                  <a:pt x="1186097" y="6854120"/>
                </a:lnTo>
                <a:cubicBezTo>
                  <a:pt x="1186097" y="6839883"/>
                  <a:pt x="1180679" y="6825646"/>
                  <a:pt x="1169850" y="6814814"/>
                </a:cubicBezTo>
                <a:lnTo>
                  <a:pt x="1091372" y="6736202"/>
                </a:lnTo>
                <a:cubicBezTo>
                  <a:pt x="1080476" y="6725305"/>
                  <a:pt x="1066336" y="6719857"/>
                  <a:pt x="1052196" y="6719857"/>
                </a:cubicBezTo>
                <a:lnTo>
                  <a:pt x="1052065" y="6719727"/>
                </a:lnTo>
                <a:lnTo>
                  <a:pt x="1052048" y="6719731"/>
                </a:lnTo>
                <a:lnTo>
                  <a:pt x="1052044" y="6719727"/>
                </a:lnTo>
                <a:cubicBezTo>
                  <a:pt x="1037774" y="6719727"/>
                  <a:pt x="1023635" y="6725176"/>
                  <a:pt x="1012740" y="6736202"/>
                </a:cubicBezTo>
                <a:lnTo>
                  <a:pt x="948282" y="6800792"/>
                </a:lnTo>
                <a:lnTo>
                  <a:pt x="883695" y="6736072"/>
                </a:lnTo>
                <a:cubicBezTo>
                  <a:pt x="872796" y="6725176"/>
                  <a:pt x="858659" y="6719727"/>
                  <a:pt x="844389" y="6719727"/>
                </a:cubicBezTo>
                <a:lnTo>
                  <a:pt x="844377" y="6719730"/>
                </a:lnTo>
                <a:lnTo>
                  <a:pt x="844365" y="6719727"/>
                </a:lnTo>
                <a:cubicBezTo>
                  <a:pt x="830096" y="6719727"/>
                  <a:pt x="815958" y="6725176"/>
                  <a:pt x="805191" y="6736072"/>
                </a:cubicBezTo>
                <a:lnTo>
                  <a:pt x="726712" y="6814814"/>
                </a:lnTo>
                <a:cubicBezTo>
                  <a:pt x="715880" y="6825646"/>
                  <a:pt x="710465" y="6839883"/>
                  <a:pt x="710465" y="6854120"/>
                </a:cubicBezTo>
                <a:lnTo>
                  <a:pt x="712069" y="6858000"/>
                </a:lnTo>
                <a:lnTo>
                  <a:pt x="614404" y="6858000"/>
                </a:lnTo>
                <a:lnTo>
                  <a:pt x="614404" y="6697155"/>
                </a:lnTo>
                <a:close/>
                <a:moveTo>
                  <a:pt x="5055949" y="6504005"/>
                </a:moveTo>
                <a:lnTo>
                  <a:pt x="5389688" y="6697155"/>
                </a:lnTo>
                <a:lnTo>
                  <a:pt x="5389688" y="6858000"/>
                </a:lnTo>
                <a:lnTo>
                  <a:pt x="5292268" y="6858000"/>
                </a:lnTo>
                <a:lnTo>
                  <a:pt x="5293870" y="6854120"/>
                </a:lnTo>
                <a:cubicBezTo>
                  <a:pt x="5293870" y="6839883"/>
                  <a:pt x="5288456" y="6825646"/>
                  <a:pt x="5277615" y="6814814"/>
                </a:cubicBezTo>
                <a:lnTo>
                  <a:pt x="5199142" y="6736202"/>
                </a:lnTo>
                <a:cubicBezTo>
                  <a:pt x="5188246" y="6725305"/>
                  <a:pt x="5174097" y="6719857"/>
                  <a:pt x="5159966" y="6719857"/>
                </a:cubicBezTo>
                <a:lnTo>
                  <a:pt x="5159837" y="6719727"/>
                </a:lnTo>
                <a:lnTo>
                  <a:pt x="5159824" y="6719729"/>
                </a:lnTo>
                <a:lnTo>
                  <a:pt x="5159824" y="6719727"/>
                </a:lnTo>
                <a:cubicBezTo>
                  <a:pt x="5145561" y="6719727"/>
                  <a:pt x="5131424" y="6725176"/>
                  <a:pt x="5120526" y="6736202"/>
                </a:cubicBezTo>
                <a:lnTo>
                  <a:pt x="5056083" y="6800794"/>
                </a:lnTo>
                <a:lnTo>
                  <a:pt x="4991465" y="6736072"/>
                </a:lnTo>
                <a:cubicBezTo>
                  <a:pt x="4980573" y="6725176"/>
                  <a:pt x="4966424" y="6719727"/>
                  <a:pt x="4952157" y="6719727"/>
                </a:cubicBezTo>
                <a:lnTo>
                  <a:pt x="4952154" y="6719728"/>
                </a:lnTo>
                <a:lnTo>
                  <a:pt x="4952148" y="6719727"/>
                </a:lnTo>
                <a:cubicBezTo>
                  <a:pt x="4937875" y="6719727"/>
                  <a:pt x="4923734" y="6725176"/>
                  <a:pt x="4912971" y="6736072"/>
                </a:cubicBezTo>
                <a:lnTo>
                  <a:pt x="4834495" y="6814814"/>
                </a:lnTo>
                <a:cubicBezTo>
                  <a:pt x="4823655" y="6825646"/>
                  <a:pt x="4818244" y="6839883"/>
                  <a:pt x="4818244" y="6854120"/>
                </a:cubicBezTo>
                <a:lnTo>
                  <a:pt x="4819847" y="6858000"/>
                </a:lnTo>
                <a:lnTo>
                  <a:pt x="4722171" y="6858000"/>
                </a:lnTo>
                <a:lnTo>
                  <a:pt x="4722171" y="6697155"/>
                </a:lnTo>
                <a:close/>
                <a:moveTo>
                  <a:pt x="11217614" y="6503998"/>
                </a:moveTo>
                <a:lnTo>
                  <a:pt x="11551377" y="6697155"/>
                </a:lnTo>
                <a:lnTo>
                  <a:pt x="11551377" y="6858000"/>
                </a:lnTo>
                <a:lnTo>
                  <a:pt x="11453944" y="6858000"/>
                </a:lnTo>
                <a:lnTo>
                  <a:pt x="11455548" y="6854120"/>
                </a:lnTo>
                <a:cubicBezTo>
                  <a:pt x="11455548" y="6839883"/>
                  <a:pt x="11450133" y="6825646"/>
                  <a:pt x="11439301" y="6814814"/>
                </a:cubicBezTo>
                <a:lnTo>
                  <a:pt x="11360822" y="6736202"/>
                </a:lnTo>
                <a:cubicBezTo>
                  <a:pt x="11349927" y="6725305"/>
                  <a:pt x="11335787" y="6719857"/>
                  <a:pt x="11321647" y="6719857"/>
                </a:cubicBezTo>
                <a:lnTo>
                  <a:pt x="11321517" y="6719727"/>
                </a:lnTo>
                <a:cubicBezTo>
                  <a:pt x="11307249" y="6719727"/>
                  <a:pt x="11293110" y="6725176"/>
                  <a:pt x="11282213" y="6736202"/>
                </a:cubicBezTo>
                <a:lnTo>
                  <a:pt x="11217744" y="6800804"/>
                </a:lnTo>
                <a:lnTo>
                  <a:pt x="11153145" y="6736072"/>
                </a:lnTo>
                <a:cubicBezTo>
                  <a:pt x="11142248" y="6725176"/>
                  <a:pt x="11128108" y="6719727"/>
                  <a:pt x="11113840" y="6719727"/>
                </a:cubicBezTo>
                <a:cubicBezTo>
                  <a:pt x="11099571" y="6719727"/>
                  <a:pt x="11085432" y="6725176"/>
                  <a:pt x="11074665" y="6736072"/>
                </a:cubicBezTo>
                <a:lnTo>
                  <a:pt x="10996186" y="6814814"/>
                </a:lnTo>
                <a:cubicBezTo>
                  <a:pt x="10985354" y="6825646"/>
                  <a:pt x="10979939" y="6839883"/>
                  <a:pt x="10979939" y="6854120"/>
                </a:cubicBezTo>
                <a:lnTo>
                  <a:pt x="10981543" y="6858000"/>
                </a:lnTo>
                <a:lnTo>
                  <a:pt x="10883851" y="6858000"/>
                </a:lnTo>
                <a:lnTo>
                  <a:pt x="10883851" y="6697155"/>
                </a:lnTo>
                <a:close/>
                <a:moveTo>
                  <a:pt x="9163666" y="6503998"/>
                </a:moveTo>
                <a:lnTo>
                  <a:pt x="9497429" y="6697155"/>
                </a:lnTo>
                <a:lnTo>
                  <a:pt x="9497429" y="6858000"/>
                </a:lnTo>
                <a:lnTo>
                  <a:pt x="9399997" y="6858000"/>
                </a:lnTo>
                <a:lnTo>
                  <a:pt x="9401601" y="6854120"/>
                </a:lnTo>
                <a:cubicBezTo>
                  <a:pt x="9401601" y="6839883"/>
                  <a:pt x="9396185" y="6825646"/>
                  <a:pt x="9385354" y="6814814"/>
                </a:cubicBezTo>
                <a:lnTo>
                  <a:pt x="9306876" y="6736202"/>
                </a:lnTo>
                <a:cubicBezTo>
                  <a:pt x="9295978" y="6725305"/>
                  <a:pt x="9281840" y="6719857"/>
                  <a:pt x="9267701" y="6719857"/>
                </a:cubicBezTo>
                <a:lnTo>
                  <a:pt x="9267571" y="6719727"/>
                </a:lnTo>
                <a:lnTo>
                  <a:pt x="9267570" y="6719727"/>
                </a:lnTo>
                <a:cubicBezTo>
                  <a:pt x="9253302" y="6719727"/>
                  <a:pt x="9239161" y="6725176"/>
                  <a:pt x="9228265" y="6736202"/>
                </a:cubicBezTo>
                <a:lnTo>
                  <a:pt x="9163796" y="6800804"/>
                </a:lnTo>
                <a:lnTo>
                  <a:pt x="9099198" y="6736072"/>
                </a:lnTo>
                <a:cubicBezTo>
                  <a:pt x="9088300" y="6725176"/>
                  <a:pt x="9074162" y="6719727"/>
                  <a:pt x="9059893" y="6719727"/>
                </a:cubicBezTo>
                <a:lnTo>
                  <a:pt x="9059892" y="6719727"/>
                </a:lnTo>
                <a:cubicBezTo>
                  <a:pt x="9045623" y="6719727"/>
                  <a:pt x="9031483" y="6725176"/>
                  <a:pt x="9020717" y="6736072"/>
                </a:cubicBezTo>
                <a:lnTo>
                  <a:pt x="8942238" y="6814814"/>
                </a:lnTo>
                <a:cubicBezTo>
                  <a:pt x="8931407" y="6825646"/>
                  <a:pt x="8925991" y="6839883"/>
                  <a:pt x="8925991" y="6854120"/>
                </a:cubicBezTo>
                <a:lnTo>
                  <a:pt x="8927595" y="6858000"/>
                </a:lnTo>
                <a:lnTo>
                  <a:pt x="8829903" y="6858000"/>
                </a:lnTo>
                <a:lnTo>
                  <a:pt x="8829903" y="6697155"/>
                </a:lnTo>
                <a:close/>
                <a:moveTo>
                  <a:pt x="7109850" y="6503998"/>
                </a:moveTo>
                <a:lnTo>
                  <a:pt x="7443613" y="6697155"/>
                </a:lnTo>
                <a:lnTo>
                  <a:pt x="7443613" y="6858000"/>
                </a:lnTo>
                <a:lnTo>
                  <a:pt x="7346179" y="6858000"/>
                </a:lnTo>
                <a:lnTo>
                  <a:pt x="7347783" y="6854120"/>
                </a:lnTo>
                <a:cubicBezTo>
                  <a:pt x="7347783" y="6839883"/>
                  <a:pt x="7342368" y="6825646"/>
                  <a:pt x="7331537" y="6814814"/>
                </a:cubicBezTo>
                <a:lnTo>
                  <a:pt x="7253057" y="6736202"/>
                </a:lnTo>
                <a:cubicBezTo>
                  <a:pt x="7242161" y="6725305"/>
                  <a:pt x="7228022" y="6719857"/>
                  <a:pt x="7213882" y="6719857"/>
                </a:cubicBezTo>
                <a:lnTo>
                  <a:pt x="7213751" y="6719727"/>
                </a:lnTo>
                <a:cubicBezTo>
                  <a:pt x="7199483" y="6719727"/>
                  <a:pt x="7185345" y="6725176"/>
                  <a:pt x="7174449" y="6736202"/>
                </a:cubicBezTo>
                <a:lnTo>
                  <a:pt x="7109978" y="6800804"/>
                </a:lnTo>
                <a:lnTo>
                  <a:pt x="7045379" y="6736072"/>
                </a:lnTo>
                <a:cubicBezTo>
                  <a:pt x="7034483" y="6725176"/>
                  <a:pt x="7020344" y="6719727"/>
                  <a:pt x="7006076" y="6719727"/>
                </a:cubicBezTo>
                <a:cubicBezTo>
                  <a:pt x="6991805" y="6719727"/>
                  <a:pt x="6977666" y="6725176"/>
                  <a:pt x="6966901" y="6736072"/>
                </a:cubicBezTo>
                <a:lnTo>
                  <a:pt x="6888421" y="6814814"/>
                </a:lnTo>
                <a:cubicBezTo>
                  <a:pt x="6877589" y="6825646"/>
                  <a:pt x="6872173" y="6839883"/>
                  <a:pt x="6872173" y="6854120"/>
                </a:cubicBezTo>
                <a:lnTo>
                  <a:pt x="6873777" y="6858000"/>
                </a:lnTo>
                <a:lnTo>
                  <a:pt x="6776085" y="6858000"/>
                </a:lnTo>
                <a:lnTo>
                  <a:pt x="6776085" y="6697155"/>
                </a:lnTo>
                <a:close/>
                <a:moveTo>
                  <a:pt x="2660324" y="6306179"/>
                </a:moveTo>
                <a:lnTo>
                  <a:pt x="2985774" y="6494528"/>
                </a:lnTo>
                <a:lnTo>
                  <a:pt x="2660196" y="6682877"/>
                </a:lnTo>
                <a:lnTo>
                  <a:pt x="2334751" y="6494528"/>
                </a:lnTo>
                <a:close/>
                <a:moveTo>
                  <a:pt x="606349" y="6306179"/>
                </a:moveTo>
                <a:lnTo>
                  <a:pt x="931795" y="6494528"/>
                </a:lnTo>
                <a:lnTo>
                  <a:pt x="606218" y="6682877"/>
                </a:lnTo>
                <a:lnTo>
                  <a:pt x="280770" y="6494528"/>
                </a:lnTo>
                <a:close/>
                <a:moveTo>
                  <a:pt x="4714117" y="6306174"/>
                </a:moveTo>
                <a:lnTo>
                  <a:pt x="5039591" y="6494528"/>
                </a:lnTo>
                <a:lnTo>
                  <a:pt x="4713993" y="6682882"/>
                </a:lnTo>
                <a:lnTo>
                  <a:pt x="4388541" y="6494528"/>
                </a:lnTo>
                <a:close/>
                <a:moveTo>
                  <a:pt x="10875808" y="6306171"/>
                </a:moveTo>
                <a:lnTo>
                  <a:pt x="11201269" y="6494528"/>
                </a:lnTo>
                <a:lnTo>
                  <a:pt x="10875679" y="6682885"/>
                </a:lnTo>
                <a:lnTo>
                  <a:pt x="10550217" y="6494528"/>
                </a:lnTo>
                <a:close/>
                <a:moveTo>
                  <a:pt x="8821860" y="6306171"/>
                </a:moveTo>
                <a:lnTo>
                  <a:pt x="9147321" y="6494528"/>
                </a:lnTo>
                <a:lnTo>
                  <a:pt x="8821731" y="6682885"/>
                </a:lnTo>
                <a:lnTo>
                  <a:pt x="8496269" y="6494528"/>
                </a:lnTo>
                <a:close/>
                <a:moveTo>
                  <a:pt x="6768043" y="6306171"/>
                </a:moveTo>
                <a:lnTo>
                  <a:pt x="7093505" y="6494528"/>
                </a:lnTo>
                <a:lnTo>
                  <a:pt x="6767913" y="6682885"/>
                </a:lnTo>
                <a:lnTo>
                  <a:pt x="6442452" y="6494528"/>
                </a:lnTo>
                <a:close/>
                <a:moveTo>
                  <a:pt x="12140685" y="6142204"/>
                </a:moveTo>
                <a:cubicBezTo>
                  <a:pt x="12151191" y="6142204"/>
                  <a:pt x="12161050" y="6146356"/>
                  <a:pt x="12168445" y="6153749"/>
                </a:cubicBezTo>
                <a:lnTo>
                  <a:pt x="12188651" y="6173997"/>
                </a:lnTo>
                <a:lnTo>
                  <a:pt x="12188651" y="6442248"/>
                </a:lnTo>
                <a:lnTo>
                  <a:pt x="12034576" y="6287882"/>
                </a:lnTo>
                <a:cubicBezTo>
                  <a:pt x="12019270" y="6272575"/>
                  <a:pt x="12019270" y="6247668"/>
                  <a:pt x="12034576" y="6232490"/>
                </a:cubicBezTo>
                <a:lnTo>
                  <a:pt x="12113056" y="6153749"/>
                </a:lnTo>
                <a:cubicBezTo>
                  <a:pt x="12120448" y="6146356"/>
                  <a:pt x="12130178" y="6142204"/>
                  <a:pt x="12140685" y="6142204"/>
                </a:cubicBezTo>
                <a:close/>
                <a:moveTo>
                  <a:pt x="10086867" y="6142204"/>
                </a:moveTo>
                <a:cubicBezTo>
                  <a:pt x="10097374" y="6142204"/>
                  <a:pt x="10107232" y="6146356"/>
                  <a:pt x="10114626" y="6153749"/>
                </a:cubicBezTo>
                <a:lnTo>
                  <a:pt x="10179226" y="6218481"/>
                </a:lnTo>
                <a:lnTo>
                  <a:pt x="10190770" y="6230155"/>
                </a:lnTo>
                <a:lnTo>
                  <a:pt x="10202315" y="6218481"/>
                </a:lnTo>
                <a:lnTo>
                  <a:pt x="10266786" y="6153749"/>
                </a:lnTo>
                <a:cubicBezTo>
                  <a:pt x="10274178" y="6146226"/>
                  <a:pt x="10284037" y="6142204"/>
                  <a:pt x="10294543" y="6142204"/>
                </a:cubicBezTo>
                <a:cubicBezTo>
                  <a:pt x="10304922" y="6142204"/>
                  <a:pt x="10314781" y="6146356"/>
                  <a:pt x="10322173" y="6153749"/>
                </a:cubicBezTo>
                <a:lnTo>
                  <a:pt x="10400653" y="6232360"/>
                </a:lnTo>
                <a:cubicBezTo>
                  <a:pt x="10408047" y="6239755"/>
                  <a:pt x="10412068" y="6249614"/>
                  <a:pt x="10412198" y="6260121"/>
                </a:cubicBezTo>
                <a:cubicBezTo>
                  <a:pt x="10412198" y="6270629"/>
                  <a:pt x="10408176" y="6280488"/>
                  <a:pt x="10400783" y="6287882"/>
                </a:cubicBezTo>
                <a:lnTo>
                  <a:pt x="10190770" y="6498291"/>
                </a:lnTo>
                <a:lnTo>
                  <a:pt x="9980757" y="6287882"/>
                </a:lnTo>
                <a:cubicBezTo>
                  <a:pt x="9965450" y="6272575"/>
                  <a:pt x="9965450" y="6247668"/>
                  <a:pt x="9980757" y="6232490"/>
                </a:cubicBezTo>
                <a:lnTo>
                  <a:pt x="10059237" y="6153749"/>
                </a:lnTo>
                <a:cubicBezTo>
                  <a:pt x="10066631" y="6146356"/>
                  <a:pt x="10076359" y="6142204"/>
                  <a:pt x="10086867" y="6142204"/>
                </a:cubicBezTo>
                <a:close/>
                <a:moveTo>
                  <a:pt x="8032919" y="6142204"/>
                </a:moveTo>
                <a:cubicBezTo>
                  <a:pt x="8043427" y="6142204"/>
                  <a:pt x="8053285" y="6146356"/>
                  <a:pt x="8060679" y="6153749"/>
                </a:cubicBezTo>
                <a:lnTo>
                  <a:pt x="8125278" y="6218481"/>
                </a:lnTo>
                <a:lnTo>
                  <a:pt x="8136823" y="6230155"/>
                </a:lnTo>
                <a:lnTo>
                  <a:pt x="8148368" y="6218481"/>
                </a:lnTo>
                <a:lnTo>
                  <a:pt x="8212837" y="6153749"/>
                </a:lnTo>
                <a:cubicBezTo>
                  <a:pt x="8220232" y="6146226"/>
                  <a:pt x="8230090" y="6142204"/>
                  <a:pt x="8240596" y="6142204"/>
                </a:cubicBezTo>
                <a:cubicBezTo>
                  <a:pt x="8250975" y="6142204"/>
                  <a:pt x="8260834" y="6146356"/>
                  <a:pt x="8268226" y="6153749"/>
                </a:cubicBezTo>
                <a:lnTo>
                  <a:pt x="8346707" y="6232360"/>
                </a:lnTo>
                <a:cubicBezTo>
                  <a:pt x="8354100" y="6239755"/>
                  <a:pt x="8358121" y="6249614"/>
                  <a:pt x="8358252" y="6260121"/>
                </a:cubicBezTo>
                <a:cubicBezTo>
                  <a:pt x="8358252" y="6270629"/>
                  <a:pt x="8354229" y="6280488"/>
                  <a:pt x="8346837" y="6287882"/>
                </a:cubicBezTo>
                <a:lnTo>
                  <a:pt x="8136823" y="6498291"/>
                </a:lnTo>
                <a:lnTo>
                  <a:pt x="7926811" y="6287882"/>
                </a:lnTo>
                <a:cubicBezTo>
                  <a:pt x="7911503" y="6272575"/>
                  <a:pt x="7911503" y="6247668"/>
                  <a:pt x="7926811" y="6232490"/>
                </a:cubicBezTo>
                <a:lnTo>
                  <a:pt x="8005289" y="6153749"/>
                </a:lnTo>
                <a:cubicBezTo>
                  <a:pt x="8012684" y="6146356"/>
                  <a:pt x="8022413" y="6142204"/>
                  <a:pt x="8032919" y="6142204"/>
                </a:cubicBezTo>
                <a:close/>
                <a:moveTo>
                  <a:pt x="5979109" y="6142204"/>
                </a:moveTo>
                <a:cubicBezTo>
                  <a:pt x="5989617" y="6142204"/>
                  <a:pt x="5999474" y="6146356"/>
                  <a:pt x="6006867" y="6153749"/>
                </a:cubicBezTo>
                <a:lnTo>
                  <a:pt x="6071463" y="6218481"/>
                </a:lnTo>
                <a:lnTo>
                  <a:pt x="6083006" y="6230155"/>
                </a:lnTo>
                <a:lnTo>
                  <a:pt x="6094550" y="6218481"/>
                </a:lnTo>
                <a:lnTo>
                  <a:pt x="6159019" y="6153749"/>
                </a:lnTo>
                <a:cubicBezTo>
                  <a:pt x="6166413" y="6146226"/>
                  <a:pt x="6176271" y="6142204"/>
                  <a:pt x="6186779" y="6142204"/>
                </a:cubicBezTo>
                <a:cubicBezTo>
                  <a:pt x="6197156" y="6142204"/>
                  <a:pt x="6207014" y="6146356"/>
                  <a:pt x="6214409" y="6153749"/>
                </a:cubicBezTo>
                <a:lnTo>
                  <a:pt x="6292888" y="6232360"/>
                </a:lnTo>
                <a:cubicBezTo>
                  <a:pt x="6300282" y="6239755"/>
                  <a:pt x="6304303" y="6249614"/>
                  <a:pt x="6304433" y="6260121"/>
                </a:cubicBezTo>
                <a:cubicBezTo>
                  <a:pt x="6304433" y="6270629"/>
                  <a:pt x="6300412" y="6280488"/>
                  <a:pt x="6293017" y="6287882"/>
                </a:cubicBezTo>
                <a:lnTo>
                  <a:pt x="6083006" y="6498291"/>
                </a:lnTo>
                <a:lnTo>
                  <a:pt x="5873007" y="6287882"/>
                </a:lnTo>
                <a:cubicBezTo>
                  <a:pt x="5857700" y="6272575"/>
                  <a:pt x="5857700" y="6247668"/>
                  <a:pt x="5873007" y="6232490"/>
                </a:cubicBezTo>
                <a:lnTo>
                  <a:pt x="5951483" y="6153749"/>
                </a:lnTo>
                <a:cubicBezTo>
                  <a:pt x="5958873" y="6146356"/>
                  <a:pt x="5968603" y="6142204"/>
                  <a:pt x="5979109" y="6142204"/>
                </a:cubicBezTo>
                <a:close/>
                <a:moveTo>
                  <a:pt x="3925340" y="6142204"/>
                </a:moveTo>
                <a:cubicBezTo>
                  <a:pt x="3935843" y="6142204"/>
                  <a:pt x="3945706" y="6146356"/>
                  <a:pt x="3953098" y="6153749"/>
                </a:cubicBezTo>
                <a:lnTo>
                  <a:pt x="4017696" y="6218481"/>
                </a:lnTo>
                <a:lnTo>
                  <a:pt x="4029239" y="6230155"/>
                </a:lnTo>
                <a:lnTo>
                  <a:pt x="4040788" y="6218481"/>
                </a:lnTo>
                <a:lnTo>
                  <a:pt x="4105258" y="6153749"/>
                </a:lnTo>
                <a:cubicBezTo>
                  <a:pt x="4112654" y="6146226"/>
                  <a:pt x="4122515" y="6142204"/>
                  <a:pt x="4133019" y="6142204"/>
                </a:cubicBezTo>
                <a:cubicBezTo>
                  <a:pt x="4143398" y="6142204"/>
                  <a:pt x="4153258" y="6146356"/>
                  <a:pt x="4160649" y="6153749"/>
                </a:cubicBezTo>
                <a:lnTo>
                  <a:pt x="4239088" y="6232360"/>
                </a:lnTo>
                <a:cubicBezTo>
                  <a:pt x="4246485" y="6239755"/>
                  <a:pt x="4250503" y="6249614"/>
                  <a:pt x="4250634" y="6260121"/>
                </a:cubicBezTo>
                <a:cubicBezTo>
                  <a:pt x="4250634" y="6270629"/>
                  <a:pt x="4246611" y="6280488"/>
                  <a:pt x="4239218" y="6287882"/>
                </a:cubicBezTo>
                <a:lnTo>
                  <a:pt x="4029239" y="6498291"/>
                </a:lnTo>
                <a:lnTo>
                  <a:pt x="3819224" y="6287882"/>
                </a:lnTo>
                <a:cubicBezTo>
                  <a:pt x="3803916" y="6272575"/>
                  <a:pt x="3803916" y="6247668"/>
                  <a:pt x="3819224" y="6232490"/>
                </a:cubicBezTo>
                <a:lnTo>
                  <a:pt x="3897706" y="6153749"/>
                </a:lnTo>
                <a:cubicBezTo>
                  <a:pt x="3905103" y="6146356"/>
                  <a:pt x="3914833" y="6142204"/>
                  <a:pt x="3925340" y="6142204"/>
                </a:cubicBezTo>
                <a:close/>
                <a:moveTo>
                  <a:pt x="1871365" y="6142204"/>
                </a:moveTo>
                <a:cubicBezTo>
                  <a:pt x="1881872" y="6142204"/>
                  <a:pt x="1891731" y="6146356"/>
                  <a:pt x="1899125" y="6153749"/>
                </a:cubicBezTo>
                <a:lnTo>
                  <a:pt x="1963725" y="6218481"/>
                </a:lnTo>
                <a:lnTo>
                  <a:pt x="1975268" y="6230155"/>
                </a:lnTo>
                <a:lnTo>
                  <a:pt x="1986815" y="6218481"/>
                </a:lnTo>
                <a:lnTo>
                  <a:pt x="2051282" y="6153749"/>
                </a:lnTo>
                <a:cubicBezTo>
                  <a:pt x="2058678" y="6146226"/>
                  <a:pt x="2068534" y="6142204"/>
                  <a:pt x="2079043" y="6142204"/>
                </a:cubicBezTo>
                <a:cubicBezTo>
                  <a:pt x="2089421" y="6142204"/>
                  <a:pt x="2099286" y="6146356"/>
                  <a:pt x="2106680" y="6153749"/>
                </a:cubicBezTo>
                <a:lnTo>
                  <a:pt x="2185159" y="6232360"/>
                </a:lnTo>
                <a:cubicBezTo>
                  <a:pt x="2192551" y="6239755"/>
                  <a:pt x="2196574" y="6249614"/>
                  <a:pt x="2196704" y="6260121"/>
                </a:cubicBezTo>
                <a:cubicBezTo>
                  <a:pt x="2196704" y="6270629"/>
                  <a:pt x="2192683" y="6280488"/>
                  <a:pt x="2185289" y="6287882"/>
                </a:cubicBezTo>
                <a:lnTo>
                  <a:pt x="1975268" y="6498291"/>
                </a:lnTo>
                <a:lnTo>
                  <a:pt x="1765256" y="6287882"/>
                </a:lnTo>
                <a:cubicBezTo>
                  <a:pt x="1749949" y="6272575"/>
                  <a:pt x="1749949" y="6247668"/>
                  <a:pt x="1765256" y="6232490"/>
                </a:cubicBezTo>
                <a:lnTo>
                  <a:pt x="1843735" y="6153749"/>
                </a:lnTo>
                <a:cubicBezTo>
                  <a:pt x="1851131" y="6146356"/>
                  <a:pt x="1860858" y="6142204"/>
                  <a:pt x="1871365" y="6142204"/>
                </a:cubicBezTo>
                <a:close/>
                <a:moveTo>
                  <a:pt x="25201" y="6142204"/>
                </a:moveTo>
                <a:cubicBezTo>
                  <a:pt x="35579" y="6142204"/>
                  <a:pt x="45437" y="6146356"/>
                  <a:pt x="52832" y="6153749"/>
                </a:cubicBezTo>
                <a:lnTo>
                  <a:pt x="131310" y="6232360"/>
                </a:lnTo>
                <a:cubicBezTo>
                  <a:pt x="138704" y="6239755"/>
                  <a:pt x="142726" y="6249614"/>
                  <a:pt x="142854" y="6260121"/>
                </a:cubicBezTo>
                <a:cubicBezTo>
                  <a:pt x="142854" y="6270629"/>
                  <a:pt x="138833" y="6280488"/>
                  <a:pt x="131440" y="6287882"/>
                </a:cubicBezTo>
                <a:lnTo>
                  <a:pt x="0" y="6419570"/>
                </a:lnTo>
                <a:lnTo>
                  <a:pt x="0" y="6152685"/>
                </a:lnTo>
                <a:close/>
                <a:moveTo>
                  <a:pt x="10086867" y="6125729"/>
                </a:moveTo>
                <a:cubicBezTo>
                  <a:pt x="10072597" y="6125729"/>
                  <a:pt x="10058458" y="6131177"/>
                  <a:pt x="10047692" y="6142074"/>
                </a:cubicBezTo>
                <a:lnTo>
                  <a:pt x="9969212" y="6220816"/>
                </a:lnTo>
                <a:cubicBezTo>
                  <a:pt x="9947549" y="6242480"/>
                  <a:pt x="9947549" y="6277763"/>
                  <a:pt x="9969212" y="6299428"/>
                </a:cubicBezTo>
                <a:lnTo>
                  <a:pt x="10190770" y="6521512"/>
                </a:lnTo>
                <a:lnTo>
                  <a:pt x="10412328" y="6299428"/>
                </a:lnTo>
                <a:cubicBezTo>
                  <a:pt x="10433990" y="6277763"/>
                  <a:pt x="10433990" y="6242480"/>
                  <a:pt x="10412328" y="6220816"/>
                </a:cubicBezTo>
                <a:lnTo>
                  <a:pt x="10333848" y="6142204"/>
                </a:lnTo>
                <a:cubicBezTo>
                  <a:pt x="10322953" y="6131307"/>
                  <a:pt x="10308813" y="6125859"/>
                  <a:pt x="10294673" y="6125859"/>
                </a:cubicBezTo>
                <a:lnTo>
                  <a:pt x="10294543" y="6125729"/>
                </a:lnTo>
                <a:cubicBezTo>
                  <a:pt x="10280275" y="6125729"/>
                  <a:pt x="10266136" y="6131177"/>
                  <a:pt x="10255241" y="6142204"/>
                </a:cubicBezTo>
                <a:lnTo>
                  <a:pt x="10190770" y="6206806"/>
                </a:lnTo>
                <a:lnTo>
                  <a:pt x="10126171" y="6142074"/>
                </a:lnTo>
                <a:cubicBezTo>
                  <a:pt x="10115274" y="6131177"/>
                  <a:pt x="10101136" y="6125729"/>
                  <a:pt x="10086867" y="6125729"/>
                </a:cubicBezTo>
                <a:close/>
                <a:moveTo>
                  <a:pt x="8032919" y="6125729"/>
                </a:moveTo>
                <a:cubicBezTo>
                  <a:pt x="8018650" y="6125729"/>
                  <a:pt x="8004511" y="6131177"/>
                  <a:pt x="7993744" y="6142074"/>
                </a:cubicBezTo>
                <a:lnTo>
                  <a:pt x="7915266" y="6220816"/>
                </a:lnTo>
                <a:cubicBezTo>
                  <a:pt x="7893603" y="6242480"/>
                  <a:pt x="7893603" y="6277763"/>
                  <a:pt x="7915266" y="6299428"/>
                </a:cubicBezTo>
                <a:lnTo>
                  <a:pt x="8136823" y="6521512"/>
                </a:lnTo>
                <a:lnTo>
                  <a:pt x="8358382" y="6299428"/>
                </a:lnTo>
                <a:cubicBezTo>
                  <a:pt x="8380044" y="6277763"/>
                  <a:pt x="8380044" y="6242480"/>
                  <a:pt x="8358382" y="6220816"/>
                </a:cubicBezTo>
                <a:lnTo>
                  <a:pt x="8279902" y="6142204"/>
                </a:lnTo>
                <a:cubicBezTo>
                  <a:pt x="8269006" y="6131307"/>
                  <a:pt x="8254866" y="6125859"/>
                  <a:pt x="8240727" y="6125859"/>
                </a:cubicBezTo>
                <a:lnTo>
                  <a:pt x="8240596" y="6125729"/>
                </a:lnTo>
                <a:cubicBezTo>
                  <a:pt x="8226328" y="6125729"/>
                  <a:pt x="8212190" y="6131177"/>
                  <a:pt x="8201292" y="6142204"/>
                </a:cubicBezTo>
                <a:lnTo>
                  <a:pt x="8136823" y="6206806"/>
                </a:lnTo>
                <a:lnTo>
                  <a:pt x="8072224" y="6142074"/>
                </a:lnTo>
                <a:cubicBezTo>
                  <a:pt x="8061328" y="6131177"/>
                  <a:pt x="8047187" y="6125729"/>
                  <a:pt x="8032919" y="6125729"/>
                </a:cubicBezTo>
                <a:close/>
                <a:moveTo>
                  <a:pt x="5979109" y="6125729"/>
                </a:moveTo>
                <a:cubicBezTo>
                  <a:pt x="5964841" y="6125729"/>
                  <a:pt x="5950702" y="6131177"/>
                  <a:pt x="5939936" y="6142074"/>
                </a:cubicBezTo>
                <a:lnTo>
                  <a:pt x="5861462" y="6220816"/>
                </a:lnTo>
                <a:cubicBezTo>
                  <a:pt x="5839801" y="6242480"/>
                  <a:pt x="5839801" y="6277763"/>
                  <a:pt x="5861462" y="6299428"/>
                </a:cubicBezTo>
                <a:lnTo>
                  <a:pt x="6083006" y="6521512"/>
                </a:lnTo>
                <a:lnTo>
                  <a:pt x="6304562" y="6299428"/>
                </a:lnTo>
                <a:cubicBezTo>
                  <a:pt x="6326226" y="6277763"/>
                  <a:pt x="6326226" y="6242480"/>
                  <a:pt x="6304562" y="6220816"/>
                </a:cubicBezTo>
                <a:lnTo>
                  <a:pt x="6226084" y="6142204"/>
                </a:lnTo>
                <a:cubicBezTo>
                  <a:pt x="6215186" y="6131307"/>
                  <a:pt x="6201048" y="6125859"/>
                  <a:pt x="6186909" y="6125859"/>
                </a:cubicBezTo>
                <a:lnTo>
                  <a:pt x="6186779" y="6125729"/>
                </a:lnTo>
                <a:cubicBezTo>
                  <a:pt x="6172511" y="6125729"/>
                  <a:pt x="6158370" y="6131177"/>
                  <a:pt x="6147474" y="6142204"/>
                </a:cubicBezTo>
                <a:lnTo>
                  <a:pt x="6083006" y="6206806"/>
                </a:lnTo>
                <a:lnTo>
                  <a:pt x="6018412" y="6142074"/>
                </a:lnTo>
                <a:cubicBezTo>
                  <a:pt x="6007514" y="6131177"/>
                  <a:pt x="5993378" y="6125729"/>
                  <a:pt x="5979109" y="6125729"/>
                </a:cubicBezTo>
                <a:close/>
                <a:moveTo>
                  <a:pt x="3925340" y="6125729"/>
                </a:moveTo>
                <a:cubicBezTo>
                  <a:pt x="3911071" y="6125729"/>
                  <a:pt x="3896930" y="6131177"/>
                  <a:pt x="3886162" y="6142074"/>
                </a:cubicBezTo>
                <a:lnTo>
                  <a:pt x="3807680" y="6220816"/>
                </a:lnTo>
                <a:cubicBezTo>
                  <a:pt x="3786016" y="6242480"/>
                  <a:pt x="3786016" y="6277763"/>
                  <a:pt x="3807680" y="6299428"/>
                </a:cubicBezTo>
                <a:lnTo>
                  <a:pt x="4029239" y="6521512"/>
                </a:lnTo>
                <a:lnTo>
                  <a:pt x="4250759" y="6299428"/>
                </a:lnTo>
                <a:cubicBezTo>
                  <a:pt x="4272423" y="6277763"/>
                  <a:pt x="4272423" y="6242480"/>
                  <a:pt x="4250759" y="6220816"/>
                </a:cubicBezTo>
                <a:lnTo>
                  <a:pt x="4172324" y="6142204"/>
                </a:lnTo>
                <a:cubicBezTo>
                  <a:pt x="4161428" y="6131307"/>
                  <a:pt x="4147289" y="6125859"/>
                  <a:pt x="4133150" y="6125859"/>
                </a:cubicBezTo>
                <a:lnTo>
                  <a:pt x="4133019" y="6125729"/>
                </a:lnTo>
                <a:cubicBezTo>
                  <a:pt x="4118750" y="6125729"/>
                  <a:pt x="4104611" y="6131177"/>
                  <a:pt x="4093716" y="6142204"/>
                </a:cubicBezTo>
                <a:lnTo>
                  <a:pt x="4029239" y="6206806"/>
                </a:lnTo>
                <a:lnTo>
                  <a:pt x="3964640" y="6142074"/>
                </a:lnTo>
                <a:cubicBezTo>
                  <a:pt x="3953745" y="6131177"/>
                  <a:pt x="3939605" y="6125729"/>
                  <a:pt x="3925340" y="6125729"/>
                </a:cubicBezTo>
                <a:close/>
                <a:moveTo>
                  <a:pt x="1871365" y="6125729"/>
                </a:moveTo>
                <a:cubicBezTo>
                  <a:pt x="1857096" y="6125729"/>
                  <a:pt x="1842957" y="6131177"/>
                  <a:pt x="1832190" y="6142074"/>
                </a:cubicBezTo>
                <a:lnTo>
                  <a:pt x="1753712" y="6220816"/>
                </a:lnTo>
                <a:cubicBezTo>
                  <a:pt x="1732049" y="6242480"/>
                  <a:pt x="1732049" y="6277763"/>
                  <a:pt x="1753712" y="6299428"/>
                </a:cubicBezTo>
                <a:lnTo>
                  <a:pt x="1975268" y="6521512"/>
                </a:lnTo>
                <a:lnTo>
                  <a:pt x="2196833" y="6299428"/>
                </a:lnTo>
                <a:cubicBezTo>
                  <a:pt x="2218494" y="6277763"/>
                  <a:pt x="2218494" y="6242480"/>
                  <a:pt x="2196833" y="6220816"/>
                </a:cubicBezTo>
                <a:lnTo>
                  <a:pt x="2118354" y="6142204"/>
                </a:lnTo>
                <a:cubicBezTo>
                  <a:pt x="2107457" y="6131307"/>
                  <a:pt x="2093311" y="6125859"/>
                  <a:pt x="2079172" y="6125859"/>
                </a:cubicBezTo>
                <a:lnTo>
                  <a:pt x="2079043" y="6125729"/>
                </a:lnTo>
                <a:cubicBezTo>
                  <a:pt x="2064774" y="6125729"/>
                  <a:pt x="2050635" y="6131177"/>
                  <a:pt x="2039739" y="6142204"/>
                </a:cubicBezTo>
                <a:lnTo>
                  <a:pt x="1975268" y="6206806"/>
                </a:lnTo>
                <a:lnTo>
                  <a:pt x="1910670" y="6142074"/>
                </a:lnTo>
                <a:cubicBezTo>
                  <a:pt x="1899773" y="6131177"/>
                  <a:pt x="1885634" y="6125729"/>
                  <a:pt x="1871365" y="6125729"/>
                </a:cubicBezTo>
                <a:close/>
                <a:moveTo>
                  <a:pt x="0" y="5955550"/>
                </a:moveTo>
                <a:lnTo>
                  <a:pt x="255057" y="6103157"/>
                </a:lnTo>
                <a:lnTo>
                  <a:pt x="255057" y="6489340"/>
                </a:lnTo>
                <a:lnTo>
                  <a:pt x="0" y="6636947"/>
                </a:lnTo>
                <a:lnTo>
                  <a:pt x="0" y="6442752"/>
                </a:lnTo>
                <a:lnTo>
                  <a:pt x="142984" y="6299428"/>
                </a:lnTo>
                <a:cubicBezTo>
                  <a:pt x="164648" y="6277763"/>
                  <a:pt x="164648" y="6242480"/>
                  <a:pt x="142984" y="6220816"/>
                </a:cubicBezTo>
                <a:lnTo>
                  <a:pt x="64505" y="6142204"/>
                </a:lnTo>
                <a:cubicBezTo>
                  <a:pt x="53609" y="6131307"/>
                  <a:pt x="39470" y="6125859"/>
                  <a:pt x="25329" y="6125859"/>
                </a:cubicBezTo>
                <a:lnTo>
                  <a:pt x="25201" y="6125729"/>
                </a:lnTo>
                <a:cubicBezTo>
                  <a:pt x="18067" y="6125729"/>
                  <a:pt x="10965" y="6127091"/>
                  <a:pt x="4284" y="6129832"/>
                </a:cubicBezTo>
                <a:lnTo>
                  <a:pt x="0" y="6132714"/>
                </a:lnTo>
                <a:close/>
                <a:moveTo>
                  <a:pt x="12188651" y="5942299"/>
                </a:moveTo>
                <a:lnTo>
                  <a:pt x="12188651" y="6150753"/>
                </a:lnTo>
                <a:lnTo>
                  <a:pt x="12179990" y="6142074"/>
                </a:lnTo>
                <a:cubicBezTo>
                  <a:pt x="12169092" y="6131177"/>
                  <a:pt x="12154954" y="6125729"/>
                  <a:pt x="12140685" y="6125729"/>
                </a:cubicBezTo>
                <a:cubicBezTo>
                  <a:pt x="12126416" y="6125729"/>
                  <a:pt x="12112276" y="6131177"/>
                  <a:pt x="12101510" y="6142074"/>
                </a:cubicBezTo>
                <a:lnTo>
                  <a:pt x="12023031" y="6220816"/>
                </a:lnTo>
                <a:cubicBezTo>
                  <a:pt x="12001368" y="6242480"/>
                  <a:pt x="12001368" y="6277763"/>
                  <a:pt x="12023031" y="6299428"/>
                </a:cubicBezTo>
                <a:lnTo>
                  <a:pt x="12188651" y="6465441"/>
                </a:lnTo>
                <a:lnTo>
                  <a:pt x="12188651" y="6650199"/>
                </a:lnTo>
                <a:lnTo>
                  <a:pt x="11910696" y="6489340"/>
                </a:lnTo>
                <a:lnTo>
                  <a:pt x="11910696" y="6103158"/>
                </a:lnTo>
                <a:close/>
                <a:moveTo>
                  <a:pt x="2668510" y="5915205"/>
                </a:moveTo>
                <a:lnTo>
                  <a:pt x="2993944" y="6103545"/>
                </a:lnTo>
                <a:lnTo>
                  <a:pt x="2993944" y="6480372"/>
                </a:lnTo>
                <a:lnTo>
                  <a:pt x="2668510" y="6292032"/>
                </a:lnTo>
                <a:close/>
                <a:moveTo>
                  <a:pt x="2652138" y="5915205"/>
                </a:moveTo>
                <a:lnTo>
                  <a:pt x="2652138" y="6292032"/>
                </a:lnTo>
                <a:lnTo>
                  <a:pt x="2326578" y="6480371"/>
                </a:lnTo>
                <a:lnTo>
                  <a:pt x="2326578" y="6103545"/>
                </a:lnTo>
                <a:close/>
                <a:moveTo>
                  <a:pt x="614534" y="5915205"/>
                </a:moveTo>
                <a:lnTo>
                  <a:pt x="939967" y="6103545"/>
                </a:lnTo>
                <a:lnTo>
                  <a:pt x="939967" y="6480373"/>
                </a:lnTo>
                <a:lnTo>
                  <a:pt x="614534" y="6292032"/>
                </a:lnTo>
                <a:close/>
                <a:moveTo>
                  <a:pt x="598162" y="5915205"/>
                </a:moveTo>
                <a:lnTo>
                  <a:pt x="598162" y="6292032"/>
                </a:lnTo>
                <a:lnTo>
                  <a:pt x="272599" y="6480372"/>
                </a:lnTo>
                <a:lnTo>
                  <a:pt x="272599" y="6103545"/>
                </a:lnTo>
                <a:close/>
                <a:moveTo>
                  <a:pt x="4722303" y="5915196"/>
                </a:moveTo>
                <a:lnTo>
                  <a:pt x="5047767" y="6103545"/>
                </a:lnTo>
                <a:lnTo>
                  <a:pt x="5047767" y="6480376"/>
                </a:lnTo>
                <a:lnTo>
                  <a:pt x="4722303" y="6292032"/>
                </a:lnTo>
                <a:close/>
                <a:moveTo>
                  <a:pt x="4705942" y="5915194"/>
                </a:moveTo>
                <a:lnTo>
                  <a:pt x="4705942" y="6292032"/>
                </a:lnTo>
                <a:lnTo>
                  <a:pt x="4380369" y="6480381"/>
                </a:lnTo>
                <a:lnTo>
                  <a:pt x="4380369" y="6103545"/>
                </a:lnTo>
                <a:close/>
                <a:moveTo>
                  <a:pt x="10883981" y="5915189"/>
                </a:moveTo>
                <a:lnTo>
                  <a:pt x="11209441" y="6103545"/>
                </a:lnTo>
                <a:lnTo>
                  <a:pt x="11209441" y="6480388"/>
                </a:lnTo>
                <a:lnTo>
                  <a:pt x="10883981" y="6292032"/>
                </a:lnTo>
                <a:close/>
                <a:moveTo>
                  <a:pt x="10867636" y="5915189"/>
                </a:moveTo>
                <a:lnTo>
                  <a:pt x="10867636" y="6292032"/>
                </a:lnTo>
                <a:lnTo>
                  <a:pt x="10542045" y="6480389"/>
                </a:lnTo>
                <a:lnTo>
                  <a:pt x="10542045" y="6103545"/>
                </a:lnTo>
                <a:close/>
                <a:moveTo>
                  <a:pt x="8830033" y="5915189"/>
                </a:moveTo>
                <a:lnTo>
                  <a:pt x="9155493" y="6103545"/>
                </a:lnTo>
                <a:lnTo>
                  <a:pt x="9155493" y="6480388"/>
                </a:lnTo>
                <a:lnTo>
                  <a:pt x="8830033" y="6292032"/>
                </a:lnTo>
                <a:close/>
                <a:moveTo>
                  <a:pt x="8813688" y="5915189"/>
                </a:moveTo>
                <a:lnTo>
                  <a:pt x="8813688" y="6292032"/>
                </a:lnTo>
                <a:lnTo>
                  <a:pt x="8488098" y="6480388"/>
                </a:lnTo>
                <a:lnTo>
                  <a:pt x="8488098" y="6103545"/>
                </a:lnTo>
                <a:close/>
                <a:moveTo>
                  <a:pt x="6776215" y="5915189"/>
                </a:moveTo>
                <a:lnTo>
                  <a:pt x="7101677" y="6103545"/>
                </a:lnTo>
                <a:lnTo>
                  <a:pt x="7101677" y="6480389"/>
                </a:lnTo>
                <a:lnTo>
                  <a:pt x="6776215" y="6292032"/>
                </a:lnTo>
                <a:close/>
                <a:moveTo>
                  <a:pt x="6759871" y="5915189"/>
                </a:moveTo>
                <a:lnTo>
                  <a:pt x="6759871" y="6292032"/>
                </a:lnTo>
                <a:lnTo>
                  <a:pt x="6434280" y="6480389"/>
                </a:lnTo>
                <a:lnTo>
                  <a:pt x="6434280" y="6103545"/>
                </a:lnTo>
                <a:close/>
                <a:moveTo>
                  <a:pt x="3344066" y="5910397"/>
                </a:moveTo>
                <a:lnTo>
                  <a:pt x="3677812" y="6103545"/>
                </a:lnTo>
                <a:lnTo>
                  <a:pt x="3677812" y="6489859"/>
                </a:lnTo>
                <a:lnTo>
                  <a:pt x="3344198" y="6683007"/>
                </a:lnTo>
                <a:lnTo>
                  <a:pt x="3010447" y="6489859"/>
                </a:lnTo>
                <a:lnTo>
                  <a:pt x="3010447" y="6103545"/>
                </a:lnTo>
                <a:close/>
                <a:moveTo>
                  <a:pt x="1290088" y="5910397"/>
                </a:moveTo>
                <a:lnTo>
                  <a:pt x="1623838" y="6103545"/>
                </a:lnTo>
                <a:lnTo>
                  <a:pt x="1623838" y="6489859"/>
                </a:lnTo>
                <a:lnTo>
                  <a:pt x="1290218" y="6683007"/>
                </a:lnTo>
                <a:lnTo>
                  <a:pt x="956469" y="6489859"/>
                </a:lnTo>
                <a:lnTo>
                  <a:pt x="956469" y="6103545"/>
                </a:lnTo>
                <a:close/>
                <a:moveTo>
                  <a:pt x="5397866" y="5910393"/>
                </a:moveTo>
                <a:lnTo>
                  <a:pt x="5731614" y="6103545"/>
                </a:lnTo>
                <a:lnTo>
                  <a:pt x="5731614" y="6489859"/>
                </a:lnTo>
                <a:lnTo>
                  <a:pt x="5398000" y="6683010"/>
                </a:lnTo>
                <a:lnTo>
                  <a:pt x="5064265" y="6489859"/>
                </a:lnTo>
                <a:lnTo>
                  <a:pt x="5064265" y="6103545"/>
                </a:lnTo>
                <a:close/>
                <a:moveTo>
                  <a:pt x="11559549" y="5910389"/>
                </a:moveTo>
                <a:lnTo>
                  <a:pt x="11893312" y="6103545"/>
                </a:lnTo>
                <a:lnTo>
                  <a:pt x="11893312" y="6489859"/>
                </a:lnTo>
                <a:lnTo>
                  <a:pt x="11559679" y="6683015"/>
                </a:lnTo>
                <a:lnTo>
                  <a:pt x="11225916" y="6489859"/>
                </a:lnTo>
                <a:lnTo>
                  <a:pt x="11225916" y="6103545"/>
                </a:lnTo>
                <a:close/>
                <a:moveTo>
                  <a:pt x="9505601" y="5910389"/>
                </a:moveTo>
                <a:lnTo>
                  <a:pt x="9839364" y="6103545"/>
                </a:lnTo>
                <a:lnTo>
                  <a:pt x="9839364" y="6489859"/>
                </a:lnTo>
                <a:lnTo>
                  <a:pt x="9505732" y="6683015"/>
                </a:lnTo>
                <a:lnTo>
                  <a:pt x="9171969" y="6489859"/>
                </a:lnTo>
                <a:lnTo>
                  <a:pt x="9171969" y="6103545"/>
                </a:lnTo>
                <a:close/>
                <a:moveTo>
                  <a:pt x="7451785" y="5910389"/>
                </a:moveTo>
                <a:lnTo>
                  <a:pt x="7785548" y="6103545"/>
                </a:lnTo>
                <a:lnTo>
                  <a:pt x="7785548" y="6489859"/>
                </a:lnTo>
                <a:lnTo>
                  <a:pt x="7451915" y="6683015"/>
                </a:lnTo>
                <a:lnTo>
                  <a:pt x="7118150" y="6489859"/>
                </a:lnTo>
                <a:lnTo>
                  <a:pt x="7118150" y="6103545"/>
                </a:lnTo>
                <a:close/>
                <a:moveTo>
                  <a:pt x="4029112" y="5910002"/>
                </a:moveTo>
                <a:lnTo>
                  <a:pt x="4213228" y="6016569"/>
                </a:lnTo>
                <a:lnTo>
                  <a:pt x="4362832" y="6103157"/>
                </a:lnTo>
                <a:lnTo>
                  <a:pt x="4362832" y="6489340"/>
                </a:lnTo>
                <a:lnTo>
                  <a:pt x="4029112" y="6682495"/>
                </a:lnTo>
                <a:lnTo>
                  <a:pt x="3695358" y="6489340"/>
                </a:lnTo>
                <a:lnTo>
                  <a:pt x="3695358" y="6103157"/>
                </a:lnTo>
                <a:close/>
                <a:moveTo>
                  <a:pt x="1975138" y="5910002"/>
                </a:moveTo>
                <a:lnTo>
                  <a:pt x="2308904" y="6103157"/>
                </a:lnTo>
                <a:lnTo>
                  <a:pt x="2308904" y="6489340"/>
                </a:lnTo>
                <a:lnTo>
                  <a:pt x="1975138" y="6682495"/>
                </a:lnTo>
                <a:lnTo>
                  <a:pt x="1641379" y="6489340"/>
                </a:lnTo>
                <a:lnTo>
                  <a:pt x="1641379" y="6103157"/>
                </a:lnTo>
                <a:close/>
                <a:moveTo>
                  <a:pt x="10190640" y="5910001"/>
                </a:moveTo>
                <a:lnTo>
                  <a:pt x="10524404" y="6103158"/>
                </a:lnTo>
                <a:lnTo>
                  <a:pt x="10524404" y="6489340"/>
                </a:lnTo>
                <a:lnTo>
                  <a:pt x="10190640" y="6682497"/>
                </a:lnTo>
                <a:lnTo>
                  <a:pt x="9856876" y="6489340"/>
                </a:lnTo>
                <a:lnTo>
                  <a:pt x="9856876" y="6103158"/>
                </a:lnTo>
                <a:close/>
                <a:moveTo>
                  <a:pt x="8136693" y="5910001"/>
                </a:moveTo>
                <a:lnTo>
                  <a:pt x="8470456" y="6103158"/>
                </a:lnTo>
                <a:lnTo>
                  <a:pt x="8470456" y="6489340"/>
                </a:lnTo>
                <a:lnTo>
                  <a:pt x="8136693" y="6682497"/>
                </a:lnTo>
                <a:lnTo>
                  <a:pt x="7802930" y="6489340"/>
                </a:lnTo>
                <a:lnTo>
                  <a:pt x="7802930" y="6103158"/>
                </a:lnTo>
                <a:close/>
                <a:moveTo>
                  <a:pt x="6082876" y="5910001"/>
                </a:moveTo>
                <a:lnTo>
                  <a:pt x="6416638" y="6103158"/>
                </a:lnTo>
                <a:lnTo>
                  <a:pt x="6416638" y="6489340"/>
                </a:lnTo>
                <a:lnTo>
                  <a:pt x="6082876" y="6682497"/>
                </a:lnTo>
                <a:lnTo>
                  <a:pt x="5749136" y="6489340"/>
                </a:lnTo>
                <a:lnTo>
                  <a:pt x="5749136" y="6103157"/>
                </a:lnTo>
                <a:close/>
                <a:moveTo>
                  <a:pt x="3687309" y="5712175"/>
                </a:moveTo>
                <a:lnTo>
                  <a:pt x="4012766" y="5900530"/>
                </a:lnTo>
                <a:lnTo>
                  <a:pt x="3687182" y="6088884"/>
                </a:lnTo>
                <a:lnTo>
                  <a:pt x="3361724" y="5900530"/>
                </a:lnTo>
                <a:close/>
                <a:moveTo>
                  <a:pt x="1633334" y="5712175"/>
                </a:moveTo>
                <a:lnTo>
                  <a:pt x="1958791" y="5900530"/>
                </a:lnTo>
                <a:lnTo>
                  <a:pt x="1633203" y="6088884"/>
                </a:lnTo>
                <a:lnTo>
                  <a:pt x="1307745" y="5900530"/>
                </a:lnTo>
                <a:close/>
                <a:moveTo>
                  <a:pt x="11902654" y="5712174"/>
                </a:moveTo>
                <a:lnTo>
                  <a:pt x="12188651" y="5877692"/>
                </a:lnTo>
                <a:lnTo>
                  <a:pt x="12188651" y="5923360"/>
                </a:lnTo>
                <a:lnTo>
                  <a:pt x="11902524" y="6088886"/>
                </a:lnTo>
                <a:lnTo>
                  <a:pt x="11577062" y="5900531"/>
                </a:lnTo>
                <a:close/>
                <a:moveTo>
                  <a:pt x="9848833" y="5712174"/>
                </a:moveTo>
                <a:lnTo>
                  <a:pt x="10174295" y="5900531"/>
                </a:lnTo>
                <a:lnTo>
                  <a:pt x="9848703" y="6088886"/>
                </a:lnTo>
                <a:lnTo>
                  <a:pt x="9523243" y="5900531"/>
                </a:lnTo>
                <a:close/>
                <a:moveTo>
                  <a:pt x="7794888" y="5712174"/>
                </a:moveTo>
                <a:lnTo>
                  <a:pt x="8120347" y="5900531"/>
                </a:lnTo>
                <a:lnTo>
                  <a:pt x="7794758" y="6088886"/>
                </a:lnTo>
                <a:lnTo>
                  <a:pt x="7469298" y="5900531"/>
                </a:lnTo>
                <a:close/>
                <a:moveTo>
                  <a:pt x="5741090" y="5712174"/>
                </a:moveTo>
                <a:lnTo>
                  <a:pt x="6066531" y="5900531"/>
                </a:lnTo>
                <a:lnTo>
                  <a:pt x="5740963" y="6088886"/>
                </a:lnTo>
                <a:lnTo>
                  <a:pt x="5415520" y="5900530"/>
                </a:lnTo>
                <a:lnTo>
                  <a:pt x="5655997" y="5761405"/>
                </a:lnTo>
                <a:close/>
                <a:moveTo>
                  <a:pt x="3106034" y="5548339"/>
                </a:moveTo>
                <a:lnTo>
                  <a:pt x="3133652" y="5559879"/>
                </a:lnTo>
                <a:lnTo>
                  <a:pt x="3212133" y="5638491"/>
                </a:lnTo>
                <a:cubicBezTo>
                  <a:pt x="3219527" y="5645885"/>
                  <a:pt x="3223546" y="5655745"/>
                  <a:pt x="3223677" y="5666252"/>
                </a:cubicBezTo>
                <a:cubicBezTo>
                  <a:pt x="3223677" y="5676760"/>
                  <a:pt x="3219657" y="5686618"/>
                  <a:pt x="3212262" y="5694012"/>
                </a:cubicBezTo>
                <a:lnTo>
                  <a:pt x="3002260" y="5904411"/>
                </a:lnTo>
                <a:lnTo>
                  <a:pt x="2792261" y="5694012"/>
                </a:lnTo>
                <a:cubicBezTo>
                  <a:pt x="2776952" y="5678705"/>
                  <a:pt x="2776952" y="5653798"/>
                  <a:pt x="2792261" y="5638621"/>
                </a:cubicBezTo>
                <a:lnTo>
                  <a:pt x="2870738" y="5559879"/>
                </a:lnTo>
                <a:lnTo>
                  <a:pt x="2898359" y="5548340"/>
                </a:lnTo>
                <a:lnTo>
                  <a:pt x="2926105" y="5559879"/>
                </a:lnTo>
                <a:lnTo>
                  <a:pt x="2990706" y="5624611"/>
                </a:lnTo>
                <a:lnTo>
                  <a:pt x="3002248" y="5636286"/>
                </a:lnTo>
                <a:lnTo>
                  <a:pt x="3002260" y="5636275"/>
                </a:lnTo>
                <a:lnTo>
                  <a:pt x="3002272" y="5636286"/>
                </a:lnTo>
                <a:lnTo>
                  <a:pt x="3013817" y="5624611"/>
                </a:lnTo>
                <a:lnTo>
                  <a:pt x="3078286" y="5559879"/>
                </a:lnTo>
                <a:close/>
                <a:moveTo>
                  <a:pt x="844380" y="5548339"/>
                </a:moveTo>
                <a:lnTo>
                  <a:pt x="872128" y="5559879"/>
                </a:lnTo>
                <a:lnTo>
                  <a:pt x="936727" y="5624611"/>
                </a:lnTo>
                <a:lnTo>
                  <a:pt x="948272" y="5636286"/>
                </a:lnTo>
                <a:lnTo>
                  <a:pt x="948285" y="5636274"/>
                </a:lnTo>
                <a:lnTo>
                  <a:pt x="948296" y="5636286"/>
                </a:lnTo>
                <a:lnTo>
                  <a:pt x="959841" y="5624611"/>
                </a:lnTo>
                <a:lnTo>
                  <a:pt x="1024310" y="5559879"/>
                </a:lnTo>
                <a:lnTo>
                  <a:pt x="1052058" y="5548339"/>
                </a:lnTo>
                <a:lnTo>
                  <a:pt x="1079676" y="5559879"/>
                </a:lnTo>
                <a:lnTo>
                  <a:pt x="1158155" y="5638491"/>
                </a:lnTo>
                <a:cubicBezTo>
                  <a:pt x="1165549" y="5645885"/>
                  <a:pt x="1169570" y="5655745"/>
                  <a:pt x="1169700" y="5666252"/>
                </a:cubicBezTo>
                <a:cubicBezTo>
                  <a:pt x="1169700" y="5676760"/>
                  <a:pt x="1165679" y="5686618"/>
                  <a:pt x="1158286" y="5694012"/>
                </a:cubicBezTo>
                <a:lnTo>
                  <a:pt x="948285" y="5904410"/>
                </a:lnTo>
                <a:lnTo>
                  <a:pt x="738284" y="5694012"/>
                </a:lnTo>
                <a:cubicBezTo>
                  <a:pt x="722976" y="5678705"/>
                  <a:pt x="722976" y="5653798"/>
                  <a:pt x="738284" y="5638621"/>
                </a:cubicBezTo>
                <a:lnTo>
                  <a:pt x="816760" y="5559879"/>
                </a:lnTo>
                <a:close/>
                <a:moveTo>
                  <a:pt x="4952154" y="5548336"/>
                </a:moveTo>
                <a:lnTo>
                  <a:pt x="4979914" y="5559879"/>
                </a:lnTo>
                <a:lnTo>
                  <a:pt x="5044521" y="5624611"/>
                </a:lnTo>
                <a:lnTo>
                  <a:pt x="5056064" y="5636286"/>
                </a:lnTo>
                <a:lnTo>
                  <a:pt x="5056083" y="5636276"/>
                </a:lnTo>
                <a:lnTo>
                  <a:pt x="5056087" y="5636286"/>
                </a:lnTo>
                <a:lnTo>
                  <a:pt x="5067633" y="5624611"/>
                </a:lnTo>
                <a:lnTo>
                  <a:pt x="5132089" y="5559879"/>
                </a:lnTo>
                <a:lnTo>
                  <a:pt x="5159834" y="5548336"/>
                </a:lnTo>
                <a:lnTo>
                  <a:pt x="5187464" y="5559879"/>
                </a:lnTo>
                <a:lnTo>
                  <a:pt x="5265932" y="5638491"/>
                </a:lnTo>
                <a:cubicBezTo>
                  <a:pt x="5273331" y="5645885"/>
                  <a:pt x="5277344" y="5655745"/>
                  <a:pt x="5277479" y="5666252"/>
                </a:cubicBezTo>
                <a:cubicBezTo>
                  <a:pt x="5277479" y="5676760"/>
                  <a:pt x="5273469" y="5686618"/>
                  <a:pt x="5266071" y="5694012"/>
                </a:cubicBezTo>
                <a:lnTo>
                  <a:pt x="5056083" y="5904412"/>
                </a:lnTo>
                <a:lnTo>
                  <a:pt x="4846044" y="5694012"/>
                </a:lnTo>
                <a:cubicBezTo>
                  <a:pt x="4830736" y="5678705"/>
                  <a:pt x="4830736" y="5653798"/>
                  <a:pt x="4846044" y="5638621"/>
                </a:cubicBezTo>
                <a:lnTo>
                  <a:pt x="4924518" y="5559879"/>
                </a:lnTo>
                <a:close/>
                <a:moveTo>
                  <a:pt x="11113840" y="5548334"/>
                </a:moveTo>
                <a:cubicBezTo>
                  <a:pt x="11124348" y="5548334"/>
                  <a:pt x="11134206" y="5552486"/>
                  <a:pt x="11141600" y="5559879"/>
                </a:cubicBezTo>
                <a:lnTo>
                  <a:pt x="11206199" y="5624611"/>
                </a:lnTo>
                <a:lnTo>
                  <a:pt x="11217744" y="5636286"/>
                </a:lnTo>
                <a:lnTo>
                  <a:pt x="11229289" y="5624611"/>
                </a:lnTo>
                <a:lnTo>
                  <a:pt x="11293758" y="5559879"/>
                </a:lnTo>
                <a:cubicBezTo>
                  <a:pt x="11301152" y="5552356"/>
                  <a:pt x="11311011" y="5548334"/>
                  <a:pt x="11321517" y="5548334"/>
                </a:cubicBezTo>
                <a:cubicBezTo>
                  <a:pt x="11331896" y="5548334"/>
                  <a:pt x="11341755" y="5552486"/>
                  <a:pt x="11349147" y="5559879"/>
                </a:cubicBezTo>
                <a:lnTo>
                  <a:pt x="11427627" y="5638491"/>
                </a:lnTo>
                <a:cubicBezTo>
                  <a:pt x="11435021" y="5645885"/>
                  <a:pt x="11439042" y="5655745"/>
                  <a:pt x="11439172" y="5666252"/>
                </a:cubicBezTo>
                <a:cubicBezTo>
                  <a:pt x="11439172" y="5676760"/>
                  <a:pt x="11435150" y="5686618"/>
                  <a:pt x="11427757" y="5694012"/>
                </a:cubicBezTo>
                <a:lnTo>
                  <a:pt x="11217744" y="5904422"/>
                </a:lnTo>
                <a:lnTo>
                  <a:pt x="11007731" y="5694012"/>
                </a:lnTo>
                <a:cubicBezTo>
                  <a:pt x="10992424" y="5678705"/>
                  <a:pt x="10992424" y="5653798"/>
                  <a:pt x="11007731" y="5638621"/>
                </a:cubicBezTo>
                <a:lnTo>
                  <a:pt x="11086210" y="5559879"/>
                </a:lnTo>
                <a:cubicBezTo>
                  <a:pt x="11093605" y="5552486"/>
                  <a:pt x="11103333" y="5548334"/>
                  <a:pt x="11113840" y="5548334"/>
                </a:cubicBezTo>
                <a:close/>
                <a:moveTo>
                  <a:pt x="9059892" y="5548334"/>
                </a:moveTo>
                <a:lnTo>
                  <a:pt x="9087652" y="5559879"/>
                </a:lnTo>
                <a:lnTo>
                  <a:pt x="9152251" y="5624611"/>
                </a:lnTo>
                <a:lnTo>
                  <a:pt x="9163796" y="5636286"/>
                </a:lnTo>
                <a:lnTo>
                  <a:pt x="9163797" y="5636286"/>
                </a:lnTo>
                <a:lnTo>
                  <a:pt x="9175342" y="5624611"/>
                </a:lnTo>
                <a:lnTo>
                  <a:pt x="9239811" y="5559879"/>
                </a:lnTo>
                <a:lnTo>
                  <a:pt x="9267570" y="5548334"/>
                </a:lnTo>
                <a:lnTo>
                  <a:pt x="9295200" y="5559879"/>
                </a:lnTo>
                <a:lnTo>
                  <a:pt x="9373678" y="5638491"/>
                </a:lnTo>
                <a:cubicBezTo>
                  <a:pt x="9381073" y="5645885"/>
                  <a:pt x="9385093" y="5655745"/>
                  <a:pt x="9385223" y="5666252"/>
                </a:cubicBezTo>
                <a:cubicBezTo>
                  <a:pt x="9385223" y="5676760"/>
                  <a:pt x="9381203" y="5686618"/>
                  <a:pt x="9373808" y="5694012"/>
                </a:cubicBezTo>
                <a:lnTo>
                  <a:pt x="9163797" y="5904422"/>
                </a:lnTo>
                <a:lnTo>
                  <a:pt x="8953784" y="5694012"/>
                </a:lnTo>
                <a:cubicBezTo>
                  <a:pt x="8938478" y="5678705"/>
                  <a:pt x="8938478" y="5653798"/>
                  <a:pt x="8953784" y="5638621"/>
                </a:cubicBezTo>
                <a:lnTo>
                  <a:pt x="9032264" y="5559879"/>
                </a:lnTo>
                <a:close/>
                <a:moveTo>
                  <a:pt x="7006076" y="5548334"/>
                </a:moveTo>
                <a:cubicBezTo>
                  <a:pt x="7016582" y="5548334"/>
                  <a:pt x="7026440" y="5552486"/>
                  <a:pt x="7033834" y="5559879"/>
                </a:cubicBezTo>
                <a:lnTo>
                  <a:pt x="7098434" y="5624611"/>
                </a:lnTo>
                <a:lnTo>
                  <a:pt x="7109978" y="5636286"/>
                </a:lnTo>
                <a:lnTo>
                  <a:pt x="7121523" y="5624611"/>
                </a:lnTo>
                <a:lnTo>
                  <a:pt x="7185994" y="5559879"/>
                </a:lnTo>
                <a:cubicBezTo>
                  <a:pt x="7193387" y="5552356"/>
                  <a:pt x="7203245" y="5548334"/>
                  <a:pt x="7213751" y="5548334"/>
                </a:cubicBezTo>
                <a:cubicBezTo>
                  <a:pt x="7224130" y="5548334"/>
                  <a:pt x="7233989" y="5552486"/>
                  <a:pt x="7241381" y="5559879"/>
                </a:cubicBezTo>
                <a:lnTo>
                  <a:pt x="7319862" y="5638491"/>
                </a:lnTo>
                <a:cubicBezTo>
                  <a:pt x="7327255" y="5645885"/>
                  <a:pt x="7331276" y="5655745"/>
                  <a:pt x="7331407" y="5666252"/>
                </a:cubicBezTo>
                <a:cubicBezTo>
                  <a:pt x="7331407" y="5676760"/>
                  <a:pt x="7327384" y="5686618"/>
                  <a:pt x="7319992" y="5694012"/>
                </a:cubicBezTo>
                <a:lnTo>
                  <a:pt x="7109978" y="5904422"/>
                </a:lnTo>
                <a:lnTo>
                  <a:pt x="6899966" y="5694012"/>
                </a:lnTo>
                <a:cubicBezTo>
                  <a:pt x="6884658" y="5678705"/>
                  <a:pt x="6884658" y="5653798"/>
                  <a:pt x="6899966" y="5638621"/>
                </a:cubicBezTo>
                <a:lnTo>
                  <a:pt x="6978446" y="5559879"/>
                </a:lnTo>
                <a:cubicBezTo>
                  <a:pt x="6985839" y="5552486"/>
                  <a:pt x="6995568" y="5548334"/>
                  <a:pt x="7006076" y="5548334"/>
                </a:cubicBezTo>
                <a:close/>
                <a:moveTo>
                  <a:pt x="11113840" y="5531859"/>
                </a:moveTo>
                <a:cubicBezTo>
                  <a:pt x="11099571" y="5531859"/>
                  <a:pt x="11085432" y="5537308"/>
                  <a:pt x="11074665" y="5548204"/>
                </a:cubicBezTo>
                <a:lnTo>
                  <a:pt x="10996186" y="5626946"/>
                </a:lnTo>
                <a:cubicBezTo>
                  <a:pt x="10974523" y="5648610"/>
                  <a:pt x="10974523" y="5683894"/>
                  <a:pt x="10996186" y="5705558"/>
                </a:cubicBezTo>
                <a:lnTo>
                  <a:pt x="11217744" y="5927642"/>
                </a:lnTo>
                <a:lnTo>
                  <a:pt x="11439301" y="5705558"/>
                </a:lnTo>
                <a:cubicBezTo>
                  <a:pt x="11460964" y="5683894"/>
                  <a:pt x="11460964" y="5648610"/>
                  <a:pt x="11439301" y="5626946"/>
                </a:cubicBezTo>
                <a:lnTo>
                  <a:pt x="11360822" y="5548334"/>
                </a:lnTo>
                <a:cubicBezTo>
                  <a:pt x="11349927" y="5537438"/>
                  <a:pt x="11335787" y="5531989"/>
                  <a:pt x="11321647" y="5531989"/>
                </a:cubicBezTo>
                <a:lnTo>
                  <a:pt x="11321517" y="5531859"/>
                </a:lnTo>
                <a:cubicBezTo>
                  <a:pt x="11307249" y="5531859"/>
                  <a:pt x="11293110" y="5537308"/>
                  <a:pt x="11282213" y="5548334"/>
                </a:cubicBezTo>
                <a:lnTo>
                  <a:pt x="11217744" y="5612936"/>
                </a:lnTo>
                <a:lnTo>
                  <a:pt x="11153145" y="5548204"/>
                </a:lnTo>
                <a:cubicBezTo>
                  <a:pt x="11142248" y="5537308"/>
                  <a:pt x="11128108" y="5531859"/>
                  <a:pt x="11113840" y="5531859"/>
                </a:cubicBezTo>
                <a:close/>
                <a:moveTo>
                  <a:pt x="9059892" y="5531859"/>
                </a:moveTo>
                <a:cubicBezTo>
                  <a:pt x="9045623" y="5531859"/>
                  <a:pt x="9031483" y="5537308"/>
                  <a:pt x="9020717" y="5548204"/>
                </a:cubicBezTo>
                <a:lnTo>
                  <a:pt x="8942238" y="5626946"/>
                </a:lnTo>
                <a:cubicBezTo>
                  <a:pt x="8920575" y="5648610"/>
                  <a:pt x="8920575" y="5683894"/>
                  <a:pt x="8942238" y="5705558"/>
                </a:cubicBezTo>
                <a:lnTo>
                  <a:pt x="9163796" y="5927642"/>
                </a:lnTo>
                <a:lnTo>
                  <a:pt x="9163797" y="5927642"/>
                </a:lnTo>
                <a:lnTo>
                  <a:pt x="9385354" y="5705558"/>
                </a:lnTo>
                <a:cubicBezTo>
                  <a:pt x="9407017" y="5683894"/>
                  <a:pt x="9407017" y="5648610"/>
                  <a:pt x="9385354" y="5626946"/>
                </a:cubicBezTo>
                <a:lnTo>
                  <a:pt x="9306876" y="5548334"/>
                </a:lnTo>
                <a:cubicBezTo>
                  <a:pt x="9295978" y="5537438"/>
                  <a:pt x="9281840" y="5531989"/>
                  <a:pt x="9267701" y="5531989"/>
                </a:cubicBezTo>
                <a:lnTo>
                  <a:pt x="9267571" y="5531859"/>
                </a:lnTo>
                <a:lnTo>
                  <a:pt x="9267570" y="5531859"/>
                </a:lnTo>
                <a:cubicBezTo>
                  <a:pt x="9253302" y="5531859"/>
                  <a:pt x="9239161" y="5537308"/>
                  <a:pt x="9228265" y="5548334"/>
                </a:cubicBezTo>
                <a:lnTo>
                  <a:pt x="9163797" y="5612936"/>
                </a:lnTo>
                <a:lnTo>
                  <a:pt x="9099198" y="5548204"/>
                </a:lnTo>
                <a:cubicBezTo>
                  <a:pt x="9088300" y="5537308"/>
                  <a:pt x="9074162" y="5531859"/>
                  <a:pt x="9059893" y="5531859"/>
                </a:cubicBezTo>
                <a:close/>
                <a:moveTo>
                  <a:pt x="7006076" y="5531859"/>
                </a:moveTo>
                <a:cubicBezTo>
                  <a:pt x="6991805" y="5531859"/>
                  <a:pt x="6977666" y="5537308"/>
                  <a:pt x="6966901" y="5548204"/>
                </a:cubicBezTo>
                <a:lnTo>
                  <a:pt x="6888421" y="5626946"/>
                </a:lnTo>
                <a:cubicBezTo>
                  <a:pt x="6866758" y="5648610"/>
                  <a:pt x="6866758" y="5683894"/>
                  <a:pt x="6888421" y="5705558"/>
                </a:cubicBezTo>
                <a:lnTo>
                  <a:pt x="7109978" y="5927642"/>
                </a:lnTo>
                <a:lnTo>
                  <a:pt x="7331537" y="5705558"/>
                </a:lnTo>
                <a:cubicBezTo>
                  <a:pt x="7353199" y="5683894"/>
                  <a:pt x="7353199" y="5648610"/>
                  <a:pt x="7331537" y="5626946"/>
                </a:cubicBezTo>
                <a:lnTo>
                  <a:pt x="7253057" y="5548334"/>
                </a:lnTo>
                <a:cubicBezTo>
                  <a:pt x="7242161" y="5537438"/>
                  <a:pt x="7228022" y="5531989"/>
                  <a:pt x="7213882" y="5531989"/>
                </a:cubicBezTo>
                <a:lnTo>
                  <a:pt x="7213751" y="5531859"/>
                </a:lnTo>
                <a:cubicBezTo>
                  <a:pt x="7199483" y="5531859"/>
                  <a:pt x="7185345" y="5537308"/>
                  <a:pt x="7174449" y="5548334"/>
                </a:cubicBezTo>
                <a:lnTo>
                  <a:pt x="7109978" y="5612936"/>
                </a:lnTo>
                <a:lnTo>
                  <a:pt x="7045379" y="5548204"/>
                </a:lnTo>
                <a:cubicBezTo>
                  <a:pt x="7034483" y="5537308"/>
                  <a:pt x="7020344" y="5531859"/>
                  <a:pt x="7006076" y="5531859"/>
                </a:cubicBezTo>
                <a:close/>
                <a:moveTo>
                  <a:pt x="4952148" y="5531859"/>
                </a:moveTo>
                <a:cubicBezTo>
                  <a:pt x="4937875" y="5531859"/>
                  <a:pt x="4923734" y="5537308"/>
                  <a:pt x="4912971" y="5548204"/>
                </a:cubicBezTo>
                <a:lnTo>
                  <a:pt x="4834495" y="5626946"/>
                </a:lnTo>
                <a:cubicBezTo>
                  <a:pt x="4812828" y="5648610"/>
                  <a:pt x="4812828" y="5683894"/>
                  <a:pt x="4834495" y="5705558"/>
                </a:cubicBezTo>
                <a:lnTo>
                  <a:pt x="5056064" y="5927642"/>
                </a:lnTo>
                <a:lnTo>
                  <a:pt x="5056083" y="5927632"/>
                </a:lnTo>
                <a:lnTo>
                  <a:pt x="5056087" y="5927642"/>
                </a:lnTo>
                <a:lnTo>
                  <a:pt x="5277615" y="5705558"/>
                </a:lnTo>
                <a:cubicBezTo>
                  <a:pt x="5299287" y="5683894"/>
                  <a:pt x="5299287" y="5648610"/>
                  <a:pt x="5277615" y="5626946"/>
                </a:cubicBezTo>
                <a:lnTo>
                  <a:pt x="5199142" y="5548334"/>
                </a:lnTo>
                <a:cubicBezTo>
                  <a:pt x="5188246" y="5537438"/>
                  <a:pt x="5174097" y="5531989"/>
                  <a:pt x="5159966" y="5531989"/>
                </a:cubicBezTo>
                <a:lnTo>
                  <a:pt x="5159837" y="5531859"/>
                </a:lnTo>
                <a:lnTo>
                  <a:pt x="5159824" y="5531861"/>
                </a:lnTo>
                <a:lnTo>
                  <a:pt x="5159824" y="5531859"/>
                </a:lnTo>
                <a:cubicBezTo>
                  <a:pt x="5145561" y="5531859"/>
                  <a:pt x="5131424" y="5537308"/>
                  <a:pt x="5120536" y="5548334"/>
                </a:cubicBezTo>
                <a:lnTo>
                  <a:pt x="5056083" y="5612926"/>
                </a:lnTo>
                <a:lnTo>
                  <a:pt x="4991467" y="5548204"/>
                </a:lnTo>
                <a:cubicBezTo>
                  <a:pt x="4980575" y="5537308"/>
                  <a:pt x="4966424" y="5531859"/>
                  <a:pt x="4952157" y="5531859"/>
                </a:cubicBezTo>
                <a:lnTo>
                  <a:pt x="4952154" y="5531860"/>
                </a:lnTo>
                <a:close/>
                <a:moveTo>
                  <a:pt x="2898346" y="5531859"/>
                </a:moveTo>
                <a:cubicBezTo>
                  <a:pt x="2884074" y="5531859"/>
                  <a:pt x="2869937" y="5537308"/>
                  <a:pt x="2859169" y="5548204"/>
                </a:cubicBezTo>
                <a:lnTo>
                  <a:pt x="2780693" y="5626946"/>
                </a:lnTo>
                <a:cubicBezTo>
                  <a:pt x="2759029" y="5648610"/>
                  <a:pt x="2759029" y="5683894"/>
                  <a:pt x="2780693" y="5705558"/>
                </a:cubicBezTo>
                <a:lnTo>
                  <a:pt x="3002248" y="5927642"/>
                </a:lnTo>
                <a:lnTo>
                  <a:pt x="3002260" y="5927631"/>
                </a:lnTo>
                <a:lnTo>
                  <a:pt x="3002272" y="5927642"/>
                </a:lnTo>
                <a:lnTo>
                  <a:pt x="3223830" y="5705558"/>
                </a:lnTo>
                <a:cubicBezTo>
                  <a:pt x="3245495" y="5683894"/>
                  <a:pt x="3245495" y="5648610"/>
                  <a:pt x="3223830" y="5626946"/>
                </a:cubicBezTo>
                <a:lnTo>
                  <a:pt x="3145351" y="5548334"/>
                </a:lnTo>
                <a:cubicBezTo>
                  <a:pt x="3134454" y="5537438"/>
                  <a:pt x="3120316" y="5531989"/>
                  <a:pt x="3106175" y="5531989"/>
                </a:cubicBezTo>
                <a:lnTo>
                  <a:pt x="3106046" y="5531859"/>
                </a:lnTo>
                <a:lnTo>
                  <a:pt x="3106028" y="5531863"/>
                </a:lnTo>
                <a:lnTo>
                  <a:pt x="3106023" y="5531859"/>
                </a:lnTo>
                <a:cubicBezTo>
                  <a:pt x="3091754" y="5531859"/>
                  <a:pt x="3077614" y="5537308"/>
                  <a:pt x="3066719" y="5548334"/>
                </a:cubicBezTo>
                <a:lnTo>
                  <a:pt x="3002260" y="5612925"/>
                </a:lnTo>
                <a:lnTo>
                  <a:pt x="2937674" y="5548204"/>
                </a:lnTo>
                <a:cubicBezTo>
                  <a:pt x="2926776" y="5537308"/>
                  <a:pt x="2912635" y="5531859"/>
                  <a:pt x="2898371" y="5531859"/>
                </a:cubicBezTo>
                <a:lnTo>
                  <a:pt x="2898359" y="5531862"/>
                </a:lnTo>
                <a:close/>
                <a:moveTo>
                  <a:pt x="844367" y="5531859"/>
                </a:moveTo>
                <a:cubicBezTo>
                  <a:pt x="830100" y="5531859"/>
                  <a:pt x="815961" y="5537308"/>
                  <a:pt x="805194" y="5548204"/>
                </a:cubicBezTo>
                <a:lnTo>
                  <a:pt x="726714" y="5626946"/>
                </a:lnTo>
                <a:cubicBezTo>
                  <a:pt x="705052" y="5648610"/>
                  <a:pt x="705052" y="5683894"/>
                  <a:pt x="726714" y="5705558"/>
                </a:cubicBezTo>
                <a:lnTo>
                  <a:pt x="948272" y="5927642"/>
                </a:lnTo>
                <a:lnTo>
                  <a:pt x="948285" y="5927630"/>
                </a:lnTo>
                <a:lnTo>
                  <a:pt x="948296" y="5927642"/>
                </a:lnTo>
                <a:lnTo>
                  <a:pt x="1169852" y="5705558"/>
                </a:lnTo>
                <a:cubicBezTo>
                  <a:pt x="1191514" y="5683894"/>
                  <a:pt x="1191514" y="5648610"/>
                  <a:pt x="1169852" y="5626946"/>
                </a:cubicBezTo>
                <a:lnTo>
                  <a:pt x="1091374" y="5548334"/>
                </a:lnTo>
                <a:cubicBezTo>
                  <a:pt x="1080478" y="5537438"/>
                  <a:pt x="1066339" y="5531989"/>
                  <a:pt x="1052199" y="5531989"/>
                </a:cubicBezTo>
                <a:lnTo>
                  <a:pt x="1052070" y="5531859"/>
                </a:lnTo>
                <a:lnTo>
                  <a:pt x="1052050" y="5531863"/>
                </a:lnTo>
                <a:lnTo>
                  <a:pt x="1052046" y="5531859"/>
                </a:lnTo>
                <a:cubicBezTo>
                  <a:pt x="1037777" y="5531859"/>
                  <a:pt x="1023638" y="5537308"/>
                  <a:pt x="1012742" y="5548334"/>
                </a:cubicBezTo>
                <a:lnTo>
                  <a:pt x="948285" y="5612924"/>
                </a:lnTo>
                <a:lnTo>
                  <a:pt x="883696" y="5548204"/>
                </a:lnTo>
                <a:cubicBezTo>
                  <a:pt x="872800" y="5537308"/>
                  <a:pt x="858660" y="5531859"/>
                  <a:pt x="844392" y="5531859"/>
                </a:cubicBezTo>
                <a:lnTo>
                  <a:pt x="844380" y="5531862"/>
                </a:lnTo>
                <a:close/>
                <a:moveTo>
                  <a:pt x="3695484" y="5321194"/>
                </a:moveTo>
                <a:lnTo>
                  <a:pt x="4020937" y="5509547"/>
                </a:lnTo>
                <a:lnTo>
                  <a:pt x="4020937" y="5886386"/>
                </a:lnTo>
                <a:lnTo>
                  <a:pt x="3695484" y="5698034"/>
                </a:lnTo>
                <a:close/>
                <a:moveTo>
                  <a:pt x="3679135" y="5321194"/>
                </a:moveTo>
                <a:lnTo>
                  <a:pt x="3679135" y="5698034"/>
                </a:lnTo>
                <a:lnTo>
                  <a:pt x="3353555" y="5886385"/>
                </a:lnTo>
                <a:lnTo>
                  <a:pt x="3353555" y="5509547"/>
                </a:lnTo>
                <a:close/>
                <a:moveTo>
                  <a:pt x="1625159" y="5321194"/>
                </a:moveTo>
                <a:lnTo>
                  <a:pt x="1625159" y="5698034"/>
                </a:lnTo>
                <a:lnTo>
                  <a:pt x="1299574" y="5886386"/>
                </a:lnTo>
                <a:lnTo>
                  <a:pt x="1299574" y="5509547"/>
                </a:lnTo>
                <a:close/>
                <a:moveTo>
                  <a:pt x="1641508" y="5321193"/>
                </a:moveTo>
                <a:lnTo>
                  <a:pt x="1966963" y="5509547"/>
                </a:lnTo>
                <a:lnTo>
                  <a:pt x="1966963" y="5886386"/>
                </a:lnTo>
                <a:lnTo>
                  <a:pt x="1641508" y="5698034"/>
                </a:lnTo>
                <a:close/>
                <a:moveTo>
                  <a:pt x="5749264" y="5321192"/>
                </a:moveTo>
                <a:lnTo>
                  <a:pt x="6074705" y="5509548"/>
                </a:lnTo>
                <a:lnTo>
                  <a:pt x="6074705" y="5886390"/>
                </a:lnTo>
                <a:lnTo>
                  <a:pt x="5749264" y="5698034"/>
                </a:lnTo>
                <a:close/>
                <a:moveTo>
                  <a:pt x="11910826" y="5321191"/>
                </a:moveTo>
                <a:lnTo>
                  <a:pt x="12188651" y="5481979"/>
                </a:lnTo>
                <a:lnTo>
                  <a:pt x="12188651" y="5858821"/>
                </a:lnTo>
                <a:lnTo>
                  <a:pt x="11910826" y="5698034"/>
                </a:lnTo>
                <a:close/>
                <a:moveTo>
                  <a:pt x="11894481" y="5321191"/>
                </a:moveTo>
                <a:lnTo>
                  <a:pt x="11894481" y="5698034"/>
                </a:lnTo>
                <a:lnTo>
                  <a:pt x="11568890" y="5886390"/>
                </a:lnTo>
                <a:lnTo>
                  <a:pt x="11568890" y="5509548"/>
                </a:lnTo>
                <a:close/>
                <a:moveTo>
                  <a:pt x="9857006" y="5321191"/>
                </a:moveTo>
                <a:lnTo>
                  <a:pt x="10182468" y="5509548"/>
                </a:lnTo>
                <a:lnTo>
                  <a:pt x="10182468" y="5886390"/>
                </a:lnTo>
                <a:lnTo>
                  <a:pt x="9857006" y="5698034"/>
                </a:lnTo>
                <a:close/>
                <a:moveTo>
                  <a:pt x="9840661" y="5321191"/>
                </a:moveTo>
                <a:lnTo>
                  <a:pt x="9840661" y="5698034"/>
                </a:lnTo>
                <a:lnTo>
                  <a:pt x="9515070" y="5886390"/>
                </a:lnTo>
                <a:lnTo>
                  <a:pt x="9515070" y="5509548"/>
                </a:lnTo>
                <a:close/>
                <a:moveTo>
                  <a:pt x="7803060" y="5321191"/>
                </a:moveTo>
                <a:lnTo>
                  <a:pt x="8128521" y="5509548"/>
                </a:lnTo>
                <a:lnTo>
                  <a:pt x="8128521" y="5886390"/>
                </a:lnTo>
                <a:lnTo>
                  <a:pt x="7803060" y="5698034"/>
                </a:lnTo>
                <a:close/>
                <a:moveTo>
                  <a:pt x="7786715" y="5321191"/>
                </a:moveTo>
                <a:lnTo>
                  <a:pt x="7786715" y="5698034"/>
                </a:lnTo>
                <a:lnTo>
                  <a:pt x="7461125" y="5886390"/>
                </a:lnTo>
                <a:lnTo>
                  <a:pt x="7461125" y="5509548"/>
                </a:lnTo>
                <a:close/>
                <a:moveTo>
                  <a:pt x="5732919" y="5321191"/>
                </a:moveTo>
                <a:lnTo>
                  <a:pt x="5732919" y="5698034"/>
                </a:lnTo>
                <a:lnTo>
                  <a:pt x="5407350" y="5886387"/>
                </a:lnTo>
                <a:lnTo>
                  <a:pt x="5407350" y="5509547"/>
                </a:lnTo>
                <a:lnTo>
                  <a:pt x="5539925" y="5432844"/>
                </a:lnTo>
                <a:close/>
                <a:moveTo>
                  <a:pt x="2317081" y="5316392"/>
                </a:moveTo>
                <a:lnTo>
                  <a:pt x="2650837" y="5509547"/>
                </a:lnTo>
                <a:lnTo>
                  <a:pt x="2650837" y="5895861"/>
                </a:lnTo>
                <a:lnTo>
                  <a:pt x="2317210" y="6089014"/>
                </a:lnTo>
                <a:lnTo>
                  <a:pt x="1983444" y="5895861"/>
                </a:lnTo>
                <a:lnTo>
                  <a:pt x="1983444" y="5509547"/>
                </a:lnTo>
                <a:close/>
                <a:moveTo>
                  <a:pt x="263233" y="5316392"/>
                </a:moveTo>
                <a:lnTo>
                  <a:pt x="596992" y="5509547"/>
                </a:lnTo>
                <a:lnTo>
                  <a:pt x="596992" y="5895861"/>
                </a:lnTo>
                <a:lnTo>
                  <a:pt x="263362" y="6089014"/>
                </a:lnTo>
                <a:lnTo>
                  <a:pt x="0" y="5936601"/>
                </a:lnTo>
                <a:lnTo>
                  <a:pt x="0" y="5468791"/>
                </a:lnTo>
                <a:close/>
                <a:moveTo>
                  <a:pt x="10532576" y="5316391"/>
                </a:moveTo>
                <a:lnTo>
                  <a:pt x="10866339" y="5509548"/>
                </a:lnTo>
                <a:lnTo>
                  <a:pt x="10866339" y="5895861"/>
                </a:lnTo>
                <a:lnTo>
                  <a:pt x="10532706" y="6089016"/>
                </a:lnTo>
                <a:lnTo>
                  <a:pt x="10198941" y="5895861"/>
                </a:lnTo>
                <a:lnTo>
                  <a:pt x="10198941" y="5509548"/>
                </a:lnTo>
                <a:close/>
                <a:moveTo>
                  <a:pt x="8478628" y="5316391"/>
                </a:moveTo>
                <a:lnTo>
                  <a:pt x="8812392" y="5509548"/>
                </a:lnTo>
                <a:lnTo>
                  <a:pt x="8812392" y="5895861"/>
                </a:lnTo>
                <a:lnTo>
                  <a:pt x="8478758" y="6089016"/>
                </a:lnTo>
                <a:lnTo>
                  <a:pt x="8144995" y="5895861"/>
                </a:lnTo>
                <a:lnTo>
                  <a:pt x="8144995" y="5509548"/>
                </a:lnTo>
                <a:close/>
                <a:moveTo>
                  <a:pt x="6424810" y="5316391"/>
                </a:moveTo>
                <a:lnTo>
                  <a:pt x="6758573" y="5509548"/>
                </a:lnTo>
                <a:lnTo>
                  <a:pt x="6758573" y="5895861"/>
                </a:lnTo>
                <a:lnTo>
                  <a:pt x="6424940" y="6089016"/>
                </a:lnTo>
                <a:lnTo>
                  <a:pt x="6091179" y="5895861"/>
                </a:lnTo>
                <a:lnTo>
                  <a:pt x="6091179" y="5509548"/>
                </a:lnTo>
                <a:close/>
                <a:moveTo>
                  <a:pt x="4371009" y="5316391"/>
                </a:moveTo>
                <a:lnTo>
                  <a:pt x="4704773" y="5509548"/>
                </a:lnTo>
                <a:lnTo>
                  <a:pt x="4704773" y="5895861"/>
                </a:lnTo>
                <a:lnTo>
                  <a:pt x="4371144" y="6089016"/>
                </a:lnTo>
                <a:lnTo>
                  <a:pt x="4037419" y="5895861"/>
                </a:lnTo>
                <a:lnTo>
                  <a:pt x="4037419" y="5509547"/>
                </a:lnTo>
                <a:lnTo>
                  <a:pt x="4248574" y="5387277"/>
                </a:lnTo>
                <a:close/>
                <a:moveTo>
                  <a:pt x="3002131" y="5316139"/>
                </a:moveTo>
                <a:lnTo>
                  <a:pt x="3335884" y="5509288"/>
                </a:lnTo>
                <a:lnTo>
                  <a:pt x="3335884" y="5895471"/>
                </a:lnTo>
                <a:lnTo>
                  <a:pt x="3002133" y="6088619"/>
                </a:lnTo>
                <a:lnTo>
                  <a:pt x="2668383" y="5895470"/>
                </a:lnTo>
                <a:lnTo>
                  <a:pt x="2668383" y="5509287"/>
                </a:lnTo>
                <a:close/>
                <a:moveTo>
                  <a:pt x="948155" y="5316139"/>
                </a:moveTo>
                <a:lnTo>
                  <a:pt x="1281905" y="5509288"/>
                </a:lnTo>
                <a:lnTo>
                  <a:pt x="1281905" y="5895471"/>
                </a:lnTo>
                <a:lnTo>
                  <a:pt x="948156" y="6088620"/>
                </a:lnTo>
                <a:lnTo>
                  <a:pt x="614407" y="5895470"/>
                </a:lnTo>
                <a:lnTo>
                  <a:pt x="614407" y="5509287"/>
                </a:lnTo>
                <a:close/>
                <a:moveTo>
                  <a:pt x="5055949" y="5316138"/>
                </a:moveTo>
                <a:lnTo>
                  <a:pt x="5389688" y="5509288"/>
                </a:lnTo>
                <a:lnTo>
                  <a:pt x="5389688" y="5895471"/>
                </a:lnTo>
                <a:lnTo>
                  <a:pt x="5055955" y="6088620"/>
                </a:lnTo>
                <a:lnTo>
                  <a:pt x="4722171" y="5895470"/>
                </a:lnTo>
                <a:lnTo>
                  <a:pt x="4722171" y="5509287"/>
                </a:lnTo>
                <a:lnTo>
                  <a:pt x="4848154" y="5436375"/>
                </a:lnTo>
                <a:close/>
                <a:moveTo>
                  <a:pt x="11217614" y="5316132"/>
                </a:moveTo>
                <a:lnTo>
                  <a:pt x="11551377" y="5509288"/>
                </a:lnTo>
                <a:lnTo>
                  <a:pt x="11551377" y="5895470"/>
                </a:lnTo>
                <a:lnTo>
                  <a:pt x="11217614" y="6088627"/>
                </a:lnTo>
                <a:lnTo>
                  <a:pt x="10883851" y="5895470"/>
                </a:lnTo>
                <a:lnTo>
                  <a:pt x="10883851" y="5509288"/>
                </a:lnTo>
                <a:close/>
                <a:moveTo>
                  <a:pt x="9163666" y="5316132"/>
                </a:moveTo>
                <a:lnTo>
                  <a:pt x="9497429" y="5509288"/>
                </a:lnTo>
                <a:lnTo>
                  <a:pt x="9497429" y="5895470"/>
                </a:lnTo>
                <a:lnTo>
                  <a:pt x="9163666" y="6088627"/>
                </a:lnTo>
                <a:lnTo>
                  <a:pt x="8829903" y="5895470"/>
                </a:lnTo>
                <a:lnTo>
                  <a:pt x="8829903" y="5509288"/>
                </a:lnTo>
                <a:close/>
                <a:moveTo>
                  <a:pt x="7109850" y="5316132"/>
                </a:moveTo>
                <a:lnTo>
                  <a:pt x="7443613" y="5509288"/>
                </a:lnTo>
                <a:lnTo>
                  <a:pt x="7443613" y="5895470"/>
                </a:lnTo>
                <a:lnTo>
                  <a:pt x="7109850" y="6088627"/>
                </a:lnTo>
                <a:lnTo>
                  <a:pt x="6776085" y="5895470"/>
                </a:lnTo>
                <a:lnTo>
                  <a:pt x="6776085" y="5509288"/>
                </a:lnTo>
                <a:close/>
                <a:moveTo>
                  <a:pt x="2660328" y="5118312"/>
                </a:moveTo>
                <a:lnTo>
                  <a:pt x="2985776" y="5306661"/>
                </a:lnTo>
                <a:lnTo>
                  <a:pt x="2660199" y="5495010"/>
                </a:lnTo>
                <a:lnTo>
                  <a:pt x="2334754" y="5306660"/>
                </a:lnTo>
                <a:close/>
                <a:moveTo>
                  <a:pt x="606350" y="5118312"/>
                </a:moveTo>
                <a:lnTo>
                  <a:pt x="931797" y="5306661"/>
                </a:lnTo>
                <a:lnTo>
                  <a:pt x="606221" y="5495010"/>
                </a:lnTo>
                <a:lnTo>
                  <a:pt x="280773" y="5306660"/>
                </a:lnTo>
                <a:close/>
                <a:moveTo>
                  <a:pt x="4714113" y="5118307"/>
                </a:moveTo>
                <a:lnTo>
                  <a:pt x="5039591" y="5306661"/>
                </a:lnTo>
                <a:lnTo>
                  <a:pt x="4977019" y="5342855"/>
                </a:lnTo>
                <a:lnTo>
                  <a:pt x="4713993" y="5495014"/>
                </a:lnTo>
                <a:lnTo>
                  <a:pt x="4388541" y="5306660"/>
                </a:lnTo>
                <a:close/>
                <a:moveTo>
                  <a:pt x="10875808" y="5118305"/>
                </a:moveTo>
                <a:lnTo>
                  <a:pt x="11201268" y="5306661"/>
                </a:lnTo>
                <a:lnTo>
                  <a:pt x="10875679" y="5495017"/>
                </a:lnTo>
                <a:lnTo>
                  <a:pt x="10550218" y="5306661"/>
                </a:lnTo>
                <a:close/>
                <a:moveTo>
                  <a:pt x="8821860" y="5118305"/>
                </a:moveTo>
                <a:lnTo>
                  <a:pt x="9147320" y="5306661"/>
                </a:lnTo>
                <a:lnTo>
                  <a:pt x="8821730" y="5495017"/>
                </a:lnTo>
                <a:lnTo>
                  <a:pt x="8496270" y="5306661"/>
                </a:lnTo>
                <a:close/>
                <a:moveTo>
                  <a:pt x="6768043" y="5118305"/>
                </a:moveTo>
                <a:lnTo>
                  <a:pt x="7093504" y="5306661"/>
                </a:lnTo>
                <a:lnTo>
                  <a:pt x="6767913" y="5495017"/>
                </a:lnTo>
                <a:lnTo>
                  <a:pt x="6442453" y="5306661"/>
                </a:lnTo>
                <a:close/>
                <a:moveTo>
                  <a:pt x="12140685" y="4954335"/>
                </a:moveTo>
                <a:cubicBezTo>
                  <a:pt x="12151191" y="4954335"/>
                  <a:pt x="12161050" y="4958487"/>
                  <a:pt x="12168445" y="4965880"/>
                </a:cubicBezTo>
                <a:lnTo>
                  <a:pt x="12188651" y="4986128"/>
                </a:lnTo>
                <a:lnTo>
                  <a:pt x="12188651" y="5254379"/>
                </a:lnTo>
                <a:lnTo>
                  <a:pt x="12034576" y="5100013"/>
                </a:lnTo>
                <a:cubicBezTo>
                  <a:pt x="12019270" y="5084706"/>
                  <a:pt x="12019270" y="5059799"/>
                  <a:pt x="12034576" y="5044621"/>
                </a:cubicBezTo>
                <a:lnTo>
                  <a:pt x="12113056" y="4965880"/>
                </a:lnTo>
                <a:cubicBezTo>
                  <a:pt x="12120448" y="4958487"/>
                  <a:pt x="12130178" y="4954335"/>
                  <a:pt x="12140685" y="4954335"/>
                </a:cubicBezTo>
                <a:close/>
                <a:moveTo>
                  <a:pt x="10086867" y="4954335"/>
                </a:moveTo>
                <a:cubicBezTo>
                  <a:pt x="10097374" y="4954335"/>
                  <a:pt x="10107232" y="4958487"/>
                  <a:pt x="10114626" y="4965880"/>
                </a:cubicBezTo>
                <a:lnTo>
                  <a:pt x="10179226" y="5030612"/>
                </a:lnTo>
                <a:lnTo>
                  <a:pt x="10190770" y="5042286"/>
                </a:lnTo>
                <a:lnTo>
                  <a:pt x="10202315" y="5030612"/>
                </a:lnTo>
                <a:lnTo>
                  <a:pt x="10266786" y="4965880"/>
                </a:lnTo>
                <a:cubicBezTo>
                  <a:pt x="10274178" y="4958357"/>
                  <a:pt x="10284037" y="4954335"/>
                  <a:pt x="10294543" y="4954335"/>
                </a:cubicBezTo>
                <a:cubicBezTo>
                  <a:pt x="10304922" y="4954335"/>
                  <a:pt x="10314781" y="4958487"/>
                  <a:pt x="10322173" y="4965880"/>
                </a:cubicBezTo>
                <a:lnTo>
                  <a:pt x="10400653" y="5044492"/>
                </a:lnTo>
                <a:cubicBezTo>
                  <a:pt x="10408047" y="5051886"/>
                  <a:pt x="10412068" y="5061745"/>
                  <a:pt x="10412198" y="5072252"/>
                </a:cubicBezTo>
                <a:cubicBezTo>
                  <a:pt x="10412198" y="5082760"/>
                  <a:pt x="10408176" y="5092619"/>
                  <a:pt x="10400783" y="5100013"/>
                </a:cubicBezTo>
                <a:lnTo>
                  <a:pt x="10190770" y="5310423"/>
                </a:lnTo>
                <a:lnTo>
                  <a:pt x="9980757" y="5100013"/>
                </a:lnTo>
                <a:cubicBezTo>
                  <a:pt x="9965450" y="5084706"/>
                  <a:pt x="9965450" y="5059799"/>
                  <a:pt x="9980757" y="5044621"/>
                </a:cubicBezTo>
                <a:lnTo>
                  <a:pt x="10059237" y="4965880"/>
                </a:lnTo>
                <a:cubicBezTo>
                  <a:pt x="10066631" y="4958487"/>
                  <a:pt x="10076359" y="4954335"/>
                  <a:pt x="10086867" y="4954335"/>
                </a:cubicBezTo>
                <a:close/>
                <a:moveTo>
                  <a:pt x="8032919" y="4954335"/>
                </a:moveTo>
                <a:cubicBezTo>
                  <a:pt x="8043427" y="4954335"/>
                  <a:pt x="8053285" y="4958487"/>
                  <a:pt x="8060679" y="4965880"/>
                </a:cubicBezTo>
                <a:lnTo>
                  <a:pt x="8125278" y="5030612"/>
                </a:lnTo>
                <a:lnTo>
                  <a:pt x="8136823" y="5042286"/>
                </a:lnTo>
                <a:lnTo>
                  <a:pt x="8148368" y="5030612"/>
                </a:lnTo>
                <a:lnTo>
                  <a:pt x="8212837" y="4965880"/>
                </a:lnTo>
                <a:cubicBezTo>
                  <a:pt x="8220232" y="4958357"/>
                  <a:pt x="8230090" y="4954335"/>
                  <a:pt x="8240596" y="4954335"/>
                </a:cubicBezTo>
                <a:cubicBezTo>
                  <a:pt x="8250975" y="4954335"/>
                  <a:pt x="8260834" y="4958487"/>
                  <a:pt x="8268226" y="4965880"/>
                </a:cubicBezTo>
                <a:lnTo>
                  <a:pt x="8346707" y="5044492"/>
                </a:lnTo>
                <a:cubicBezTo>
                  <a:pt x="8354100" y="5051886"/>
                  <a:pt x="8358121" y="5061745"/>
                  <a:pt x="8358252" y="5072252"/>
                </a:cubicBezTo>
                <a:cubicBezTo>
                  <a:pt x="8358252" y="5082760"/>
                  <a:pt x="8354229" y="5092619"/>
                  <a:pt x="8346837" y="5100013"/>
                </a:cubicBezTo>
                <a:lnTo>
                  <a:pt x="8136823" y="5310423"/>
                </a:lnTo>
                <a:lnTo>
                  <a:pt x="7926811" y="5100013"/>
                </a:lnTo>
                <a:cubicBezTo>
                  <a:pt x="7911503" y="5084706"/>
                  <a:pt x="7911503" y="5059799"/>
                  <a:pt x="7926811" y="5044621"/>
                </a:cubicBezTo>
                <a:lnTo>
                  <a:pt x="8005289" y="4965880"/>
                </a:lnTo>
                <a:cubicBezTo>
                  <a:pt x="8012684" y="4958487"/>
                  <a:pt x="8022413" y="4954335"/>
                  <a:pt x="8032919" y="4954335"/>
                </a:cubicBezTo>
                <a:close/>
                <a:moveTo>
                  <a:pt x="5979109" y="4954335"/>
                </a:moveTo>
                <a:cubicBezTo>
                  <a:pt x="5989617" y="4954335"/>
                  <a:pt x="5999474" y="4958487"/>
                  <a:pt x="6006867" y="4965880"/>
                </a:cubicBezTo>
                <a:lnTo>
                  <a:pt x="6071463" y="5030612"/>
                </a:lnTo>
                <a:lnTo>
                  <a:pt x="6083006" y="5042286"/>
                </a:lnTo>
                <a:lnTo>
                  <a:pt x="6094550" y="5030612"/>
                </a:lnTo>
                <a:lnTo>
                  <a:pt x="6159019" y="4965880"/>
                </a:lnTo>
                <a:cubicBezTo>
                  <a:pt x="6166413" y="4958357"/>
                  <a:pt x="6176271" y="4954335"/>
                  <a:pt x="6186779" y="4954335"/>
                </a:cubicBezTo>
                <a:cubicBezTo>
                  <a:pt x="6197156" y="4954335"/>
                  <a:pt x="6207014" y="4958487"/>
                  <a:pt x="6214409" y="4965880"/>
                </a:cubicBezTo>
                <a:lnTo>
                  <a:pt x="6292888" y="5044492"/>
                </a:lnTo>
                <a:cubicBezTo>
                  <a:pt x="6300282" y="5051886"/>
                  <a:pt x="6304303" y="5061745"/>
                  <a:pt x="6304433" y="5072252"/>
                </a:cubicBezTo>
                <a:cubicBezTo>
                  <a:pt x="6304433" y="5082760"/>
                  <a:pt x="6300412" y="5092619"/>
                  <a:pt x="6293017" y="5100013"/>
                </a:cubicBezTo>
                <a:lnTo>
                  <a:pt x="6083006" y="5310423"/>
                </a:lnTo>
                <a:lnTo>
                  <a:pt x="5873007" y="5100013"/>
                </a:lnTo>
                <a:cubicBezTo>
                  <a:pt x="5857702" y="5084706"/>
                  <a:pt x="5857702" y="5059799"/>
                  <a:pt x="5873007" y="5044621"/>
                </a:cubicBezTo>
                <a:lnTo>
                  <a:pt x="5951483" y="4965880"/>
                </a:lnTo>
                <a:cubicBezTo>
                  <a:pt x="5958874" y="4958487"/>
                  <a:pt x="5968603" y="4954335"/>
                  <a:pt x="5979109" y="4954335"/>
                </a:cubicBezTo>
                <a:close/>
                <a:moveTo>
                  <a:pt x="3925342" y="4954335"/>
                </a:moveTo>
                <a:cubicBezTo>
                  <a:pt x="3935847" y="4954335"/>
                  <a:pt x="3945706" y="4958487"/>
                  <a:pt x="3953100" y="4965880"/>
                </a:cubicBezTo>
                <a:lnTo>
                  <a:pt x="4017699" y="5030612"/>
                </a:lnTo>
                <a:lnTo>
                  <a:pt x="4029246" y="5042286"/>
                </a:lnTo>
                <a:lnTo>
                  <a:pt x="4040790" y="5030612"/>
                </a:lnTo>
                <a:lnTo>
                  <a:pt x="4105262" y="4965880"/>
                </a:lnTo>
                <a:cubicBezTo>
                  <a:pt x="4112656" y="4958357"/>
                  <a:pt x="4122515" y="4954335"/>
                  <a:pt x="4133023" y="4954335"/>
                </a:cubicBezTo>
                <a:cubicBezTo>
                  <a:pt x="4143400" y="4954335"/>
                  <a:pt x="4153261" y="4958487"/>
                  <a:pt x="4160653" y="4965880"/>
                </a:cubicBezTo>
                <a:lnTo>
                  <a:pt x="4239088" y="5044492"/>
                </a:lnTo>
                <a:cubicBezTo>
                  <a:pt x="4246485" y="5051886"/>
                  <a:pt x="4250503" y="5061745"/>
                  <a:pt x="4250634" y="5072252"/>
                </a:cubicBezTo>
                <a:cubicBezTo>
                  <a:pt x="4250634" y="5082760"/>
                  <a:pt x="4246611" y="5092619"/>
                  <a:pt x="4239218" y="5100013"/>
                </a:cubicBezTo>
                <a:lnTo>
                  <a:pt x="4029246" y="5310423"/>
                </a:lnTo>
                <a:lnTo>
                  <a:pt x="3819226" y="5100013"/>
                </a:lnTo>
                <a:cubicBezTo>
                  <a:pt x="3803920" y="5084706"/>
                  <a:pt x="3803920" y="5059799"/>
                  <a:pt x="3819226" y="5044621"/>
                </a:cubicBezTo>
                <a:lnTo>
                  <a:pt x="3897709" y="4965880"/>
                </a:lnTo>
                <a:cubicBezTo>
                  <a:pt x="3905106" y="4958487"/>
                  <a:pt x="3914833" y="4954335"/>
                  <a:pt x="3925342" y="4954335"/>
                </a:cubicBezTo>
                <a:close/>
                <a:moveTo>
                  <a:pt x="1871366" y="4954335"/>
                </a:moveTo>
                <a:cubicBezTo>
                  <a:pt x="1881875" y="4954335"/>
                  <a:pt x="1891733" y="4958487"/>
                  <a:pt x="1899126" y="4965880"/>
                </a:cubicBezTo>
                <a:lnTo>
                  <a:pt x="1963727" y="5030612"/>
                </a:lnTo>
                <a:lnTo>
                  <a:pt x="1975271" y="5042286"/>
                </a:lnTo>
                <a:lnTo>
                  <a:pt x="1986816" y="5030612"/>
                </a:lnTo>
                <a:lnTo>
                  <a:pt x="2051285" y="4965880"/>
                </a:lnTo>
                <a:cubicBezTo>
                  <a:pt x="2058680" y="4958357"/>
                  <a:pt x="2068537" y="4954335"/>
                  <a:pt x="2079045" y="4954335"/>
                </a:cubicBezTo>
                <a:cubicBezTo>
                  <a:pt x="2089423" y="4954335"/>
                  <a:pt x="2099288" y="4958487"/>
                  <a:pt x="2106680" y="4965880"/>
                </a:cubicBezTo>
                <a:lnTo>
                  <a:pt x="2185159" y="5044492"/>
                </a:lnTo>
                <a:cubicBezTo>
                  <a:pt x="2192554" y="5051886"/>
                  <a:pt x="2196577" y="5061745"/>
                  <a:pt x="2196706" y="5072252"/>
                </a:cubicBezTo>
                <a:cubicBezTo>
                  <a:pt x="2196706" y="5082760"/>
                  <a:pt x="2192687" y="5092619"/>
                  <a:pt x="2185291" y="5100013"/>
                </a:cubicBezTo>
                <a:lnTo>
                  <a:pt x="1975271" y="5310423"/>
                </a:lnTo>
                <a:lnTo>
                  <a:pt x="1765258" y="5100013"/>
                </a:lnTo>
                <a:cubicBezTo>
                  <a:pt x="1749951" y="5084706"/>
                  <a:pt x="1749951" y="5059799"/>
                  <a:pt x="1765258" y="5044621"/>
                </a:cubicBezTo>
                <a:lnTo>
                  <a:pt x="1843739" y="4965880"/>
                </a:lnTo>
                <a:cubicBezTo>
                  <a:pt x="1851133" y="4958487"/>
                  <a:pt x="1860860" y="4954335"/>
                  <a:pt x="1871366" y="4954335"/>
                </a:cubicBezTo>
                <a:close/>
                <a:moveTo>
                  <a:pt x="25204" y="4954335"/>
                </a:moveTo>
                <a:cubicBezTo>
                  <a:pt x="35581" y="4954335"/>
                  <a:pt x="45440" y="4958487"/>
                  <a:pt x="52835" y="4965880"/>
                </a:cubicBezTo>
                <a:lnTo>
                  <a:pt x="131313" y="5044492"/>
                </a:lnTo>
                <a:cubicBezTo>
                  <a:pt x="138707" y="5051886"/>
                  <a:pt x="142728" y="5061745"/>
                  <a:pt x="142857" y="5072252"/>
                </a:cubicBezTo>
                <a:cubicBezTo>
                  <a:pt x="142857" y="5082760"/>
                  <a:pt x="138836" y="5092619"/>
                  <a:pt x="131443" y="5100013"/>
                </a:cubicBezTo>
                <a:lnTo>
                  <a:pt x="0" y="5231705"/>
                </a:lnTo>
                <a:lnTo>
                  <a:pt x="0" y="4964818"/>
                </a:lnTo>
                <a:close/>
                <a:moveTo>
                  <a:pt x="10086867" y="4937860"/>
                </a:moveTo>
                <a:cubicBezTo>
                  <a:pt x="10072597" y="4937860"/>
                  <a:pt x="10058458" y="4943308"/>
                  <a:pt x="10047692" y="4954205"/>
                </a:cubicBezTo>
                <a:lnTo>
                  <a:pt x="9969212" y="5032947"/>
                </a:lnTo>
                <a:cubicBezTo>
                  <a:pt x="9947549" y="5054611"/>
                  <a:pt x="9947549" y="5089895"/>
                  <a:pt x="9969212" y="5111559"/>
                </a:cubicBezTo>
                <a:lnTo>
                  <a:pt x="10190770" y="5333643"/>
                </a:lnTo>
                <a:lnTo>
                  <a:pt x="10412328" y="5111559"/>
                </a:lnTo>
                <a:cubicBezTo>
                  <a:pt x="10433990" y="5089895"/>
                  <a:pt x="10433990" y="5054611"/>
                  <a:pt x="10412328" y="5032947"/>
                </a:cubicBezTo>
                <a:lnTo>
                  <a:pt x="10333848" y="4954335"/>
                </a:lnTo>
                <a:cubicBezTo>
                  <a:pt x="10322953" y="4943438"/>
                  <a:pt x="10308813" y="4937990"/>
                  <a:pt x="10294673" y="4937990"/>
                </a:cubicBezTo>
                <a:lnTo>
                  <a:pt x="10294543" y="4937860"/>
                </a:lnTo>
                <a:cubicBezTo>
                  <a:pt x="10280275" y="4937860"/>
                  <a:pt x="10266136" y="4943308"/>
                  <a:pt x="10255241" y="4954335"/>
                </a:cubicBezTo>
                <a:lnTo>
                  <a:pt x="10190770" y="5018937"/>
                </a:lnTo>
                <a:lnTo>
                  <a:pt x="10126171" y="4954205"/>
                </a:lnTo>
                <a:cubicBezTo>
                  <a:pt x="10115274" y="4943308"/>
                  <a:pt x="10101136" y="4937860"/>
                  <a:pt x="10086867" y="4937860"/>
                </a:cubicBezTo>
                <a:close/>
                <a:moveTo>
                  <a:pt x="8032919" y="4937860"/>
                </a:moveTo>
                <a:cubicBezTo>
                  <a:pt x="8018650" y="4937860"/>
                  <a:pt x="8004511" y="4943308"/>
                  <a:pt x="7993744" y="4954205"/>
                </a:cubicBezTo>
                <a:lnTo>
                  <a:pt x="7915266" y="5032947"/>
                </a:lnTo>
                <a:cubicBezTo>
                  <a:pt x="7893603" y="5054611"/>
                  <a:pt x="7893603" y="5089895"/>
                  <a:pt x="7915266" y="5111559"/>
                </a:cubicBezTo>
                <a:lnTo>
                  <a:pt x="8136823" y="5333643"/>
                </a:lnTo>
                <a:lnTo>
                  <a:pt x="8358382" y="5111559"/>
                </a:lnTo>
                <a:cubicBezTo>
                  <a:pt x="8380044" y="5089895"/>
                  <a:pt x="8380044" y="5054611"/>
                  <a:pt x="8358382" y="5032947"/>
                </a:cubicBezTo>
                <a:lnTo>
                  <a:pt x="8279902" y="4954335"/>
                </a:lnTo>
                <a:cubicBezTo>
                  <a:pt x="8269006" y="4943438"/>
                  <a:pt x="8254866" y="4937990"/>
                  <a:pt x="8240727" y="4937990"/>
                </a:cubicBezTo>
                <a:lnTo>
                  <a:pt x="8240596" y="4937860"/>
                </a:lnTo>
                <a:cubicBezTo>
                  <a:pt x="8226328" y="4937860"/>
                  <a:pt x="8212190" y="4943308"/>
                  <a:pt x="8201292" y="4954335"/>
                </a:cubicBezTo>
                <a:lnTo>
                  <a:pt x="8136823" y="5018937"/>
                </a:lnTo>
                <a:lnTo>
                  <a:pt x="8072224" y="4954205"/>
                </a:lnTo>
                <a:cubicBezTo>
                  <a:pt x="8061328" y="4943308"/>
                  <a:pt x="8047187" y="4937860"/>
                  <a:pt x="8032919" y="4937860"/>
                </a:cubicBezTo>
                <a:close/>
                <a:moveTo>
                  <a:pt x="5979109" y="4937860"/>
                </a:moveTo>
                <a:cubicBezTo>
                  <a:pt x="5964841" y="4937860"/>
                  <a:pt x="5950702" y="4943308"/>
                  <a:pt x="5939936" y="4954205"/>
                </a:cubicBezTo>
                <a:lnTo>
                  <a:pt x="5861462" y="5032947"/>
                </a:lnTo>
                <a:cubicBezTo>
                  <a:pt x="5839801" y="5054611"/>
                  <a:pt x="5839801" y="5089895"/>
                  <a:pt x="5861462" y="5111559"/>
                </a:cubicBezTo>
                <a:lnTo>
                  <a:pt x="6083006" y="5333643"/>
                </a:lnTo>
                <a:lnTo>
                  <a:pt x="6304562" y="5111559"/>
                </a:lnTo>
                <a:cubicBezTo>
                  <a:pt x="6326226" y="5089895"/>
                  <a:pt x="6326226" y="5054611"/>
                  <a:pt x="6304562" y="5032947"/>
                </a:cubicBezTo>
                <a:lnTo>
                  <a:pt x="6226084" y="4954335"/>
                </a:lnTo>
                <a:cubicBezTo>
                  <a:pt x="6215186" y="4943438"/>
                  <a:pt x="6201048" y="4937990"/>
                  <a:pt x="6186909" y="4937990"/>
                </a:cubicBezTo>
                <a:lnTo>
                  <a:pt x="6186779" y="4937860"/>
                </a:lnTo>
                <a:cubicBezTo>
                  <a:pt x="6172511" y="4937860"/>
                  <a:pt x="6158370" y="4943308"/>
                  <a:pt x="6147474" y="4954335"/>
                </a:cubicBezTo>
                <a:lnTo>
                  <a:pt x="6083006" y="5018937"/>
                </a:lnTo>
                <a:lnTo>
                  <a:pt x="6018412" y="4954205"/>
                </a:lnTo>
                <a:cubicBezTo>
                  <a:pt x="6007516" y="4943308"/>
                  <a:pt x="5993378" y="4937860"/>
                  <a:pt x="5979109" y="4937860"/>
                </a:cubicBezTo>
                <a:close/>
                <a:moveTo>
                  <a:pt x="3925342" y="4937860"/>
                </a:moveTo>
                <a:cubicBezTo>
                  <a:pt x="3911075" y="4937860"/>
                  <a:pt x="3896932" y="4943308"/>
                  <a:pt x="3886165" y="4954205"/>
                </a:cubicBezTo>
                <a:lnTo>
                  <a:pt x="3807682" y="5032947"/>
                </a:lnTo>
                <a:cubicBezTo>
                  <a:pt x="3786020" y="5054611"/>
                  <a:pt x="3786020" y="5089895"/>
                  <a:pt x="3807682" y="5111559"/>
                </a:cubicBezTo>
                <a:lnTo>
                  <a:pt x="4029246" y="5333643"/>
                </a:lnTo>
                <a:lnTo>
                  <a:pt x="4250759" y="5111559"/>
                </a:lnTo>
                <a:cubicBezTo>
                  <a:pt x="4272423" y="5089895"/>
                  <a:pt x="4272423" y="5054611"/>
                  <a:pt x="4250759" y="5032947"/>
                </a:cubicBezTo>
                <a:lnTo>
                  <a:pt x="4172326" y="4954335"/>
                </a:lnTo>
                <a:cubicBezTo>
                  <a:pt x="4161432" y="4943438"/>
                  <a:pt x="4147291" y="4937990"/>
                  <a:pt x="4133153" y="4937990"/>
                </a:cubicBezTo>
                <a:lnTo>
                  <a:pt x="4133023" y="4937860"/>
                </a:lnTo>
                <a:cubicBezTo>
                  <a:pt x="4118751" y="4937860"/>
                  <a:pt x="4104611" y="4943308"/>
                  <a:pt x="4093717" y="4954335"/>
                </a:cubicBezTo>
                <a:lnTo>
                  <a:pt x="4029246" y="5018937"/>
                </a:lnTo>
                <a:lnTo>
                  <a:pt x="3964644" y="4954205"/>
                </a:lnTo>
                <a:cubicBezTo>
                  <a:pt x="3953748" y="4943308"/>
                  <a:pt x="3939609" y="4937860"/>
                  <a:pt x="3925342" y="4937860"/>
                </a:cubicBezTo>
                <a:close/>
                <a:moveTo>
                  <a:pt x="1871366" y="4937860"/>
                </a:moveTo>
                <a:cubicBezTo>
                  <a:pt x="1857098" y="4937860"/>
                  <a:pt x="1842960" y="4943308"/>
                  <a:pt x="1832193" y="4954205"/>
                </a:cubicBezTo>
                <a:lnTo>
                  <a:pt x="1753714" y="5032947"/>
                </a:lnTo>
                <a:cubicBezTo>
                  <a:pt x="1732053" y="5054611"/>
                  <a:pt x="1732053" y="5089895"/>
                  <a:pt x="1753714" y="5111559"/>
                </a:cubicBezTo>
                <a:lnTo>
                  <a:pt x="1975271" y="5333643"/>
                </a:lnTo>
                <a:lnTo>
                  <a:pt x="2196836" y="5111559"/>
                </a:lnTo>
                <a:cubicBezTo>
                  <a:pt x="2218500" y="5089895"/>
                  <a:pt x="2218500" y="5054611"/>
                  <a:pt x="2196836" y="5032947"/>
                </a:cubicBezTo>
                <a:lnTo>
                  <a:pt x="2118358" y="4954335"/>
                </a:lnTo>
                <a:cubicBezTo>
                  <a:pt x="2107459" y="4943438"/>
                  <a:pt x="2093314" y="4937990"/>
                  <a:pt x="2079175" y="4937990"/>
                </a:cubicBezTo>
                <a:lnTo>
                  <a:pt x="2079045" y="4937860"/>
                </a:lnTo>
                <a:cubicBezTo>
                  <a:pt x="2064776" y="4937860"/>
                  <a:pt x="2050637" y="4943308"/>
                  <a:pt x="2039742" y="4954335"/>
                </a:cubicBezTo>
                <a:lnTo>
                  <a:pt x="1975271" y="5018937"/>
                </a:lnTo>
                <a:lnTo>
                  <a:pt x="1910671" y="4954205"/>
                </a:lnTo>
                <a:cubicBezTo>
                  <a:pt x="1899774" y="4943308"/>
                  <a:pt x="1885636" y="4937860"/>
                  <a:pt x="1871366" y="4937860"/>
                </a:cubicBezTo>
                <a:close/>
                <a:moveTo>
                  <a:pt x="0" y="4767681"/>
                </a:moveTo>
                <a:lnTo>
                  <a:pt x="255060" y="4915290"/>
                </a:lnTo>
                <a:lnTo>
                  <a:pt x="255060" y="5301473"/>
                </a:lnTo>
                <a:lnTo>
                  <a:pt x="0" y="5449082"/>
                </a:lnTo>
                <a:lnTo>
                  <a:pt x="0" y="5254886"/>
                </a:lnTo>
                <a:lnTo>
                  <a:pt x="142988" y="5111559"/>
                </a:lnTo>
                <a:cubicBezTo>
                  <a:pt x="164651" y="5089895"/>
                  <a:pt x="164651" y="5054611"/>
                  <a:pt x="142988" y="5032947"/>
                </a:cubicBezTo>
                <a:lnTo>
                  <a:pt x="64507" y="4954335"/>
                </a:lnTo>
                <a:cubicBezTo>
                  <a:pt x="53612" y="4943438"/>
                  <a:pt x="39473" y="4937990"/>
                  <a:pt x="25332" y="4937990"/>
                </a:cubicBezTo>
                <a:lnTo>
                  <a:pt x="25204" y="4937860"/>
                </a:lnTo>
                <a:cubicBezTo>
                  <a:pt x="18070" y="4937860"/>
                  <a:pt x="10968" y="4939222"/>
                  <a:pt x="4287" y="4941963"/>
                </a:cubicBezTo>
                <a:lnTo>
                  <a:pt x="0" y="4944847"/>
                </a:lnTo>
                <a:close/>
                <a:moveTo>
                  <a:pt x="12188651" y="4754431"/>
                </a:moveTo>
                <a:lnTo>
                  <a:pt x="12188651" y="4962884"/>
                </a:lnTo>
                <a:lnTo>
                  <a:pt x="12179990" y="4954205"/>
                </a:lnTo>
                <a:cubicBezTo>
                  <a:pt x="12169092" y="4943308"/>
                  <a:pt x="12154954" y="4937860"/>
                  <a:pt x="12140685" y="4937860"/>
                </a:cubicBezTo>
                <a:cubicBezTo>
                  <a:pt x="12126416" y="4937860"/>
                  <a:pt x="12112276" y="4943308"/>
                  <a:pt x="12101510" y="4954205"/>
                </a:cubicBezTo>
                <a:lnTo>
                  <a:pt x="12023031" y="5032947"/>
                </a:lnTo>
                <a:cubicBezTo>
                  <a:pt x="12001368" y="5054611"/>
                  <a:pt x="12001368" y="5089895"/>
                  <a:pt x="12023031" y="5111559"/>
                </a:cubicBezTo>
                <a:lnTo>
                  <a:pt x="12188651" y="5277572"/>
                </a:lnTo>
                <a:lnTo>
                  <a:pt x="12188651" y="5462331"/>
                </a:lnTo>
                <a:lnTo>
                  <a:pt x="11910696" y="5301472"/>
                </a:lnTo>
                <a:lnTo>
                  <a:pt x="11910696" y="4915290"/>
                </a:lnTo>
                <a:close/>
                <a:moveTo>
                  <a:pt x="2668513" y="4727338"/>
                </a:moveTo>
                <a:lnTo>
                  <a:pt x="2993946" y="4915678"/>
                </a:lnTo>
                <a:lnTo>
                  <a:pt x="2993946" y="5292504"/>
                </a:lnTo>
                <a:lnTo>
                  <a:pt x="2668513" y="5104164"/>
                </a:lnTo>
                <a:close/>
                <a:moveTo>
                  <a:pt x="614537" y="4727338"/>
                </a:moveTo>
                <a:lnTo>
                  <a:pt x="939970" y="4915678"/>
                </a:lnTo>
                <a:lnTo>
                  <a:pt x="939970" y="5292505"/>
                </a:lnTo>
                <a:lnTo>
                  <a:pt x="614537" y="5104164"/>
                </a:lnTo>
                <a:close/>
                <a:moveTo>
                  <a:pt x="2652140" y="4727337"/>
                </a:moveTo>
                <a:lnTo>
                  <a:pt x="2652140" y="5104165"/>
                </a:lnTo>
                <a:lnTo>
                  <a:pt x="2326580" y="5292504"/>
                </a:lnTo>
                <a:lnTo>
                  <a:pt x="2326580" y="4915677"/>
                </a:lnTo>
                <a:close/>
                <a:moveTo>
                  <a:pt x="598165" y="4727336"/>
                </a:moveTo>
                <a:lnTo>
                  <a:pt x="598165" y="5104165"/>
                </a:lnTo>
                <a:lnTo>
                  <a:pt x="272602" y="5292505"/>
                </a:lnTo>
                <a:lnTo>
                  <a:pt x="272602" y="4915677"/>
                </a:lnTo>
                <a:close/>
                <a:moveTo>
                  <a:pt x="4722303" y="4727330"/>
                </a:moveTo>
                <a:lnTo>
                  <a:pt x="5047768" y="4915678"/>
                </a:lnTo>
                <a:lnTo>
                  <a:pt x="5047768" y="5292507"/>
                </a:lnTo>
                <a:lnTo>
                  <a:pt x="4722303" y="5104164"/>
                </a:lnTo>
                <a:close/>
                <a:moveTo>
                  <a:pt x="4705942" y="4727326"/>
                </a:moveTo>
                <a:lnTo>
                  <a:pt x="4705942" y="5104165"/>
                </a:lnTo>
                <a:lnTo>
                  <a:pt x="4598874" y="5166110"/>
                </a:lnTo>
                <a:lnTo>
                  <a:pt x="4380369" y="5292515"/>
                </a:lnTo>
                <a:lnTo>
                  <a:pt x="4380369" y="4915677"/>
                </a:lnTo>
                <a:close/>
                <a:moveTo>
                  <a:pt x="10883981" y="4727322"/>
                </a:moveTo>
                <a:lnTo>
                  <a:pt x="11209441" y="4915678"/>
                </a:lnTo>
                <a:lnTo>
                  <a:pt x="11209441" y="5292520"/>
                </a:lnTo>
                <a:lnTo>
                  <a:pt x="10883981" y="5104164"/>
                </a:lnTo>
                <a:close/>
                <a:moveTo>
                  <a:pt x="10867636" y="4727322"/>
                </a:moveTo>
                <a:lnTo>
                  <a:pt x="10867636" y="5104164"/>
                </a:lnTo>
                <a:lnTo>
                  <a:pt x="10542045" y="5292521"/>
                </a:lnTo>
                <a:lnTo>
                  <a:pt x="10542045" y="4915678"/>
                </a:lnTo>
                <a:close/>
                <a:moveTo>
                  <a:pt x="8830033" y="4727322"/>
                </a:moveTo>
                <a:lnTo>
                  <a:pt x="9155493" y="4915678"/>
                </a:lnTo>
                <a:lnTo>
                  <a:pt x="9155493" y="5292520"/>
                </a:lnTo>
                <a:lnTo>
                  <a:pt x="8830033" y="5104164"/>
                </a:lnTo>
                <a:close/>
                <a:moveTo>
                  <a:pt x="8813688" y="4727322"/>
                </a:moveTo>
                <a:lnTo>
                  <a:pt x="8813688" y="5104164"/>
                </a:lnTo>
                <a:lnTo>
                  <a:pt x="8488098" y="5292520"/>
                </a:lnTo>
                <a:lnTo>
                  <a:pt x="8488098" y="4915678"/>
                </a:lnTo>
                <a:close/>
                <a:moveTo>
                  <a:pt x="6776215" y="4727322"/>
                </a:moveTo>
                <a:lnTo>
                  <a:pt x="7101677" y="4915678"/>
                </a:lnTo>
                <a:lnTo>
                  <a:pt x="7101677" y="5292521"/>
                </a:lnTo>
                <a:lnTo>
                  <a:pt x="6776215" y="5104164"/>
                </a:lnTo>
                <a:close/>
                <a:moveTo>
                  <a:pt x="6759871" y="4727322"/>
                </a:moveTo>
                <a:lnTo>
                  <a:pt x="6759871" y="5104164"/>
                </a:lnTo>
                <a:lnTo>
                  <a:pt x="6434280" y="5292521"/>
                </a:lnTo>
                <a:lnTo>
                  <a:pt x="6434280" y="4915678"/>
                </a:lnTo>
                <a:close/>
                <a:moveTo>
                  <a:pt x="3344069" y="4722530"/>
                </a:moveTo>
                <a:lnTo>
                  <a:pt x="3677814" y="4915678"/>
                </a:lnTo>
                <a:lnTo>
                  <a:pt x="3677814" y="5301992"/>
                </a:lnTo>
                <a:lnTo>
                  <a:pt x="3344201" y="5495140"/>
                </a:lnTo>
                <a:lnTo>
                  <a:pt x="3010451" y="5301991"/>
                </a:lnTo>
                <a:lnTo>
                  <a:pt x="3010451" y="4915677"/>
                </a:lnTo>
                <a:close/>
                <a:moveTo>
                  <a:pt x="1290091" y="4722529"/>
                </a:moveTo>
                <a:lnTo>
                  <a:pt x="1623841" y="4915678"/>
                </a:lnTo>
                <a:lnTo>
                  <a:pt x="1623841" y="5301992"/>
                </a:lnTo>
                <a:lnTo>
                  <a:pt x="1290221" y="5495140"/>
                </a:lnTo>
                <a:lnTo>
                  <a:pt x="956471" y="5301991"/>
                </a:lnTo>
                <a:lnTo>
                  <a:pt x="956471" y="4915677"/>
                </a:lnTo>
                <a:close/>
                <a:moveTo>
                  <a:pt x="5397866" y="4722526"/>
                </a:moveTo>
                <a:lnTo>
                  <a:pt x="5731614" y="4915678"/>
                </a:lnTo>
                <a:lnTo>
                  <a:pt x="5731614" y="5301991"/>
                </a:lnTo>
                <a:lnTo>
                  <a:pt x="5571733" y="5394557"/>
                </a:lnTo>
                <a:lnTo>
                  <a:pt x="5398006" y="5495143"/>
                </a:lnTo>
                <a:lnTo>
                  <a:pt x="5064265" y="5301991"/>
                </a:lnTo>
                <a:lnTo>
                  <a:pt x="5064265" y="4915677"/>
                </a:lnTo>
                <a:close/>
                <a:moveTo>
                  <a:pt x="11559549" y="4722522"/>
                </a:moveTo>
                <a:lnTo>
                  <a:pt x="11893312" y="4915678"/>
                </a:lnTo>
                <a:lnTo>
                  <a:pt x="11893312" y="5301991"/>
                </a:lnTo>
                <a:lnTo>
                  <a:pt x="11559680" y="5495147"/>
                </a:lnTo>
                <a:lnTo>
                  <a:pt x="11225916" y="5301991"/>
                </a:lnTo>
                <a:lnTo>
                  <a:pt x="11225916" y="4915678"/>
                </a:lnTo>
                <a:close/>
                <a:moveTo>
                  <a:pt x="9505601" y="4722522"/>
                </a:moveTo>
                <a:lnTo>
                  <a:pt x="9839364" y="4915678"/>
                </a:lnTo>
                <a:lnTo>
                  <a:pt x="9839364" y="5301991"/>
                </a:lnTo>
                <a:lnTo>
                  <a:pt x="9505731" y="5495147"/>
                </a:lnTo>
                <a:lnTo>
                  <a:pt x="9171969" y="5301991"/>
                </a:lnTo>
                <a:lnTo>
                  <a:pt x="9171969" y="4915678"/>
                </a:lnTo>
                <a:close/>
                <a:moveTo>
                  <a:pt x="7451785" y="4722522"/>
                </a:moveTo>
                <a:lnTo>
                  <a:pt x="7785548" y="4915678"/>
                </a:lnTo>
                <a:lnTo>
                  <a:pt x="7785548" y="5301991"/>
                </a:lnTo>
                <a:lnTo>
                  <a:pt x="7451915" y="5495147"/>
                </a:lnTo>
                <a:lnTo>
                  <a:pt x="7118150" y="5301991"/>
                </a:lnTo>
                <a:lnTo>
                  <a:pt x="7118150" y="4915678"/>
                </a:lnTo>
                <a:close/>
                <a:moveTo>
                  <a:pt x="4029112" y="4722135"/>
                </a:moveTo>
                <a:lnTo>
                  <a:pt x="4362838" y="4915290"/>
                </a:lnTo>
                <a:lnTo>
                  <a:pt x="4362838" y="5301473"/>
                </a:lnTo>
                <a:lnTo>
                  <a:pt x="4337499" y="5316139"/>
                </a:lnTo>
                <a:lnTo>
                  <a:pt x="4029115" y="5494627"/>
                </a:lnTo>
                <a:lnTo>
                  <a:pt x="3695358" y="5301472"/>
                </a:lnTo>
                <a:lnTo>
                  <a:pt x="3695358" y="4915289"/>
                </a:lnTo>
                <a:close/>
                <a:moveTo>
                  <a:pt x="1975140" y="4722135"/>
                </a:moveTo>
                <a:lnTo>
                  <a:pt x="2308909" y="4915290"/>
                </a:lnTo>
                <a:lnTo>
                  <a:pt x="2308909" y="5301473"/>
                </a:lnTo>
                <a:lnTo>
                  <a:pt x="1975142" y="5494627"/>
                </a:lnTo>
                <a:lnTo>
                  <a:pt x="1641381" y="5301472"/>
                </a:lnTo>
                <a:lnTo>
                  <a:pt x="1641381" y="4915289"/>
                </a:lnTo>
                <a:close/>
                <a:moveTo>
                  <a:pt x="10190640" y="4722133"/>
                </a:moveTo>
                <a:lnTo>
                  <a:pt x="10524404" y="4915290"/>
                </a:lnTo>
                <a:lnTo>
                  <a:pt x="10524404" y="5301472"/>
                </a:lnTo>
                <a:lnTo>
                  <a:pt x="10190640" y="5494629"/>
                </a:lnTo>
                <a:lnTo>
                  <a:pt x="9856876" y="5301472"/>
                </a:lnTo>
                <a:lnTo>
                  <a:pt x="9856876" y="4915290"/>
                </a:lnTo>
                <a:close/>
                <a:moveTo>
                  <a:pt x="8136693" y="4722133"/>
                </a:moveTo>
                <a:lnTo>
                  <a:pt x="8470456" y="4915290"/>
                </a:lnTo>
                <a:lnTo>
                  <a:pt x="8470456" y="5301472"/>
                </a:lnTo>
                <a:lnTo>
                  <a:pt x="8136693" y="5494629"/>
                </a:lnTo>
                <a:lnTo>
                  <a:pt x="7802930" y="5301472"/>
                </a:lnTo>
                <a:lnTo>
                  <a:pt x="7802930" y="4915290"/>
                </a:lnTo>
                <a:close/>
                <a:moveTo>
                  <a:pt x="6082876" y="4722133"/>
                </a:moveTo>
                <a:lnTo>
                  <a:pt x="6416638" y="4915290"/>
                </a:lnTo>
                <a:lnTo>
                  <a:pt x="6416638" y="5301472"/>
                </a:lnTo>
                <a:lnTo>
                  <a:pt x="6082876" y="5494629"/>
                </a:lnTo>
                <a:lnTo>
                  <a:pt x="5749136" y="5301472"/>
                </a:lnTo>
                <a:lnTo>
                  <a:pt x="5749136" y="4915289"/>
                </a:lnTo>
                <a:lnTo>
                  <a:pt x="5849860" y="4856993"/>
                </a:lnTo>
                <a:close/>
                <a:moveTo>
                  <a:pt x="3687311" y="4524307"/>
                </a:moveTo>
                <a:lnTo>
                  <a:pt x="4012766" y="4712663"/>
                </a:lnTo>
                <a:lnTo>
                  <a:pt x="3687184" y="4901018"/>
                </a:lnTo>
                <a:lnTo>
                  <a:pt x="3361728" y="4712662"/>
                </a:lnTo>
                <a:close/>
                <a:moveTo>
                  <a:pt x="1633335" y="4524307"/>
                </a:moveTo>
                <a:lnTo>
                  <a:pt x="1958793" y="4712663"/>
                </a:lnTo>
                <a:lnTo>
                  <a:pt x="1633206" y="4901018"/>
                </a:lnTo>
                <a:lnTo>
                  <a:pt x="1307748" y="4712662"/>
                </a:lnTo>
                <a:close/>
                <a:moveTo>
                  <a:pt x="11902654" y="4524306"/>
                </a:moveTo>
                <a:lnTo>
                  <a:pt x="12188651" y="4689824"/>
                </a:lnTo>
                <a:lnTo>
                  <a:pt x="12188651" y="4735492"/>
                </a:lnTo>
                <a:lnTo>
                  <a:pt x="11902524" y="4901019"/>
                </a:lnTo>
                <a:lnTo>
                  <a:pt x="11577062" y="4712663"/>
                </a:lnTo>
                <a:close/>
                <a:moveTo>
                  <a:pt x="9848833" y="4524306"/>
                </a:moveTo>
                <a:lnTo>
                  <a:pt x="10174295" y="4712663"/>
                </a:lnTo>
                <a:lnTo>
                  <a:pt x="9848703" y="4901019"/>
                </a:lnTo>
                <a:lnTo>
                  <a:pt x="9523243" y="4712663"/>
                </a:lnTo>
                <a:close/>
                <a:moveTo>
                  <a:pt x="7794888" y="4524306"/>
                </a:moveTo>
                <a:lnTo>
                  <a:pt x="8120347" y="4712663"/>
                </a:lnTo>
                <a:lnTo>
                  <a:pt x="7794758" y="4901019"/>
                </a:lnTo>
                <a:lnTo>
                  <a:pt x="7469298" y="4712663"/>
                </a:lnTo>
                <a:close/>
                <a:moveTo>
                  <a:pt x="5741090" y="4524306"/>
                </a:moveTo>
                <a:lnTo>
                  <a:pt x="6066531" y="4712663"/>
                </a:lnTo>
                <a:lnTo>
                  <a:pt x="5740963" y="4901019"/>
                </a:lnTo>
                <a:lnTo>
                  <a:pt x="5415520" y="4712662"/>
                </a:lnTo>
                <a:close/>
                <a:moveTo>
                  <a:pt x="2898361" y="4360472"/>
                </a:moveTo>
                <a:lnTo>
                  <a:pt x="2926109" y="4372012"/>
                </a:lnTo>
                <a:lnTo>
                  <a:pt x="2990709" y="4436743"/>
                </a:lnTo>
                <a:lnTo>
                  <a:pt x="3002253" y="4448418"/>
                </a:lnTo>
                <a:lnTo>
                  <a:pt x="3002263" y="4448406"/>
                </a:lnTo>
                <a:lnTo>
                  <a:pt x="3002276" y="4448418"/>
                </a:lnTo>
                <a:lnTo>
                  <a:pt x="3013818" y="4436743"/>
                </a:lnTo>
                <a:lnTo>
                  <a:pt x="3078289" y="4372012"/>
                </a:lnTo>
                <a:lnTo>
                  <a:pt x="3106038" y="4360472"/>
                </a:lnTo>
                <a:lnTo>
                  <a:pt x="3133656" y="4372012"/>
                </a:lnTo>
                <a:lnTo>
                  <a:pt x="3212135" y="4450623"/>
                </a:lnTo>
                <a:cubicBezTo>
                  <a:pt x="3219531" y="4458018"/>
                  <a:pt x="3223550" y="4467877"/>
                  <a:pt x="3223679" y="4478384"/>
                </a:cubicBezTo>
                <a:cubicBezTo>
                  <a:pt x="3223679" y="4488892"/>
                  <a:pt x="3219660" y="4498751"/>
                  <a:pt x="3212265" y="4506145"/>
                </a:cubicBezTo>
                <a:lnTo>
                  <a:pt x="3002263" y="4716542"/>
                </a:lnTo>
                <a:lnTo>
                  <a:pt x="2792265" y="4506145"/>
                </a:lnTo>
                <a:cubicBezTo>
                  <a:pt x="2776956" y="4490837"/>
                  <a:pt x="2776956" y="4465930"/>
                  <a:pt x="2792265" y="4450753"/>
                </a:cubicBezTo>
                <a:lnTo>
                  <a:pt x="2870741" y="4372012"/>
                </a:lnTo>
                <a:close/>
                <a:moveTo>
                  <a:pt x="844383" y="4360472"/>
                </a:moveTo>
                <a:lnTo>
                  <a:pt x="872131" y="4372012"/>
                </a:lnTo>
                <a:lnTo>
                  <a:pt x="936730" y="4436743"/>
                </a:lnTo>
                <a:lnTo>
                  <a:pt x="948275" y="4448418"/>
                </a:lnTo>
                <a:lnTo>
                  <a:pt x="948287" y="4448407"/>
                </a:lnTo>
                <a:lnTo>
                  <a:pt x="948298" y="4448418"/>
                </a:lnTo>
                <a:lnTo>
                  <a:pt x="959843" y="4436743"/>
                </a:lnTo>
                <a:lnTo>
                  <a:pt x="1024312" y="4372012"/>
                </a:lnTo>
                <a:lnTo>
                  <a:pt x="1052060" y="4360472"/>
                </a:lnTo>
                <a:lnTo>
                  <a:pt x="1079679" y="4372012"/>
                </a:lnTo>
                <a:lnTo>
                  <a:pt x="1158157" y="4450623"/>
                </a:lnTo>
                <a:cubicBezTo>
                  <a:pt x="1165552" y="4458018"/>
                  <a:pt x="1169574" y="4467877"/>
                  <a:pt x="1169703" y="4478384"/>
                </a:cubicBezTo>
                <a:cubicBezTo>
                  <a:pt x="1169703" y="4488892"/>
                  <a:pt x="1165682" y="4498751"/>
                  <a:pt x="1158288" y="4506145"/>
                </a:cubicBezTo>
                <a:lnTo>
                  <a:pt x="948287" y="4716543"/>
                </a:lnTo>
                <a:lnTo>
                  <a:pt x="738286" y="4506145"/>
                </a:lnTo>
                <a:cubicBezTo>
                  <a:pt x="722979" y="4490837"/>
                  <a:pt x="722979" y="4465930"/>
                  <a:pt x="738286" y="4450753"/>
                </a:cubicBezTo>
                <a:lnTo>
                  <a:pt x="816763" y="4372012"/>
                </a:lnTo>
                <a:close/>
                <a:moveTo>
                  <a:pt x="4952155" y="4360469"/>
                </a:moveTo>
                <a:lnTo>
                  <a:pt x="4979914" y="4372012"/>
                </a:lnTo>
                <a:lnTo>
                  <a:pt x="5044521" y="4436743"/>
                </a:lnTo>
                <a:lnTo>
                  <a:pt x="5056064" y="4448418"/>
                </a:lnTo>
                <a:lnTo>
                  <a:pt x="5056083" y="4448408"/>
                </a:lnTo>
                <a:lnTo>
                  <a:pt x="5056087" y="4448418"/>
                </a:lnTo>
                <a:lnTo>
                  <a:pt x="5067642" y="4436743"/>
                </a:lnTo>
                <a:lnTo>
                  <a:pt x="5132091" y="4372012"/>
                </a:lnTo>
                <a:lnTo>
                  <a:pt x="5159834" y="4360469"/>
                </a:lnTo>
                <a:lnTo>
                  <a:pt x="5187464" y="4372012"/>
                </a:lnTo>
                <a:lnTo>
                  <a:pt x="5265932" y="4450623"/>
                </a:lnTo>
                <a:cubicBezTo>
                  <a:pt x="5273331" y="4458018"/>
                  <a:pt x="5277344" y="4467877"/>
                  <a:pt x="5277479" y="4478384"/>
                </a:cubicBezTo>
                <a:cubicBezTo>
                  <a:pt x="5277479" y="4488892"/>
                  <a:pt x="5273469" y="4498751"/>
                  <a:pt x="5266071" y="4506145"/>
                </a:cubicBezTo>
                <a:lnTo>
                  <a:pt x="5056083" y="4716544"/>
                </a:lnTo>
                <a:lnTo>
                  <a:pt x="4846044" y="4506145"/>
                </a:lnTo>
                <a:cubicBezTo>
                  <a:pt x="4830739" y="4490837"/>
                  <a:pt x="4830739" y="4465930"/>
                  <a:pt x="4846044" y="4450753"/>
                </a:cubicBezTo>
                <a:lnTo>
                  <a:pt x="4924518" y="4372012"/>
                </a:lnTo>
                <a:close/>
                <a:moveTo>
                  <a:pt x="11113840" y="4360467"/>
                </a:moveTo>
                <a:cubicBezTo>
                  <a:pt x="11124348" y="4360467"/>
                  <a:pt x="11134206" y="4364618"/>
                  <a:pt x="11141600" y="4372012"/>
                </a:cubicBezTo>
                <a:lnTo>
                  <a:pt x="11206199" y="4436743"/>
                </a:lnTo>
                <a:lnTo>
                  <a:pt x="11217744" y="4448418"/>
                </a:lnTo>
                <a:lnTo>
                  <a:pt x="11229289" y="4436743"/>
                </a:lnTo>
                <a:lnTo>
                  <a:pt x="11293758" y="4372012"/>
                </a:lnTo>
                <a:cubicBezTo>
                  <a:pt x="11301152" y="4364488"/>
                  <a:pt x="11311011" y="4360467"/>
                  <a:pt x="11321517" y="4360467"/>
                </a:cubicBezTo>
                <a:cubicBezTo>
                  <a:pt x="11331896" y="4360467"/>
                  <a:pt x="11341755" y="4364618"/>
                  <a:pt x="11349147" y="4372012"/>
                </a:cubicBezTo>
                <a:lnTo>
                  <a:pt x="11427627" y="4450623"/>
                </a:lnTo>
                <a:cubicBezTo>
                  <a:pt x="11435021" y="4458018"/>
                  <a:pt x="11439042" y="4467877"/>
                  <a:pt x="11439172" y="4478384"/>
                </a:cubicBezTo>
                <a:cubicBezTo>
                  <a:pt x="11439172" y="4488892"/>
                  <a:pt x="11435150" y="4498751"/>
                  <a:pt x="11427757" y="4506145"/>
                </a:cubicBezTo>
                <a:lnTo>
                  <a:pt x="11217744" y="4716554"/>
                </a:lnTo>
                <a:lnTo>
                  <a:pt x="11007731" y="4506145"/>
                </a:lnTo>
                <a:cubicBezTo>
                  <a:pt x="10992424" y="4490837"/>
                  <a:pt x="10992424" y="4465930"/>
                  <a:pt x="11007731" y="4450753"/>
                </a:cubicBezTo>
                <a:lnTo>
                  <a:pt x="11086210" y="4372012"/>
                </a:lnTo>
                <a:cubicBezTo>
                  <a:pt x="11093605" y="4364618"/>
                  <a:pt x="11103333" y="4360467"/>
                  <a:pt x="11113840" y="4360467"/>
                </a:cubicBezTo>
                <a:close/>
                <a:moveTo>
                  <a:pt x="9059893" y="4360467"/>
                </a:moveTo>
                <a:lnTo>
                  <a:pt x="9087652" y="4372012"/>
                </a:lnTo>
                <a:lnTo>
                  <a:pt x="9152251" y="4436743"/>
                </a:lnTo>
                <a:lnTo>
                  <a:pt x="9163796" y="4448418"/>
                </a:lnTo>
                <a:lnTo>
                  <a:pt x="9163797" y="4448418"/>
                </a:lnTo>
                <a:lnTo>
                  <a:pt x="9175342" y="4436743"/>
                </a:lnTo>
                <a:lnTo>
                  <a:pt x="9239811" y="4372012"/>
                </a:lnTo>
                <a:lnTo>
                  <a:pt x="9267571" y="4360467"/>
                </a:lnTo>
                <a:lnTo>
                  <a:pt x="9295200" y="4372012"/>
                </a:lnTo>
                <a:lnTo>
                  <a:pt x="9373678" y="4450623"/>
                </a:lnTo>
                <a:cubicBezTo>
                  <a:pt x="9381073" y="4458018"/>
                  <a:pt x="9385093" y="4467877"/>
                  <a:pt x="9385223" y="4478384"/>
                </a:cubicBezTo>
                <a:cubicBezTo>
                  <a:pt x="9385223" y="4488892"/>
                  <a:pt x="9381203" y="4498751"/>
                  <a:pt x="9373808" y="4506145"/>
                </a:cubicBezTo>
                <a:lnTo>
                  <a:pt x="9163796" y="4716554"/>
                </a:lnTo>
                <a:lnTo>
                  <a:pt x="8953784" y="4506145"/>
                </a:lnTo>
                <a:cubicBezTo>
                  <a:pt x="8938478" y="4490837"/>
                  <a:pt x="8938478" y="4465930"/>
                  <a:pt x="8953784" y="4450753"/>
                </a:cubicBezTo>
                <a:lnTo>
                  <a:pt x="9032264" y="4372012"/>
                </a:lnTo>
                <a:close/>
                <a:moveTo>
                  <a:pt x="7006076" y="4360467"/>
                </a:moveTo>
                <a:cubicBezTo>
                  <a:pt x="7016582" y="4360467"/>
                  <a:pt x="7026440" y="4364618"/>
                  <a:pt x="7033834" y="4372012"/>
                </a:cubicBezTo>
                <a:lnTo>
                  <a:pt x="7098434" y="4436743"/>
                </a:lnTo>
                <a:lnTo>
                  <a:pt x="7109978" y="4448418"/>
                </a:lnTo>
                <a:lnTo>
                  <a:pt x="7121523" y="4436743"/>
                </a:lnTo>
                <a:lnTo>
                  <a:pt x="7185994" y="4372012"/>
                </a:lnTo>
                <a:cubicBezTo>
                  <a:pt x="7193387" y="4364488"/>
                  <a:pt x="7203245" y="4360467"/>
                  <a:pt x="7213751" y="4360467"/>
                </a:cubicBezTo>
                <a:cubicBezTo>
                  <a:pt x="7224130" y="4360467"/>
                  <a:pt x="7233989" y="4364618"/>
                  <a:pt x="7241381" y="4372012"/>
                </a:cubicBezTo>
                <a:lnTo>
                  <a:pt x="7319862" y="4450623"/>
                </a:lnTo>
                <a:cubicBezTo>
                  <a:pt x="7327255" y="4458018"/>
                  <a:pt x="7331276" y="4467877"/>
                  <a:pt x="7331407" y="4478384"/>
                </a:cubicBezTo>
                <a:cubicBezTo>
                  <a:pt x="7331407" y="4488892"/>
                  <a:pt x="7327384" y="4498751"/>
                  <a:pt x="7319992" y="4506145"/>
                </a:cubicBezTo>
                <a:lnTo>
                  <a:pt x="7109978" y="4716554"/>
                </a:lnTo>
                <a:lnTo>
                  <a:pt x="6899966" y="4506145"/>
                </a:lnTo>
                <a:cubicBezTo>
                  <a:pt x="6884658" y="4490837"/>
                  <a:pt x="6884658" y="4465930"/>
                  <a:pt x="6899966" y="4450753"/>
                </a:cubicBezTo>
                <a:lnTo>
                  <a:pt x="6978446" y="4372012"/>
                </a:lnTo>
                <a:cubicBezTo>
                  <a:pt x="6985839" y="4364618"/>
                  <a:pt x="6995568" y="4360467"/>
                  <a:pt x="7006076" y="4360467"/>
                </a:cubicBezTo>
                <a:close/>
                <a:moveTo>
                  <a:pt x="11113840" y="4343992"/>
                </a:moveTo>
                <a:cubicBezTo>
                  <a:pt x="11099571" y="4343992"/>
                  <a:pt x="11085432" y="4349440"/>
                  <a:pt x="11074665" y="4360336"/>
                </a:cubicBezTo>
                <a:lnTo>
                  <a:pt x="10996186" y="4439078"/>
                </a:lnTo>
                <a:cubicBezTo>
                  <a:pt x="10974523" y="4460743"/>
                  <a:pt x="10974523" y="4496026"/>
                  <a:pt x="10996186" y="4517690"/>
                </a:cubicBezTo>
                <a:lnTo>
                  <a:pt x="11217744" y="4739774"/>
                </a:lnTo>
                <a:lnTo>
                  <a:pt x="11439301" y="4517690"/>
                </a:lnTo>
                <a:cubicBezTo>
                  <a:pt x="11460964" y="4496026"/>
                  <a:pt x="11460964" y="4460743"/>
                  <a:pt x="11439301" y="4439078"/>
                </a:cubicBezTo>
                <a:lnTo>
                  <a:pt x="11360822" y="4360467"/>
                </a:lnTo>
                <a:cubicBezTo>
                  <a:pt x="11349927" y="4349570"/>
                  <a:pt x="11335787" y="4344121"/>
                  <a:pt x="11321647" y="4344121"/>
                </a:cubicBezTo>
                <a:lnTo>
                  <a:pt x="11321517" y="4343992"/>
                </a:lnTo>
                <a:cubicBezTo>
                  <a:pt x="11307249" y="4343992"/>
                  <a:pt x="11293110" y="4349440"/>
                  <a:pt x="11282213" y="4360467"/>
                </a:cubicBezTo>
                <a:lnTo>
                  <a:pt x="11217744" y="4425069"/>
                </a:lnTo>
                <a:lnTo>
                  <a:pt x="11153145" y="4360336"/>
                </a:lnTo>
                <a:cubicBezTo>
                  <a:pt x="11142248" y="4349440"/>
                  <a:pt x="11128108" y="4343992"/>
                  <a:pt x="11113840" y="4343992"/>
                </a:cubicBezTo>
                <a:close/>
                <a:moveTo>
                  <a:pt x="9059892" y="4343992"/>
                </a:moveTo>
                <a:cubicBezTo>
                  <a:pt x="9045623" y="4343992"/>
                  <a:pt x="9031483" y="4349440"/>
                  <a:pt x="9020717" y="4360336"/>
                </a:cubicBezTo>
                <a:lnTo>
                  <a:pt x="8942238" y="4439078"/>
                </a:lnTo>
                <a:cubicBezTo>
                  <a:pt x="8920575" y="4460743"/>
                  <a:pt x="8920575" y="4496026"/>
                  <a:pt x="8942238" y="4517690"/>
                </a:cubicBezTo>
                <a:lnTo>
                  <a:pt x="9163796" y="4739774"/>
                </a:lnTo>
                <a:lnTo>
                  <a:pt x="9163797" y="4739774"/>
                </a:lnTo>
                <a:lnTo>
                  <a:pt x="9385354" y="4517690"/>
                </a:lnTo>
                <a:cubicBezTo>
                  <a:pt x="9407017" y="4496026"/>
                  <a:pt x="9407017" y="4460743"/>
                  <a:pt x="9385354" y="4439078"/>
                </a:cubicBezTo>
                <a:lnTo>
                  <a:pt x="9306876" y="4360467"/>
                </a:lnTo>
                <a:cubicBezTo>
                  <a:pt x="9295978" y="4349570"/>
                  <a:pt x="9281840" y="4344121"/>
                  <a:pt x="9267701" y="4344121"/>
                </a:cubicBezTo>
                <a:lnTo>
                  <a:pt x="9267571" y="4343992"/>
                </a:lnTo>
                <a:lnTo>
                  <a:pt x="9267570" y="4343992"/>
                </a:lnTo>
                <a:cubicBezTo>
                  <a:pt x="9253302" y="4343992"/>
                  <a:pt x="9239161" y="4349440"/>
                  <a:pt x="9228265" y="4360467"/>
                </a:cubicBezTo>
                <a:lnTo>
                  <a:pt x="9163796" y="4425069"/>
                </a:lnTo>
                <a:lnTo>
                  <a:pt x="9099198" y="4360336"/>
                </a:lnTo>
                <a:cubicBezTo>
                  <a:pt x="9088300" y="4349440"/>
                  <a:pt x="9074162" y="4343992"/>
                  <a:pt x="9059893" y="4343992"/>
                </a:cubicBezTo>
                <a:close/>
                <a:moveTo>
                  <a:pt x="7006076" y="4343992"/>
                </a:moveTo>
                <a:cubicBezTo>
                  <a:pt x="6991805" y="4343992"/>
                  <a:pt x="6977666" y="4349440"/>
                  <a:pt x="6966901" y="4360336"/>
                </a:cubicBezTo>
                <a:lnTo>
                  <a:pt x="6888421" y="4439078"/>
                </a:lnTo>
                <a:cubicBezTo>
                  <a:pt x="6866758" y="4460743"/>
                  <a:pt x="6866758" y="4496026"/>
                  <a:pt x="6888421" y="4517690"/>
                </a:cubicBezTo>
                <a:lnTo>
                  <a:pt x="7109978" y="4739774"/>
                </a:lnTo>
                <a:lnTo>
                  <a:pt x="7331537" y="4517690"/>
                </a:lnTo>
                <a:cubicBezTo>
                  <a:pt x="7353199" y="4496026"/>
                  <a:pt x="7353199" y="4460743"/>
                  <a:pt x="7331537" y="4439078"/>
                </a:cubicBezTo>
                <a:lnTo>
                  <a:pt x="7253057" y="4360467"/>
                </a:lnTo>
                <a:cubicBezTo>
                  <a:pt x="7242161" y="4349570"/>
                  <a:pt x="7228022" y="4344121"/>
                  <a:pt x="7213882" y="4344121"/>
                </a:cubicBezTo>
                <a:lnTo>
                  <a:pt x="7213751" y="4343992"/>
                </a:lnTo>
                <a:cubicBezTo>
                  <a:pt x="7199483" y="4343992"/>
                  <a:pt x="7185345" y="4349440"/>
                  <a:pt x="7174449" y="4360467"/>
                </a:cubicBezTo>
                <a:lnTo>
                  <a:pt x="7109978" y="4425069"/>
                </a:lnTo>
                <a:lnTo>
                  <a:pt x="7045379" y="4360336"/>
                </a:lnTo>
                <a:cubicBezTo>
                  <a:pt x="7034483" y="4349440"/>
                  <a:pt x="7020344" y="4343992"/>
                  <a:pt x="7006076" y="4343992"/>
                </a:cubicBezTo>
                <a:close/>
                <a:moveTo>
                  <a:pt x="4952148" y="4343992"/>
                </a:moveTo>
                <a:cubicBezTo>
                  <a:pt x="4937875" y="4343992"/>
                  <a:pt x="4923734" y="4349440"/>
                  <a:pt x="4912971" y="4360336"/>
                </a:cubicBezTo>
                <a:lnTo>
                  <a:pt x="4834495" y="4439078"/>
                </a:lnTo>
                <a:cubicBezTo>
                  <a:pt x="4812828" y="4460743"/>
                  <a:pt x="4812828" y="4496026"/>
                  <a:pt x="4834495" y="4517690"/>
                </a:cubicBezTo>
                <a:lnTo>
                  <a:pt x="5056064" y="4739774"/>
                </a:lnTo>
                <a:lnTo>
                  <a:pt x="5056083" y="4739764"/>
                </a:lnTo>
                <a:lnTo>
                  <a:pt x="5056087" y="4739774"/>
                </a:lnTo>
                <a:lnTo>
                  <a:pt x="5277615" y="4517690"/>
                </a:lnTo>
                <a:cubicBezTo>
                  <a:pt x="5299295" y="4496026"/>
                  <a:pt x="5299295" y="4460743"/>
                  <a:pt x="5277615" y="4439078"/>
                </a:cubicBezTo>
                <a:lnTo>
                  <a:pt x="5199142" y="4360467"/>
                </a:lnTo>
                <a:cubicBezTo>
                  <a:pt x="5188246" y="4349570"/>
                  <a:pt x="5174097" y="4344121"/>
                  <a:pt x="5159966" y="4344121"/>
                </a:cubicBezTo>
                <a:lnTo>
                  <a:pt x="5159837" y="4343992"/>
                </a:lnTo>
                <a:lnTo>
                  <a:pt x="5159834" y="4343994"/>
                </a:lnTo>
                <a:lnTo>
                  <a:pt x="5159824" y="4343992"/>
                </a:lnTo>
                <a:cubicBezTo>
                  <a:pt x="5145561" y="4343992"/>
                  <a:pt x="5131424" y="4349440"/>
                  <a:pt x="5120536" y="4360467"/>
                </a:cubicBezTo>
                <a:lnTo>
                  <a:pt x="5056083" y="4425059"/>
                </a:lnTo>
                <a:lnTo>
                  <a:pt x="4991467" y="4360336"/>
                </a:lnTo>
                <a:cubicBezTo>
                  <a:pt x="4980575" y="4349440"/>
                  <a:pt x="4966424" y="4343992"/>
                  <a:pt x="4952157" y="4343992"/>
                </a:cubicBezTo>
                <a:lnTo>
                  <a:pt x="4952155" y="4343993"/>
                </a:lnTo>
                <a:close/>
                <a:moveTo>
                  <a:pt x="2898351" y="4343992"/>
                </a:moveTo>
                <a:cubicBezTo>
                  <a:pt x="2884078" y="4343992"/>
                  <a:pt x="2869941" y="4349440"/>
                  <a:pt x="2859173" y="4360336"/>
                </a:cubicBezTo>
                <a:lnTo>
                  <a:pt x="2780695" y="4439078"/>
                </a:lnTo>
                <a:cubicBezTo>
                  <a:pt x="2759031" y="4460743"/>
                  <a:pt x="2759031" y="4496026"/>
                  <a:pt x="2780695" y="4517690"/>
                </a:cubicBezTo>
                <a:lnTo>
                  <a:pt x="3002253" y="4739774"/>
                </a:lnTo>
                <a:lnTo>
                  <a:pt x="3002263" y="4739762"/>
                </a:lnTo>
                <a:lnTo>
                  <a:pt x="3002276" y="4739774"/>
                </a:lnTo>
                <a:lnTo>
                  <a:pt x="3223832" y="4517690"/>
                </a:lnTo>
                <a:cubicBezTo>
                  <a:pt x="3245496" y="4496026"/>
                  <a:pt x="3245496" y="4460743"/>
                  <a:pt x="3223832" y="4439078"/>
                </a:cubicBezTo>
                <a:lnTo>
                  <a:pt x="3145353" y="4360467"/>
                </a:lnTo>
                <a:cubicBezTo>
                  <a:pt x="3134458" y="4349570"/>
                  <a:pt x="3120320" y="4344121"/>
                  <a:pt x="3106179" y="4344121"/>
                </a:cubicBezTo>
                <a:lnTo>
                  <a:pt x="3106051" y="4343992"/>
                </a:lnTo>
                <a:lnTo>
                  <a:pt x="3106030" y="4343996"/>
                </a:lnTo>
                <a:lnTo>
                  <a:pt x="3106024" y="4343992"/>
                </a:lnTo>
                <a:cubicBezTo>
                  <a:pt x="3091757" y="4343992"/>
                  <a:pt x="3077618" y="4349440"/>
                  <a:pt x="3066723" y="4360467"/>
                </a:cubicBezTo>
                <a:lnTo>
                  <a:pt x="3002263" y="4425057"/>
                </a:lnTo>
                <a:lnTo>
                  <a:pt x="2937678" y="4360336"/>
                </a:lnTo>
                <a:cubicBezTo>
                  <a:pt x="2926780" y="4349440"/>
                  <a:pt x="2912640" y="4343992"/>
                  <a:pt x="2898373" y="4343992"/>
                </a:cubicBezTo>
                <a:lnTo>
                  <a:pt x="2898361" y="4343995"/>
                </a:lnTo>
                <a:close/>
                <a:moveTo>
                  <a:pt x="844371" y="4343992"/>
                </a:moveTo>
                <a:cubicBezTo>
                  <a:pt x="830103" y="4343992"/>
                  <a:pt x="815964" y="4349440"/>
                  <a:pt x="805197" y="4360336"/>
                </a:cubicBezTo>
                <a:lnTo>
                  <a:pt x="726717" y="4439078"/>
                </a:lnTo>
                <a:cubicBezTo>
                  <a:pt x="705055" y="4460743"/>
                  <a:pt x="705055" y="4496026"/>
                  <a:pt x="726717" y="4517690"/>
                </a:cubicBezTo>
                <a:lnTo>
                  <a:pt x="948275" y="4739774"/>
                </a:lnTo>
                <a:lnTo>
                  <a:pt x="948287" y="4739763"/>
                </a:lnTo>
                <a:lnTo>
                  <a:pt x="948298" y="4739774"/>
                </a:lnTo>
                <a:lnTo>
                  <a:pt x="1169855" y="4517690"/>
                </a:lnTo>
                <a:cubicBezTo>
                  <a:pt x="1191517" y="4496026"/>
                  <a:pt x="1191517" y="4460743"/>
                  <a:pt x="1169855" y="4439078"/>
                </a:cubicBezTo>
                <a:lnTo>
                  <a:pt x="1091377" y="4360467"/>
                </a:lnTo>
                <a:cubicBezTo>
                  <a:pt x="1080480" y="4349570"/>
                  <a:pt x="1066341" y="4344121"/>
                  <a:pt x="1052202" y="4344121"/>
                </a:cubicBezTo>
                <a:lnTo>
                  <a:pt x="1052072" y="4343992"/>
                </a:lnTo>
                <a:lnTo>
                  <a:pt x="1052054" y="4343996"/>
                </a:lnTo>
                <a:lnTo>
                  <a:pt x="1052050" y="4343992"/>
                </a:lnTo>
                <a:cubicBezTo>
                  <a:pt x="1037780" y="4343992"/>
                  <a:pt x="1023641" y="4349440"/>
                  <a:pt x="1012746" y="4360467"/>
                </a:cubicBezTo>
                <a:lnTo>
                  <a:pt x="948287" y="4425058"/>
                </a:lnTo>
                <a:lnTo>
                  <a:pt x="883699" y="4360336"/>
                </a:lnTo>
                <a:cubicBezTo>
                  <a:pt x="872802" y="4349440"/>
                  <a:pt x="858663" y="4343992"/>
                  <a:pt x="844395" y="4343992"/>
                </a:cubicBezTo>
                <a:lnTo>
                  <a:pt x="844383" y="4343995"/>
                </a:lnTo>
                <a:close/>
                <a:moveTo>
                  <a:pt x="11910826" y="4133337"/>
                </a:moveTo>
                <a:lnTo>
                  <a:pt x="12188651" y="4294111"/>
                </a:lnTo>
                <a:lnTo>
                  <a:pt x="12188651" y="4670953"/>
                </a:lnTo>
                <a:lnTo>
                  <a:pt x="11910826" y="4510166"/>
                </a:lnTo>
                <a:close/>
                <a:moveTo>
                  <a:pt x="11894481" y="4133337"/>
                </a:moveTo>
                <a:lnTo>
                  <a:pt x="11894481" y="4510166"/>
                </a:lnTo>
                <a:lnTo>
                  <a:pt x="11568890" y="4698522"/>
                </a:lnTo>
                <a:lnTo>
                  <a:pt x="11568890" y="4321680"/>
                </a:lnTo>
                <a:close/>
                <a:moveTo>
                  <a:pt x="9857006" y="4133335"/>
                </a:moveTo>
                <a:lnTo>
                  <a:pt x="10182468" y="4321680"/>
                </a:lnTo>
                <a:lnTo>
                  <a:pt x="10182468" y="4698522"/>
                </a:lnTo>
                <a:lnTo>
                  <a:pt x="9857006" y="4510166"/>
                </a:lnTo>
                <a:close/>
                <a:moveTo>
                  <a:pt x="9840661" y="4133335"/>
                </a:moveTo>
                <a:lnTo>
                  <a:pt x="9840661" y="4510166"/>
                </a:lnTo>
                <a:lnTo>
                  <a:pt x="9515070" y="4698522"/>
                </a:lnTo>
                <a:lnTo>
                  <a:pt x="9515070" y="4321680"/>
                </a:lnTo>
                <a:close/>
                <a:moveTo>
                  <a:pt x="7803060" y="4133332"/>
                </a:moveTo>
                <a:lnTo>
                  <a:pt x="8128521" y="4321680"/>
                </a:lnTo>
                <a:lnTo>
                  <a:pt x="8128521" y="4698522"/>
                </a:lnTo>
                <a:lnTo>
                  <a:pt x="7803060" y="4510166"/>
                </a:lnTo>
                <a:close/>
                <a:moveTo>
                  <a:pt x="7786715" y="4133332"/>
                </a:moveTo>
                <a:lnTo>
                  <a:pt x="7786715" y="4510166"/>
                </a:lnTo>
                <a:lnTo>
                  <a:pt x="7461125" y="4698522"/>
                </a:lnTo>
                <a:lnTo>
                  <a:pt x="7461125" y="4321680"/>
                </a:lnTo>
                <a:close/>
                <a:moveTo>
                  <a:pt x="5749264" y="4133332"/>
                </a:moveTo>
                <a:lnTo>
                  <a:pt x="6074705" y="4321680"/>
                </a:lnTo>
                <a:lnTo>
                  <a:pt x="6074705" y="4698521"/>
                </a:lnTo>
                <a:lnTo>
                  <a:pt x="5749264" y="4510166"/>
                </a:lnTo>
                <a:close/>
                <a:moveTo>
                  <a:pt x="3695486" y="4133332"/>
                </a:moveTo>
                <a:lnTo>
                  <a:pt x="4020939" y="4321680"/>
                </a:lnTo>
                <a:lnTo>
                  <a:pt x="4020939" y="4698518"/>
                </a:lnTo>
                <a:lnTo>
                  <a:pt x="3695486" y="4510166"/>
                </a:lnTo>
                <a:close/>
                <a:moveTo>
                  <a:pt x="3679138" y="4133332"/>
                </a:moveTo>
                <a:lnTo>
                  <a:pt x="3679138" y="4510167"/>
                </a:lnTo>
                <a:lnTo>
                  <a:pt x="3353557" y="4698518"/>
                </a:lnTo>
                <a:lnTo>
                  <a:pt x="3353557" y="4321679"/>
                </a:lnTo>
                <a:close/>
                <a:moveTo>
                  <a:pt x="5732921" y="4133331"/>
                </a:moveTo>
                <a:lnTo>
                  <a:pt x="5732921" y="4510166"/>
                </a:lnTo>
                <a:lnTo>
                  <a:pt x="5486388" y="4652797"/>
                </a:lnTo>
                <a:lnTo>
                  <a:pt x="5407352" y="4698520"/>
                </a:lnTo>
                <a:lnTo>
                  <a:pt x="5407352" y="4321679"/>
                </a:lnTo>
                <a:close/>
                <a:moveTo>
                  <a:pt x="1641509" y="4133330"/>
                </a:moveTo>
                <a:lnTo>
                  <a:pt x="1966966" y="4321680"/>
                </a:lnTo>
                <a:lnTo>
                  <a:pt x="1966966" y="4698518"/>
                </a:lnTo>
                <a:lnTo>
                  <a:pt x="1641509" y="4510166"/>
                </a:lnTo>
                <a:close/>
                <a:moveTo>
                  <a:pt x="1625160" y="4133330"/>
                </a:moveTo>
                <a:lnTo>
                  <a:pt x="1625160" y="4510167"/>
                </a:lnTo>
                <a:lnTo>
                  <a:pt x="1299576" y="4698519"/>
                </a:lnTo>
                <a:lnTo>
                  <a:pt x="1299576" y="4321679"/>
                </a:lnTo>
                <a:close/>
                <a:moveTo>
                  <a:pt x="10532576" y="4128536"/>
                </a:moveTo>
                <a:lnTo>
                  <a:pt x="10866339" y="4321680"/>
                </a:lnTo>
                <a:lnTo>
                  <a:pt x="10866339" y="4707993"/>
                </a:lnTo>
                <a:lnTo>
                  <a:pt x="10532706" y="4901148"/>
                </a:lnTo>
                <a:lnTo>
                  <a:pt x="10198941" y="4707993"/>
                </a:lnTo>
                <a:lnTo>
                  <a:pt x="10198941" y="4321680"/>
                </a:lnTo>
                <a:close/>
                <a:moveTo>
                  <a:pt x="8478628" y="4128533"/>
                </a:moveTo>
                <a:lnTo>
                  <a:pt x="8812392" y="4321680"/>
                </a:lnTo>
                <a:lnTo>
                  <a:pt x="8812392" y="4707993"/>
                </a:lnTo>
                <a:lnTo>
                  <a:pt x="8478758" y="4901148"/>
                </a:lnTo>
                <a:lnTo>
                  <a:pt x="8144995" y="4707993"/>
                </a:lnTo>
                <a:lnTo>
                  <a:pt x="8144995" y="4321680"/>
                </a:lnTo>
                <a:close/>
                <a:moveTo>
                  <a:pt x="6424810" y="4128533"/>
                </a:moveTo>
                <a:lnTo>
                  <a:pt x="6758573" y="4321680"/>
                </a:lnTo>
                <a:lnTo>
                  <a:pt x="6758573" y="4707993"/>
                </a:lnTo>
                <a:lnTo>
                  <a:pt x="6424940" y="4901148"/>
                </a:lnTo>
                <a:lnTo>
                  <a:pt x="6091179" y="4707993"/>
                </a:lnTo>
                <a:lnTo>
                  <a:pt x="6091179" y="4321680"/>
                </a:lnTo>
                <a:close/>
                <a:moveTo>
                  <a:pt x="4371009" y="4128531"/>
                </a:moveTo>
                <a:lnTo>
                  <a:pt x="4704773" y="4321680"/>
                </a:lnTo>
                <a:lnTo>
                  <a:pt x="4704773" y="4707993"/>
                </a:lnTo>
                <a:lnTo>
                  <a:pt x="4371146" y="4901148"/>
                </a:lnTo>
                <a:lnTo>
                  <a:pt x="4037423" y="4707993"/>
                </a:lnTo>
                <a:lnTo>
                  <a:pt x="4037423" y="4321679"/>
                </a:lnTo>
                <a:lnTo>
                  <a:pt x="4350583" y="4140356"/>
                </a:lnTo>
                <a:close/>
                <a:moveTo>
                  <a:pt x="2317082" y="4128531"/>
                </a:moveTo>
                <a:lnTo>
                  <a:pt x="2650840" y="4321680"/>
                </a:lnTo>
                <a:lnTo>
                  <a:pt x="2650840" y="4707994"/>
                </a:lnTo>
                <a:lnTo>
                  <a:pt x="2317213" y="4901146"/>
                </a:lnTo>
                <a:lnTo>
                  <a:pt x="1983445" y="4707993"/>
                </a:lnTo>
                <a:lnTo>
                  <a:pt x="1983445" y="4321679"/>
                </a:lnTo>
                <a:close/>
                <a:moveTo>
                  <a:pt x="263235" y="4128527"/>
                </a:moveTo>
                <a:lnTo>
                  <a:pt x="596995" y="4321680"/>
                </a:lnTo>
                <a:lnTo>
                  <a:pt x="596995" y="4707994"/>
                </a:lnTo>
                <a:lnTo>
                  <a:pt x="263366" y="4901147"/>
                </a:lnTo>
                <a:lnTo>
                  <a:pt x="0" y="4748731"/>
                </a:lnTo>
                <a:lnTo>
                  <a:pt x="0" y="4280925"/>
                </a:lnTo>
                <a:close/>
                <a:moveTo>
                  <a:pt x="11217614" y="4128280"/>
                </a:moveTo>
                <a:lnTo>
                  <a:pt x="11551377" y="4321420"/>
                </a:lnTo>
                <a:lnTo>
                  <a:pt x="11551377" y="4707602"/>
                </a:lnTo>
                <a:lnTo>
                  <a:pt x="11217614" y="4900759"/>
                </a:lnTo>
                <a:lnTo>
                  <a:pt x="10883851" y="4707602"/>
                </a:lnTo>
                <a:lnTo>
                  <a:pt x="10883851" y="4321420"/>
                </a:lnTo>
                <a:close/>
                <a:moveTo>
                  <a:pt x="5055955" y="4128279"/>
                </a:moveTo>
                <a:lnTo>
                  <a:pt x="5389688" y="4321420"/>
                </a:lnTo>
                <a:lnTo>
                  <a:pt x="5389688" y="4707603"/>
                </a:lnTo>
                <a:lnTo>
                  <a:pt x="5252155" y="4787202"/>
                </a:lnTo>
                <a:lnTo>
                  <a:pt x="5055955" y="4900753"/>
                </a:lnTo>
                <a:lnTo>
                  <a:pt x="4722175" y="4707602"/>
                </a:lnTo>
                <a:lnTo>
                  <a:pt x="4722175" y="4321419"/>
                </a:lnTo>
                <a:close/>
                <a:moveTo>
                  <a:pt x="9163666" y="4128278"/>
                </a:moveTo>
                <a:lnTo>
                  <a:pt x="9497429" y="4321420"/>
                </a:lnTo>
                <a:lnTo>
                  <a:pt x="9497429" y="4707602"/>
                </a:lnTo>
                <a:lnTo>
                  <a:pt x="9163666" y="4900759"/>
                </a:lnTo>
                <a:lnTo>
                  <a:pt x="8829903" y="4707602"/>
                </a:lnTo>
                <a:lnTo>
                  <a:pt x="8829903" y="4321420"/>
                </a:lnTo>
                <a:lnTo>
                  <a:pt x="8882054" y="4291239"/>
                </a:lnTo>
                <a:close/>
                <a:moveTo>
                  <a:pt x="7109850" y="4128277"/>
                </a:moveTo>
                <a:lnTo>
                  <a:pt x="7443613" y="4321420"/>
                </a:lnTo>
                <a:lnTo>
                  <a:pt x="7443613" y="4707602"/>
                </a:lnTo>
                <a:lnTo>
                  <a:pt x="7109850" y="4900759"/>
                </a:lnTo>
                <a:lnTo>
                  <a:pt x="6776085" y="4707602"/>
                </a:lnTo>
                <a:lnTo>
                  <a:pt x="6776085" y="4321420"/>
                </a:lnTo>
                <a:close/>
                <a:moveTo>
                  <a:pt x="3002137" y="4128277"/>
                </a:moveTo>
                <a:lnTo>
                  <a:pt x="3335888" y="4321420"/>
                </a:lnTo>
                <a:lnTo>
                  <a:pt x="3335888" y="4707603"/>
                </a:lnTo>
                <a:lnTo>
                  <a:pt x="3002137" y="4900751"/>
                </a:lnTo>
                <a:lnTo>
                  <a:pt x="2668385" y="4707602"/>
                </a:lnTo>
                <a:lnTo>
                  <a:pt x="2668385" y="4321419"/>
                </a:lnTo>
                <a:close/>
                <a:moveTo>
                  <a:pt x="948159" y="4128274"/>
                </a:moveTo>
                <a:lnTo>
                  <a:pt x="1281908" y="4321420"/>
                </a:lnTo>
                <a:lnTo>
                  <a:pt x="1281908" y="4707603"/>
                </a:lnTo>
                <a:lnTo>
                  <a:pt x="948159" y="4900752"/>
                </a:lnTo>
                <a:lnTo>
                  <a:pt x="614410" y="4707602"/>
                </a:lnTo>
                <a:lnTo>
                  <a:pt x="614410" y="4321419"/>
                </a:lnTo>
                <a:close/>
                <a:moveTo>
                  <a:pt x="10875809" y="3930457"/>
                </a:moveTo>
                <a:lnTo>
                  <a:pt x="11201267" y="4118806"/>
                </a:lnTo>
                <a:lnTo>
                  <a:pt x="10875678" y="4307149"/>
                </a:lnTo>
                <a:lnTo>
                  <a:pt x="10809085" y="4268609"/>
                </a:lnTo>
                <a:lnTo>
                  <a:pt x="10550220" y="4118806"/>
                </a:lnTo>
                <a:close/>
                <a:moveTo>
                  <a:pt x="8821860" y="3930452"/>
                </a:moveTo>
                <a:lnTo>
                  <a:pt x="9147319" y="4118806"/>
                </a:lnTo>
                <a:lnTo>
                  <a:pt x="8913010" y="4254344"/>
                </a:lnTo>
                <a:lnTo>
                  <a:pt x="8821731" y="4307149"/>
                </a:lnTo>
                <a:lnTo>
                  <a:pt x="8496271" y="4118806"/>
                </a:lnTo>
                <a:close/>
                <a:moveTo>
                  <a:pt x="6768043" y="3930449"/>
                </a:moveTo>
                <a:lnTo>
                  <a:pt x="7093503" y="4118805"/>
                </a:lnTo>
                <a:lnTo>
                  <a:pt x="6767913" y="4307149"/>
                </a:lnTo>
                <a:lnTo>
                  <a:pt x="6442454" y="4118805"/>
                </a:lnTo>
                <a:close/>
                <a:moveTo>
                  <a:pt x="4714120" y="3930449"/>
                </a:moveTo>
                <a:lnTo>
                  <a:pt x="5039593" y="4118798"/>
                </a:lnTo>
                <a:lnTo>
                  <a:pt x="5020751" y="4129700"/>
                </a:lnTo>
                <a:lnTo>
                  <a:pt x="4713993" y="4307147"/>
                </a:lnTo>
                <a:lnTo>
                  <a:pt x="4388541" y="4118803"/>
                </a:lnTo>
                <a:close/>
                <a:moveTo>
                  <a:pt x="2660333" y="3930449"/>
                </a:moveTo>
                <a:lnTo>
                  <a:pt x="2985780" y="4118798"/>
                </a:lnTo>
                <a:lnTo>
                  <a:pt x="2660203" y="4307142"/>
                </a:lnTo>
                <a:lnTo>
                  <a:pt x="2334757" y="4118798"/>
                </a:lnTo>
                <a:close/>
                <a:moveTo>
                  <a:pt x="606356" y="3930447"/>
                </a:moveTo>
                <a:lnTo>
                  <a:pt x="931801" y="4118795"/>
                </a:lnTo>
                <a:lnTo>
                  <a:pt x="606223" y="4307142"/>
                </a:lnTo>
                <a:lnTo>
                  <a:pt x="280775" y="4118796"/>
                </a:lnTo>
                <a:close/>
                <a:moveTo>
                  <a:pt x="12140685" y="3766489"/>
                </a:moveTo>
                <a:cubicBezTo>
                  <a:pt x="12151191" y="3766489"/>
                  <a:pt x="12161050" y="3770638"/>
                  <a:pt x="12168445" y="3778033"/>
                </a:cubicBezTo>
                <a:lnTo>
                  <a:pt x="12188651" y="3798281"/>
                </a:lnTo>
                <a:lnTo>
                  <a:pt x="12188651" y="4066527"/>
                </a:lnTo>
                <a:lnTo>
                  <a:pt x="12034576" y="3912164"/>
                </a:lnTo>
                <a:cubicBezTo>
                  <a:pt x="12019270" y="3896857"/>
                  <a:pt x="12019270" y="3871952"/>
                  <a:pt x="12034576" y="3856776"/>
                </a:cubicBezTo>
                <a:lnTo>
                  <a:pt x="12113056" y="3778033"/>
                </a:lnTo>
                <a:cubicBezTo>
                  <a:pt x="12120448" y="3770638"/>
                  <a:pt x="12130178" y="3766489"/>
                  <a:pt x="12140685" y="3766489"/>
                </a:cubicBezTo>
                <a:close/>
                <a:moveTo>
                  <a:pt x="10086867" y="3766487"/>
                </a:moveTo>
                <a:cubicBezTo>
                  <a:pt x="10097374" y="3766487"/>
                  <a:pt x="10107232" y="3770636"/>
                  <a:pt x="10114626" y="3778031"/>
                </a:cubicBezTo>
                <a:lnTo>
                  <a:pt x="10179226" y="3842759"/>
                </a:lnTo>
                <a:lnTo>
                  <a:pt x="10190770" y="3854435"/>
                </a:lnTo>
                <a:lnTo>
                  <a:pt x="10202315" y="3842759"/>
                </a:lnTo>
                <a:lnTo>
                  <a:pt x="10266786" y="3778031"/>
                </a:lnTo>
                <a:cubicBezTo>
                  <a:pt x="10274178" y="3770507"/>
                  <a:pt x="10284037" y="3766487"/>
                  <a:pt x="10294543" y="3766487"/>
                </a:cubicBezTo>
                <a:cubicBezTo>
                  <a:pt x="10304922" y="3766487"/>
                  <a:pt x="10314781" y="3770636"/>
                  <a:pt x="10322173" y="3778031"/>
                </a:cubicBezTo>
                <a:lnTo>
                  <a:pt x="10400653" y="3856639"/>
                </a:lnTo>
                <a:cubicBezTo>
                  <a:pt x="10408047" y="3864034"/>
                  <a:pt x="10412068" y="3873896"/>
                  <a:pt x="10412198" y="3884401"/>
                </a:cubicBezTo>
                <a:cubicBezTo>
                  <a:pt x="10412198" y="3894908"/>
                  <a:pt x="10408176" y="3904767"/>
                  <a:pt x="10400783" y="3912160"/>
                </a:cubicBezTo>
                <a:lnTo>
                  <a:pt x="10190770" y="4122570"/>
                </a:lnTo>
                <a:lnTo>
                  <a:pt x="9980757" y="3912160"/>
                </a:lnTo>
                <a:cubicBezTo>
                  <a:pt x="9965450" y="3896853"/>
                  <a:pt x="9965450" y="3871944"/>
                  <a:pt x="9980757" y="3856768"/>
                </a:cubicBezTo>
                <a:lnTo>
                  <a:pt x="10059237" y="3778031"/>
                </a:lnTo>
                <a:cubicBezTo>
                  <a:pt x="10066631" y="3770636"/>
                  <a:pt x="10076359" y="3766487"/>
                  <a:pt x="10086867" y="3766487"/>
                </a:cubicBezTo>
                <a:close/>
                <a:moveTo>
                  <a:pt x="8032919" y="3766483"/>
                </a:moveTo>
                <a:cubicBezTo>
                  <a:pt x="8043427" y="3766483"/>
                  <a:pt x="8053285" y="3770632"/>
                  <a:pt x="8060679" y="3778026"/>
                </a:cubicBezTo>
                <a:lnTo>
                  <a:pt x="8125278" y="3842759"/>
                </a:lnTo>
                <a:lnTo>
                  <a:pt x="8136823" y="3854433"/>
                </a:lnTo>
                <a:lnTo>
                  <a:pt x="8148368" y="3842759"/>
                </a:lnTo>
                <a:lnTo>
                  <a:pt x="8212837" y="3778026"/>
                </a:lnTo>
                <a:cubicBezTo>
                  <a:pt x="8220232" y="3770507"/>
                  <a:pt x="8230090" y="3766483"/>
                  <a:pt x="8240596" y="3766483"/>
                </a:cubicBezTo>
                <a:cubicBezTo>
                  <a:pt x="8250975" y="3766483"/>
                  <a:pt x="8260834" y="3770632"/>
                  <a:pt x="8268226" y="3778026"/>
                </a:cubicBezTo>
                <a:lnTo>
                  <a:pt x="8346707" y="3856636"/>
                </a:lnTo>
                <a:cubicBezTo>
                  <a:pt x="8354100" y="3864034"/>
                  <a:pt x="8358121" y="3873889"/>
                  <a:pt x="8358252" y="3884401"/>
                </a:cubicBezTo>
                <a:cubicBezTo>
                  <a:pt x="8358252" y="3894906"/>
                  <a:pt x="8354229" y="3904764"/>
                  <a:pt x="8346837" y="3912157"/>
                </a:cubicBezTo>
                <a:lnTo>
                  <a:pt x="8136823" y="4122566"/>
                </a:lnTo>
                <a:lnTo>
                  <a:pt x="7926811" y="3912157"/>
                </a:lnTo>
                <a:cubicBezTo>
                  <a:pt x="7911503" y="3896851"/>
                  <a:pt x="7911503" y="3871944"/>
                  <a:pt x="7926811" y="3856768"/>
                </a:cubicBezTo>
                <a:lnTo>
                  <a:pt x="8005289" y="3778026"/>
                </a:lnTo>
                <a:cubicBezTo>
                  <a:pt x="8012684" y="3770632"/>
                  <a:pt x="8022413" y="3766483"/>
                  <a:pt x="8032919" y="3766483"/>
                </a:cubicBezTo>
                <a:close/>
                <a:moveTo>
                  <a:pt x="5979110" y="3766481"/>
                </a:moveTo>
                <a:cubicBezTo>
                  <a:pt x="5989617" y="3766481"/>
                  <a:pt x="5999474" y="3770632"/>
                  <a:pt x="6006867" y="3778024"/>
                </a:cubicBezTo>
                <a:lnTo>
                  <a:pt x="6071463" y="3842755"/>
                </a:lnTo>
                <a:lnTo>
                  <a:pt x="6083006" y="3854430"/>
                </a:lnTo>
                <a:lnTo>
                  <a:pt x="6094550" y="3842755"/>
                </a:lnTo>
                <a:lnTo>
                  <a:pt x="6159019" y="3778024"/>
                </a:lnTo>
                <a:cubicBezTo>
                  <a:pt x="6166413" y="3770499"/>
                  <a:pt x="6176271" y="3766481"/>
                  <a:pt x="6186779" y="3766481"/>
                </a:cubicBezTo>
                <a:cubicBezTo>
                  <a:pt x="6197156" y="3766481"/>
                  <a:pt x="6207014" y="3770632"/>
                  <a:pt x="6214409" y="3778024"/>
                </a:cubicBezTo>
                <a:lnTo>
                  <a:pt x="6292888" y="3856635"/>
                </a:lnTo>
                <a:cubicBezTo>
                  <a:pt x="6300282" y="3864029"/>
                  <a:pt x="6304303" y="3873887"/>
                  <a:pt x="6304433" y="3884398"/>
                </a:cubicBezTo>
                <a:cubicBezTo>
                  <a:pt x="6304433" y="3894904"/>
                  <a:pt x="6300412" y="3904763"/>
                  <a:pt x="6293017" y="3912155"/>
                </a:cubicBezTo>
                <a:lnTo>
                  <a:pt x="6083006" y="4122564"/>
                </a:lnTo>
                <a:lnTo>
                  <a:pt x="5873007" y="3912155"/>
                </a:lnTo>
                <a:cubicBezTo>
                  <a:pt x="5857702" y="3896850"/>
                  <a:pt x="5857702" y="3871943"/>
                  <a:pt x="5873007" y="3856767"/>
                </a:cubicBezTo>
                <a:lnTo>
                  <a:pt x="5951483" y="3778024"/>
                </a:lnTo>
                <a:cubicBezTo>
                  <a:pt x="5958874" y="3770632"/>
                  <a:pt x="5968603" y="3766481"/>
                  <a:pt x="5979110" y="3766481"/>
                </a:cubicBezTo>
                <a:close/>
                <a:moveTo>
                  <a:pt x="3925342" y="3766475"/>
                </a:moveTo>
                <a:cubicBezTo>
                  <a:pt x="3935847" y="3766475"/>
                  <a:pt x="3945709" y="3770628"/>
                  <a:pt x="3953102" y="3778022"/>
                </a:cubicBezTo>
                <a:lnTo>
                  <a:pt x="4017703" y="3842751"/>
                </a:lnTo>
                <a:lnTo>
                  <a:pt x="4029246" y="3854427"/>
                </a:lnTo>
                <a:lnTo>
                  <a:pt x="4040794" y="3842751"/>
                </a:lnTo>
                <a:lnTo>
                  <a:pt x="4105264" y="3778022"/>
                </a:lnTo>
                <a:cubicBezTo>
                  <a:pt x="4112658" y="3770498"/>
                  <a:pt x="4122517" y="3766475"/>
                  <a:pt x="4133025" y="3766475"/>
                </a:cubicBezTo>
                <a:cubicBezTo>
                  <a:pt x="4143402" y="3766475"/>
                  <a:pt x="4153263" y="3770628"/>
                  <a:pt x="4160655" y="3778022"/>
                </a:cubicBezTo>
                <a:lnTo>
                  <a:pt x="4239088" y="3856634"/>
                </a:lnTo>
                <a:cubicBezTo>
                  <a:pt x="4246485" y="3864025"/>
                  <a:pt x="4250503" y="3873886"/>
                  <a:pt x="4250643" y="3884393"/>
                </a:cubicBezTo>
                <a:cubicBezTo>
                  <a:pt x="4250643" y="3894900"/>
                  <a:pt x="4246611" y="3904757"/>
                  <a:pt x="4239218" y="3912154"/>
                </a:cubicBezTo>
                <a:lnTo>
                  <a:pt x="4029246" y="4122561"/>
                </a:lnTo>
                <a:lnTo>
                  <a:pt x="3819228" y="3912154"/>
                </a:lnTo>
                <a:cubicBezTo>
                  <a:pt x="3803920" y="3896844"/>
                  <a:pt x="3803920" y="3871940"/>
                  <a:pt x="3819228" y="3856761"/>
                </a:cubicBezTo>
                <a:lnTo>
                  <a:pt x="3897713" y="3778022"/>
                </a:lnTo>
                <a:cubicBezTo>
                  <a:pt x="3905109" y="3770628"/>
                  <a:pt x="3914836" y="3766475"/>
                  <a:pt x="3925342" y="3766475"/>
                </a:cubicBezTo>
                <a:close/>
                <a:moveTo>
                  <a:pt x="1871369" y="3766474"/>
                </a:moveTo>
                <a:cubicBezTo>
                  <a:pt x="1881877" y="3766474"/>
                  <a:pt x="1891735" y="3770624"/>
                  <a:pt x="1899129" y="3778019"/>
                </a:cubicBezTo>
                <a:lnTo>
                  <a:pt x="1963729" y="3842750"/>
                </a:lnTo>
                <a:lnTo>
                  <a:pt x="1975274" y="3854424"/>
                </a:lnTo>
                <a:lnTo>
                  <a:pt x="1986819" y="3842750"/>
                </a:lnTo>
                <a:lnTo>
                  <a:pt x="2051289" y="3778019"/>
                </a:lnTo>
                <a:cubicBezTo>
                  <a:pt x="2058682" y="3770495"/>
                  <a:pt x="2068540" y="3766474"/>
                  <a:pt x="2079047" y="3766474"/>
                </a:cubicBezTo>
                <a:cubicBezTo>
                  <a:pt x="2089425" y="3766474"/>
                  <a:pt x="2099288" y="3770624"/>
                  <a:pt x="2106684" y="3778019"/>
                </a:cubicBezTo>
                <a:lnTo>
                  <a:pt x="2185165" y="3856630"/>
                </a:lnTo>
                <a:cubicBezTo>
                  <a:pt x="2192559" y="3864024"/>
                  <a:pt x="2196580" y="3873882"/>
                  <a:pt x="2196710" y="3884389"/>
                </a:cubicBezTo>
                <a:cubicBezTo>
                  <a:pt x="2196710" y="3894897"/>
                  <a:pt x="2192689" y="3904755"/>
                  <a:pt x="2185293" y="3912150"/>
                </a:cubicBezTo>
                <a:lnTo>
                  <a:pt x="1975274" y="4122560"/>
                </a:lnTo>
                <a:lnTo>
                  <a:pt x="1765261" y="3912150"/>
                </a:lnTo>
                <a:cubicBezTo>
                  <a:pt x="1749953" y="3896844"/>
                  <a:pt x="1749953" y="3871935"/>
                  <a:pt x="1765261" y="3856760"/>
                </a:cubicBezTo>
                <a:lnTo>
                  <a:pt x="1843740" y="3778019"/>
                </a:lnTo>
                <a:cubicBezTo>
                  <a:pt x="1851135" y="3770624"/>
                  <a:pt x="1860862" y="3766474"/>
                  <a:pt x="1871369" y="3766474"/>
                </a:cubicBezTo>
                <a:close/>
                <a:moveTo>
                  <a:pt x="25207" y="3766470"/>
                </a:moveTo>
                <a:cubicBezTo>
                  <a:pt x="35584" y="3766470"/>
                  <a:pt x="45443" y="3770622"/>
                  <a:pt x="52837" y="3778016"/>
                </a:cubicBezTo>
                <a:lnTo>
                  <a:pt x="131316" y="3856627"/>
                </a:lnTo>
                <a:cubicBezTo>
                  <a:pt x="138710" y="3864020"/>
                  <a:pt x="142732" y="3873879"/>
                  <a:pt x="142860" y="3884387"/>
                </a:cubicBezTo>
                <a:cubicBezTo>
                  <a:pt x="142860" y="3894895"/>
                  <a:pt x="138839" y="3904754"/>
                  <a:pt x="131446" y="3912147"/>
                </a:cubicBezTo>
                <a:lnTo>
                  <a:pt x="0" y="4043841"/>
                </a:lnTo>
                <a:lnTo>
                  <a:pt x="0" y="3776953"/>
                </a:lnTo>
                <a:close/>
                <a:moveTo>
                  <a:pt x="10086867" y="3750008"/>
                </a:moveTo>
                <a:cubicBezTo>
                  <a:pt x="10072597" y="3750008"/>
                  <a:pt x="10058458" y="3755458"/>
                  <a:pt x="10047692" y="3766357"/>
                </a:cubicBezTo>
                <a:lnTo>
                  <a:pt x="9969212" y="3845095"/>
                </a:lnTo>
                <a:cubicBezTo>
                  <a:pt x="9947549" y="3866759"/>
                  <a:pt x="9947549" y="3902043"/>
                  <a:pt x="9969212" y="3923707"/>
                </a:cubicBezTo>
                <a:lnTo>
                  <a:pt x="10190770" y="4145787"/>
                </a:lnTo>
                <a:lnTo>
                  <a:pt x="10412328" y="3923707"/>
                </a:lnTo>
                <a:cubicBezTo>
                  <a:pt x="10433990" y="3902043"/>
                  <a:pt x="10433990" y="3866759"/>
                  <a:pt x="10412328" y="3845095"/>
                </a:cubicBezTo>
                <a:lnTo>
                  <a:pt x="10333848" y="3766487"/>
                </a:lnTo>
                <a:cubicBezTo>
                  <a:pt x="10322953" y="3755589"/>
                  <a:pt x="10308813" y="3750141"/>
                  <a:pt x="10294673" y="3750141"/>
                </a:cubicBezTo>
                <a:lnTo>
                  <a:pt x="10294543" y="3750008"/>
                </a:lnTo>
                <a:cubicBezTo>
                  <a:pt x="10280275" y="3750008"/>
                  <a:pt x="10266136" y="3755458"/>
                  <a:pt x="10255241" y="3766487"/>
                </a:cubicBezTo>
                <a:lnTo>
                  <a:pt x="10190770" y="3831087"/>
                </a:lnTo>
                <a:lnTo>
                  <a:pt x="10126171" y="3766357"/>
                </a:lnTo>
                <a:cubicBezTo>
                  <a:pt x="10115274" y="3755458"/>
                  <a:pt x="10101136" y="3750008"/>
                  <a:pt x="10086867" y="3750008"/>
                </a:cubicBezTo>
                <a:close/>
                <a:moveTo>
                  <a:pt x="8032919" y="3750008"/>
                </a:moveTo>
                <a:cubicBezTo>
                  <a:pt x="8018650" y="3750008"/>
                  <a:pt x="8004511" y="3755457"/>
                  <a:pt x="7993744" y="3766352"/>
                </a:cubicBezTo>
                <a:lnTo>
                  <a:pt x="7915266" y="3845089"/>
                </a:lnTo>
                <a:cubicBezTo>
                  <a:pt x="7893603" y="3866755"/>
                  <a:pt x="7893603" y="3902040"/>
                  <a:pt x="7915266" y="3923705"/>
                </a:cubicBezTo>
                <a:lnTo>
                  <a:pt x="8136823" y="4145784"/>
                </a:lnTo>
                <a:lnTo>
                  <a:pt x="8358382" y="3923705"/>
                </a:lnTo>
                <a:cubicBezTo>
                  <a:pt x="8380044" y="3902040"/>
                  <a:pt x="8380044" y="3866755"/>
                  <a:pt x="8358382" y="3845089"/>
                </a:cubicBezTo>
                <a:lnTo>
                  <a:pt x="8279902" y="3766483"/>
                </a:lnTo>
                <a:cubicBezTo>
                  <a:pt x="8269006" y="3755585"/>
                  <a:pt x="8254866" y="3750137"/>
                  <a:pt x="8240727" y="3750137"/>
                </a:cubicBezTo>
                <a:lnTo>
                  <a:pt x="8240596" y="3750008"/>
                </a:lnTo>
                <a:cubicBezTo>
                  <a:pt x="8226328" y="3750008"/>
                  <a:pt x="8212190" y="3755457"/>
                  <a:pt x="8201292" y="3766483"/>
                </a:cubicBezTo>
                <a:lnTo>
                  <a:pt x="8136823" y="3831082"/>
                </a:lnTo>
                <a:lnTo>
                  <a:pt x="8072224" y="3766352"/>
                </a:lnTo>
                <a:cubicBezTo>
                  <a:pt x="8061328" y="3755457"/>
                  <a:pt x="8047187" y="3750008"/>
                  <a:pt x="8032919" y="3750008"/>
                </a:cubicBezTo>
                <a:close/>
                <a:moveTo>
                  <a:pt x="5979110" y="3750004"/>
                </a:moveTo>
                <a:cubicBezTo>
                  <a:pt x="5964841" y="3750004"/>
                  <a:pt x="5950702" y="3755453"/>
                  <a:pt x="5939938" y="3766349"/>
                </a:cubicBezTo>
                <a:lnTo>
                  <a:pt x="5861462" y="3845089"/>
                </a:lnTo>
                <a:cubicBezTo>
                  <a:pt x="5839801" y="3866752"/>
                  <a:pt x="5839801" y="3902035"/>
                  <a:pt x="5861462" y="3923701"/>
                </a:cubicBezTo>
                <a:lnTo>
                  <a:pt x="6083006" y="4145783"/>
                </a:lnTo>
                <a:lnTo>
                  <a:pt x="6304562" y="3923701"/>
                </a:lnTo>
                <a:cubicBezTo>
                  <a:pt x="6326226" y="3902035"/>
                  <a:pt x="6326226" y="3866752"/>
                  <a:pt x="6304562" y="3845089"/>
                </a:cubicBezTo>
                <a:lnTo>
                  <a:pt x="6226084" y="3766481"/>
                </a:lnTo>
                <a:cubicBezTo>
                  <a:pt x="6215186" y="3755583"/>
                  <a:pt x="6201048" y="3750135"/>
                  <a:pt x="6186909" y="3750135"/>
                </a:cubicBezTo>
                <a:lnTo>
                  <a:pt x="6186779" y="3750004"/>
                </a:lnTo>
                <a:cubicBezTo>
                  <a:pt x="6172511" y="3750004"/>
                  <a:pt x="6158370" y="3755453"/>
                  <a:pt x="6147474" y="3766481"/>
                </a:cubicBezTo>
                <a:lnTo>
                  <a:pt x="6083006" y="3831082"/>
                </a:lnTo>
                <a:lnTo>
                  <a:pt x="6018412" y="3766349"/>
                </a:lnTo>
                <a:cubicBezTo>
                  <a:pt x="6007516" y="3755453"/>
                  <a:pt x="5993378" y="3750004"/>
                  <a:pt x="5979110" y="3750004"/>
                </a:cubicBezTo>
                <a:close/>
                <a:moveTo>
                  <a:pt x="3925342" y="3750002"/>
                </a:moveTo>
                <a:cubicBezTo>
                  <a:pt x="3911076" y="3750002"/>
                  <a:pt x="3896934" y="3755449"/>
                  <a:pt x="3886165" y="3766347"/>
                </a:cubicBezTo>
                <a:lnTo>
                  <a:pt x="3807684" y="3845087"/>
                </a:lnTo>
                <a:cubicBezTo>
                  <a:pt x="3786020" y="3866750"/>
                  <a:pt x="3786020" y="3902035"/>
                  <a:pt x="3807684" y="3923699"/>
                </a:cubicBezTo>
                <a:lnTo>
                  <a:pt x="4029246" y="4145781"/>
                </a:lnTo>
                <a:lnTo>
                  <a:pt x="4250768" y="3923699"/>
                </a:lnTo>
                <a:cubicBezTo>
                  <a:pt x="4272427" y="3902035"/>
                  <a:pt x="4272427" y="3866750"/>
                  <a:pt x="4250768" y="3845087"/>
                </a:cubicBezTo>
                <a:lnTo>
                  <a:pt x="4172330" y="3766475"/>
                </a:lnTo>
                <a:cubicBezTo>
                  <a:pt x="4161433" y="3755579"/>
                  <a:pt x="4147293" y="3750131"/>
                  <a:pt x="4133156" y="3750131"/>
                </a:cubicBezTo>
                <a:lnTo>
                  <a:pt x="4133025" y="3750002"/>
                </a:lnTo>
                <a:cubicBezTo>
                  <a:pt x="4118756" y="3750002"/>
                  <a:pt x="4104615" y="3755449"/>
                  <a:pt x="4093719" y="3766475"/>
                </a:cubicBezTo>
                <a:lnTo>
                  <a:pt x="4029246" y="3831078"/>
                </a:lnTo>
                <a:lnTo>
                  <a:pt x="3964648" y="3766347"/>
                </a:lnTo>
                <a:cubicBezTo>
                  <a:pt x="3953751" y="3755449"/>
                  <a:pt x="3939611" y="3750002"/>
                  <a:pt x="3925342" y="3750002"/>
                </a:cubicBezTo>
                <a:close/>
                <a:moveTo>
                  <a:pt x="1871369" y="3749999"/>
                </a:moveTo>
                <a:cubicBezTo>
                  <a:pt x="1857102" y="3749999"/>
                  <a:pt x="1842962" y="3755447"/>
                  <a:pt x="1832195" y="3766344"/>
                </a:cubicBezTo>
                <a:lnTo>
                  <a:pt x="1753717" y="3845084"/>
                </a:lnTo>
                <a:cubicBezTo>
                  <a:pt x="1732055" y="3866748"/>
                  <a:pt x="1732055" y="3902033"/>
                  <a:pt x="1753717" y="3923696"/>
                </a:cubicBezTo>
                <a:lnTo>
                  <a:pt x="1975274" y="4145780"/>
                </a:lnTo>
                <a:lnTo>
                  <a:pt x="2196839" y="3923696"/>
                </a:lnTo>
                <a:cubicBezTo>
                  <a:pt x="2218501" y="3902033"/>
                  <a:pt x="2218501" y="3866748"/>
                  <a:pt x="2196839" y="3845084"/>
                </a:cubicBezTo>
                <a:lnTo>
                  <a:pt x="2118360" y="3766474"/>
                </a:lnTo>
                <a:cubicBezTo>
                  <a:pt x="2107463" y="3755579"/>
                  <a:pt x="2093316" y="3750128"/>
                  <a:pt x="2079177" y="3750128"/>
                </a:cubicBezTo>
                <a:lnTo>
                  <a:pt x="2079047" y="3749999"/>
                </a:lnTo>
                <a:cubicBezTo>
                  <a:pt x="2064779" y="3749999"/>
                  <a:pt x="2050639" y="3755447"/>
                  <a:pt x="2039743" y="3766474"/>
                </a:cubicBezTo>
                <a:lnTo>
                  <a:pt x="1975274" y="3831075"/>
                </a:lnTo>
                <a:lnTo>
                  <a:pt x="1910674" y="3766344"/>
                </a:lnTo>
                <a:cubicBezTo>
                  <a:pt x="1899776" y="3755447"/>
                  <a:pt x="1885638" y="3749999"/>
                  <a:pt x="1871369" y="3749999"/>
                </a:cubicBezTo>
                <a:close/>
                <a:moveTo>
                  <a:pt x="0" y="3579814"/>
                </a:moveTo>
                <a:lnTo>
                  <a:pt x="255063" y="3727423"/>
                </a:lnTo>
                <a:lnTo>
                  <a:pt x="255063" y="4113605"/>
                </a:lnTo>
                <a:lnTo>
                  <a:pt x="0" y="4261215"/>
                </a:lnTo>
                <a:lnTo>
                  <a:pt x="0" y="4067025"/>
                </a:lnTo>
                <a:lnTo>
                  <a:pt x="142991" y="3923694"/>
                </a:lnTo>
                <a:cubicBezTo>
                  <a:pt x="164653" y="3902030"/>
                  <a:pt x="164653" y="3866745"/>
                  <a:pt x="142991" y="3845081"/>
                </a:cubicBezTo>
                <a:lnTo>
                  <a:pt x="64510" y="3766470"/>
                </a:lnTo>
                <a:cubicBezTo>
                  <a:pt x="53614" y="3755574"/>
                  <a:pt x="39476" y="3750125"/>
                  <a:pt x="25335" y="3750125"/>
                </a:cubicBezTo>
                <a:lnTo>
                  <a:pt x="25207" y="3749995"/>
                </a:lnTo>
                <a:cubicBezTo>
                  <a:pt x="18073" y="3749995"/>
                  <a:pt x="10971" y="3751358"/>
                  <a:pt x="4290" y="3754099"/>
                </a:cubicBezTo>
                <a:lnTo>
                  <a:pt x="0" y="3756985"/>
                </a:lnTo>
                <a:close/>
                <a:moveTo>
                  <a:pt x="12188651" y="3566587"/>
                </a:moveTo>
                <a:lnTo>
                  <a:pt x="12188651" y="3775035"/>
                </a:lnTo>
                <a:lnTo>
                  <a:pt x="12179990" y="3766359"/>
                </a:lnTo>
                <a:cubicBezTo>
                  <a:pt x="12169092" y="3755462"/>
                  <a:pt x="12154954" y="3750016"/>
                  <a:pt x="12140685" y="3750016"/>
                </a:cubicBezTo>
                <a:cubicBezTo>
                  <a:pt x="12126416" y="3750016"/>
                  <a:pt x="12112276" y="3755462"/>
                  <a:pt x="12101510" y="3766359"/>
                </a:cubicBezTo>
                <a:lnTo>
                  <a:pt x="12023031" y="3845097"/>
                </a:lnTo>
                <a:cubicBezTo>
                  <a:pt x="12001368" y="3866762"/>
                  <a:pt x="12001368" y="3902046"/>
                  <a:pt x="12023031" y="3923710"/>
                </a:cubicBezTo>
                <a:lnTo>
                  <a:pt x="12188651" y="4089721"/>
                </a:lnTo>
                <a:lnTo>
                  <a:pt x="12188651" y="4274463"/>
                </a:lnTo>
                <a:lnTo>
                  <a:pt x="11910696" y="4113620"/>
                </a:lnTo>
                <a:lnTo>
                  <a:pt x="11910696" y="3727442"/>
                </a:lnTo>
                <a:close/>
                <a:moveTo>
                  <a:pt x="10883981" y="3539477"/>
                </a:moveTo>
                <a:lnTo>
                  <a:pt x="11209441" y="3727831"/>
                </a:lnTo>
                <a:lnTo>
                  <a:pt x="11209441" y="4104668"/>
                </a:lnTo>
                <a:lnTo>
                  <a:pt x="10883981" y="3916314"/>
                </a:lnTo>
                <a:close/>
                <a:moveTo>
                  <a:pt x="10867636" y="3539477"/>
                </a:moveTo>
                <a:lnTo>
                  <a:pt x="10867636" y="3916314"/>
                </a:lnTo>
                <a:lnTo>
                  <a:pt x="10542045" y="4104668"/>
                </a:lnTo>
                <a:lnTo>
                  <a:pt x="10542045" y="3727833"/>
                </a:lnTo>
                <a:close/>
                <a:moveTo>
                  <a:pt x="8830033" y="3539477"/>
                </a:moveTo>
                <a:lnTo>
                  <a:pt x="9155493" y="3727828"/>
                </a:lnTo>
                <a:lnTo>
                  <a:pt x="9155493" y="4104664"/>
                </a:lnTo>
                <a:lnTo>
                  <a:pt x="8830033" y="3916306"/>
                </a:lnTo>
                <a:close/>
                <a:moveTo>
                  <a:pt x="8813688" y="3539477"/>
                </a:moveTo>
                <a:lnTo>
                  <a:pt x="8813688" y="3916308"/>
                </a:lnTo>
                <a:lnTo>
                  <a:pt x="8488098" y="4104664"/>
                </a:lnTo>
                <a:lnTo>
                  <a:pt x="8488098" y="3727827"/>
                </a:lnTo>
                <a:close/>
                <a:moveTo>
                  <a:pt x="2652143" y="3539477"/>
                </a:moveTo>
                <a:lnTo>
                  <a:pt x="2652143" y="3916302"/>
                </a:lnTo>
                <a:lnTo>
                  <a:pt x="2326584" y="4104641"/>
                </a:lnTo>
                <a:lnTo>
                  <a:pt x="2326584" y="3727818"/>
                </a:lnTo>
                <a:close/>
                <a:moveTo>
                  <a:pt x="2668516" y="3539475"/>
                </a:moveTo>
                <a:lnTo>
                  <a:pt x="2993952" y="3727816"/>
                </a:lnTo>
                <a:lnTo>
                  <a:pt x="2993952" y="4104644"/>
                </a:lnTo>
                <a:lnTo>
                  <a:pt x="2668516" y="3916304"/>
                </a:lnTo>
                <a:close/>
                <a:moveTo>
                  <a:pt x="598168" y="3539475"/>
                </a:moveTo>
                <a:lnTo>
                  <a:pt x="598168" y="3916299"/>
                </a:lnTo>
                <a:lnTo>
                  <a:pt x="272605" y="4104641"/>
                </a:lnTo>
                <a:lnTo>
                  <a:pt x="272605" y="3727815"/>
                </a:lnTo>
                <a:close/>
                <a:moveTo>
                  <a:pt x="614540" y="3539473"/>
                </a:moveTo>
                <a:lnTo>
                  <a:pt x="939973" y="3727812"/>
                </a:lnTo>
                <a:lnTo>
                  <a:pt x="939973" y="4104643"/>
                </a:lnTo>
                <a:lnTo>
                  <a:pt x="614540" y="3916301"/>
                </a:lnTo>
                <a:close/>
                <a:moveTo>
                  <a:pt x="6776215" y="3539471"/>
                </a:moveTo>
                <a:lnTo>
                  <a:pt x="7101677" y="3727826"/>
                </a:lnTo>
                <a:lnTo>
                  <a:pt x="7101677" y="4104661"/>
                </a:lnTo>
                <a:lnTo>
                  <a:pt x="6776215" y="3916305"/>
                </a:lnTo>
                <a:close/>
                <a:moveTo>
                  <a:pt x="6759871" y="3539471"/>
                </a:moveTo>
                <a:lnTo>
                  <a:pt x="6759871" y="3916305"/>
                </a:lnTo>
                <a:lnTo>
                  <a:pt x="6434280" y="4104661"/>
                </a:lnTo>
                <a:lnTo>
                  <a:pt x="6434280" y="3727826"/>
                </a:lnTo>
                <a:close/>
                <a:moveTo>
                  <a:pt x="4722303" y="3539471"/>
                </a:moveTo>
                <a:lnTo>
                  <a:pt x="5047768" y="3727818"/>
                </a:lnTo>
                <a:lnTo>
                  <a:pt x="5047768" y="4104649"/>
                </a:lnTo>
                <a:lnTo>
                  <a:pt x="4722303" y="3916305"/>
                </a:lnTo>
                <a:close/>
                <a:moveTo>
                  <a:pt x="4705942" y="3539471"/>
                </a:moveTo>
                <a:lnTo>
                  <a:pt x="4705942" y="3916304"/>
                </a:lnTo>
                <a:lnTo>
                  <a:pt x="4380369" y="4104654"/>
                </a:lnTo>
                <a:lnTo>
                  <a:pt x="4380369" y="3727821"/>
                </a:lnTo>
                <a:close/>
                <a:moveTo>
                  <a:pt x="11559549" y="3534681"/>
                </a:moveTo>
                <a:lnTo>
                  <a:pt x="11893312" y="3727831"/>
                </a:lnTo>
                <a:lnTo>
                  <a:pt x="11893312" y="4114138"/>
                </a:lnTo>
                <a:lnTo>
                  <a:pt x="11559679" y="4307278"/>
                </a:lnTo>
                <a:lnTo>
                  <a:pt x="11486870" y="4265143"/>
                </a:lnTo>
                <a:lnTo>
                  <a:pt x="11225916" y="4114138"/>
                </a:lnTo>
                <a:lnTo>
                  <a:pt x="11225916" y="3727833"/>
                </a:lnTo>
                <a:close/>
                <a:moveTo>
                  <a:pt x="9505601" y="3534677"/>
                </a:moveTo>
                <a:lnTo>
                  <a:pt x="9839364" y="3727828"/>
                </a:lnTo>
                <a:lnTo>
                  <a:pt x="9839364" y="4114135"/>
                </a:lnTo>
                <a:lnTo>
                  <a:pt x="9578839" y="4264954"/>
                </a:lnTo>
                <a:lnTo>
                  <a:pt x="9505732" y="4307278"/>
                </a:lnTo>
                <a:lnTo>
                  <a:pt x="9171969" y="4114135"/>
                </a:lnTo>
                <a:lnTo>
                  <a:pt x="9171969" y="3727827"/>
                </a:lnTo>
                <a:close/>
                <a:moveTo>
                  <a:pt x="7451785" y="3534670"/>
                </a:moveTo>
                <a:lnTo>
                  <a:pt x="7785548" y="3727826"/>
                </a:lnTo>
                <a:lnTo>
                  <a:pt x="7785548" y="4114131"/>
                </a:lnTo>
                <a:lnTo>
                  <a:pt x="7451915" y="4307279"/>
                </a:lnTo>
                <a:lnTo>
                  <a:pt x="7118150" y="4114131"/>
                </a:lnTo>
                <a:lnTo>
                  <a:pt x="7118150" y="3727826"/>
                </a:lnTo>
                <a:close/>
                <a:moveTo>
                  <a:pt x="5397881" y="3534670"/>
                </a:moveTo>
                <a:lnTo>
                  <a:pt x="5731616" y="3727818"/>
                </a:lnTo>
                <a:lnTo>
                  <a:pt x="5731616" y="4114128"/>
                </a:lnTo>
                <a:lnTo>
                  <a:pt x="5597792" y="4191609"/>
                </a:lnTo>
                <a:lnTo>
                  <a:pt x="5398006" y="4307274"/>
                </a:lnTo>
                <a:lnTo>
                  <a:pt x="5064269" y="4114131"/>
                </a:lnTo>
                <a:lnTo>
                  <a:pt x="5064269" y="3727821"/>
                </a:lnTo>
                <a:close/>
                <a:moveTo>
                  <a:pt x="3344073" y="3534670"/>
                </a:moveTo>
                <a:lnTo>
                  <a:pt x="3677818" y="3727816"/>
                </a:lnTo>
                <a:lnTo>
                  <a:pt x="3677818" y="4114128"/>
                </a:lnTo>
                <a:lnTo>
                  <a:pt x="3344203" y="4307271"/>
                </a:lnTo>
                <a:lnTo>
                  <a:pt x="3010455" y="4114128"/>
                </a:lnTo>
                <a:lnTo>
                  <a:pt x="3010455" y="3727818"/>
                </a:lnTo>
                <a:close/>
                <a:moveTo>
                  <a:pt x="1290097" y="3534667"/>
                </a:moveTo>
                <a:lnTo>
                  <a:pt x="1623844" y="3727812"/>
                </a:lnTo>
                <a:lnTo>
                  <a:pt x="1623844" y="4114126"/>
                </a:lnTo>
                <a:lnTo>
                  <a:pt x="1290224" y="4307272"/>
                </a:lnTo>
                <a:lnTo>
                  <a:pt x="956474" y="4114128"/>
                </a:lnTo>
                <a:lnTo>
                  <a:pt x="956474" y="3727815"/>
                </a:lnTo>
                <a:close/>
                <a:moveTo>
                  <a:pt x="10190640" y="3534287"/>
                </a:moveTo>
                <a:lnTo>
                  <a:pt x="10524404" y="3727441"/>
                </a:lnTo>
                <a:lnTo>
                  <a:pt x="10524404" y="4113620"/>
                </a:lnTo>
                <a:lnTo>
                  <a:pt x="10190640" y="4306761"/>
                </a:lnTo>
                <a:lnTo>
                  <a:pt x="9856876" y="4113620"/>
                </a:lnTo>
                <a:lnTo>
                  <a:pt x="9856876" y="3727441"/>
                </a:lnTo>
                <a:close/>
                <a:moveTo>
                  <a:pt x="8136693" y="3534283"/>
                </a:moveTo>
                <a:lnTo>
                  <a:pt x="8470456" y="3727435"/>
                </a:lnTo>
                <a:lnTo>
                  <a:pt x="8470456" y="4113615"/>
                </a:lnTo>
                <a:lnTo>
                  <a:pt x="8136693" y="4306761"/>
                </a:lnTo>
                <a:lnTo>
                  <a:pt x="7802930" y="4113615"/>
                </a:lnTo>
                <a:lnTo>
                  <a:pt x="7802930" y="3727435"/>
                </a:lnTo>
                <a:close/>
                <a:moveTo>
                  <a:pt x="6082876" y="3534281"/>
                </a:moveTo>
                <a:lnTo>
                  <a:pt x="6416638" y="3727432"/>
                </a:lnTo>
                <a:lnTo>
                  <a:pt x="6416638" y="4113613"/>
                </a:lnTo>
                <a:lnTo>
                  <a:pt x="6082876" y="4306761"/>
                </a:lnTo>
                <a:lnTo>
                  <a:pt x="5749138" y="4113613"/>
                </a:lnTo>
                <a:lnTo>
                  <a:pt x="5749138" y="3727432"/>
                </a:lnTo>
                <a:close/>
                <a:moveTo>
                  <a:pt x="4029115" y="3534279"/>
                </a:moveTo>
                <a:lnTo>
                  <a:pt x="4362838" y="3727431"/>
                </a:lnTo>
                <a:lnTo>
                  <a:pt x="4362838" y="4113612"/>
                </a:lnTo>
                <a:lnTo>
                  <a:pt x="4029115" y="4306759"/>
                </a:lnTo>
                <a:lnTo>
                  <a:pt x="3695360" y="4113612"/>
                </a:lnTo>
                <a:lnTo>
                  <a:pt x="3695360" y="3727431"/>
                </a:lnTo>
                <a:close/>
                <a:moveTo>
                  <a:pt x="1975142" y="3534274"/>
                </a:moveTo>
                <a:lnTo>
                  <a:pt x="2308909" y="3727426"/>
                </a:lnTo>
                <a:lnTo>
                  <a:pt x="2308909" y="4113608"/>
                </a:lnTo>
                <a:lnTo>
                  <a:pt x="1975142" y="4306759"/>
                </a:lnTo>
                <a:lnTo>
                  <a:pt x="1641383" y="4113608"/>
                </a:lnTo>
                <a:lnTo>
                  <a:pt x="1641383" y="3727426"/>
                </a:lnTo>
                <a:close/>
                <a:moveTo>
                  <a:pt x="11902654" y="3336497"/>
                </a:moveTo>
                <a:lnTo>
                  <a:pt x="12182429" y="3498382"/>
                </a:lnTo>
                <a:lnTo>
                  <a:pt x="12188651" y="3501984"/>
                </a:lnTo>
                <a:lnTo>
                  <a:pt x="12188651" y="3547650"/>
                </a:lnTo>
                <a:lnTo>
                  <a:pt x="11902524" y="3713173"/>
                </a:lnTo>
                <a:lnTo>
                  <a:pt x="11577061" y="3524820"/>
                </a:lnTo>
                <a:close/>
                <a:moveTo>
                  <a:pt x="9848833" y="3336489"/>
                </a:moveTo>
                <a:lnTo>
                  <a:pt x="10174296" y="3524818"/>
                </a:lnTo>
                <a:lnTo>
                  <a:pt x="9848703" y="3713171"/>
                </a:lnTo>
                <a:lnTo>
                  <a:pt x="9523242" y="3524818"/>
                </a:lnTo>
                <a:close/>
                <a:moveTo>
                  <a:pt x="7794888" y="3336477"/>
                </a:moveTo>
                <a:lnTo>
                  <a:pt x="8120348" y="3524813"/>
                </a:lnTo>
                <a:lnTo>
                  <a:pt x="7794758" y="3713167"/>
                </a:lnTo>
                <a:lnTo>
                  <a:pt x="7469297" y="3524813"/>
                </a:lnTo>
                <a:close/>
                <a:moveTo>
                  <a:pt x="5741092" y="3336470"/>
                </a:moveTo>
                <a:lnTo>
                  <a:pt x="6066533" y="3524807"/>
                </a:lnTo>
                <a:lnTo>
                  <a:pt x="5740963" y="3713162"/>
                </a:lnTo>
                <a:lnTo>
                  <a:pt x="5415520" y="3524807"/>
                </a:lnTo>
                <a:close/>
                <a:moveTo>
                  <a:pt x="3687317" y="3336464"/>
                </a:moveTo>
                <a:lnTo>
                  <a:pt x="4012771" y="3524805"/>
                </a:lnTo>
                <a:lnTo>
                  <a:pt x="3687184" y="3713158"/>
                </a:lnTo>
                <a:lnTo>
                  <a:pt x="3361732" y="3524805"/>
                </a:lnTo>
                <a:close/>
                <a:moveTo>
                  <a:pt x="1633340" y="3336454"/>
                </a:moveTo>
                <a:lnTo>
                  <a:pt x="1958796" y="3524804"/>
                </a:lnTo>
                <a:lnTo>
                  <a:pt x="1633208" y="3713156"/>
                </a:lnTo>
                <a:lnTo>
                  <a:pt x="1307751" y="3524804"/>
                </a:lnTo>
                <a:close/>
                <a:moveTo>
                  <a:pt x="11113840" y="3172539"/>
                </a:moveTo>
                <a:cubicBezTo>
                  <a:pt x="11124348" y="3172539"/>
                  <a:pt x="11134206" y="3176691"/>
                  <a:pt x="11141600" y="3184087"/>
                </a:cubicBezTo>
                <a:lnTo>
                  <a:pt x="11206199" y="3248805"/>
                </a:lnTo>
                <a:lnTo>
                  <a:pt x="11217744" y="3260492"/>
                </a:lnTo>
                <a:lnTo>
                  <a:pt x="11229289" y="3248805"/>
                </a:lnTo>
                <a:lnTo>
                  <a:pt x="11293758" y="3184087"/>
                </a:lnTo>
                <a:cubicBezTo>
                  <a:pt x="11301152" y="3176564"/>
                  <a:pt x="11311011" y="3172539"/>
                  <a:pt x="11321517" y="3172539"/>
                </a:cubicBezTo>
                <a:cubicBezTo>
                  <a:pt x="11331896" y="3172539"/>
                  <a:pt x="11341755" y="3176691"/>
                  <a:pt x="11349147" y="3184087"/>
                </a:cubicBezTo>
                <a:lnTo>
                  <a:pt x="11427627" y="3262689"/>
                </a:lnTo>
                <a:lnTo>
                  <a:pt x="11439170" y="3290444"/>
                </a:lnTo>
                <a:lnTo>
                  <a:pt x="11427757" y="3318199"/>
                </a:lnTo>
                <a:lnTo>
                  <a:pt x="11217744" y="3528579"/>
                </a:lnTo>
                <a:lnTo>
                  <a:pt x="11007731" y="3318199"/>
                </a:lnTo>
                <a:lnTo>
                  <a:pt x="10996253" y="3290463"/>
                </a:lnTo>
                <a:lnTo>
                  <a:pt x="11007731" y="3262819"/>
                </a:lnTo>
                <a:lnTo>
                  <a:pt x="11086210" y="3184087"/>
                </a:lnTo>
                <a:cubicBezTo>
                  <a:pt x="11093605" y="3176691"/>
                  <a:pt x="11103333" y="3172539"/>
                  <a:pt x="11113840" y="3172539"/>
                </a:cubicBezTo>
                <a:close/>
                <a:moveTo>
                  <a:pt x="9059892" y="3172530"/>
                </a:moveTo>
                <a:cubicBezTo>
                  <a:pt x="9070398" y="3172530"/>
                  <a:pt x="9080257" y="3176675"/>
                  <a:pt x="9087652" y="3184077"/>
                </a:cubicBezTo>
                <a:lnTo>
                  <a:pt x="9152251" y="3248800"/>
                </a:lnTo>
                <a:lnTo>
                  <a:pt x="9163796" y="3260473"/>
                </a:lnTo>
                <a:lnTo>
                  <a:pt x="9175341" y="3248800"/>
                </a:lnTo>
                <a:lnTo>
                  <a:pt x="9239810" y="3184077"/>
                </a:lnTo>
                <a:cubicBezTo>
                  <a:pt x="9247204" y="3176551"/>
                  <a:pt x="9257062" y="3172530"/>
                  <a:pt x="9267570" y="3172530"/>
                </a:cubicBezTo>
                <a:cubicBezTo>
                  <a:pt x="9277946" y="3172530"/>
                  <a:pt x="9287805" y="3176675"/>
                  <a:pt x="9295200" y="3184077"/>
                </a:cubicBezTo>
                <a:lnTo>
                  <a:pt x="9373678" y="3262679"/>
                </a:lnTo>
                <a:lnTo>
                  <a:pt x="9385222" y="3290436"/>
                </a:lnTo>
                <a:lnTo>
                  <a:pt x="9373809" y="3318189"/>
                </a:lnTo>
                <a:lnTo>
                  <a:pt x="9163797" y="3528578"/>
                </a:lnTo>
                <a:lnTo>
                  <a:pt x="8953784" y="3318189"/>
                </a:lnTo>
                <a:lnTo>
                  <a:pt x="8942306" y="3290451"/>
                </a:lnTo>
                <a:lnTo>
                  <a:pt x="8953783" y="3262809"/>
                </a:lnTo>
                <a:lnTo>
                  <a:pt x="9032263" y="3184077"/>
                </a:lnTo>
                <a:cubicBezTo>
                  <a:pt x="9039655" y="3176675"/>
                  <a:pt x="9049385" y="3172530"/>
                  <a:pt x="9059892" y="3172530"/>
                </a:cubicBezTo>
                <a:close/>
                <a:moveTo>
                  <a:pt x="7006076" y="3172517"/>
                </a:moveTo>
                <a:cubicBezTo>
                  <a:pt x="7016582" y="3172517"/>
                  <a:pt x="7026440" y="3176668"/>
                  <a:pt x="7033834" y="3184064"/>
                </a:cubicBezTo>
                <a:lnTo>
                  <a:pt x="7098434" y="3248792"/>
                </a:lnTo>
                <a:lnTo>
                  <a:pt x="7109978" y="3260467"/>
                </a:lnTo>
                <a:lnTo>
                  <a:pt x="7121523" y="3248792"/>
                </a:lnTo>
                <a:lnTo>
                  <a:pt x="7185994" y="3184064"/>
                </a:lnTo>
                <a:cubicBezTo>
                  <a:pt x="7193387" y="3176541"/>
                  <a:pt x="7203245" y="3172517"/>
                  <a:pt x="7213751" y="3172517"/>
                </a:cubicBezTo>
                <a:cubicBezTo>
                  <a:pt x="7224130" y="3172517"/>
                  <a:pt x="7233989" y="3176668"/>
                  <a:pt x="7241381" y="3184064"/>
                </a:cubicBezTo>
                <a:lnTo>
                  <a:pt x="7319862" y="3262673"/>
                </a:lnTo>
                <a:lnTo>
                  <a:pt x="7331405" y="3290428"/>
                </a:lnTo>
                <a:lnTo>
                  <a:pt x="7319992" y="3318178"/>
                </a:lnTo>
                <a:lnTo>
                  <a:pt x="7109978" y="3528572"/>
                </a:lnTo>
                <a:lnTo>
                  <a:pt x="6899966" y="3318178"/>
                </a:lnTo>
                <a:lnTo>
                  <a:pt x="6888487" y="3290444"/>
                </a:lnTo>
                <a:lnTo>
                  <a:pt x="6899966" y="3262798"/>
                </a:lnTo>
                <a:lnTo>
                  <a:pt x="6978446" y="3184064"/>
                </a:lnTo>
                <a:cubicBezTo>
                  <a:pt x="6985839" y="3176668"/>
                  <a:pt x="6995568" y="3172517"/>
                  <a:pt x="7006076" y="3172517"/>
                </a:cubicBezTo>
                <a:close/>
                <a:moveTo>
                  <a:pt x="4952157" y="3172509"/>
                </a:moveTo>
                <a:lnTo>
                  <a:pt x="4979924" y="3184048"/>
                </a:lnTo>
                <a:lnTo>
                  <a:pt x="5044521" y="3248772"/>
                </a:lnTo>
                <a:lnTo>
                  <a:pt x="5056083" y="3260446"/>
                </a:lnTo>
                <a:lnTo>
                  <a:pt x="5056083" y="3260442"/>
                </a:lnTo>
                <a:lnTo>
                  <a:pt x="5056087" y="3260455"/>
                </a:lnTo>
                <a:lnTo>
                  <a:pt x="5067642" y="3248781"/>
                </a:lnTo>
                <a:lnTo>
                  <a:pt x="5132091" y="3184051"/>
                </a:lnTo>
                <a:cubicBezTo>
                  <a:pt x="5139483" y="3176531"/>
                  <a:pt x="5149330" y="3172509"/>
                  <a:pt x="5159840" y="3172509"/>
                </a:cubicBezTo>
                <a:lnTo>
                  <a:pt x="5187473" y="3184048"/>
                </a:lnTo>
                <a:lnTo>
                  <a:pt x="5265932" y="3262652"/>
                </a:lnTo>
                <a:cubicBezTo>
                  <a:pt x="5273339" y="3270045"/>
                  <a:pt x="5277344" y="3279904"/>
                  <a:pt x="5277479" y="3290410"/>
                </a:cubicBezTo>
                <a:cubicBezTo>
                  <a:pt x="5277479" y="3300919"/>
                  <a:pt x="5273469" y="3310778"/>
                  <a:pt x="5266071" y="3318172"/>
                </a:cubicBezTo>
                <a:lnTo>
                  <a:pt x="5056083" y="3528560"/>
                </a:lnTo>
                <a:lnTo>
                  <a:pt x="4855197" y="3327353"/>
                </a:lnTo>
                <a:lnTo>
                  <a:pt x="4846044" y="3318176"/>
                </a:lnTo>
                <a:lnTo>
                  <a:pt x="4834566" y="3290436"/>
                </a:lnTo>
                <a:cubicBezTo>
                  <a:pt x="4834566" y="3280402"/>
                  <a:pt x="4838398" y="3270380"/>
                  <a:pt x="4846044" y="3262790"/>
                </a:cubicBezTo>
                <a:lnTo>
                  <a:pt x="4924518" y="3184051"/>
                </a:lnTo>
                <a:cubicBezTo>
                  <a:pt x="4931913" y="3176664"/>
                  <a:pt x="4941650" y="3172509"/>
                  <a:pt x="4952157" y="3172509"/>
                </a:cubicBezTo>
                <a:close/>
                <a:moveTo>
                  <a:pt x="2898373" y="3172493"/>
                </a:moveTo>
                <a:lnTo>
                  <a:pt x="2914891" y="3179366"/>
                </a:lnTo>
                <a:lnTo>
                  <a:pt x="2926113" y="3184033"/>
                </a:lnTo>
                <a:lnTo>
                  <a:pt x="2990711" y="3248759"/>
                </a:lnTo>
                <a:lnTo>
                  <a:pt x="3002256" y="3260436"/>
                </a:lnTo>
                <a:lnTo>
                  <a:pt x="3002263" y="3260428"/>
                </a:lnTo>
                <a:lnTo>
                  <a:pt x="3002278" y="3260446"/>
                </a:lnTo>
                <a:lnTo>
                  <a:pt x="3013824" y="3248772"/>
                </a:lnTo>
                <a:lnTo>
                  <a:pt x="3078289" y="3184044"/>
                </a:lnTo>
                <a:lnTo>
                  <a:pt x="3106051" y="3172493"/>
                </a:lnTo>
                <a:lnTo>
                  <a:pt x="3119341" y="3178052"/>
                </a:lnTo>
                <a:lnTo>
                  <a:pt x="3133663" y="3184033"/>
                </a:lnTo>
                <a:lnTo>
                  <a:pt x="3212138" y="3262641"/>
                </a:lnTo>
                <a:cubicBezTo>
                  <a:pt x="3219533" y="3270034"/>
                  <a:pt x="3223554" y="3279898"/>
                  <a:pt x="3223683" y="3290403"/>
                </a:cubicBezTo>
                <a:cubicBezTo>
                  <a:pt x="3223683" y="3300910"/>
                  <a:pt x="3219662" y="3310767"/>
                  <a:pt x="3212269" y="3318161"/>
                </a:cubicBezTo>
                <a:lnTo>
                  <a:pt x="3002266" y="3528555"/>
                </a:lnTo>
                <a:lnTo>
                  <a:pt x="2792268" y="3318172"/>
                </a:lnTo>
                <a:cubicBezTo>
                  <a:pt x="2776958" y="3302864"/>
                  <a:pt x="2776958" y="3277957"/>
                  <a:pt x="2792268" y="3262780"/>
                </a:cubicBezTo>
                <a:lnTo>
                  <a:pt x="2870745" y="3184044"/>
                </a:lnTo>
                <a:close/>
                <a:moveTo>
                  <a:pt x="844397" y="3172485"/>
                </a:moveTo>
                <a:lnTo>
                  <a:pt x="872137" y="3184024"/>
                </a:lnTo>
                <a:lnTo>
                  <a:pt x="936732" y="3248751"/>
                </a:lnTo>
                <a:lnTo>
                  <a:pt x="948278" y="3260428"/>
                </a:lnTo>
                <a:lnTo>
                  <a:pt x="948285" y="3260419"/>
                </a:lnTo>
                <a:lnTo>
                  <a:pt x="948301" y="3260436"/>
                </a:lnTo>
                <a:lnTo>
                  <a:pt x="959846" y="3248759"/>
                </a:lnTo>
                <a:lnTo>
                  <a:pt x="1024315" y="3184033"/>
                </a:lnTo>
                <a:cubicBezTo>
                  <a:pt x="1031711" y="3176508"/>
                  <a:pt x="1041568" y="3172485"/>
                  <a:pt x="1052075" y="3172485"/>
                </a:cubicBezTo>
                <a:lnTo>
                  <a:pt x="1079685" y="3184025"/>
                </a:lnTo>
                <a:lnTo>
                  <a:pt x="1158160" y="3262631"/>
                </a:lnTo>
                <a:cubicBezTo>
                  <a:pt x="1165555" y="3270025"/>
                  <a:pt x="1169576" y="3279886"/>
                  <a:pt x="1169705" y="3290391"/>
                </a:cubicBezTo>
                <a:cubicBezTo>
                  <a:pt x="1169705" y="3300901"/>
                  <a:pt x="1165685" y="3310758"/>
                  <a:pt x="1158290" y="3318153"/>
                </a:cubicBezTo>
                <a:lnTo>
                  <a:pt x="948288" y="3528552"/>
                </a:lnTo>
                <a:lnTo>
                  <a:pt x="738289" y="3318161"/>
                </a:lnTo>
                <a:cubicBezTo>
                  <a:pt x="722982" y="3302855"/>
                  <a:pt x="722982" y="3277949"/>
                  <a:pt x="738289" y="3262772"/>
                </a:cubicBezTo>
                <a:lnTo>
                  <a:pt x="816766" y="3184033"/>
                </a:lnTo>
                <a:cubicBezTo>
                  <a:pt x="824162" y="3176637"/>
                  <a:pt x="833889" y="3172485"/>
                  <a:pt x="844397" y="3172485"/>
                </a:cubicBezTo>
                <a:close/>
                <a:moveTo>
                  <a:pt x="11113840" y="3156060"/>
                </a:moveTo>
                <a:cubicBezTo>
                  <a:pt x="11099571" y="3156060"/>
                  <a:pt x="11085432" y="3161497"/>
                  <a:pt x="11074665" y="3172394"/>
                </a:cubicBezTo>
                <a:lnTo>
                  <a:pt x="10996186" y="3251138"/>
                </a:lnTo>
                <a:cubicBezTo>
                  <a:pt x="10985355" y="3261969"/>
                  <a:pt x="10979939" y="3276205"/>
                  <a:pt x="10979939" y="3290444"/>
                </a:cubicBezTo>
                <a:lnTo>
                  <a:pt x="10979941" y="3290444"/>
                </a:lnTo>
                <a:lnTo>
                  <a:pt x="10979939" y="3290449"/>
                </a:lnTo>
                <a:cubicBezTo>
                  <a:pt x="10979939" y="3304690"/>
                  <a:pt x="10985355" y="3318921"/>
                  <a:pt x="10996186" y="3329751"/>
                </a:cubicBezTo>
                <a:lnTo>
                  <a:pt x="11217744" y="3551803"/>
                </a:lnTo>
                <a:lnTo>
                  <a:pt x="11439301" y="3329751"/>
                </a:lnTo>
                <a:cubicBezTo>
                  <a:pt x="11450132" y="3318921"/>
                  <a:pt x="11455548" y="3304690"/>
                  <a:pt x="11455548" y="3290449"/>
                </a:cubicBezTo>
                <a:lnTo>
                  <a:pt x="11455546" y="3290444"/>
                </a:lnTo>
                <a:lnTo>
                  <a:pt x="11455548" y="3290444"/>
                </a:lnTo>
                <a:cubicBezTo>
                  <a:pt x="11455548" y="3276205"/>
                  <a:pt x="11450132" y="3261969"/>
                  <a:pt x="11439301" y="3251138"/>
                </a:cubicBezTo>
                <a:lnTo>
                  <a:pt x="11360822" y="3172530"/>
                </a:lnTo>
                <a:cubicBezTo>
                  <a:pt x="11349927" y="3161632"/>
                  <a:pt x="11335787" y="3156189"/>
                  <a:pt x="11321647" y="3156189"/>
                </a:cubicBezTo>
                <a:lnTo>
                  <a:pt x="11321517" y="3156060"/>
                </a:lnTo>
                <a:cubicBezTo>
                  <a:pt x="11307249" y="3156060"/>
                  <a:pt x="11293110" y="3161497"/>
                  <a:pt x="11282213" y="3172530"/>
                </a:cubicBezTo>
                <a:lnTo>
                  <a:pt x="11217744" y="3237128"/>
                </a:lnTo>
                <a:lnTo>
                  <a:pt x="11153145" y="3172394"/>
                </a:lnTo>
                <a:cubicBezTo>
                  <a:pt x="11142248" y="3161497"/>
                  <a:pt x="11128108" y="3156060"/>
                  <a:pt x="11113840" y="3156060"/>
                </a:cubicBezTo>
                <a:close/>
                <a:moveTo>
                  <a:pt x="9059893" y="3156047"/>
                </a:moveTo>
                <a:cubicBezTo>
                  <a:pt x="9045624" y="3156047"/>
                  <a:pt x="9031484" y="3161489"/>
                  <a:pt x="9020718" y="3172391"/>
                </a:cubicBezTo>
                <a:lnTo>
                  <a:pt x="8942239" y="3251125"/>
                </a:lnTo>
                <a:cubicBezTo>
                  <a:pt x="8931408" y="3261956"/>
                  <a:pt x="8925992" y="3276194"/>
                  <a:pt x="8925992" y="3290430"/>
                </a:cubicBezTo>
                <a:lnTo>
                  <a:pt x="8925993" y="3290435"/>
                </a:lnTo>
                <a:lnTo>
                  <a:pt x="8925991" y="3290444"/>
                </a:lnTo>
                <a:cubicBezTo>
                  <a:pt x="8925991" y="3304677"/>
                  <a:pt x="8931406" y="3318916"/>
                  <a:pt x="8942238" y="3329746"/>
                </a:cubicBezTo>
                <a:lnTo>
                  <a:pt x="9163796" y="3551798"/>
                </a:lnTo>
                <a:lnTo>
                  <a:pt x="9385353" y="3329746"/>
                </a:lnTo>
                <a:cubicBezTo>
                  <a:pt x="9396184" y="3318916"/>
                  <a:pt x="9401600" y="3304677"/>
                  <a:pt x="9401600" y="3290444"/>
                </a:cubicBezTo>
                <a:lnTo>
                  <a:pt x="9401599" y="3290436"/>
                </a:lnTo>
                <a:lnTo>
                  <a:pt x="9401601" y="3290430"/>
                </a:lnTo>
                <a:cubicBezTo>
                  <a:pt x="9401601" y="3276194"/>
                  <a:pt x="9396186" y="3261956"/>
                  <a:pt x="9385354" y="3251125"/>
                </a:cubicBezTo>
                <a:lnTo>
                  <a:pt x="9306876" y="3172523"/>
                </a:lnTo>
                <a:cubicBezTo>
                  <a:pt x="9295978" y="3161619"/>
                  <a:pt x="9281840" y="3156175"/>
                  <a:pt x="9267701" y="3156175"/>
                </a:cubicBezTo>
                <a:lnTo>
                  <a:pt x="9267571" y="3156047"/>
                </a:lnTo>
                <a:cubicBezTo>
                  <a:pt x="9253303" y="3156047"/>
                  <a:pt x="9239162" y="3161489"/>
                  <a:pt x="9228266" y="3172523"/>
                </a:cubicBezTo>
                <a:lnTo>
                  <a:pt x="9163797" y="3237116"/>
                </a:lnTo>
                <a:lnTo>
                  <a:pt x="9099198" y="3172391"/>
                </a:lnTo>
                <a:cubicBezTo>
                  <a:pt x="9088300" y="3161489"/>
                  <a:pt x="9074162" y="3156047"/>
                  <a:pt x="9059893" y="3156047"/>
                </a:cubicBezTo>
                <a:close/>
                <a:moveTo>
                  <a:pt x="7006076" y="3156035"/>
                </a:moveTo>
                <a:cubicBezTo>
                  <a:pt x="6991805" y="3156035"/>
                  <a:pt x="6977666" y="3161479"/>
                  <a:pt x="6966901" y="3172384"/>
                </a:cubicBezTo>
                <a:lnTo>
                  <a:pt x="6888421" y="3251119"/>
                </a:lnTo>
                <a:cubicBezTo>
                  <a:pt x="6877589" y="3261948"/>
                  <a:pt x="6872174" y="3276185"/>
                  <a:pt x="6872174" y="3290423"/>
                </a:cubicBezTo>
                <a:lnTo>
                  <a:pt x="6872175" y="3290428"/>
                </a:lnTo>
                <a:lnTo>
                  <a:pt x="6872174" y="3290430"/>
                </a:lnTo>
                <a:cubicBezTo>
                  <a:pt x="6872174" y="3304668"/>
                  <a:pt x="6877589" y="3318903"/>
                  <a:pt x="6888421" y="3329734"/>
                </a:cubicBezTo>
                <a:lnTo>
                  <a:pt x="7109978" y="3551795"/>
                </a:lnTo>
                <a:lnTo>
                  <a:pt x="7331537" y="3329734"/>
                </a:lnTo>
                <a:cubicBezTo>
                  <a:pt x="7342368" y="3318903"/>
                  <a:pt x="7347783" y="3304668"/>
                  <a:pt x="7347783" y="3290430"/>
                </a:cubicBezTo>
                <a:lnTo>
                  <a:pt x="7347782" y="3290428"/>
                </a:lnTo>
                <a:lnTo>
                  <a:pt x="7347783" y="3290423"/>
                </a:lnTo>
                <a:cubicBezTo>
                  <a:pt x="7347783" y="3276185"/>
                  <a:pt x="7342368" y="3261948"/>
                  <a:pt x="7331537" y="3251119"/>
                </a:cubicBezTo>
                <a:lnTo>
                  <a:pt x="7253057" y="3172509"/>
                </a:lnTo>
                <a:cubicBezTo>
                  <a:pt x="7242161" y="3161610"/>
                  <a:pt x="7228022" y="3156164"/>
                  <a:pt x="7213882" y="3156164"/>
                </a:cubicBezTo>
                <a:lnTo>
                  <a:pt x="7213751" y="3156035"/>
                </a:lnTo>
                <a:cubicBezTo>
                  <a:pt x="7199483" y="3156035"/>
                  <a:pt x="7185345" y="3161479"/>
                  <a:pt x="7174449" y="3172509"/>
                </a:cubicBezTo>
                <a:lnTo>
                  <a:pt x="7109978" y="3237109"/>
                </a:lnTo>
                <a:lnTo>
                  <a:pt x="7045379" y="3172384"/>
                </a:lnTo>
                <a:cubicBezTo>
                  <a:pt x="7034483" y="3161479"/>
                  <a:pt x="7020344" y="3156035"/>
                  <a:pt x="7006076" y="3156035"/>
                </a:cubicBezTo>
                <a:close/>
                <a:moveTo>
                  <a:pt x="4952148" y="3156022"/>
                </a:moveTo>
                <a:cubicBezTo>
                  <a:pt x="4937875" y="3156022"/>
                  <a:pt x="4923734" y="3161471"/>
                  <a:pt x="4912971" y="3172369"/>
                </a:cubicBezTo>
                <a:lnTo>
                  <a:pt x="4834497" y="3251103"/>
                </a:lnTo>
                <a:cubicBezTo>
                  <a:pt x="4812828" y="3272770"/>
                  <a:pt x="4812828" y="3308054"/>
                  <a:pt x="4834497" y="3329715"/>
                </a:cubicBezTo>
                <a:lnTo>
                  <a:pt x="4834505" y="3329725"/>
                </a:lnTo>
                <a:lnTo>
                  <a:pt x="4843779" y="3339026"/>
                </a:lnTo>
                <a:lnTo>
                  <a:pt x="5056083" y="3551786"/>
                </a:lnTo>
                <a:lnTo>
                  <a:pt x="5056083" y="3551781"/>
                </a:lnTo>
                <a:lnTo>
                  <a:pt x="5056087" y="3551792"/>
                </a:lnTo>
                <a:lnTo>
                  <a:pt x="5277615" y="3329725"/>
                </a:lnTo>
                <a:cubicBezTo>
                  <a:pt x="5299295" y="3308065"/>
                  <a:pt x="5299295" y="3272779"/>
                  <a:pt x="5277615" y="3251119"/>
                </a:cubicBezTo>
                <a:lnTo>
                  <a:pt x="5277613" y="3251108"/>
                </a:lnTo>
                <a:lnTo>
                  <a:pt x="5277613" y="3251103"/>
                </a:lnTo>
                <a:lnTo>
                  <a:pt x="5199129" y="3172495"/>
                </a:lnTo>
                <a:cubicBezTo>
                  <a:pt x="5188240" y="3161597"/>
                  <a:pt x="5174090" y="3156152"/>
                  <a:pt x="5159958" y="3156152"/>
                </a:cubicBezTo>
                <a:lnTo>
                  <a:pt x="5159824" y="3156022"/>
                </a:lnTo>
                <a:cubicBezTo>
                  <a:pt x="5145561" y="3156022"/>
                  <a:pt x="5131424" y="3161471"/>
                  <a:pt x="5120536" y="3172495"/>
                </a:cubicBezTo>
                <a:lnTo>
                  <a:pt x="5056083" y="3237093"/>
                </a:lnTo>
                <a:lnTo>
                  <a:pt x="4991467" y="3172384"/>
                </a:lnTo>
                <a:lnTo>
                  <a:pt x="4991467" y="3172377"/>
                </a:lnTo>
                <a:lnTo>
                  <a:pt x="4991465" y="3172369"/>
                </a:lnTo>
                <a:cubicBezTo>
                  <a:pt x="4980565" y="3161471"/>
                  <a:pt x="4966420" y="3156022"/>
                  <a:pt x="4952148" y="3156022"/>
                </a:cubicBezTo>
                <a:close/>
                <a:moveTo>
                  <a:pt x="2898351" y="3156014"/>
                </a:moveTo>
                <a:cubicBezTo>
                  <a:pt x="2884082" y="3156014"/>
                  <a:pt x="2869941" y="3161460"/>
                  <a:pt x="2859177" y="3172357"/>
                </a:cubicBezTo>
                <a:lnTo>
                  <a:pt x="2780697" y="3251097"/>
                </a:lnTo>
                <a:cubicBezTo>
                  <a:pt x="2759034" y="3272765"/>
                  <a:pt x="2759034" y="3308045"/>
                  <a:pt x="2780697" y="3329707"/>
                </a:cubicBezTo>
                <a:lnTo>
                  <a:pt x="3002256" y="3551785"/>
                </a:lnTo>
                <a:lnTo>
                  <a:pt x="3002266" y="3551776"/>
                </a:lnTo>
                <a:lnTo>
                  <a:pt x="3002278" y="3551786"/>
                </a:lnTo>
                <a:lnTo>
                  <a:pt x="3223834" y="3329715"/>
                </a:lnTo>
                <a:cubicBezTo>
                  <a:pt x="3245501" y="3308054"/>
                  <a:pt x="3245501" y="3272769"/>
                  <a:pt x="3223834" y="3251103"/>
                </a:cubicBezTo>
                <a:lnTo>
                  <a:pt x="3145357" y="3172493"/>
                </a:lnTo>
                <a:cubicBezTo>
                  <a:pt x="3139908" y="3167046"/>
                  <a:pt x="3133650" y="3162961"/>
                  <a:pt x="3126986" y="3160235"/>
                </a:cubicBezTo>
                <a:lnTo>
                  <a:pt x="3126973" y="3160230"/>
                </a:lnTo>
                <a:lnTo>
                  <a:pt x="3126963" y="3160226"/>
                </a:lnTo>
                <a:lnTo>
                  <a:pt x="3106177" y="3156144"/>
                </a:lnTo>
                <a:lnTo>
                  <a:pt x="3106053" y="3156022"/>
                </a:lnTo>
                <a:lnTo>
                  <a:pt x="3106044" y="3156025"/>
                </a:lnTo>
                <a:lnTo>
                  <a:pt x="3106028" y="3156014"/>
                </a:lnTo>
                <a:cubicBezTo>
                  <a:pt x="3091760" y="3156014"/>
                  <a:pt x="3077618" y="3161460"/>
                  <a:pt x="3066725" y="3172485"/>
                </a:cubicBezTo>
                <a:lnTo>
                  <a:pt x="3002263" y="3237081"/>
                </a:lnTo>
                <a:lnTo>
                  <a:pt x="2937680" y="3172367"/>
                </a:lnTo>
                <a:cubicBezTo>
                  <a:pt x="2932232" y="3166917"/>
                  <a:pt x="2925973" y="3162832"/>
                  <a:pt x="2919293" y="3160108"/>
                </a:cubicBezTo>
                <a:lnTo>
                  <a:pt x="2919279" y="3160106"/>
                </a:lnTo>
                <a:lnTo>
                  <a:pt x="2919268" y="3160101"/>
                </a:lnTo>
                <a:cubicBezTo>
                  <a:pt x="2912587" y="3157375"/>
                  <a:pt x="2905485" y="3156014"/>
                  <a:pt x="2898351" y="3156014"/>
                </a:cubicBezTo>
                <a:close/>
                <a:moveTo>
                  <a:pt x="844374" y="3156001"/>
                </a:moveTo>
                <a:cubicBezTo>
                  <a:pt x="830105" y="3156001"/>
                  <a:pt x="815967" y="3161449"/>
                  <a:pt x="805200" y="3172347"/>
                </a:cubicBezTo>
                <a:lnTo>
                  <a:pt x="726720" y="3251087"/>
                </a:lnTo>
                <a:cubicBezTo>
                  <a:pt x="705057" y="3272752"/>
                  <a:pt x="705057" y="3308036"/>
                  <a:pt x="726720" y="3329699"/>
                </a:cubicBezTo>
                <a:lnTo>
                  <a:pt x="948278" y="3551781"/>
                </a:lnTo>
                <a:lnTo>
                  <a:pt x="948288" y="3551770"/>
                </a:lnTo>
                <a:lnTo>
                  <a:pt x="948301" y="3551785"/>
                </a:lnTo>
                <a:lnTo>
                  <a:pt x="1169858" y="3329707"/>
                </a:lnTo>
                <a:cubicBezTo>
                  <a:pt x="1191520" y="3308045"/>
                  <a:pt x="1191520" y="3272765"/>
                  <a:pt x="1169858" y="3251093"/>
                </a:cubicBezTo>
                <a:lnTo>
                  <a:pt x="1091378" y="3172485"/>
                </a:lnTo>
                <a:cubicBezTo>
                  <a:pt x="1085931" y="3167038"/>
                  <a:pt x="1079672" y="3162952"/>
                  <a:pt x="1073007" y="3160226"/>
                </a:cubicBezTo>
                <a:lnTo>
                  <a:pt x="1072995" y="3160222"/>
                </a:lnTo>
                <a:lnTo>
                  <a:pt x="1072985" y="3160218"/>
                </a:lnTo>
                <a:lnTo>
                  <a:pt x="1052200" y="3156135"/>
                </a:lnTo>
                <a:lnTo>
                  <a:pt x="1052075" y="3156010"/>
                </a:lnTo>
                <a:lnTo>
                  <a:pt x="1052063" y="3156012"/>
                </a:lnTo>
                <a:lnTo>
                  <a:pt x="1052052" y="3156001"/>
                </a:lnTo>
                <a:cubicBezTo>
                  <a:pt x="1037783" y="3156001"/>
                  <a:pt x="1023643" y="3161449"/>
                  <a:pt x="1012749" y="3172476"/>
                </a:cubicBezTo>
                <a:lnTo>
                  <a:pt x="948285" y="3237070"/>
                </a:lnTo>
                <a:lnTo>
                  <a:pt x="883702" y="3172357"/>
                </a:lnTo>
                <a:cubicBezTo>
                  <a:pt x="878253" y="3166907"/>
                  <a:pt x="871995" y="3162821"/>
                  <a:pt x="865315" y="3160097"/>
                </a:cubicBezTo>
                <a:lnTo>
                  <a:pt x="865301" y="3160093"/>
                </a:lnTo>
                <a:lnTo>
                  <a:pt x="865290" y="3160088"/>
                </a:lnTo>
                <a:cubicBezTo>
                  <a:pt x="858610" y="3157363"/>
                  <a:pt x="851509" y="3156001"/>
                  <a:pt x="844374" y="3156001"/>
                </a:cubicBezTo>
                <a:close/>
                <a:moveTo>
                  <a:pt x="11910826" y="2945539"/>
                </a:moveTo>
                <a:lnTo>
                  <a:pt x="12188651" y="3106326"/>
                </a:lnTo>
                <a:lnTo>
                  <a:pt x="12188651" y="3483113"/>
                </a:lnTo>
                <a:lnTo>
                  <a:pt x="12179669" y="3477916"/>
                </a:lnTo>
                <a:lnTo>
                  <a:pt x="11910826" y="3322357"/>
                </a:lnTo>
                <a:close/>
                <a:moveTo>
                  <a:pt x="11894481" y="2945539"/>
                </a:moveTo>
                <a:lnTo>
                  <a:pt x="11894481" y="3322357"/>
                </a:lnTo>
                <a:lnTo>
                  <a:pt x="11568890" y="3510681"/>
                </a:lnTo>
                <a:lnTo>
                  <a:pt x="11568890" y="3133883"/>
                </a:lnTo>
                <a:close/>
                <a:moveTo>
                  <a:pt x="9857006" y="2945522"/>
                </a:moveTo>
                <a:lnTo>
                  <a:pt x="10182468" y="3133880"/>
                </a:lnTo>
                <a:lnTo>
                  <a:pt x="10182468" y="3510676"/>
                </a:lnTo>
                <a:lnTo>
                  <a:pt x="9857006" y="3322348"/>
                </a:lnTo>
                <a:close/>
                <a:moveTo>
                  <a:pt x="9840661" y="2945522"/>
                </a:moveTo>
                <a:lnTo>
                  <a:pt x="9840661" y="3322348"/>
                </a:lnTo>
                <a:lnTo>
                  <a:pt x="9515070" y="3510676"/>
                </a:lnTo>
                <a:lnTo>
                  <a:pt x="9515070" y="3133880"/>
                </a:lnTo>
                <a:close/>
                <a:moveTo>
                  <a:pt x="7803060" y="2945507"/>
                </a:moveTo>
                <a:lnTo>
                  <a:pt x="8128521" y="3133865"/>
                </a:lnTo>
                <a:lnTo>
                  <a:pt x="8128521" y="3510673"/>
                </a:lnTo>
                <a:lnTo>
                  <a:pt x="7803060" y="3322337"/>
                </a:lnTo>
                <a:close/>
                <a:moveTo>
                  <a:pt x="7786715" y="2945507"/>
                </a:moveTo>
                <a:lnTo>
                  <a:pt x="7786715" y="3322337"/>
                </a:lnTo>
                <a:lnTo>
                  <a:pt x="7461125" y="3510673"/>
                </a:lnTo>
                <a:lnTo>
                  <a:pt x="7461125" y="3133865"/>
                </a:lnTo>
                <a:close/>
                <a:moveTo>
                  <a:pt x="5732923" y="2945499"/>
                </a:moveTo>
                <a:lnTo>
                  <a:pt x="5732923" y="3322330"/>
                </a:lnTo>
                <a:lnTo>
                  <a:pt x="5407352" y="3510667"/>
                </a:lnTo>
                <a:lnTo>
                  <a:pt x="5407352" y="3133857"/>
                </a:lnTo>
                <a:close/>
                <a:moveTo>
                  <a:pt x="5749264" y="2945497"/>
                </a:moveTo>
                <a:lnTo>
                  <a:pt x="6074705" y="3133857"/>
                </a:lnTo>
                <a:lnTo>
                  <a:pt x="6074705" y="3510669"/>
                </a:lnTo>
                <a:lnTo>
                  <a:pt x="6000145" y="3467515"/>
                </a:lnTo>
                <a:lnTo>
                  <a:pt x="5878454" y="3397098"/>
                </a:lnTo>
                <a:lnTo>
                  <a:pt x="5749264" y="3322330"/>
                </a:lnTo>
                <a:close/>
                <a:moveTo>
                  <a:pt x="3679140" y="2945490"/>
                </a:moveTo>
                <a:lnTo>
                  <a:pt x="3679140" y="3322322"/>
                </a:lnTo>
                <a:lnTo>
                  <a:pt x="3353560" y="3510663"/>
                </a:lnTo>
                <a:lnTo>
                  <a:pt x="3353560" y="3133842"/>
                </a:lnTo>
                <a:close/>
                <a:moveTo>
                  <a:pt x="3695488" y="2945487"/>
                </a:moveTo>
                <a:lnTo>
                  <a:pt x="3801286" y="3006724"/>
                </a:lnTo>
                <a:lnTo>
                  <a:pt x="4009955" y="3127481"/>
                </a:lnTo>
                <a:lnTo>
                  <a:pt x="4020941" y="3133840"/>
                </a:lnTo>
                <a:lnTo>
                  <a:pt x="4020941" y="3510665"/>
                </a:lnTo>
                <a:lnTo>
                  <a:pt x="3719511" y="3336225"/>
                </a:lnTo>
                <a:lnTo>
                  <a:pt x="3695488" y="3322325"/>
                </a:lnTo>
                <a:close/>
                <a:moveTo>
                  <a:pt x="1625162" y="2945478"/>
                </a:moveTo>
                <a:lnTo>
                  <a:pt x="1625162" y="3322313"/>
                </a:lnTo>
                <a:lnTo>
                  <a:pt x="1299579" y="3510659"/>
                </a:lnTo>
                <a:lnTo>
                  <a:pt x="1299579" y="3133831"/>
                </a:lnTo>
                <a:close/>
                <a:moveTo>
                  <a:pt x="1641512" y="2945475"/>
                </a:moveTo>
                <a:lnTo>
                  <a:pt x="1828330" y="3053589"/>
                </a:lnTo>
                <a:lnTo>
                  <a:pt x="1966968" y="3133829"/>
                </a:lnTo>
                <a:lnTo>
                  <a:pt x="1966968" y="3510659"/>
                </a:lnTo>
                <a:lnTo>
                  <a:pt x="1641512" y="3322313"/>
                </a:lnTo>
                <a:close/>
                <a:moveTo>
                  <a:pt x="10532576" y="2940723"/>
                </a:moveTo>
                <a:lnTo>
                  <a:pt x="10866339" y="3133880"/>
                </a:lnTo>
                <a:lnTo>
                  <a:pt x="10866339" y="3520144"/>
                </a:lnTo>
                <a:lnTo>
                  <a:pt x="10532706" y="3713300"/>
                </a:lnTo>
                <a:lnTo>
                  <a:pt x="10198941" y="3520144"/>
                </a:lnTo>
                <a:lnTo>
                  <a:pt x="10198941" y="3133880"/>
                </a:lnTo>
                <a:close/>
                <a:moveTo>
                  <a:pt x="8478628" y="2940707"/>
                </a:moveTo>
                <a:lnTo>
                  <a:pt x="8812392" y="3133865"/>
                </a:lnTo>
                <a:lnTo>
                  <a:pt x="8812392" y="3520144"/>
                </a:lnTo>
                <a:lnTo>
                  <a:pt x="8478758" y="3713296"/>
                </a:lnTo>
                <a:lnTo>
                  <a:pt x="8144995" y="3520144"/>
                </a:lnTo>
                <a:lnTo>
                  <a:pt x="8144995" y="3133865"/>
                </a:lnTo>
                <a:close/>
                <a:moveTo>
                  <a:pt x="6424810" y="2940696"/>
                </a:moveTo>
                <a:lnTo>
                  <a:pt x="6758573" y="3133857"/>
                </a:lnTo>
                <a:lnTo>
                  <a:pt x="6758573" y="3520138"/>
                </a:lnTo>
                <a:lnTo>
                  <a:pt x="6424940" y="3713294"/>
                </a:lnTo>
                <a:lnTo>
                  <a:pt x="6091179" y="3520138"/>
                </a:lnTo>
                <a:lnTo>
                  <a:pt x="6091179" y="3133857"/>
                </a:lnTo>
                <a:close/>
                <a:moveTo>
                  <a:pt x="4371020" y="2940688"/>
                </a:moveTo>
                <a:lnTo>
                  <a:pt x="4704773" y="3133840"/>
                </a:lnTo>
                <a:lnTo>
                  <a:pt x="4704773" y="3520136"/>
                </a:lnTo>
                <a:lnTo>
                  <a:pt x="4371146" y="3713289"/>
                </a:lnTo>
                <a:lnTo>
                  <a:pt x="4037424" y="3520136"/>
                </a:lnTo>
                <a:lnTo>
                  <a:pt x="4037424" y="3133842"/>
                </a:lnTo>
                <a:close/>
                <a:moveTo>
                  <a:pt x="2317088" y="2940676"/>
                </a:moveTo>
                <a:lnTo>
                  <a:pt x="2650840" y="3133829"/>
                </a:lnTo>
                <a:lnTo>
                  <a:pt x="2650840" y="3520133"/>
                </a:lnTo>
                <a:lnTo>
                  <a:pt x="2317216" y="3713283"/>
                </a:lnTo>
                <a:lnTo>
                  <a:pt x="1983450" y="3520133"/>
                </a:lnTo>
                <a:lnTo>
                  <a:pt x="1983450" y="3133831"/>
                </a:lnTo>
                <a:close/>
                <a:moveTo>
                  <a:pt x="263242" y="2940664"/>
                </a:moveTo>
                <a:lnTo>
                  <a:pt x="596998" y="3133814"/>
                </a:lnTo>
                <a:lnTo>
                  <a:pt x="596998" y="3520129"/>
                </a:lnTo>
                <a:lnTo>
                  <a:pt x="263368" y="3713281"/>
                </a:lnTo>
                <a:lnTo>
                  <a:pt x="0" y="3560866"/>
                </a:lnTo>
                <a:lnTo>
                  <a:pt x="0" y="3093067"/>
                </a:lnTo>
                <a:close/>
                <a:moveTo>
                  <a:pt x="11217614" y="2940473"/>
                </a:moveTo>
                <a:lnTo>
                  <a:pt x="11551377" y="3133625"/>
                </a:lnTo>
                <a:lnTo>
                  <a:pt x="11551377" y="3519758"/>
                </a:lnTo>
                <a:lnTo>
                  <a:pt x="11217614" y="3712908"/>
                </a:lnTo>
                <a:lnTo>
                  <a:pt x="10883851" y="3519758"/>
                </a:lnTo>
                <a:lnTo>
                  <a:pt x="10883851" y="3133625"/>
                </a:lnTo>
                <a:close/>
                <a:moveTo>
                  <a:pt x="9163666" y="2940462"/>
                </a:moveTo>
                <a:lnTo>
                  <a:pt x="9497429" y="3133615"/>
                </a:lnTo>
                <a:lnTo>
                  <a:pt x="9497429" y="3519754"/>
                </a:lnTo>
                <a:lnTo>
                  <a:pt x="9163666" y="3712908"/>
                </a:lnTo>
                <a:lnTo>
                  <a:pt x="8829903" y="3519753"/>
                </a:lnTo>
                <a:lnTo>
                  <a:pt x="8829903" y="3133615"/>
                </a:lnTo>
                <a:close/>
                <a:moveTo>
                  <a:pt x="7109850" y="2940450"/>
                </a:moveTo>
                <a:lnTo>
                  <a:pt x="7443613" y="3133605"/>
                </a:lnTo>
                <a:lnTo>
                  <a:pt x="7443613" y="3519749"/>
                </a:lnTo>
                <a:lnTo>
                  <a:pt x="7109850" y="3712903"/>
                </a:lnTo>
                <a:lnTo>
                  <a:pt x="6776085" y="3519749"/>
                </a:lnTo>
                <a:lnTo>
                  <a:pt x="6776085" y="3133605"/>
                </a:lnTo>
                <a:close/>
                <a:moveTo>
                  <a:pt x="5055965" y="2940439"/>
                </a:moveTo>
                <a:lnTo>
                  <a:pt x="5389690" y="3133585"/>
                </a:lnTo>
                <a:lnTo>
                  <a:pt x="5389690" y="3519747"/>
                </a:lnTo>
                <a:lnTo>
                  <a:pt x="5055955" y="3712897"/>
                </a:lnTo>
                <a:lnTo>
                  <a:pt x="4722175" y="3519749"/>
                </a:lnTo>
                <a:lnTo>
                  <a:pt x="4722175" y="3133594"/>
                </a:lnTo>
                <a:close/>
                <a:moveTo>
                  <a:pt x="3002150" y="2940429"/>
                </a:moveTo>
                <a:lnTo>
                  <a:pt x="3335888" y="3133567"/>
                </a:lnTo>
                <a:lnTo>
                  <a:pt x="3335888" y="3519745"/>
                </a:lnTo>
                <a:lnTo>
                  <a:pt x="3002137" y="3712891"/>
                </a:lnTo>
                <a:lnTo>
                  <a:pt x="2668389" y="3519747"/>
                </a:lnTo>
                <a:lnTo>
                  <a:pt x="2668389" y="3133585"/>
                </a:lnTo>
                <a:close/>
                <a:moveTo>
                  <a:pt x="948172" y="2940415"/>
                </a:moveTo>
                <a:lnTo>
                  <a:pt x="1281911" y="3133560"/>
                </a:lnTo>
                <a:lnTo>
                  <a:pt x="1281911" y="3519738"/>
                </a:lnTo>
                <a:lnTo>
                  <a:pt x="948159" y="3712889"/>
                </a:lnTo>
                <a:lnTo>
                  <a:pt x="614412" y="3519745"/>
                </a:lnTo>
                <a:lnTo>
                  <a:pt x="614412" y="3133570"/>
                </a:lnTo>
                <a:close/>
                <a:moveTo>
                  <a:pt x="10875809" y="2742645"/>
                </a:moveTo>
                <a:lnTo>
                  <a:pt x="11201258" y="2930995"/>
                </a:lnTo>
                <a:lnTo>
                  <a:pt x="10875678" y="3119343"/>
                </a:lnTo>
                <a:lnTo>
                  <a:pt x="10550229" y="2930995"/>
                </a:lnTo>
                <a:close/>
                <a:moveTo>
                  <a:pt x="8821860" y="2742638"/>
                </a:moveTo>
                <a:lnTo>
                  <a:pt x="9147310" y="2930991"/>
                </a:lnTo>
                <a:lnTo>
                  <a:pt x="8821731" y="3119333"/>
                </a:lnTo>
                <a:lnTo>
                  <a:pt x="8496280" y="2930985"/>
                </a:lnTo>
                <a:close/>
                <a:moveTo>
                  <a:pt x="6768043" y="2742623"/>
                </a:moveTo>
                <a:lnTo>
                  <a:pt x="7093493" y="2930975"/>
                </a:lnTo>
                <a:lnTo>
                  <a:pt x="6767913" y="3119325"/>
                </a:lnTo>
                <a:lnTo>
                  <a:pt x="6442464" y="2930975"/>
                </a:lnTo>
                <a:close/>
                <a:moveTo>
                  <a:pt x="4714128" y="2742613"/>
                </a:moveTo>
                <a:lnTo>
                  <a:pt x="5016384" y="2917526"/>
                </a:lnTo>
                <a:lnTo>
                  <a:pt x="5039593" y="2930956"/>
                </a:lnTo>
                <a:lnTo>
                  <a:pt x="4713985" y="3119313"/>
                </a:lnTo>
                <a:lnTo>
                  <a:pt x="4388545" y="2930963"/>
                </a:lnTo>
                <a:close/>
                <a:moveTo>
                  <a:pt x="2660343" y="2742602"/>
                </a:moveTo>
                <a:lnTo>
                  <a:pt x="2985782" y="2930946"/>
                </a:lnTo>
                <a:lnTo>
                  <a:pt x="2660193" y="3119300"/>
                </a:lnTo>
                <a:lnTo>
                  <a:pt x="2617605" y="3094653"/>
                </a:lnTo>
                <a:lnTo>
                  <a:pt x="2334759" y="2930956"/>
                </a:lnTo>
                <a:close/>
                <a:moveTo>
                  <a:pt x="606366" y="2742589"/>
                </a:moveTo>
                <a:lnTo>
                  <a:pt x="931803" y="2930932"/>
                </a:lnTo>
                <a:lnTo>
                  <a:pt x="606216" y="3119286"/>
                </a:lnTo>
                <a:lnTo>
                  <a:pt x="280778" y="2930946"/>
                </a:lnTo>
                <a:close/>
                <a:moveTo>
                  <a:pt x="12140685" y="2578699"/>
                </a:moveTo>
                <a:cubicBezTo>
                  <a:pt x="12151191" y="2578699"/>
                  <a:pt x="12161050" y="2582849"/>
                  <a:pt x="12168445" y="2590244"/>
                </a:cubicBezTo>
                <a:lnTo>
                  <a:pt x="12188651" y="2610493"/>
                </a:lnTo>
                <a:lnTo>
                  <a:pt x="12188651" y="2878728"/>
                </a:lnTo>
                <a:lnTo>
                  <a:pt x="12034576" y="2724359"/>
                </a:lnTo>
                <a:cubicBezTo>
                  <a:pt x="12019270" y="2709048"/>
                  <a:pt x="12019270" y="2684139"/>
                  <a:pt x="12034576" y="2668969"/>
                </a:cubicBezTo>
                <a:lnTo>
                  <a:pt x="12113056" y="2590244"/>
                </a:lnTo>
                <a:cubicBezTo>
                  <a:pt x="12120448" y="2582849"/>
                  <a:pt x="12130178" y="2578699"/>
                  <a:pt x="12140685" y="2578699"/>
                </a:cubicBezTo>
                <a:close/>
                <a:moveTo>
                  <a:pt x="10086867" y="2578676"/>
                </a:moveTo>
                <a:cubicBezTo>
                  <a:pt x="10097374" y="2578676"/>
                  <a:pt x="10107232" y="2582834"/>
                  <a:pt x="10114626" y="2590227"/>
                </a:cubicBezTo>
                <a:lnTo>
                  <a:pt x="10179226" y="2654952"/>
                </a:lnTo>
                <a:lnTo>
                  <a:pt x="10190770" y="2666628"/>
                </a:lnTo>
                <a:lnTo>
                  <a:pt x="10202315" y="2654952"/>
                </a:lnTo>
                <a:lnTo>
                  <a:pt x="10266786" y="2590227"/>
                </a:lnTo>
                <a:cubicBezTo>
                  <a:pt x="10274178" y="2582702"/>
                  <a:pt x="10284037" y="2578676"/>
                  <a:pt x="10294543" y="2578676"/>
                </a:cubicBezTo>
                <a:cubicBezTo>
                  <a:pt x="10304922" y="2578676"/>
                  <a:pt x="10314781" y="2582834"/>
                  <a:pt x="10322173" y="2590227"/>
                </a:cubicBezTo>
                <a:lnTo>
                  <a:pt x="10400653" y="2668833"/>
                </a:lnTo>
                <a:cubicBezTo>
                  <a:pt x="10408047" y="2676224"/>
                  <a:pt x="10412068" y="2686069"/>
                  <a:pt x="10412198" y="2696581"/>
                </a:cubicBezTo>
                <a:cubicBezTo>
                  <a:pt x="10412198" y="2707087"/>
                  <a:pt x="10408176" y="2716950"/>
                  <a:pt x="10400783" y="2724349"/>
                </a:cubicBezTo>
                <a:lnTo>
                  <a:pt x="10190770" y="2934758"/>
                </a:lnTo>
                <a:lnTo>
                  <a:pt x="9980757" y="2724349"/>
                </a:lnTo>
                <a:cubicBezTo>
                  <a:pt x="9965450" y="2709025"/>
                  <a:pt x="9965450" y="2684132"/>
                  <a:pt x="9980757" y="2668961"/>
                </a:cubicBezTo>
                <a:lnTo>
                  <a:pt x="10059237" y="2590227"/>
                </a:lnTo>
                <a:cubicBezTo>
                  <a:pt x="10066631" y="2582834"/>
                  <a:pt x="10076359" y="2578676"/>
                  <a:pt x="10086867" y="2578676"/>
                </a:cubicBezTo>
                <a:close/>
                <a:moveTo>
                  <a:pt x="8032919" y="2578668"/>
                </a:moveTo>
                <a:cubicBezTo>
                  <a:pt x="8043427" y="2578668"/>
                  <a:pt x="8053285" y="2582821"/>
                  <a:pt x="8060679" y="2590216"/>
                </a:cubicBezTo>
                <a:lnTo>
                  <a:pt x="8125278" y="2654936"/>
                </a:lnTo>
                <a:lnTo>
                  <a:pt x="8136823" y="2666615"/>
                </a:lnTo>
                <a:lnTo>
                  <a:pt x="8148368" y="2654936"/>
                </a:lnTo>
                <a:lnTo>
                  <a:pt x="8212837" y="2590216"/>
                </a:lnTo>
                <a:cubicBezTo>
                  <a:pt x="8220232" y="2582687"/>
                  <a:pt x="8230090" y="2578668"/>
                  <a:pt x="8240596" y="2578668"/>
                </a:cubicBezTo>
                <a:cubicBezTo>
                  <a:pt x="8250975" y="2578668"/>
                  <a:pt x="8260834" y="2582821"/>
                  <a:pt x="8268226" y="2590216"/>
                </a:cubicBezTo>
                <a:lnTo>
                  <a:pt x="8346707" y="2668813"/>
                </a:lnTo>
                <a:cubicBezTo>
                  <a:pt x="8354100" y="2676206"/>
                  <a:pt x="8358121" y="2686067"/>
                  <a:pt x="8358252" y="2696569"/>
                </a:cubicBezTo>
                <a:cubicBezTo>
                  <a:pt x="8358252" y="2707074"/>
                  <a:pt x="8354229" y="2716935"/>
                  <a:pt x="8346837" y="2724335"/>
                </a:cubicBezTo>
                <a:lnTo>
                  <a:pt x="8136823" y="2934740"/>
                </a:lnTo>
                <a:lnTo>
                  <a:pt x="7926811" y="2724335"/>
                </a:lnTo>
                <a:cubicBezTo>
                  <a:pt x="7911503" y="2709022"/>
                  <a:pt x="7911503" y="2684118"/>
                  <a:pt x="7926811" y="2668949"/>
                </a:cubicBezTo>
                <a:lnTo>
                  <a:pt x="8005289" y="2590216"/>
                </a:lnTo>
                <a:cubicBezTo>
                  <a:pt x="8012684" y="2582821"/>
                  <a:pt x="8022413" y="2578668"/>
                  <a:pt x="8032919" y="2578668"/>
                </a:cubicBezTo>
                <a:close/>
                <a:moveTo>
                  <a:pt x="5979110" y="2578647"/>
                </a:moveTo>
                <a:cubicBezTo>
                  <a:pt x="5989617" y="2578647"/>
                  <a:pt x="5999474" y="2582804"/>
                  <a:pt x="6006867" y="2590201"/>
                </a:cubicBezTo>
                <a:lnTo>
                  <a:pt x="6071463" y="2654925"/>
                </a:lnTo>
                <a:lnTo>
                  <a:pt x="6083008" y="2666599"/>
                </a:lnTo>
                <a:lnTo>
                  <a:pt x="6094550" y="2654925"/>
                </a:lnTo>
                <a:lnTo>
                  <a:pt x="6159019" y="2590201"/>
                </a:lnTo>
                <a:cubicBezTo>
                  <a:pt x="6166413" y="2582677"/>
                  <a:pt x="6176271" y="2578647"/>
                  <a:pt x="6186779" y="2578647"/>
                </a:cubicBezTo>
                <a:cubicBezTo>
                  <a:pt x="6197156" y="2578647"/>
                  <a:pt x="6207014" y="2582804"/>
                  <a:pt x="6214409" y="2590201"/>
                </a:cubicBezTo>
                <a:lnTo>
                  <a:pt x="6292888" y="2668806"/>
                </a:lnTo>
                <a:cubicBezTo>
                  <a:pt x="6300282" y="2676195"/>
                  <a:pt x="6304303" y="2686054"/>
                  <a:pt x="6304433" y="2696558"/>
                </a:cubicBezTo>
                <a:cubicBezTo>
                  <a:pt x="6304433" y="2707064"/>
                  <a:pt x="6300412" y="2716922"/>
                  <a:pt x="6293017" y="2724322"/>
                </a:cubicBezTo>
                <a:lnTo>
                  <a:pt x="6083008" y="2934732"/>
                </a:lnTo>
                <a:lnTo>
                  <a:pt x="5873007" y="2724322"/>
                </a:lnTo>
                <a:cubicBezTo>
                  <a:pt x="5857702" y="2709013"/>
                  <a:pt x="5857702" y="2684109"/>
                  <a:pt x="5873007" y="2668929"/>
                </a:cubicBezTo>
                <a:lnTo>
                  <a:pt x="5951483" y="2590201"/>
                </a:lnTo>
                <a:cubicBezTo>
                  <a:pt x="5958874" y="2582804"/>
                  <a:pt x="5968603" y="2578647"/>
                  <a:pt x="5979110" y="2578647"/>
                </a:cubicBezTo>
                <a:close/>
                <a:moveTo>
                  <a:pt x="3925347" y="2578637"/>
                </a:moveTo>
                <a:cubicBezTo>
                  <a:pt x="3935849" y="2578637"/>
                  <a:pt x="3945711" y="2582791"/>
                  <a:pt x="3953105" y="2590185"/>
                </a:cubicBezTo>
                <a:lnTo>
                  <a:pt x="4017704" y="2654916"/>
                </a:lnTo>
                <a:lnTo>
                  <a:pt x="4029249" y="2666587"/>
                </a:lnTo>
                <a:lnTo>
                  <a:pt x="4040796" y="2654916"/>
                </a:lnTo>
                <a:lnTo>
                  <a:pt x="4105266" y="2590185"/>
                </a:lnTo>
                <a:cubicBezTo>
                  <a:pt x="4112662" y="2582657"/>
                  <a:pt x="4122521" y="2578637"/>
                  <a:pt x="4133029" y="2578637"/>
                </a:cubicBezTo>
                <a:cubicBezTo>
                  <a:pt x="4143402" y="2578637"/>
                  <a:pt x="4153264" y="2582791"/>
                  <a:pt x="4160658" y="2590185"/>
                </a:cubicBezTo>
                <a:lnTo>
                  <a:pt x="4239088" y="2668790"/>
                </a:lnTo>
                <a:cubicBezTo>
                  <a:pt x="4246485" y="2676182"/>
                  <a:pt x="4250503" y="2686043"/>
                  <a:pt x="4250643" y="2696546"/>
                </a:cubicBezTo>
                <a:cubicBezTo>
                  <a:pt x="4250643" y="2707054"/>
                  <a:pt x="4246615" y="2716914"/>
                  <a:pt x="4239218" y="2724312"/>
                </a:cubicBezTo>
                <a:lnTo>
                  <a:pt x="4029249" y="2934721"/>
                </a:lnTo>
                <a:lnTo>
                  <a:pt x="3819228" y="2724312"/>
                </a:lnTo>
                <a:cubicBezTo>
                  <a:pt x="3803920" y="2709004"/>
                  <a:pt x="3803920" y="2684099"/>
                  <a:pt x="3819228" y="2668922"/>
                </a:cubicBezTo>
                <a:lnTo>
                  <a:pt x="3897713" y="2590185"/>
                </a:lnTo>
                <a:cubicBezTo>
                  <a:pt x="3905113" y="2582791"/>
                  <a:pt x="3914841" y="2578637"/>
                  <a:pt x="3925347" y="2578637"/>
                </a:cubicBezTo>
                <a:close/>
                <a:moveTo>
                  <a:pt x="1871372" y="2578623"/>
                </a:moveTo>
                <a:cubicBezTo>
                  <a:pt x="1881880" y="2578623"/>
                  <a:pt x="1891738" y="2582776"/>
                  <a:pt x="1899133" y="2590172"/>
                </a:cubicBezTo>
                <a:lnTo>
                  <a:pt x="1963731" y="2654901"/>
                </a:lnTo>
                <a:lnTo>
                  <a:pt x="1975277" y="2666574"/>
                </a:lnTo>
                <a:lnTo>
                  <a:pt x="1986820" y="2654901"/>
                </a:lnTo>
                <a:lnTo>
                  <a:pt x="2051290" y="2590172"/>
                </a:lnTo>
                <a:cubicBezTo>
                  <a:pt x="2058684" y="2582643"/>
                  <a:pt x="2068543" y="2578623"/>
                  <a:pt x="2079050" y="2578623"/>
                </a:cubicBezTo>
                <a:cubicBezTo>
                  <a:pt x="2089428" y="2578623"/>
                  <a:pt x="2099292" y="2582776"/>
                  <a:pt x="2106688" y="2590172"/>
                </a:cubicBezTo>
                <a:lnTo>
                  <a:pt x="2185169" y="2668781"/>
                </a:lnTo>
                <a:cubicBezTo>
                  <a:pt x="2192563" y="2676170"/>
                  <a:pt x="2196582" y="2686028"/>
                  <a:pt x="2196712" y="2696534"/>
                </a:cubicBezTo>
                <a:cubicBezTo>
                  <a:pt x="2196712" y="2707042"/>
                  <a:pt x="2192692" y="2716901"/>
                  <a:pt x="2185297" y="2724297"/>
                </a:cubicBezTo>
                <a:lnTo>
                  <a:pt x="1975277" y="2934709"/>
                </a:lnTo>
                <a:lnTo>
                  <a:pt x="1765263" y="2724297"/>
                </a:lnTo>
                <a:cubicBezTo>
                  <a:pt x="1749956" y="2708988"/>
                  <a:pt x="1749956" y="2684084"/>
                  <a:pt x="1765263" y="2668910"/>
                </a:cubicBezTo>
                <a:lnTo>
                  <a:pt x="1843742" y="2590172"/>
                </a:lnTo>
                <a:cubicBezTo>
                  <a:pt x="1851137" y="2582776"/>
                  <a:pt x="1860865" y="2578623"/>
                  <a:pt x="1871372" y="2578623"/>
                </a:cubicBezTo>
                <a:close/>
                <a:moveTo>
                  <a:pt x="25211" y="2578608"/>
                </a:moveTo>
                <a:cubicBezTo>
                  <a:pt x="35587" y="2578608"/>
                  <a:pt x="45446" y="2582760"/>
                  <a:pt x="52840" y="2590156"/>
                </a:cubicBezTo>
                <a:lnTo>
                  <a:pt x="131319" y="2668766"/>
                </a:lnTo>
                <a:cubicBezTo>
                  <a:pt x="138713" y="2676158"/>
                  <a:pt x="142735" y="2686019"/>
                  <a:pt x="142863" y="2696524"/>
                </a:cubicBezTo>
                <a:cubicBezTo>
                  <a:pt x="142863" y="2707032"/>
                  <a:pt x="138842" y="2716891"/>
                  <a:pt x="131448" y="2724284"/>
                </a:cubicBezTo>
                <a:lnTo>
                  <a:pt x="0" y="2855984"/>
                </a:lnTo>
                <a:lnTo>
                  <a:pt x="0" y="2589096"/>
                </a:lnTo>
                <a:close/>
                <a:moveTo>
                  <a:pt x="10086867" y="2562208"/>
                </a:moveTo>
                <a:cubicBezTo>
                  <a:pt x="10072597" y="2562208"/>
                  <a:pt x="10058458" y="2567658"/>
                  <a:pt x="10047692" y="2578552"/>
                </a:cubicBezTo>
                <a:lnTo>
                  <a:pt x="9969212" y="2657287"/>
                </a:lnTo>
                <a:cubicBezTo>
                  <a:pt x="9947549" y="2678945"/>
                  <a:pt x="9947549" y="2714223"/>
                  <a:pt x="9969212" y="2735892"/>
                </a:cubicBezTo>
                <a:lnTo>
                  <a:pt x="10190770" y="2957977"/>
                </a:lnTo>
                <a:lnTo>
                  <a:pt x="10412328" y="2735892"/>
                </a:lnTo>
                <a:cubicBezTo>
                  <a:pt x="10433990" y="2714223"/>
                  <a:pt x="10433990" y="2678945"/>
                  <a:pt x="10412328" y="2657287"/>
                </a:cubicBezTo>
                <a:lnTo>
                  <a:pt x="10333848" y="2578676"/>
                </a:lnTo>
                <a:cubicBezTo>
                  <a:pt x="10322953" y="2567787"/>
                  <a:pt x="10308813" y="2562337"/>
                  <a:pt x="10294673" y="2562337"/>
                </a:cubicBezTo>
                <a:lnTo>
                  <a:pt x="10294543" y="2562208"/>
                </a:lnTo>
                <a:cubicBezTo>
                  <a:pt x="10280275" y="2562208"/>
                  <a:pt x="10266136" y="2567658"/>
                  <a:pt x="10255241" y="2578676"/>
                </a:cubicBezTo>
                <a:lnTo>
                  <a:pt x="10190770" y="2643284"/>
                </a:lnTo>
                <a:lnTo>
                  <a:pt x="10126171" y="2578552"/>
                </a:lnTo>
                <a:cubicBezTo>
                  <a:pt x="10115274" y="2567658"/>
                  <a:pt x="10101136" y="2562208"/>
                  <a:pt x="10086867" y="2562208"/>
                </a:cubicBezTo>
                <a:close/>
                <a:moveTo>
                  <a:pt x="8032919" y="2562187"/>
                </a:moveTo>
                <a:cubicBezTo>
                  <a:pt x="8018650" y="2562187"/>
                  <a:pt x="8004511" y="2567640"/>
                  <a:pt x="7993744" y="2578533"/>
                </a:cubicBezTo>
                <a:lnTo>
                  <a:pt x="7915266" y="2657273"/>
                </a:lnTo>
                <a:cubicBezTo>
                  <a:pt x="7893603" y="2678932"/>
                  <a:pt x="7893603" y="2714210"/>
                  <a:pt x="7915266" y="2735878"/>
                </a:cubicBezTo>
                <a:lnTo>
                  <a:pt x="8136823" y="2957963"/>
                </a:lnTo>
                <a:lnTo>
                  <a:pt x="8358382" y="2735878"/>
                </a:lnTo>
                <a:cubicBezTo>
                  <a:pt x="8380044" y="2714210"/>
                  <a:pt x="8380044" y="2678932"/>
                  <a:pt x="8358382" y="2657273"/>
                </a:cubicBezTo>
                <a:lnTo>
                  <a:pt x="8279902" y="2578668"/>
                </a:lnTo>
                <a:cubicBezTo>
                  <a:pt x="8269006" y="2567767"/>
                  <a:pt x="8254866" y="2562324"/>
                  <a:pt x="8240727" y="2562324"/>
                </a:cubicBezTo>
                <a:lnTo>
                  <a:pt x="8240596" y="2562187"/>
                </a:lnTo>
                <a:cubicBezTo>
                  <a:pt x="8226328" y="2562187"/>
                  <a:pt x="8212190" y="2567640"/>
                  <a:pt x="8201292" y="2578668"/>
                </a:cubicBezTo>
                <a:lnTo>
                  <a:pt x="8136823" y="2643266"/>
                </a:lnTo>
                <a:lnTo>
                  <a:pt x="8072224" y="2578533"/>
                </a:lnTo>
                <a:cubicBezTo>
                  <a:pt x="8061328" y="2567640"/>
                  <a:pt x="8047187" y="2562187"/>
                  <a:pt x="8032919" y="2562187"/>
                </a:cubicBezTo>
                <a:close/>
                <a:moveTo>
                  <a:pt x="5979110" y="2562181"/>
                </a:moveTo>
                <a:cubicBezTo>
                  <a:pt x="5964843" y="2562181"/>
                  <a:pt x="5950702" y="2567620"/>
                  <a:pt x="5939938" y="2578524"/>
                </a:cubicBezTo>
                <a:lnTo>
                  <a:pt x="5861462" y="2657262"/>
                </a:lnTo>
                <a:cubicBezTo>
                  <a:pt x="5839806" y="2678919"/>
                  <a:pt x="5839806" y="2714205"/>
                  <a:pt x="5861462" y="2735865"/>
                </a:cubicBezTo>
                <a:lnTo>
                  <a:pt x="6083008" y="2957948"/>
                </a:lnTo>
                <a:lnTo>
                  <a:pt x="6304562" y="2735865"/>
                </a:lnTo>
                <a:cubicBezTo>
                  <a:pt x="6326226" y="2714205"/>
                  <a:pt x="6326226" y="2678919"/>
                  <a:pt x="6304562" y="2657262"/>
                </a:cubicBezTo>
                <a:lnTo>
                  <a:pt x="6226084" y="2578647"/>
                </a:lnTo>
                <a:cubicBezTo>
                  <a:pt x="6215186" y="2567753"/>
                  <a:pt x="6201048" y="2562308"/>
                  <a:pt x="6186909" y="2562308"/>
                </a:cubicBezTo>
                <a:lnTo>
                  <a:pt x="6186779" y="2562181"/>
                </a:lnTo>
                <a:cubicBezTo>
                  <a:pt x="6172511" y="2562181"/>
                  <a:pt x="6158370" y="2567620"/>
                  <a:pt x="6147474" y="2578647"/>
                </a:cubicBezTo>
                <a:lnTo>
                  <a:pt x="6083008" y="2643253"/>
                </a:lnTo>
                <a:lnTo>
                  <a:pt x="6018412" y="2578524"/>
                </a:lnTo>
                <a:cubicBezTo>
                  <a:pt x="6007516" y="2567620"/>
                  <a:pt x="5993378" y="2562181"/>
                  <a:pt x="5979110" y="2562181"/>
                </a:cubicBezTo>
                <a:close/>
                <a:moveTo>
                  <a:pt x="3925347" y="2562165"/>
                </a:moveTo>
                <a:cubicBezTo>
                  <a:pt x="3911078" y="2562165"/>
                  <a:pt x="3896938" y="2567612"/>
                  <a:pt x="3886170" y="2578508"/>
                </a:cubicBezTo>
                <a:lnTo>
                  <a:pt x="3807684" y="2657243"/>
                </a:lnTo>
                <a:cubicBezTo>
                  <a:pt x="3786024" y="2678908"/>
                  <a:pt x="3786024" y="2714191"/>
                  <a:pt x="3807684" y="2735855"/>
                </a:cubicBezTo>
                <a:lnTo>
                  <a:pt x="4029249" y="2957936"/>
                </a:lnTo>
                <a:lnTo>
                  <a:pt x="4250768" y="2735855"/>
                </a:lnTo>
                <a:cubicBezTo>
                  <a:pt x="4272427" y="2714191"/>
                  <a:pt x="4272427" y="2678908"/>
                  <a:pt x="4250768" y="2657243"/>
                </a:cubicBezTo>
                <a:lnTo>
                  <a:pt x="4172332" y="2578637"/>
                </a:lnTo>
                <a:cubicBezTo>
                  <a:pt x="4161436" y="2567737"/>
                  <a:pt x="4147297" y="2562295"/>
                  <a:pt x="4133157" y="2562295"/>
                </a:cubicBezTo>
                <a:lnTo>
                  <a:pt x="4133029" y="2562165"/>
                </a:lnTo>
                <a:cubicBezTo>
                  <a:pt x="4118756" y="2562165"/>
                  <a:pt x="4104617" y="2567612"/>
                  <a:pt x="4093722" y="2578637"/>
                </a:cubicBezTo>
                <a:lnTo>
                  <a:pt x="4029249" y="2643240"/>
                </a:lnTo>
                <a:lnTo>
                  <a:pt x="3964652" y="2578508"/>
                </a:lnTo>
                <a:cubicBezTo>
                  <a:pt x="3953753" y="2567612"/>
                  <a:pt x="3939615" y="2562165"/>
                  <a:pt x="3925347" y="2562165"/>
                </a:cubicBezTo>
                <a:close/>
                <a:moveTo>
                  <a:pt x="1871372" y="2562148"/>
                </a:moveTo>
                <a:cubicBezTo>
                  <a:pt x="1857104" y="2562148"/>
                  <a:pt x="1842964" y="2567596"/>
                  <a:pt x="1832197" y="2578496"/>
                </a:cubicBezTo>
                <a:lnTo>
                  <a:pt x="1753719" y="2657236"/>
                </a:lnTo>
                <a:cubicBezTo>
                  <a:pt x="1732057" y="2678896"/>
                  <a:pt x="1732057" y="2714180"/>
                  <a:pt x="1753719" y="2735841"/>
                </a:cubicBezTo>
                <a:lnTo>
                  <a:pt x="1975277" y="2957928"/>
                </a:lnTo>
                <a:lnTo>
                  <a:pt x="2196842" y="2735841"/>
                </a:lnTo>
                <a:cubicBezTo>
                  <a:pt x="2218507" y="2714180"/>
                  <a:pt x="2218507" y="2678896"/>
                  <a:pt x="2196842" y="2657236"/>
                </a:cubicBezTo>
                <a:lnTo>
                  <a:pt x="2118362" y="2578623"/>
                </a:lnTo>
                <a:cubicBezTo>
                  <a:pt x="2107467" y="2567726"/>
                  <a:pt x="2093319" y="2562279"/>
                  <a:pt x="2079180" y="2562279"/>
                </a:cubicBezTo>
                <a:lnTo>
                  <a:pt x="2079050" y="2562148"/>
                </a:lnTo>
                <a:cubicBezTo>
                  <a:pt x="2064781" y="2562148"/>
                  <a:pt x="2050642" y="2567596"/>
                  <a:pt x="2039746" y="2578623"/>
                </a:cubicBezTo>
                <a:lnTo>
                  <a:pt x="1975277" y="2643223"/>
                </a:lnTo>
                <a:lnTo>
                  <a:pt x="1910677" y="2578496"/>
                </a:lnTo>
                <a:cubicBezTo>
                  <a:pt x="1899779" y="2567596"/>
                  <a:pt x="1885640" y="2562148"/>
                  <a:pt x="1871372" y="2562148"/>
                </a:cubicBezTo>
                <a:close/>
                <a:moveTo>
                  <a:pt x="0" y="2391946"/>
                </a:moveTo>
                <a:lnTo>
                  <a:pt x="255065" y="2539561"/>
                </a:lnTo>
                <a:lnTo>
                  <a:pt x="255065" y="2925743"/>
                </a:lnTo>
                <a:lnTo>
                  <a:pt x="0" y="3073355"/>
                </a:lnTo>
                <a:lnTo>
                  <a:pt x="0" y="2879166"/>
                </a:lnTo>
                <a:lnTo>
                  <a:pt x="142993" y="2735832"/>
                </a:lnTo>
                <a:cubicBezTo>
                  <a:pt x="164657" y="2714167"/>
                  <a:pt x="164657" y="2678883"/>
                  <a:pt x="142993" y="2657222"/>
                </a:cubicBezTo>
                <a:lnTo>
                  <a:pt x="64513" y="2578608"/>
                </a:lnTo>
                <a:cubicBezTo>
                  <a:pt x="53617" y="2567713"/>
                  <a:pt x="39478" y="2562265"/>
                  <a:pt x="25338" y="2562265"/>
                </a:cubicBezTo>
                <a:lnTo>
                  <a:pt x="25211" y="2562134"/>
                </a:lnTo>
                <a:cubicBezTo>
                  <a:pt x="18075" y="2562134"/>
                  <a:pt x="10973" y="2563497"/>
                  <a:pt x="4293" y="2566237"/>
                </a:cubicBezTo>
                <a:lnTo>
                  <a:pt x="0" y="2569125"/>
                </a:lnTo>
                <a:close/>
                <a:moveTo>
                  <a:pt x="12188651" y="2378785"/>
                </a:moveTo>
                <a:lnTo>
                  <a:pt x="12188651" y="2587244"/>
                </a:lnTo>
                <a:lnTo>
                  <a:pt x="12179990" y="2578566"/>
                </a:lnTo>
                <a:cubicBezTo>
                  <a:pt x="12169092" y="2567669"/>
                  <a:pt x="12154954" y="2562222"/>
                  <a:pt x="12140685" y="2562222"/>
                </a:cubicBezTo>
                <a:cubicBezTo>
                  <a:pt x="12126416" y="2562222"/>
                  <a:pt x="12112276" y="2567669"/>
                  <a:pt x="12101510" y="2578566"/>
                </a:cubicBezTo>
                <a:lnTo>
                  <a:pt x="12023031" y="2657304"/>
                </a:lnTo>
                <a:cubicBezTo>
                  <a:pt x="12001368" y="2678954"/>
                  <a:pt x="12001368" y="2714236"/>
                  <a:pt x="12023031" y="2735902"/>
                </a:cubicBezTo>
                <a:lnTo>
                  <a:pt x="12188651" y="2901917"/>
                </a:lnTo>
                <a:lnTo>
                  <a:pt x="12188651" y="3086666"/>
                </a:lnTo>
                <a:lnTo>
                  <a:pt x="11910696" y="2925817"/>
                </a:lnTo>
                <a:lnTo>
                  <a:pt x="11910696" y="2539653"/>
                </a:lnTo>
                <a:close/>
                <a:moveTo>
                  <a:pt x="10883981" y="2351688"/>
                </a:moveTo>
                <a:lnTo>
                  <a:pt x="11209441" y="2540032"/>
                </a:lnTo>
                <a:lnTo>
                  <a:pt x="11209441" y="2916853"/>
                </a:lnTo>
                <a:lnTo>
                  <a:pt x="10883981" y="2728491"/>
                </a:lnTo>
                <a:close/>
                <a:moveTo>
                  <a:pt x="10867636" y="2351688"/>
                </a:moveTo>
                <a:lnTo>
                  <a:pt x="10867636" y="2728491"/>
                </a:lnTo>
                <a:lnTo>
                  <a:pt x="10542045" y="2916853"/>
                </a:lnTo>
                <a:lnTo>
                  <a:pt x="10542045" y="2540032"/>
                </a:lnTo>
                <a:close/>
                <a:moveTo>
                  <a:pt x="8830033" y="2351669"/>
                </a:moveTo>
                <a:lnTo>
                  <a:pt x="9155493" y="2540021"/>
                </a:lnTo>
                <a:lnTo>
                  <a:pt x="9155493" y="2916842"/>
                </a:lnTo>
                <a:lnTo>
                  <a:pt x="8830033" y="2728478"/>
                </a:lnTo>
                <a:close/>
                <a:moveTo>
                  <a:pt x="8813688" y="2351669"/>
                </a:moveTo>
                <a:lnTo>
                  <a:pt x="8813688" y="2728481"/>
                </a:lnTo>
                <a:lnTo>
                  <a:pt x="8488098" y="2916842"/>
                </a:lnTo>
                <a:lnTo>
                  <a:pt x="8488098" y="2540021"/>
                </a:lnTo>
                <a:close/>
                <a:moveTo>
                  <a:pt x="6776215" y="2351657"/>
                </a:moveTo>
                <a:lnTo>
                  <a:pt x="7101677" y="2540012"/>
                </a:lnTo>
                <a:lnTo>
                  <a:pt x="7101677" y="2916827"/>
                </a:lnTo>
                <a:lnTo>
                  <a:pt x="6776215" y="2728471"/>
                </a:lnTo>
                <a:close/>
                <a:moveTo>
                  <a:pt x="6759871" y="2351657"/>
                </a:moveTo>
                <a:lnTo>
                  <a:pt x="6759871" y="2728471"/>
                </a:lnTo>
                <a:lnTo>
                  <a:pt x="6434280" y="2916827"/>
                </a:lnTo>
                <a:lnTo>
                  <a:pt x="6434280" y="2540012"/>
                </a:lnTo>
                <a:close/>
                <a:moveTo>
                  <a:pt x="4705942" y="2351645"/>
                </a:moveTo>
                <a:lnTo>
                  <a:pt x="4705942" y="2728455"/>
                </a:lnTo>
                <a:lnTo>
                  <a:pt x="4380369" y="2916811"/>
                </a:lnTo>
                <a:lnTo>
                  <a:pt x="4380369" y="2539997"/>
                </a:lnTo>
                <a:close/>
                <a:moveTo>
                  <a:pt x="2652144" y="2351640"/>
                </a:moveTo>
                <a:lnTo>
                  <a:pt x="2652144" y="2728447"/>
                </a:lnTo>
                <a:lnTo>
                  <a:pt x="2326587" y="2916788"/>
                </a:lnTo>
                <a:lnTo>
                  <a:pt x="2326587" y="2539980"/>
                </a:lnTo>
                <a:close/>
                <a:moveTo>
                  <a:pt x="4722303" y="2351638"/>
                </a:moveTo>
                <a:lnTo>
                  <a:pt x="5047773" y="2539983"/>
                </a:lnTo>
                <a:lnTo>
                  <a:pt x="5047773" y="2916816"/>
                </a:lnTo>
                <a:lnTo>
                  <a:pt x="4722303" y="2728468"/>
                </a:lnTo>
                <a:close/>
                <a:moveTo>
                  <a:pt x="2668516" y="2351626"/>
                </a:moveTo>
                <a:lnTo>
                  <a:pt x="2748692" y="2398022"/>
                </a:lnTo>
                <a:lnTo>
                  <a:pt x="2939844" y="2508648"/>
                </a:lnTo>
                <a:lnTo>
                  <a:pt x="2993954" y="2539966"/>
                </a:lnTo>
                <a:lnTo>
                  <a:pt x="2993954" y="2916805"/>
                </a:lnTo>
                <a:lnTo>
                  <a:pt x="2938907" y="2884945"/>
                </a:lnTo>
                <a:lnTo>
                  <a:pt x="2668516" y="2728456"/>
                </a:lnTo>
                <a:close/>
                <a:moveTo>
                  <a:pt x="598171" y="2351626"/>
                </a:moveTo>
                <a:lnTo>
                  <a:pt x="598171" y="2728434"/>
                </a:lnTo>
                <a:lnTo>
                  <a:pt x="272607" y="2916778"/>
                </a:lnTo>
                <a:lnTo>
                  <a:pt x="272607" y="2539968"/>
                </a:lnTo>
                <a:close/>
                <a:moveTo>
                  <a:pt x="614543" y="2351612"/>
                </a:moveTo>
                <a:lnTo>
                  <a:pt x="939976" y="2539953"/>
                </a:lnTo>
                <a:lnTo>
                  <a:pt x="939976" y="2916793"/>
                </a:lnTo>
                <a:lnTo>
                  <a:pt x="614543" y="2728448"/>
                </a:lnTo>
                <a:close/>
                <a:moveTo>
                  <a:pt x="11559549" y="2346879"/>
                </a:moveTo>
                <a:lnTo>
                  <a:pt x="11893312" y="2540032"/>
                </a:lnTo>
                <a:lnTo>
                  <a:pt x="11893312" y="2926321"/>
                </a:lnTo>
                <a:lnTo>
                  <a:pt x="11559679" y="3119473"/>
                </a:lnTo>
                <a:lnTo>
                  <a:pt x="11225916" y="2926321"/>
                </a:lnTo>
                <a:lnTo>
                  <a:pt x="11225916" y="2540032"/>
                </a:lnTo>
                <a:close/>
                <a:moveTo>
                  <a:pt x="9505601" y="2346870"/>
                </a:moveTo>
                <a:lnTo>
                  <a:pt x="9839364" y="2540021"/>
                </a:lnTo>
                <a:lnTo>
                  <a:pt x="9839364" y="2926315"/>
                </a:lnTo>
                <a:lnTo>
                  <a:pt x="9505732" y="3119464"/>
                </a:lnTo>
                <a:lnTo>
                  <a:pt x="9171969" y="2926315"/>
                </a:lnTo>
                <a:lnTo>
                  <a:pt x="9171969" y="2540021"/>
                </a:lnTo>
                <a:close/>
                <a:moveTo>
                  <a:pt x="7451785" y="2346860"/>
                </a:moveTo>
                <a:lnTo>
                  <a:pt x="7785548" y="2540012"/>
                </a:lnTo>
                <a:lnTo>
                  <a:pt x="7785548" y="2926298"/>
                </a:lnTo>
                <a:lnTo>
                  <a:pt x="7451915" y="3119455"/>
                </a:lnTo>
                <a:lnTo>
                  <a:pt x="7118150" y="2926298"/>
                </a:lnTo>
                <a:lnTo>
                  <a:pt x="7118150" y="2540012"/>
                </a:lnTo>
                <a:close/>
                <a:moveTo>
                  <a:pt x="5397883" y="2346843"/>
                </a:moveTo>
                <a:lnTo>
                  <a:pt x="5731616" y="2539987"/>
                </a:lnTo>
                <a:lnTo>
                  <a:pt x="5731616" y="2926288"/>
                </a:lnTo>
                <a:lnTo>
                  <a:pt x="5397992" y="3119437"/>
                </a:lnTo>
                <a:lnTo>
                  <a:pt x="5293503" y="3058968"/>
                </a:lnTo>
                <a:lnTo>
                  <a:pt x="5064269" y="2926298"/>
                </a:lnTo>
                <a:lnTo>
                  <a:pt x="5064269" y="2539997"/>
                </a:lnTo>
                <a:close/>
                <a:moveTo>
                  <a:pt x="3344089" y="2346826"/>
                </a:moveTo>
                <a:lnTo>
                  <a:pt x="3412199" y="2386238"/>
                </a:lnTo>
                <a:lnTo>
                  <a:pt x="3665295" y="2532714"/>
                </a:lnTo>
                <a:lnTo>
                  <a:pt x="3677820" y="2539966"/>
                </a:lnTo>
                <a:lnTo>
                  <a:pt x="3677820" y="2926275"/>
                </a:lnTo>
                <a:lnTo>
                  <a:pt x="3344194" y="3119426"/>
                </a:lnTo>
                <a:lnTo>
                  <a:pt x="3184341" y="3026916"/>
                </a:lnTo>
                <a:lnTo>
                  <a:pt x="3010455" y="2926288"/>
                </a:lnTo>
                <a:lnTo>
                  <a:pt x="3010455" y="2539980"/>
                </a:lnTo>
                <a:close/>
                <a:moveTo>
                  <a:pt x="1290108" y="2346810"/>
                </a:moveTo>
                <a:lnTo>
                  <a:pt x="1351079" y="2382092"/>
                </a:lnTo>
                <a:lnTo>
                  <a:pt x="1535796" y="2488993"/>
                </a:lnTo>
                <a:lnTo>
                  <a:pt x="1623847" y="2539954"/>
                </a:lnTo>
                <a:lnTo>
                  <a:pt x="1623847" y="2926261"/>
                </a:lnTo>
                <a:lnTo>
                  <a:pt x="1290218" y="3119416"/>
                </a:lnTo>
                <a:lnTo>
                  <a:pt x="1213315" y="3074912"/>
                </a:lnTo>
                <a:lnTo>
                  <a:pt x="963641" y="2930424"/>
                </a:lnTo>
                <a:lnTo>
                  <a:pt x="956477" y="2926279"/>
                </a:lnTo>
                <a:lnTo>
                  <a:pt x="956477" y="2539968"/>
                </a:lnTo>
                <a:close/>
                <a:moveTo>
                  <a:pt x="10190640" y="2346481"/>
                </a:moveTo>
                <a:lnTo>
                  <a:pt x="10524404" y="2539629"/>
                </a:lnTo>
                <a:lnTo>
                  <a:pt x="10524404" y="2925801"/>
                </a:lnTo>
                <a:lnTo>
                  <a:pt x="10190640" y="3118955"/>
                </a:lnTo>
                <a:lnTo>
                  <a:pt x="9856876" y="2925801"/>
                </a:lnTo>
                <a:lnTo>
                  <a:pt x="9856876" y="2539629"/>
                </a:lnTo>
                <a:close/>
                <a:moveTo>
                  <a:pt x="8136693" y="2346470"/>
                </a:moveTo>
                <a:lnTo>
                  <a:pt x="8470456" y="2539621"/>
                </a:lnTo>
                <a:lnTo>
                  <a:pt x="8470456" y="2925792"/>
                </a:lnTo>
                <a:lnTo>
                  <a:pt x="8136693" y="3118942"/>
                </a:lnTo>
                <a:lnTo>
                  <a:pt x="7802930" y="2925792"/>
                </a:lnTo>
                <a:lnTo>
                  <a:pt x="7802930" y="2539621"/>
                </a:lnTo>
                <a:close/>
                <a:moveTo>
                  <a:pt x="6082876" y="2346447"/>
                </a:moveTo>
                <a:lnTo>
                  <a:pt x="6416638" y="2539608"/>
                </a:lnTo>
                <a:lnTo>
                  <a:pt x="6416638" y="2925780"/>
                </a:lnTo>
                <a:lnTo>
                  <a:pt x="6082876" y="3118929"/>
                </a:lnTo>
                <a:lnTo>
                  <a:pt x="5749138" y="2925780"/>
                </a:lnTo>
                <a:lnTo>
                  <a:pt x="5749138" y="2539608"/>
                </a:lnTo>
                <a:close/>
                <a:moveTo>
                  <a:pt x="4029122" y="2346439"/>
                </a:moveTo>
                <a:lnTo>
                  <a:pt x="4326678" y="2518660"/>
                </a:lnTo>
                <a:lnTo>
                  <a:pt x="4362838" y="2539591"/>
                </a:lnTo>
                <a:lnTo>
                  <a:pt x="4362838" y="2925766"/>
                </a:lnTo>
                <a:lnTo>
                  <a:pt x="4029115" y="3118919"/>
                </a:lnTo>
                <a:lnTo>
                  <a:pt x="3695364" y="2925772"/>
                </a:lnTo>
                <a:lnTo>
                  <a:pt x="3695364" y="2539591"/>
                </a:lnTo>
                <a:close/>
                <a:moveTo>
                  <a:pt x="1975147" y="2346423"/>
                </a:moveTo>
                <a:lnTo>
                  <a:pt x="2308913" y="2539575"/>
                </a:lnTo>
                <a:lnTo>
                  <a:pt x="2308913" y="2925753"/>
                </a:lnTo>
                <a:lnTo>
                  <a:pt x="1975142" y="3118908"/>
                </a:lnTo>
                <a:lnTo>
                  <a:pt x="1641385" y="2925755"/>
                </a:lnTo>
                <a:lnTo>
                  <a:pt x="1641385" y="2539579"/>
                </a:lnTo>
                <a:close/>
                <a:moveTo>
                  <a:pt x="11902654" y="2148664"/>
                </a:moveTo>
                <a:lnTo>
                  <a:pt x="12188651" y="2314149"/>
                </a:lnTo>
                <a:lnTo>
                  <a:pt x="12188651" y="2359849"/>
                </a:lnTo>
                <a:lnTo>
                  <a:pt x="11902524" y="2525372"/>
                </a:lnTo>
                <a:lnTo>
                  <a:pt x="11577065" y="2337021"/>
                </a:lnTo>
                <a:close/>
                <a:moveTo>
                  <a:pt x="9848833" y="2148651"/>
                </a:moveTo>
                <a:lnTo>
                  <a:pt x="10174292" y="2337004"/>
                </a:lnTo>
                <a:lnTo>
                  <a:pt x="9848703" y="2525360"/>
                </a:lnTo>
                <a:lnTo>
                  <a:pt x="9523246" y="2337004"/>
                </a:lnTo>
                <a:close/>
                <a:moveTo>
                  <a:pt x="7794888" y="2148635"/>
                </a:moveTo>
                <a:lnTo>
                  <a:pt x="8120344" y="2336987"/>
                </a:lnTo>
                <a:lnTo>
                  <a:pt x="7794758" y="2525343"/>
                </a:lnTo>
                <a:lnTo>
                  <a:pt x="7469301" y="2336987"/>
                </a:lnTo>
                <a:close/>
                <a:moveTo>
                  <a:pt x="5741092" y="2148623"/>
                </a:moveTo>
                <a:lnTo>
                  <a:pt x="6066529" y="2336977"/>
                </a:lnTo>
                <a:lnTo>
                  <a:pt x="5740963" y="2525334"/>
                </a:lnTo>
                <a:lnTo>
                  <a:pt x="5415529" y="2336977"/>
                </a:lnTo>
                <a:close/>
                <a:moveTo>
                  <a:pt x="3687323" y="2148612"/>
                </a:moveTo>
                <a:lnTo>
                  <a:pt x="4012773" y="2336961"/>
                </a:lnTo>
                <a:lnTo>
                  <a:pt x="3687187" y="2525317"/>
                </a:lnTo>
                <a:lnTo>
                  <a:pt x="3465770" y="2397169"/>
                </a:lnTo>
                <a:lnTo>
                  <a:pt x="3361734" y="2336966"/>
                </a:lnTo>
                <a:close/>
                <a:moveTo>
                  <a:pt x="1633341" y="2148592"/>
                </a:moveTo>
                <a:lnTo>
                  <a:pt x="1958797" y="2336948"/>
                </a:lnTo>
                <a:lnTo>
                  <a:pt x="1633208" y="2525303"/>
                </a:lnTo>
                <a:lnTo>
                  <a:pt x="1561718" y="2483930"/>
                </a:lnTo>
                <a:lnTo>
                  <a:pt x="1307753" y="2336948"/>
                </a:lnTo>
                <a:close/>
                <a:moveTo>
                  <a:pt x="11113840" y="1984709"/>
                </a:moveTo>
                <a:cubicBezTo>
                  <a:pt x="11124348" y="1984709"/>
                  <a:pt x="11134206" y="1988860"/>
                  <a:pt x="11141600" y="1996254"/>
                </a:cubicBezTo>
                <a:lnTo>
                  <a:pt x="11206199" y="2060984"/>
                </a:lnTo>
                <a:lnTo>
                  <a:pt x="11217744" y="2072657"/>
                </a:lnTo>
                <a:lnTo>
                  <a:pt x="11229289" y="2060984"/>
                </a:lnTo>
                <a:lnTo>
                  <a:pt x="11293758" y="1996254"/>
                </a:lnTo>
                <a:cubicBezTo>
                  <a:pt x="11301152" y="1988728"/>
                  <a:pt x="11311011" y="1984709"/>
                  <a:pt x="11321517" y="1984709"/>
                </a:cubicBezTo>
                <a:cubicBezTo>
                  <a:pt x="11331896" y="1984709"/>
                  <a:pt x="11341755" y="1988860"/>
                  <a:pt x="11349147" y="1996254"/>
                </a:cubicBezTo>
                <a:lnTo>
                  <a:pt x="11427627" y="2074862"/>
                </a:lnTo>
                <a:lnTo>
                  <a:pt x="11439169" y="2102615"/>
                </a:lnTo>
                <a:lnTo>
                  <a:pt x="11427757" y="2130362"/>
                </a:lnTo>
                <a:lnTo>
                  <a:pt x="11217744" y="2340772"/>
                </a:lnTo>
                <a:lnTo>
                  <a:pt x="11007731" y="2130362"/>
                </a:lnTo>
                <a:lnTo>
                  <a:pt x="10996254" y="2102632"/>
                </a:lnTo>
                <a:lnTo>
                  <a:pt x="11007731" y="2074992"/>
                </a:lnTo>
                <a:lnTo>
                  <a:pt x="11086210" y="1996254"/>
                </a:lnTo>
                <a:cubicBezTo>
                  <a:pt x="11093605" y="1988860"/>
                  <a:pt x="11103333" y="1984709"/>
                  <a:pt x="11113840" y="1984709"/>
                </a:cubicBezTo>
                <a:close/>
                <a:moveTo>
                  <a:pt x="9059892" y="1984692"/>
                </a:moveTo>
                <a:cubicBezTo>
                  <a:pt x="9070398" y="1984692"/>
                  <a:pt x="9080257" y="1988843"/>
                  <a:pt x="9087652" y="1996238"/>
                </a:cubicBezTo>
                <a:lnTo>
                  <a:pt x="9152251" y="2060967"/>
                </a:lnTo>
                <a:lnTo>
                  <a:pt x="9163796" y="2072641"/>
                </a:lnTo>
                <a:lnTo>
                  <a:pt x="9175341" y="2060967"/>
                </a:lnTo>
                <a:lnTo>
                  <a:pt x="9239810" y="1996238"/>
                </a:lnTo>
                <a:cubicBezTo>
                  <a:pt x="9247204" y="1988714"/>
                  <a:pt x="9257062" y="1984692"/>
                  <a:pt x="9267570" y="1984692"/>
                </a:cubicBezTo>
                <a:cubicBezTo>
                  <a:pt x="9277946" y="1984692"/>
                  <a:pt x="9287805" y="1988843"/>
                  <a:pt x="9295200" y="1996238"/>
                </a:cubicBezTo>
                <a:lnTo>
                  <a:pt x="9373678" y="2074846"/>
                </a:lnTo>
                <a:lnTo>
                  <a:pt x="9385220" y="2102601"/>
                </a:lnTo>
                <a:lnTo>
                  <a:pt x="9373809" y="2130340"/>
                </a:lnTo>
                <a:lnTo>
                  <a:pt x="9163797" y="2340755"/>
                </a:lnTo>
                <a:lnTo>
                  <a:pt x="8953784" y="2130340"/>
                </a:lnTo>
                <a:lnTo>
                  <a:pt x="8942307" y="2102615"/>
                </a:lnTo>
                <a:lnTo>
                  <a:pt x="8953783" y="2074978"/>
                </a:lnTo>
                <a:lnTo>
                  <a:pt x="9032263" y="1996238"/>
                </a:lnTo>
                <a:cubicBezTo>
                  <a:pt x="9039655" y="1988843"/>
                  <a:pt x="9049385" y="1984692"/>
                  <a:pt x="9059892" y="1984692"/>
                </a:cubicBezTo>
                <a:close/>
                <a:moveTo>
                  <a:pt x="7006076" y="1984677"/>
                </a:moveTo>
                <a:cubicBezTo>
                  <a:pt x="7016582" y="1984677"/>
                  <a:pt x="7026440" y="1988828"/>
                  <a:pt x="7033834" y="1996221"/>
                </a:cubicBezTo>
                <a:lnTo>
                  <a:pt x="7098434" y="2060951"/>
                </a:lnTo>
                <a:lnTo>
                  <a:pt x="7109978" y="2072625"/>
                </a:lnTo>
                <a:lnTo>
                  <a:pt x="7121523" y="2060951"/>
                </a:lnTo>
                <a:lnTo>
                  <a:pt x="7185994" y="1996221"/>
                </a:lnTo>
                <a:cubicBezTo>
                  <a:pt x="7193387" y="1988696"/>
                  <a:pt x="7203245" y="1984677"/>
                  <a:pt x="7213751" y="1984677"/>
                </a:cubicBezTo>
                <a:cubicBezTo>
                  <a:pt x="7224130" y="1984677"/>
                  <a:pt x="7233989" y="1988828"/>
                  <a:pt x="7241381" y="1996221"/>
                </a:cubicBezTo>
                <a:lnTo>
                  <a:pt x="7319862" y="2074831"/>
                </a:lnTo>
                <a:lnTo>
                  <a:pt x="7331403" y="2102583"/>
                </a:lnTo>
                <a:lnTo>
                  <a:pt x="7319992" y="2130329"/>
                </a:lnTo>
                <a:lnTo>
                  <a:pt x="7109978" y="2340739"/>
                </a:lnTo>
                <a:lnTo>
                  <a:pt x="6899966" y="2130329"/>
                </a:lnTo>
                <a:lnTo>
                  <a:pt x="6888488" y="2102601"/>
                </a:lnTo>
                <a:lnTo>
                  <a:pt x="6899966" y="2074961"/>
                </a:lnTo>
                <a:lnTo>
                  <a:pt x="6978446" y="1996221"/>
                </a:lnTo>
                <a:cubicBezTo>
                  <a:pt x="6985839" y="1988828"/>
                  <a:pt x="6995568" y="1984677"/>
                  <a:pt x="7006076" y="1984677"/>
                </a:cubicBezTo>
                <a:close/>
                <a:moveTo>
                  <a:pt x="4952163" y="1984659"/>
                </a:moveTo>
                <a:cubicBezTo>
                  <a:pt x="4962672" y="1984659"/>
                  <a:pt x="4972539" y="1988810"/>
                  <a:pt x="4979931" y="1996205"/>
                </a:cubicBezTo>
                <a:lnTo>
                  <a:pt x="5021209" y="2037554"/>
                </a:lnTo>
                <a:lnTo>
                  <a:pt x="5044521" y="2060919"/>
                </a:lnTo>
                <a:lnTo>
                  <a:pt x="5056083" y="2072595"/>
                </a:lnTo>
                <a:lnTo>
                  <a:pt x="5056083" y="2072592"/>
                </a:lnTo>
                <a:lnTo>
                  <a:pt x="5056095" y="2072609"/>
                </a:lnTo>
                <a:lnTo>
                  <a:pt x="5067642" y="2060935"/>
                </a:lnTo>
                <a:lnTo>
                  <a:pt x="5132091" y="1996205"/>
                </a:lnTo>
                <a:cubicBezTo>
                  <a:pt x="5139483" y="1988680"/>
                  <a:pt x="5149338" y="1984659"/>
                  <a:pt x="5159840" y="1984659"/>
                </a:cubicBezTo>
                <a:lnTo>
                  <a:pt x="5187487" y="1996203"/>
                </a:lnTo>
                <a:lnTo>
                  <a:pt x="5234645" y="2043461"/>
                </a:lnTo>
                <a:lnTo>
                  <a:pt x="5265946" y="2074804"/>
                </a:lnTo>
                <a:lnTo>
                  <a:pt x="5277479" y="2102560"/>
                </a:lnTo>
                <a:cubicBezTo>
                  <a:pt x="5277479" y="2113068"/>
                  <a:pt x="5273469" y="2122919"/>
                  <a:pt x="5266071" y="2130322"/>
                </a:cubicBezTo>
                <a:lnTo>
                  <a:pt x="5056083" y="2340720"/>
                </a:lnTo>
                <a:lnTo>
                  <a:pt x="4969669" y="2254172"/>
                </a:lnTo>
                <a:lnTo>
                  <a:pt x="4846040" y="2130322"/>
                </a:lnTo>
                <a:lnTo>
                  <a:pt x="4834566" y="2102591"/>
                </a:lnTo>
                <a:cubicBezTo>
                  <a:pt x="4834566" y="2092554"/>
                  <a:pt x="4838398" y="2082533"/>
                  <a:pt x="4846044" y="2074945"/>
                </a:cubicBezTo>
                <a:lnTo>
                  <a:pt x="4924518" y="1996205"/>
                </a:lnTo>
                <a:cubicBezTo>
                  <a:pt x="4931917" y="1988810"/>
                  <a:pt x="4941650" y="1984659"/>
                  <a:pt x="4952163" y="1984659"/>
                </a:cubicBezTo>
                <a:close/>
                <a:moveTo>
                  <a:pt x="2898379" y="1984642"/>
                </a:moveTo>
                <a:lnTo>
                  <a:pt x="2926124" y="1996183"/>
                </a:lnTo>
                <a:lnTo>
                  <a:pt x="2990712" y="2060903"/>
                </a:lnTo>
                <a:lnTo>
                  <a:pt x="3002260" y="2072579"/>
                </a:lnTo>
                <a:lnTo>
                  <a:pt x="3002262" y="2072574"/>
                </a:lnTo>
                <a:lnTo>
                  <a:pt x="3002282" y="2072593"/>
                </a:lnTo>
                <a:lnTo>
                  <a:pt x="3013824" y="2060919"/>
                </a:lnTo>
                <a:lnTo>
                  <a:pt x="3078292" y="1996188"/>
                </a:lnTo>
                <a:cubicBezTo>
                  <a:pt x="3085693" y="1988664"/>
                  <a:pt x="3095547" y="1984642"/>
                  <a:pt x="3106058" y="1984642"/>
                </a:cubicBezTo>
                <a:lnTo>
                  <a:pt x="3133671" y="1996183"/>
                </a:lnTo>
                <a:lnTo>
                  <a:pt x="3212141" y="2074784"/>
                </a:lnTo>
                <a:cubicBezTo>
                  <a:pt x="3219535" y="2082179"/>
                  <a:pt x="3223556" y="2092036"/>
                  <a:pt x="3223687" y="2102544"/>
                </a:cubicBezTo>
                <a:cubicBezTo>
                  <a:pt x="3223687" y="2113052"/>
                  <a:pt x="3219666" y="2122906"/>
                  <a:pt x="3212272" y="2130304"/>
                </a:cubicBezTo>
                <a:lnTo>
                  <a:pt x="3002263" y="2340706"/>
                </a:lnTo>
                <a:lnTo>
                  <a:pt x="2792272" y="2130322"/>
                </a:lnTo>
                <a:cubicBezTo>
                  <a:pt x="2776962" y="2115013"/>
                  <a:pt x="2776962" y="2090107"/>
                  <a:pt x="2792272" y="2074929"/>
                </a:cubicBezTo>
                <a:lnTo>
                  <a:pt x="2870746" y="1996188"/>
                </a:lnTo>
                <a:cubicBezTo>
                  <a:pt x="2878142" y="1988794"/>
                  <a:pt x="2887867" y="1984642"/>
                  <a:pt x="2898379" y="1984642"/>
                </a:cubicBezTo>
                <a:close/>
                <a:moveTo>
                  <a:pt x="844398" y="1984626"/>
                </a:moveTo>
                <a:lnTo>
                  <a:pt x="872148" y="1996168"/>
                </a:lnTo>
                <a:lnTo>
                  <a:pt x="936736" y="2060888"/>
                </a:lnTo>
                <a:lnTo>
                  <a:pt x="948281" y="2072562"/>
                </a:lnTo>
                <a:lnTo>
                  <a:pt x="948285" y="2072558"/>
                </a:lnTo>
                <a:lnTo>
                  <a:pt x="948304" y="2072577"/>
                </a:lnTo>
                <a:lnTo>
                  <a:pt x="959848" y="2060903"/>
                </a:lnTo>
                <a:lnTo>
                  <a:pt x="1024318" y="1996172"/>
                </a:lnTo>
                <a:cubicBezTo>
                  <a:pt x="1031712" y="1988648"/>
                  <a:pt x="1041571" y="1984626"/>
                  <a:pt x="1052077" y="1984626"/>
                </a:cubicBezTo>
                <a:lnTo>
                  <a:pt x="1079695" y="1996168"/>
                </a:lnTo>
                <a:lnTo>
                  <a:pt x="1158163" y="2074768"/>
                </a:lnTo>
                <a:cubicBezTo>
                  <a:pt x="1165557" y="2082163"/>
                  <a:pt x="1169579" y="2092021"/>
                  <a:pt x="1169708" y="2102528"/>
                </a:cubicBezTo>
                <a:cubicBezTo>
                  <a:pt x="1169708" y="2113036"/>
                  <a:pt x="1165688" y="2122893"/>
                  <a:pt x="1158294" y="2130289"/>
                </a:cubicBezTo>
                <a:lnTo>
                  <a:pt x="948285" y="2340695"/>
                </a:lnTo>
                <a:lnTo>
                  <a:pt x="738292" y="2130304"/>
                </a:lnTo>
                <a:cubicBezTo>
                  <a:pt x="722985" y="2114996"/>
                  <a:pt x="722985" y="2090090"/>
                  <a:pt x="738292" y="2074914"/>
                </a:cubicBezTo>
                <a:lnTo>
                  <a:pt x="816770" y="1996172"/>
                </a:lnTo>
                <a:cubicBezTo>
                  <a:pt x="824164" y="1988778"/>
                  <a:pt x="833892" y="1984626"/>
                  <a:pt x="844398" y="1984626"/>
                </a:cubicBezTo>
                <a:close/>
                <a:moveTo>
                  <a:pt x="11113840" y="1968219"/>
                </a:moveTo>
                <a:cubicBezTo>
                  <a:pt x="11099571" y="1968219"/>
                  <a:pt x="11085432" y="1973667"/>
                  <a:pt x="11074665" y="1984563"/>
                </a:cubicBezTo>
                <a:lnTo>
                  <a:pt x="10996186" y="2063301"/>
                </a:lnTo>
                <a:cubicBezTo>
                  <a:pt x="10985354" y="2074134"/>
                  <a:pt x="10979939" y="2088370"/>
                  <a:pt x="10979939" y="2102607"/>
                </a:cubicBezTo>
                <a:lnTo>
                  <a:pt x="10979942" y="2102615"/>
                </a:lnTo>
                <a:lnTo>
                  <a:pt x="10979939" y="2102624"/>
                </a:lnTo>
                <a:cubicBezTo>
                  <a:pt x="10979939" y="2116849"/>
                  <a:pt x="10985354" y="2131085"/>
                  <a:pt x="10996186" y="2141922"/>
                </a:cubicBezTo>
                <a:lnTo>
                  <a:pt x="11217744" y="2364005"/>
                </a:lnTo>
                <a:lnTo>
                  <a:pt x="11439301" y="2141922"/>
                </a:lnTo>
                <a:cubicBezTo>
                  <a:pt x="11450132" y="2131085"/>
                  <a:pt x="11455548" y="2116849"/>
                  <a:pt x="11455548" y="2102624"/>
                </a:cubicBezTo>
                <a:lnTo>
                  <a:pt x="11455545" y="2102615"/>
                </a:lnTo>
                <a:lnTo>
                  <a:pt x="11455548" y="2102607"/>
                </a:lnTo>
                <a:cubicBezTo>
                  <a:pt x="11455548" y="2088370"/>
                  <a:pt x="11450132" y="2074134"/>
                  <a:pt x="11439301" y="2063301"/>
                </a:cubicBezTo>
                <a:lnTo>
                  <a:pt x="11360822" y="1984693"/>
                </a:lnTo>
                <a:cubicBezTo>
                  <a:pt x="11349927" y="1973797"/>
                  <a:pt x="11335787" y="1968348"/>
                  <a:pt x="11321647" y="1968348"/>
                </a:cubicBezTo>
                <a:lnTo>
                  <a:pt x="11321517" y="1968219"/>
                </a:lnTo>
                <a:cubicBezTo>
                  <a:pt x="11307249" y="1968219"/>
                  <a:pt x="11293110" y="1973667"/>
                  <a:pt x="11282213" y="1984693"/>
                </a:cubicBezTo>
                <a:lnTo>
                  <a:pt x="11217744" y="2049294"/>
                </a:lnTo>
                <a:lnTo>
                  <a:pt x="11153145" y="1984563"/>
                </a:lnTo>
                <a:cubicBezTo>
                  <a:pt x="11142248" y="1973667"/>
                  <a:pt x="11128108" y="1968219"/>
                  <a:pt x="11113840" y="1968219"/>
                </a:cubicBezTo>
                <a:close/>
                <a:moveTo>
                  <a:pt x="9059893" y="1968203"/>
                </a:moveTo>
                <a:cubicBezTo>
                  <a:pt x="9045624" y="1968203"/>
                  <a:pt x="9031484" y="1973653"/>
                  <a:pt x="9020718" y="1984547"/>
                </a:cubicBezTo>
                <a:lnTo>
                  <a:pt x="8942239" y="2063287"/>
                </a:lnTo>
                <a:cubicBezTo>
                  <a:pt x="8931408" y="2074118"/>
                  <a:pt x="8925992" y="2088355"/>
                  <a:pt x="8925992" y="2102593"/>
                </a:cubicBezTo>
                <a:lnTo>
                  <a:pt x="8925994" y="2102598"/>
                </a:lnTo>
                <a:lnTo>
                  <a:pt x="8925991" y="2102606"/>
                </a:lnTo>
                <a:cubicBezTo>
                  <a:pt x="8925991" y="2116838"/>
                  <a:pt x="8931406" y="2131068"/>
                  <a:pt x="8942238" y="2141902"/>
                </a:cubicBezTo>
                <a:lnTo>
                  <a:pt x="9163796" y="2363983"/>
                </a:lnTo>
                <a:lnTo>
                  <a:pt x="9385353" y="2141902"/>
                </a:lnTo>
                <a:cubicBezTo>
                  <a:pt x="9396185" y="2131068"/>
                  <a:pt x="9401600" y="2116838"/>
                  <a:pt x="9401600" y="2102606"/>
                </a:cubicBezTo>
                <a:lnTo>
                  <a:pt x="9401598" y="2102601"/>
                </a:lnTo>
                <a:lnTo>
                  <a:pt x="9401601" y="2102593"/>
                </a:lnTo>
                <a:cubicBezTo>
                  <a:pt x="9401601" y="2088355"/>
                  <a:pt x="9396185" y="2074118"/>
                  <a:pt x="9385354" y="2063287"/>
                </a:cubicBezTo>
                <a:lnTo>
                  <a:pt x="9306876" y="1984677"/>
                </a:lnTo>
                <a:cubicBezTo>
                  <a:pt x="9295978" y="1973780"/>
                  <a:pt x="9281840" y="1968333"/>
                  <a:pt x="9267701" y="1968333"/>
                </a:cubicBezTo>
                <a:lnTo>
                  <a:pt x="9267571" y="1968203"/>
                </a:lnTo>
                <a:cubicBezTo>
                  <a:pt x="9253303" y="1968203"/>
                  <a:pt x="9239162" y="1973653"/>
                  <a:pt x="9228266" y="1984677"/>
                </a:cubicBezTo>
                <a:lnTo>
                  <a:pt x="9163797" y="2049278"/>
                </a:lnTo>
                <a:lnTo>
                  <a:pt x="9099198" y="1984547"/>
                </a:lnTo>
                <a:cubicBezTo>
                  <a:pt x="9088300" y="1973653"/>
                  <a:pt x="9074162" y="1968203"/>
                  <a:pt x="9059893" y="1968203"/>
                </a:cubicBezTo>
                <a:close/>
                <a:moveTo>
                  <a:pt x="7006076" y="1968186"/>
                </a:moveTo>
                <a:cubicBezTo>
                  <a:pt x="6991805" y="1968186"/>
                  <a:pt x="6977666" y="1973634"/>
                  <a:pt x="6966901" y="1984530"/>
                </a:cubicBezTo>
                <a:lnTo>
                  <a:pt x="6888421" y="2063270"/>
                </a:lnTo>
                <a:cubicBezTo>
                  <a:pt x="6877589" y="2074102"/>
                  <a:pt x="6872173" y="2088339"/>
                  <a:pt x="6872173" y="2102577"/>
                </a:cubicBezTo>
                <a:lnTo>
                  <a:pt x="6872176" y="2102583"/>
                </a:lnTo>
                <a:lnTo>
                  <a:pt x="6872173" y="2102591"/>
                </a:lnTo>
                <a:cubicBezTo>
                  <a:pt x="6872173" y="2116819"/>
                  <a:pt x="6877589" y="2131060"/>
                  <a:pt x="6888421" y="2141896"/>
                </a:cubicBezTo>
                <a:lnTo>
                  <a:pt x="7109978" y="2363976"/>
                </a:lnTo>
                <a:lnTo>
                  <a:pt x="7331537" y="2141896"/>
                </a:lnTo>
                <a:cubicBezTo>
                  <a:pt x="7342368" y="2131060"/>
                  <a:pt x="7347783" y="2116819"/>
                  <a:pt x="7347783" y="2102591"/>
                </a:cubicBezTo>
                <a:lnTo>
                  <a:pt x="7347780" y="2102583"/>
                </a:lnTo>
                <a:lnTo>
                  <a:pt x="7347783" y="2102577"/>
                </a:lnTo>
                <a:cubicBezTo>
                  <a:pt x="7347783" y="2088339"/>
                  <a:pt x="7342368" y="2074102"/>
                  <a:pt x="7331537" y="2063270"/>
                </a:cubicBezTo>
                <a:lnTo>
                  <a:pt x="7253057" y="1984660"/>
                </a:lnTo>
                <a:cubicBezTo>
                  <a:pt x="7242161" y="1973763"/>
                  <a:pt x="7228022" y="1968316"/>
                  <a:pt x="7213882" y="1968316"/>
                </a:cubicBezTo>
                <a:lnTo>
                  <a:pt x="7213751" y="1968186"/>
                </a:lnTo>
                <a:cubicBezTo>
                  <a:pt x="7199483" y="1968186"/>
                  <a:pt x="7185345" y="1973634"/>
                  <a:pt x="7174449" y="1984660"/>
                </a:cubicBezTo>
                <a:lnTo>
                  <a:pt x="7109978" y="2049261"/>
                </a:lnTo>
                <a:lnTo>
                  <a:pt x="7045379" y="1984530"/>
                </a:lnTo>
                <a:cubicBezTo>
                  <a:pt x="7034483" y="1973634"/>
                  <a:pt x="7020344" y="1968186"/>
                  <a:pt x="7006076" y="1968186"/>
                </a:cubicBezTo>
                <a:close/>
                <a:moveTo>
                  <a:pt x="4952154" y="1968169"/>
                </a:moveTo>
                <a:cubicBezTo>
                  <a:pt x="4937883" y="1968169"/>
                  <a:pt x="4923734" y="1973618"/>
                  <a:pt x="4912971" y="1984514"/>
                </a:cubicBezTo>
                <a:lnTo>
                  <a:pt x="4834497" y="2063254"/>
                </a:lnTo>
                <a:cubicBezTo>
                  <a:pt x="4812828" y="2084919"/>
                  <a:pt x="4812828" y="2120198"/>
                  <a:pt x="4834497" y="2141866"/>
                </a:cubicBezTo>
                <a:lnTo>
                  <a:pt x="4834505" y="2141879"/>
                </a:lnTo>
                <a:lnTo>
                  <a:pt x="4969761" y="2277444"/>
                </a:lnTo>
                <a:lnTo>
                  <a:pt x="5056083" y="2363949"/>
                </a:lnTo>
                <a:lnTo>
                  <a:pt x="5056083" y="2363940"/>
                </a:lnTo>
                <a:lnTo>
                  <a:pt x="5056095" y="2363964"/>
                </a:lnTo>
                <a:lnTo>
                  <a:pt x="5277619" y="2141879"/>
                </a:lnTo>
                <a:cubicBezTo>
                  <a:pt x="5299295" y="2120214"/>
                  <a:pt x="5299295" y="2084933"/>
                  <a:pt x="5277619" y="2063270"/>
                </a:cubicBezTo>
                <a:lnTo>
                  <a:pt x="5277615" y="2063260"/>
                </a:lnTo>
                <a:lnTo>
                  <a:pt x="5277613" y="2063254"/>
                </a:lnTo>
                <a:lnTo>
                  <a:pt x="5199129" y="1984644"/>
                </a:lnTo>
                <a:cubicBezTo>
                  <a:pt x="5188240" y="1973748"/>
                  <a:pt x="5174094" y="1968300"/>
                  <a:pt x="5159958" y="1968300"/>
                </a:cubicBezTo>
                <a:lnTo>
                  <a:pt x="5159834" y="1968169"/>
                </a:lnTo>
                <a:cubicBezTo>
                  <a:pt x="5145563" y="1968169"/>
                  <a:pt x="5131430" y="1973618"/>
                  <a:pt x="5120536" y="1984644"/>
                </a:cubicBezTo>
                <a:lnTo>
                  <a:pt x="5056083" y="2049243"/>
                </a:lnTo>
                <a:lnTo>
                  <a:pt x="5013371" y="2006464"/>
                </a:lnTo>
                <a:lnTo>
                  <a:pt x="4991465" y="1984514"/>
                </a:lnTo>
                <a:cubicBezTo>
                  <a:pt x="4980565" y="1973618"/>
                  <a:pt x="4966420" y="1968169"/>
                  <a:pt x="4952154" y="1968169"/>
                </a:cubicBezTo>
                <a:close/>
                <a:moveTo>
                  <a:pt x="2898356" y="1968153"/>
                </a:moveTo>
                <a:cubicBezTo>
                  <a:pt x="2884084" y="1968153"/>
                  <a:pt x="2869945" y="1973601"/>
                  <a:pt x="2859181" y="1984498"/>
                </a:cubicBezTo>
                <a:lnTo>
                  <a:pt x="2780699" y="2063238"/>
                </a:lnTo>
                <a:cubicBezTo>
                  <a:pt x="2759037" y="2084901"/>
                  <a:pt x="2759037" y="2120185"/>
                  <a:pt x="2780699" y="2141849"/>
                </a:cubicBezTo>
                <a:lnTo>
                  <a:pt x="3002260" y="2363931"/>
                </a:lnTo>
                <a:lnTo>
                  <a:pt x="3002263" y="2363925"/>
                </a:lnTo>
                <a:lnTo>
                  <a:pt x="3002282" y="2363946"/>
                </a:lnTo>
                <a:lnTo>
                  <a:pt x="3223840" y="2141866"/>
                </a:lnTo>
                <a:cubicBezTo>
                  <a:pt x="3245503" y="2120198"/>
                  <a:pt x="3245503" y="2084918"/>
                  <a:pt x="3223840" y="2063254"/>
                </a:cubicBezTo>
                <a:lnTo>
                  <a:pt x="3145359" y="1984642"/>
                </a:lnTo>
                <a:cubicBezTo>
                  <a:pt x="3139911" y="1979194"/>
                  <a:pt x="3133652" y="1975108"/>
                  <a:pt x="3126988" y="1972385"/>
                </a:cubicBezTo>
                <a:lnTo>
                  <a:pt x="3126965" y="1972369"/>
                </a:lnTo>
                <a:lnTo>
                  <a:pt x="3106173" y="1968284"/>
                </a:lnTo>
                <a:lnTo>
                  <a:pt x="3106058" y="1968169"/>
                </a:lnTo>
                <a:lnTo>
                  <a:pt x="3106050" y="1968170"/>
                </a:lnTo>
                <a:lnTo>
                  <a:pt x="3106032" y="1968153"/>
                </a:lnTo>
                <a:cubicBezTo>
                  <a:pt x="3091763" y="1968153"/>
                  <a:pt x="3077624" y="1973601"/>
                  <a:pt x="3066728" y="1984627"/>
                </a:cubicBezTo>
                <a:lnTo>
                  <a:pt x="3002263" y="2049224"/>
                </a:lnTo>
                <a:lnTo>
                  <a:pt x="2937683" y="1984514"/>
                </a:lnTo>
                <a:cubicBezTo>
                  <a:pt x="2932237" y="1979065"/>
                  <a:pt x="2925973" y="1974980"/>
                  <a:pt x="2919295" y="1972255"/>
                </a:cubicBezTo>
                <a:lnTo>
                  <a:pt x="2919269" y="1972239"/>
                </a:lnTo>
                <a:cubicBezTo>
                  <a:pt x="2912591" y="1969515"/>
                  <a:pt x="2905489" y="1968153"/>
                  <a:pt x="2898356" y="1968153"/>
                </a:cubicBezTo>
                <a:close/>
                <a:moveTo>
                  <a:pt x="844377" y="1968136"/>
                </a:moveTo>
                <a:cubicBezTo>
                  <a:pt x="830108" y="1968136"/>
                  <a:pt x="815969" y="1973585"/>
                  <a:pt x="805203" y="1984482"/>
                </a:cubicBezTo>
                <a:lnTo>
                  <a:pt x="726723" y="2063222"/>
                </a:lnTo>
                <a:cubicBezTo>
                  <a:pt x="705060" y="2084887"/>
                  <a:pt x="705060" y="2120170"/>
                  <a:pt x="726723" y="2141834"/>
                </a:cubicBezTo>
                <a:lnTo>
                  <a:pt x="948281" y="2363918"/>
                </a:lnTo>
                <a:lnTo>
                  <a:pt x="948286" y="2363911"/>
                </a:lnTo>
                <a:lnTo>
                  <a:pt x="948304" y="2363931"/>
                </a:lnTo>
                <a:lnTo>
                  <a:pt x="1169859" y="2141849"/>
                </a:lnTo>
                <a:cubicBezTo>
                  <a:pt x="1191522" y="2120185"/>
                  <a:pt x="1191522" y="2084901"/>
                  <a:pt x="1169859" y="2063237"/>
                </a:cubicBezTo>
                <a:lnTo>
                  <a:pt x="1091381" y="1984626"/>
                </a:lnTo>
                <a:lnTo>
                  <a:pt x="1087230" y="1981855"/>
                </a:lnTo>
                <a:lnTo>
                  <a:pt x="1072988" y="1972352"/>
                </a:lnTo>
                <a:lnTo>
                  <a:pt x="1052193" y="1968268"/>
                </a:lnTo>
                <a:lnTo>
                  <a:pt x="1052077" y="1968152"/>
                </a:lnTo>
                <a:lnTo>
                  <a:pt x="1052071" y="1968153"/>
                </a:lnTo>
                <a:lnTo>
                  <a:pt x="1052055" y="1968136"/>
                </a:lnTo>
                <a:cubicBezTo>
                  <a:pt x="1037785" y="1968136"/>
                  <a:pt x="1023647" y="1973585"/>
                  <a:pt x="1012751" y="1984611"/>
                </a:cubicBezTo>
                <a:lnTo>
                  <a:pt x="948285" y="2049209"/>
                </a:lnTo>
                <a:lnTo>
                  <a:pt x="883704" y="1984497"/>
                </a:lnTo>
                <a:lnTo>
                  <a:pt x="883682" y="1984482"/>
                </a:lnTo>
                <a:lnTo>
                  <a:pt x="883681" y="1984482"/>
                </a:lnTo>
                <a:cubicBezTo>
                  <a:pt x="872785" y="1973585"/>
                  <a:pt x="858645" y="1968136"/>
                  <a:pt x="844377" y="1968136"/>
                </a:cubicBezTo>
                <a:close/>
                <a:moveTo>
                  <a:pt x="11910826" y="1757693"/>
                </a:moveTo>
                <a:lnTo>
                  <a:pt x="12188651" y="1918485"/>
                </a:lnTo>
                <a:lnTo>
                  <a:pt x="12188651" y="2295294"/>
                </a:lnTo>
                <a:lnTo>
                  <a:pt x="11910826" y="2134524"/>
                </a:lnTo>
                <a:close/>
                <a:moveTo>
                  <a:pt x="11894481" y="1757693"/>
                </a:moveTo>
                <a:lnTo>
                  <a:pt x="11894481" y="2134524"/>
                </a:lnTo>
                <a:lnTo>
                  <a:pt x="11568890" y="2322864"/>
                </a:lnTo>
                <a:lnTo>
                  <a:pt x="11568890" y="1946054"/>
                </a:lnTo>
                <a:close/>
                <a:moveTo>
                  <a:pt x="9857006" y="1757678"/>
                </a:moveTo>
                <a:lnTo>
                  <a:pt x="10182468" y="1946038"/>
                </a:lnTo>
                <a:lnTo>
                  <a:pt x="10182468" y="2322844"/>
                </a:lnTo>
                <a:lnTo>
                  <a:pt x="9857006" y="2134505"/>
                </a:lnTo>
                <a:close/>
                <a:moveTo>
                  <a:pt x="9840661" y="1757678"/>
                </a:moveTo>
                <a:lnTo>
                  <a:pt x="9840661" y="2134505"/>
                </a:lnTo>
                <a:lnTo>
                  <a:pt x="9515070" y="2322844"/>
                </a:lnTo>
                <a:lnTo>
                  <a:pt x="9515070" y="1946038"/>
                </a:lnTo>
                <a:close/>
                <a:moveTo>
                  <a:pt x="7803060" y="1757662"/>
                </a:moveTo>
                <a:lnTo>
                  <a:pt x="8128521" y="1946022"/>
                </a:lnTo>
                <a:lnTo>
                  <a:pt x="8128521" y="2322839"/>
                </a:lnTo>
                <a:lnTo>
                  <a:pt x="7803060" y="2134492"/>
                </a:lnTo>
                <a:close/>
                <a:moveTo>
                  <a:pt x="7786715" y="1757662"/>
                </a:moveTo>
                <a:lnTo>
                  <a:pt x="7786715" y="2134492"/>
                </a:lnTo>
                <a:lnTo>
                  <a:pt x="7461125" y="2322839"/>
                </a:lnTo>
                <a:lnTo>
                  <a:pt x="7461125" y="1946022"/>
                </a:lnTo>
                <a:close/>
                <a:moveTo>
                  <a:pt x="5732923" y="1757647"/>
                </a:moveTo>
                <a:lnTo>
                  <a:pt x="5732923" y="2134484"/>
                </a:lnTo>
                <a:lnTo>
                  <a:pt x="5407352" y="2322830"/>
                </a:lnTo>
                <a:lnTo>
                  <a:pt x="5407352" y="1946005"/>
                </a:lnTo>
                <a:close/>
                <a:moveTo>
                  <a:pt x="5749266" y="1757646"/>
                </a:moveTo>
                <a:lnTo>
                  <a:pt x="6074705" y="1946005"/>
                </a:lnTo>
                <a:lnTo>
                  <a:pt x="6074705" y="2322830"/>
                </a:lnTo>
                <a:lnTo>
                  <a:pt x="5749266" y="2134484"/>
                </a:lnTo>
                <a:close/>
                <a:moveTo>
                  <a:pt x="3679144" y="1757633"/>
                </a:moveTo>
                <a:lnTo>
                  <a:pt x="3679144" y="2134464"/>
                </a:lnTo>
                <a:lnTo>
                  <a:pt x="3353563" y="2322807"/>
                </a:lnTo>
                <a:lnTo>
                  <a:pt x="3353563" y="1945988"/>
                </a:lnTo>
                <a:close/>
                <a:moveTo>
                  <a:pt x="3695494" y="1757631"/>
                </a:moveTo>
                <a:lnTo>
                  <a:pt x="4020945" y="1945986"/>
                </a:lnTo>
                <a:lnTo>
                  <a:pt x="4020945" y="2322809"/>
                </a:lnTo>
                <a:lnTo>
                  <a:pt x="3733755" y="2156613"/>
                </a:lnTo>
                <a:lnTo>
                  <a:pt x="3695494" y="2134468"/>
                </a:lnTo>
                <a:close/>
                <a:moveTo>
                  <a:pt x="1625166" y="1757617"/>
                </a:moveTo>
                <a:lnTo>
                  <a:pt x="1625166" y="2134450"/>
                </a:lnTo>
                <a:lnTo>
                  <a:pt x="1299581" y="2322797"/>
                </a:lnTo>
                <a:lnTo>
                  <a:pt x="1299581" y="1945972"/>
                </a:lnTo>
                <a:close/>
                <a:moveTo>
                  <a:pt x="1641515" y="1757615"/>
                </a:moveTo>
                <a:lnTo>
                  <a:pt x="1966969" y="1945969"/>
                </a:lnTo>
                <a:lnTo>
                  <a:pt x="1966969" y="2322802"/>
                </a:lnTo>
                <a:lnTo>
                  <a:pt x="1914926" y="2292686"/>
                </a:lnTo>
                <a:lnTo>
                  <a:pt x="1641515" y="2134455"/>
                </a:lnTo>
                <a:close/>
                <a:moveTo>
                  <a:pt x="10532576" y="1752878"/>
                </a:moveTo>
                <a:lnTo>
                  <a:pt x="10866339" y="1946038"/>
                </a:lnTo>
                <a:lnTo>
                  <a:pt x="10866339" y="2332329"/>
                </a:lnTo>
                <a:lnTo>
                  <a:pt x="10532706" y="2525485"/>
                </a:lnTo>
                <a:lnTo>
                  <a:pt x="10198941" y="2332329"/>
                </a:lnTo>
                <a:lnTo>
                  <a:pt x="10198941" y="1946038"/>
                </a:lnTo>
                <a:close/>
                <a:moveTo>
                  <a:pt x="8478628" y="1752864"/>
                </a:moveTo>
                <a:lnTo>
                  <a:pt x="8812392" y="1946022"/>
                </a:lnTo>
                <a:lnTo>
                  <a:pt x="8812392" y="2332319"/>
                </a:lnTo>
                <a:lnTo>
                  <a:pt x="8478758" y="2525474"/>
                </a:lnTo>
                <a:lnTo>
                  <a:pt x="8144995" y="2332319"/>
                </a:lnTo>
                <a:lnTo>
                  <a:pt x="8144995" y="1946022"/>
                </a:lnTo>
                <a:close/>
                <a:moveTo>
                  <a:pt x="6424810" y="1752847"/>
                </a:moveTo>
                <a:lnTo>
                  <a:pt x="6758573" y="1946005"/>
                </a:lnTo>
                <a:lnTo>
                  <a:pt x="6758573" y="2332304"/>
                </a:lnTo>
                <a:lnTo>
                  <a:pt x="6424940" y="2525464"/>
                </a:lnTo>
                <a:lnTo>
                  <a:pt x="6091179" y="2332304"/>
                </a:lnTo>
                <a:lnTo>
                  <a:pt x="6091179" y="1946005"/>
                </a:lnTo>
                <a:close/>
                <a:moveTo>
                  <a:pt x="4371020" y="1752830"/>
                </a:moveTo>
                <a:lnTo>
                  <a:pt x="4704777" y="1945988"/>
                </a:lnTo>
                <a:lnTo>
                  <a:pt x="4704777" y="2332286"/>
                </a:lnTo>
                <a:lnTo>
                  <a:pt x="4371146" y="2525446"/>
                </a:lnTo>
                <a:lnTo>
                  <a:pt x="4037427" y="2332293"/>
                </a:lnTo>
                <a:lnTo>
                  <a:pt x="4037427" y="1945988"/>
                </a:lnTo>
                <a:close/>
                <a:moveTo>
                  <a:pt x="2317092" y="1752815"/>
                </a:moveTo>
                <a:lnTo>
                  <a:pt x="2650846" y="1945968"/>
                </a:lnTo>
                <a:lnTo>
                  <a:pt x="2650846" y="2332273"/>
                </a:lnTo>
                <a:lnTo>
                  <a:pt x="2317216" y="2525431"/>
                </a:lnTo>
                <a:lnTo>
                  <a:pt x="2153844" y="2430884"/>
                </a:lnTo>
                <a:lnTo>
                  <a:pt x="1983452" y="2332275"/>
                </a:lnTo>
                <a:lnTo>
                  <a:pt x="1983452" y="1945972"/>
                </a:lnTo>
                <a:close/>
                <a:moveTo>
                  <a:pt x="263245" y="1752799"/>
                </a:moveTo>
                <a:lnTo>
                  <a:pt x="597001" y="1945952"/>
                </a:lnTo>
                <a:lnTo>
                  <a:pt x="597001" y="2332264"/>
                </a:lnTo>
                <a:lnTo>
                  <a:pt x="263368" y="2525419"/>
                </a:lnTo>
                <a:lnTo>
                  <a:pt x="83447" y="2421295"/>
                </a:lnTo>
                <a:lnTo>
                  <a:pt x="0" y="2373002"/>
                </a:lnTo>
                <a:lnTo>
                  <a:pt x="0" y="1905204"/>
                </a:lnTo>
                <a:close/>
                <a:moveTo>
                  <a:pt x="11217614" y="1752635"/>
                </a:moveTo>
                <a:lnTo>
                  <a:pt x="11551377" y="1945795"/>
                </a:lnTo>
                <a:lnTo>
                  <a:pt x="11551377" y="2331944"/>
                </a:lnTo>
                <a:lnTo>
                  <a:pt x="11217614" y="2525105"/>
                </a:lnTo>
                <a:lnTo>
                  <a:pt x="10883851" y="2331944"/>
                </a:lnTo>
                <a:lnTo>
                  <a:pt x="10883851" y="1945795"/>
                </a:lnTo>
                <a:close/>
                <a:moveTo>
                  <a:pt x="9163666" y="1752617"/>
                </a:moveTo>
                <a:lnTo>
                  <a:pt x="9497429" y="1945779"/>
                </a:lnTo>
                <a:lnTo>
                  <a:pt x="9497429" y="2331929"/>
                </a:lnTo>
                <a:lnTo>
                  <a:pt x="9163666" y="2525089"/>
                </a:lnTo>
                <a:lnTo>
                  <a:pt x="8829903" y="2331929"/>
                </a:lnTo>
                <a:lnTo>
                  <a:pt x="8829903" y="1945778"/>
                </a:lnTo>
                <a:close/>
                <a:moveTo>
                  <a:pt x="7109850" y="1752603"/>
                </a:moveTo>
                <a:lnTo>
                  <a:pt x="7443613" y="1945761"/>
                </a:lnTo>
                <a:lnTo>
                  <a:pt x="7443613" y="2331916"/>
                </a:lnTo>
                <a:lnTo>
                  <a:pt x="7109850" y="2525078"/>
                </a:lnTo>
                <a:lnTo>
                  <a:pt x="6776085" y="2331916"/>
                </a:lnTo>
                <a:lnTo>
                  <a:pt x="6776085" y="1945761"/>
                </a:lnTo>
                <a:close/>
                <a:moveTo>
                  <a:pt x="5055971" y="1752586"/>
                </a:moveTo>
                <a:lnTo>
                  <a:pt x="5262114" y="1871903"/>
                </a:lnTo>
                <a:lnTo>
                  <a:pt x="5389698" y="1945736"/>
                </a:lnTo>
                <a:lnTo>
                  <a:pt x="5389698" y="2331901"/>
                </a:lnTo>
                <a:lnTo>
                  <a:pt x="5055949" y="2525062"/>
                </a:lnTo>
                <a:lnTo>
                  <a:pt x="4722181" y="2331905"/>
                </a:lnTo>
                <a:lnTo>
                  <a:pt x="4722181" y="1945745"/>
                </a:lnTo>
                <a:close/>
                <a:moveTo>
                  <a:pt x="3002152" y="1752570"/>
                </a:moveTo>
                <a:lnTo>
                  <a:pt x="3335890" y="1945712"/>
                </a:lnTo>
                <a:lnTo>
                  <a:pt x="3335890" y="2331889"/>
                </a:lnTo>
                <a:lnTo>
                  <a:pt x="3002127" y="2525047"/>
                </a:lnTo>
                <a:lnTo>
                  <a:pt x="2731183" y="2368243"/>
                </a:lnTo>
                <a:lnTo>
                  <a:pt x="2668390" y="2331903"/>
                </a:lnTo>
                <a:lnTo>
                  <a:pt x="2668390" y="1945729"/>
                </a:lnTo>
                <a:close/>
                <a:moveTo>
                  <a:pt x="948175" y="1752555"/>
                </a:moveTo>
                <a:lnTo>
                  <a:pt x="1281914" y="1945698"/>
                </a:lnTo>
                <a:lnTo>
                  <a:pt x="1281914" y="2331876"/>
                </a:lnTo>
                <a:lnTo>
                  <a:pt x="948153" y="2525032"/>
                </a:lnTo>
                <a:lnTo>
                  <a:pt x="940570" y="2520648"/>
                </a:lnTo>
                <a:lnTo>
                  <a:pt x="614414" y="2331889"/>
                </a:lnTo>
                <a:lnTo>
                  <a:pt x="614414" y="1945713"/>
                </a:lnTo>
                <a:close/>
                <a:moveTo>
                  <a:pt x="10875809" y="1554804"/>
                </a:moveTo>
                <a:lnTo>
                  <a:pt x="11201255" y="1743155"/>
                </a:lnTo>
                <a:lnTo>
                  <a:pt x="10875678" y="1931508"/>
                </a:lnTo>
                <a:lnTo>
                  <a:pt x="10550231" y="1743155"/>
                </a:lnTo>
                <a:close/>
                <a:moveTo>
                  <a:pt x="8821860" y="1554788"/>
                </a:moveTo>
                <a:lnTo>
                  <a:pt x="9147308" y="1743140"/>
                </a:lnTo>
                <a:lnTo>
                  <a:pt x="8821731" y="1931491"/>
                </a:lnTo>
                <a:lnTo>
                  <a:pt x="8496282" y="1743140"/>
                </a:lnTo>
                <a:close/>
                <a:moveTo>
                  <a:pt x="6768043" y="1554775"/>
                </a:moveTo>
                <a:lnTo>
                  <a:pt x="7093491" y="1743124"/>
                </a:lnTo>
                <a:lnTo>
                  <a:pt x="6767913" y="1931475"/>
                </a:lnTo>
                <a:lnTo>
                  <a:pt x="6442466" y="1743125"/>
                </a:lnTo>
                <a:close/>
                <a:moveTo>
                  <a:pt x="4714128" y="1554758"/>
                </a:moveTo>
                <a:lnTo>
                  <a:pt x="4997319" y="1718649"/>
                </a:lnTo>
                <a:lnTo>
                  <a:pt x="5039593" y="1743102"/>
                </a:lnTo>
                <a:lnTo>
                  <a:pt x="4713993" y="1931459"/>
                </a:lnTo>
                <a:lnTo>
                  <a:pt x="4512543" y="1814871"/>
                </a:lnTo>
                <a:lnTo>
                  <a:pt x="4388549" y="1743112"/>
                </a:lnTo>
                <a:close/>
                <a:moveTo>
                  <a:pt x="2660349" y="1554742"/>
                </a:moveTo>
                <a:lnTo>
                  <a:pt x="2985784" y="1743084"/>
                </a:lnTo>
                <a:lnTo>
                  <a:pt x="2660193" y="1931442"/>
                </a:lnTo>
                <a:lnTo>
                  <a:pt x="2334764" y="1743101"/>
                </a:lnTo>
                <a:close/>
                <a:moveTo>
                  <a:pt x="606372" y="1554728"/>
                </a:moveTo>
                <a:lnTo>
                  <a:pt x="931804" y="1743069"/>
                </a:lnTo>
                <a:lnTo>
                  <a:pt x="606216" y="1931425"/>
                </a:lnTo>
                <a:lnTo>
                  <a:pt x="280783" y="1743083"/>
                </a:lnTo>
                <a:close/>
                <a:moveTo>
                  <a:pt x="12140685" y="1390835"/>
                </a:moveTo>
                <a:cubicBezTo>
                  <a:pt x="12151191" y="1390835"/>
                  <a:pt x="12161050" y="1394985"/>
                  <a:pt x="12168445" y="1402380"/>
                </a:cubicBezTo>
                <a:lnTo>
                  <a:pt x="12188651" y="1422630"/>
                </a:lnTo>
                <a:lnTo>
                  <a:pt x="12188651" y="1690880"/>
                </a:lnTo>
                <a:lnTo>
                  <a:pt x="12034576" y="1536513"/>
                </a:lnTo>
                <a:cubicBezTo>
                  <a:pt x="12019270" y="1521207"/>
                  <a:pt x="12019270" y="1496299"/>
                  <a:pt x="12034576" y="1481120"/>
                </a:cubicBezTo>
                <a:lnTo>
                  <a:pt x="12113056" y="1402380"/>
                </a:lnTo>
                <a:cubicBezTo>
                  <a:pt x="12120448" y="1394985"/>
                  <a:pt x="12130178" y="1390835"/>
                  <a:pt x="12140685" y="1390835"/>
                </a:cubicBezTo>
                <a:close/>
                <a:moveTo>
                  <a:pt x="10086867" y="1390817"/>
                </a:moveTo>
                <a:cubicBezTo>
                  <a:pt x="10097374" y="1390817"/>
                  <a:pt x="10107232" y="1394971"/>
                  <a:pt x="10114626" y="1402365"/>
                </a:cubicBezTo>
                <a:lnTo>
                  <a:pt x="10179226" y="1467099"/>
                </a:lnTo>
                <a:lnTo>
                  <a:pt x="10190770" y="1478768"/>
                </a:lnTo>
                <a:lnTo>
                  <a:pt x="10202315" y="1467099"/>
                </a:lnTo>
                <a:lnTo>
                  <a:pt x="10266786" y="1402365"/>
                </a:lnTo>
                <a:cubicBezTo>
                  <a:pt x="10274178" y="1394840"/>
                  <a:pt x="10284037" y="1390817"/>
                  <a:pt x="10294543" y="1390817"/>
                </a:cubicBezTo>
                <a:cubicBezTo>
                  <a:pt x="10304922" y="1390817"/>
                  <a:pt x="10314781" y="1394971"/>
                  <a:pt x="10322173" y="1402365"/>
                </a:cubicBezTo>
                <a:lnTo>
                  <a:pt x="10400653" y="1480975"/>
                </a:lnTo>
                <a:cubicBezTo>
                  <a:pt x="10408047" y="1488369"/>
                  <a:pt x="10412068" y="1498230"/>
                  <a:pt x="10412198" y="1508734"/>
                </a:cubicBezTo>
                <a:cubicBezTo>
                  <a:pt x="10412198" y="1519244"/>
                  <a:pt x="10408176" y="1529101"/>
                  <a:pt x="10400783" y="1536497"/>
                </a:cubicBezTo>
                <a:lnTo>
                  <a:pt x="10190770" y="1746909"/>
                </a:lnTo>
                <a:lnTo>
                  <a:pt x="9980757" y="1536497"/>
                </a:lnTo>
                <a:cubicBezTo>
                  <a:pt x="9965450" y="1521189"/>
                  <a:pt x="9965450" y="1496283"/>
                  <a:pt x="9980757" y="1481104"/>
                </a:cubicBezTo>
                <a:lnTo>
                  <a:pt x="10059237" y="1402365"/>
                </a:lnTo>
                <a:cubicBezTo>
                  <a:pt x="10066631" y="1394971"/>
                  <a:pt x="10076359" y="1390817"/>
                  <a:pt x="10086867" y="1390817"/>
                </a:cubicBezTo>
                <a:close/>
                <a:moveTo>
                  <a:pt x="8032919" y="1390801"/>
                </a:moveTo>
                <a:cubicBezTo>
                  <a:pt x="8043427" y="1390801"/>
                  <a:pt x="8053285" y="1394955"/>
                  <a:pt x="8060679" y="1402350"/>
                </a:cubicBezTo>
                <a:lnTo>
                  <a:pt x="8125278" y="1467080"/>
                </a:lnTo>
                <a:lnTo>
                  <a:pt x="8136823" y="1478755"/>
                </a:lnTo>
                <a:lnTo>
                  <a:pt x="8148368" y="1467080"/>
                </a:lnTo>
                <a:lnTo>
                  <a:pt x="8212837" y="1402350"/>
                </a:lnTo>
                <a:cubicBezTo>
                  <a:pt x="8220232" y="1394825"/>
                  <a:pt x="8230090" y="1390801"/>
                  <a:pt x="8240596" y="1390801"/>
                </a:cubicBezTo>
                <a:cubicBezTo>
                  <a:pt x="8250975" y="1390801"/>
                  <a:pt x="8260834" y="1394955"/>
                  <a:pt x="8268226" y="1402350"/>
                </a:cubicBezTo>
                <a:lnTo>
                  <a:pt x="8346707" y="1480959"/>
                </a:lnTo>
                <a:cubicBezTo>
                  <a:pt x="8354100" y="1488355"/>
                  <a:pt x="8358121" y="1498213"/>
                  <a:pt x="8358252" y="1508720"/>
                </a:cubicBezTo>
                <a:cubicBezTo>
                  <a:pt x="8358252" y="1519228"/>
                  <a:pt x="8354229" y="1529085"/>
                  <a:pt x="8346837" y="1536482"/>
                </a:cubicBezTo>
                <a:lnTo>
                  <a:pt x="8136823" y="1746895"/>
                </a:lnTo>
                <a:lnTo>
                  <a:pt x="7926811" y="1536482"/>
                </a:lnTo>
                <a:cubicBezTo>
                  <a:pt x="7911503" y="1521173"/>
                  <a:pt x="7911503" y="1496269"/>
                  <a:pt x="7926811" y="1481089"/>
                </a:cubicBezTo>
                <a:lnTo>
                  <a:pt x="8005289" y="1402350"/>
                </a:lnTo>
                <a:cubicBezTo>
                  <a:pt x="8012684" y="1394955"/>
                  <a:pt x="8022413" y="1390801"/>
                  <a:pt x="8032919" y="1390801"/>
                </a:cubicBezTo>
                <a:close/>
                <a:moveTo>
                  <a:pt x="5979110" y="1390787"/>
                </a:moveTo>
                <a:cubicBezTo>
                  <a:pt x="5989617" y="1390787"/>
                  <a:pt x="5999474" y="1394939"/>
                  <a:pt x="6006869" y="1402333"/>
                </a:cubicBezTo>
                <a:lnTo>
                  <a:pt x="6071463" y="1467065"/>
                </a:lnTo>
                <a:lnTo>
                  <a:pt x="6083008" y="1478738"/>
                </a:lnTo>
                <a:lnTo>
                  <a:pt x="6094550" y="1467065"/>
                </a:lnTo>
                <a:lnTo>
                  <a:pt x="6159019" y="1402333"/>
                </a:lnTo>
                <a:cubicBezTo>
                  <a:pt x="6166413" y="1394810"/>
                  <a:pt x="6176271" y="1390787"/>
                  <a:pt x="6186779" y="1390787"/>
                </a:cubicBezTo>
                <a:cubicBezTo>
                  <a:pt x="6197156" y="1390787"/>
                  <a:pt x="6207014" y="1394939"/>
                  <a:pt x="6214409" y="1402333"/>
                </a:cubicBezTo>
                <a:lnTo>
                  <a:pt x="6292888" y="1480945"/>
                </a:lnTo>
                <a:cubicBezTo>
                  <a:pt x="6300282" y="1488339"/>
                  <a:pt x="6304303" y="1498198"/>
                  <a:pt x="6304433" y="1508704"/>
                </a:cubicBezTo>
                <a:cubicBezTo>
                  <a:pt x="6304433" y="1519214"/>
                  <a:pt x="6300412" y="1529070"/>
                  <a:pt x="6293017" y="1536467"/>
                </a:cubicBezTo>
                <a:lnTo>
                  <a:pt x="6083008" y="1746878"/>
                </a:lnTo>
                <a:lnTo>
                  <a:pt x="5873007" y="1536467"/>
                </a:lnTo>
                <a:cubicBezTo>
                  <a:pt x="5857705" y="1521159"/>
                  <a:pt x="5857705" y="1496252"/>
                  <a:pt x="5873007" y="1481074"/>
                </a:cubicBezTo>
                <a:lnTo>
                  <a:pt x="5951483" y="1402333"/>
                </a:lnTo>
                <a:cubicBezTo>
                  <a:pt x="5958875" y="1394939"/>
                  <a:pt x="5968603" y="1390787"/>
                  <a:pt x="5979110" y="1390787"/>
                </a:cubicBezTo>
                <a:close/>
                <a:moveTo>
                  <a:pt x="3925347" y="1390772"/>
                </a:moveTo>
                <a:cubicBezTo>
                  <a:pt x="3935853" y="1390772"/>
                  <a:pt x="3945714" y="1394924"/>
                  <a:pt x="3953107" y="1402317"/>
                </a:cubicBezTo>
                <a:lnTo>
                  <a:pt x="4017707" y="1467050"/>
                </a:lnTo>
                <a:lnTo>
                  <a:pt x="4029252" y="1478722"/>
                </a:lnTo>
                <a:lnTo>
                  <a:pt x="4040800" y="1467050"/>
                </a:lnTo>
                <a:lnTo>
                  <a:pt x="4105268" y="1402317"/>
                </a:lnTo>
                <a:cubicBezTo>
                  <a:pt x="4112666" y="1394793"/>
                  <a:pt x="4122523" y="1390772"/>
                  <a:pt x="4133031" y="1390772"/>
                </a:cubicBezTo>
                <a:cubicBezTo>
                  <a:pt x="4143406" y="1390772"/>
                  <a:pt x="4153268" y="1394924"/>
                  <a:pt x="4160659" y="1402317"/>
                </a:cubicBezTo>
                <a:lnTo>
                  <a:pt x="4239088" y="1480930"/>
                </a:lnTo>
                <a:cubicBezTo>
                  <a:pt x="4246485" y="1488324"/>
                  <a:pt x="4250503" y="1498183"/>
                  <a:pt x="4250643" y="1508688"/>
                </a:cubicBezTo>
                <a:cubicBezTo>
                  <a:pt x="4250643" y="1519197"/>
                  <a:pt x="4246615" y="1529056"/>
                  <a:pt x="4239218" y="1536452"/>
                </a:cubicBezTo>
                <a:lnTo>
                  <a:pt x="4029252" y="1746862"/>
                </a:lnTo>
                <a:lnTo>
                  <a:pt x="3819232" y="1536452"/>
                </a:lnTo>
                <a:cubicBezTo>
                  <a:pt x="3803923" y="1521143"/>
                  <a:pt x="3803923" y="1496236"/>
                  <a:pt x="3819232" y="1481059"/>
                </a:cubicBezTo>
                <a:lnTo>
                  <a:pt x="3897719" y="1402317"/>
                </a:lnTo>
                <a:cubicBezTo>
                  <a:pt x="3905115" y="1394924"/>
                  <a:pt x="3914843" y="1390772"/>
                  <a:pt x="3925347" y="1390772"/>
                </a:cubicBezTo>
                <a:close/>
                <a:moveTo>
                  <a:pt x="1871374" y="1390756"/>
                </a:moveTo>
                <a:cubicBezTo>
                  <a:pt x="1881884" y="1390756"/>
                  <a:pt x="1891739" y="1394908"/>
                  <a:pt x="1899135" y="1402302"/>
                </a:cubicBezTo>
                <a:lnTo>
                  <a:pt x="1963733" y="1467034"/>
                </a:lnTo>
                <a:lnTo>
                  <a:pt x="1975278" y="1478707"/>
                </a:lnTo>
                <a:lnTo>
                  <a:pt x="1986823" y="1467034"/>
                </a:lnTo>
                <a:lnTo>
                  <a:pt x="2051293" y="1402302"/>
                </a:lnTo>
                <a:cubicBezTo>
                  <a:pt x="2058686" y="1394779"/>
                  <a:pt x="2068545" y="1390756"/>
                  <a:pt x="2079052" y="1390756"/>
                </a:cubicBezTo>
                <a:cubicBezTo>
                  <a:pt x="2089431" y="1390756"/>
                  <a:pt x="2099298" y="1394908"/>
                  <a:pt x="2106690" y="1402302"/>
                </a:cubicBezTo>
                <a:lnTo>
                  <a:pt x="2185169" y="1480915"/>
                </a:lnTo>
                <a:cubicBezTo>
                  <a:pt x="2192565" y="1488309"/>
                  <a:pt x="2196587" y="1498167"/>
                  <a:pt x="2196714" y="1508674"/>
                </a:cubicBezTo>
                <a:cubicBezTo>
                  <a:pt x="2196714" y="1519182"/>
                  <a:pt x="2192696" y="1529039"/>
                  <a:pt x="2185300" y="1536435"/>
                </a:cubicBezTo>
                <a:lnTo>
                  <a:pt x="1975278" y="1746846"/>
                </a:lnTo>
                <a:lnTo>
                  <a:pt x="1765266" y="1536435"/>
                </a:lnTo>
                <a:cubicBezTo>
                  <a:pt x="1749958" y="1521128"/>
                  <a:pt x="1749958" y="1496221"/>
                  <a:pt x="1765266" y="1481044"/>
                </a:cubicBezTo>
                <a:lnTo>
                  <a:pt x="1843744" y="1402302"/>
                </a:lnTo>
                <a:cubicBezTo>
                  <a:pt x="1851138" y="1394908"/>
                  <a:pt x="1860867" y="1390756"/>
                  <a:pt x="1871374" y="1390756"/>
                </a:cubicBezTo>
                <a:close/>
                <a:moveTo>
                  <a:pt x="25213" y="1390741"/>
                </a:moveTo>
                <a:cubicBezTo>
                  <a:pt x="35590" y="1390741"/>
                  <a:pt x="45448" y="1394893"/>
                  <a:pt x="52843" y="1402286"/>
                </a:cubicBezTo>
                <a:lnTo>
                  <a:pt x="131322" y="1480899"/>
                </a:lnTo>
                <a:cubicBezTo>
                  <a:pt x="138716" y="1488293"/>
                  <a:pt x="142738" y="1498151"/>
                  <a:pt x="142866" y="1508658"/>
                </a:cubicBezTo>
                <a:cubicBezTo>
                  <a:pt x="142866" y="1519167"/>
                  <a:pt x="138845" y="1529025"/>
                  <a:pt x="131451" y="1536419"/>
                </a:cubicBezTo>
                <a:lnTo>
                  <a:pt x="0" y="1668120"/>
                </a:lnTo>
                <a:lnTo>
                  <a:pt x="0" y="1401227"/>
                </a:lnTo>
                <a:close/>
                <a:moveTo>
                  <a:pt x="10086867" y="1374341"/>
                </a:moveTo>
                <a:cubicBezTo>
                  <a:pt x="10072597" y="1374341"/>
                  <a:pt x="10058458" y="1379791"/>
                  <a:pt x="10047692" y="1390688"/>
                </a:cubicBezTo>
                <a:lnTo>
                  <a:pt x="9969212" y="1469432"/>
                </a:lnTo>
                <a:cubicBezTo>
                  <a:pt x="9947549" y="1491094"/>
                  <a:pt x="9947549" y="1526379"/>
                  <a:pt x="9969212" y="1548042"/>
                </a:cubicBezTo>
                <a:lnTo>
                  <a:pt x="10190770" y="1770130"/>
                </a:lnTo>
                <a:lnTo>
                  <a:pt x="10412328" y="1548042"/>
                </a:lnTo>
                <a:cubicBezTo>
                  <a:pt x="10433990" y="1526379"/>
                  <a:pt x="10433990" y="1491094"/>
                  <a:pt x="10412328" y="1469432"/>
                </a:cubicBezTo>
                <a:lnTo>
                  <a:pt x="10333848" y="1390817"/>
                </a:lnTo>
                <a:cubicBezTo>
                  <a:pt x="10322953" y="1379920"/>
                  <a:pt x="10308813" y="1374473"/>
                  <a:pt x="10294673" y="1374473"/>
                </a:cubicBezTo>
                <a:lnTo>
                  <a:pt x="10294543" y="1374341"/>
                </a:lnTo>
                <a:cubicBezTo>
                  <a:pt x="10280275" y="1374341"/>
                  <a:pt x="10266136" y="1379791"/>
                  <a:pt x="10255241" y="1390817"/>
                </a:cubicBezTo>
                <a:lnTo>
                  <a:pt x="10190770" y="1455423"/>
                </a:lnTo>
                <a:lnTo>
                  <a:pt x="10126171" y="1390688"/>
                </a:lnTo>
                <a:cubicBezTo>
                  <a:pt x="10115274" y="1379791"/>
                  <a:pt x="10101136" y="1374341"/>
                  <a:pt x="10086867" y="1374341"/>
                </a:cubicBezTo>
                <a:close/>
                <a:moveTo>
                  <a:pt x="8032919" y="1374327"/>
                </a:moveTo>
                <a:cubicBezTo>
                  <a:pt x="8018650" y="1374327"/>
                  <a:pt x="8004511" y="1379776"/>
                  <a:pt x="7993744" y="1390674"/>
                </a:cubicBezTo>
                <a:lnTo>
                  <a:pt x="7915266" y="1469418"/>
                </a:lnTo>
                <a:cubicBezTo>
                  <a:pt x="7893603" y="1491079"/>
                  <a:pt x="7893603" y="1526364"/>
                  <a:pt x="7915266" y="1548027"/>
                </a:cubicBezTo>
                <a:lnTo>
                  <a:pt x="8136823" y="1770114"/>
                </a:lnTo>
                <a:lnTo>
                  <a:pt x="8358382" y="1548027"/>
                </a:lnTo>
                <a:cubicBezTo>
                  <a:pt x="8380044" y="1526364"/>
                  <a:pt x="8380044" y="1491079"/>
                  <a:pt x="8358382" y="1469418"/>
                </a:cubicBezTo>
                <a:lnTo>
                  <a:pt x="8279902" y="1390801"/>
                </a:lnTo>
                <a:cubicBezTo>
                  <a:pt x="8269006" y="1379905"/>
                  <a:pt x="8254866" y="1374457"/>
                  <a:pt x="8240727" y="1374457"/>
                </a:cubicBezTo>
                <a:lnTo>
                  <a:pt x="8240596" y="1374327"/>
                </a:lnTo>
                <a:cubicBezTo>
                  <a:pt x="8226328" y="1374327"/>
                  <a:pt x="8212190" y="1379776"/>
                  <a:pt x="8201292" y="1390801"/>
                </a:cubicBezTo>
                <a:lnTo>
                  <a:pt x="8136823" y="1455407"/>
                </a:lnTo>
                <a:lnTo>
                  <a:pt x="8072224" y="1390674"/>
                </a:lnTo>
                <a:cubicBezTo>
                  <a:pt x="8061328" y="1379776"/>
                  <a:pt x="8047187" y="1374327"/>
                  <a:pt x="8032919" y="1374327"/>
                </a:cubicBezTo>
                <a:close/>
                <a:moveTo>
                  <a:pt x="5979110" y="1374312"/>
                </a:moveTo>
                <a:cubicBezTo>
                  <a:pt x="5964843" y="1374312"/>
                  <a:pt x="5950704" y="1379761"/>
                  <a:pt x="5939938" y="1390658"/>
                </a:cubicBezTo>
                <a:lnTo>
                  <a:pt x="5861464" y="1469401"/>
                </a:lnTo>
                <a:cubicBezTo>
                  <a:pt x="5839806" y="1491064"/>
                  <a:pt x="5839806" y="1526348"/>
                  <a:pt x="5861464" y="1548011"/>
                </a:cubicBezTo>
                <a:lnTo>
                  <a:pt x="6083008" y="1770098"/>
                </a:lnTo>
                <a:lnTo>
                  <a:pt x="6304562" y="1548011"/>
                </a:lnTo>
                <a:cubicBezTo>
                  <a:pt x="6326226" y="1526348"/>
                  <a:pt x="6326226" y="1491064"/>
                  <a:pt x="6304562" y="1469401"/>
                </a:cubicBezTo>
                <a:lnTo>
                  <a:pt x="6226084" y="1390787"/>
                </a:lnTo>
                <a:cubicBezTo>
                  <a:pt x="6215186" y="1379889"/>
                  <a:pt x="6201048" y="1374443"/>
                  <a:pt x="6186909" y="1374443"/>
                </a:cubicBezTo>
                <a:lnTo>
                  <a:pt x="6186779" y="1374312"/>
                </a:lnTo>
                <a:cubicBezTo>
                  <a:pt x="6172511" y="1374312"/>
                  <a:pt x="6158370" y="1379761"/>
                  <a:pt x="6147474" y="1390787"/>
                </a:cubicBezTo>
                <a:lnTo>
                  <a:pt x="6083008" y="1455390"/>
                </a:lnTo>
                <a:lnTo>
                  <a:pt x="6018412" y="1390658"/>
                </a:lnTo>
                <a:cubicBezTo>
                  <a:pt x="6007516" y="1379761"/>
                  <a:pt x="5993378" y="1374312"/>
                  <a:pt x="5979110" y="1374312"/>
                </a:cubicBezTo>
                <a:close/>
                <a:moveTo>
                  <a:pt x="3925347" y="1374297"/>
                </a:moveTo>
                <a:cubicBezTo>
                  <a:pt x="3911080" y="1374297"/>
                  <a:pt x="3896940" y="1379746"/>
                  <a:pt x="3886173" y="1390643"/>
                </a:cubicBezTo>
                <a:lnTo>
                  <a:pt x="3807688" y="1469387"/>
                </a:lnTo>
                <a:cubicBezTo>
                  <a:pt x="3786026" y="1491048"/>
                  <a:pt x="3786026" y="1526333"/>
                  <a:pt x="3807688" y="1547996"/>
                </a:cubicBezTo>
                <a:lnTo>
                  <a:pt x="4029252" y="1770082"/>
                </a:lnTo>
                <a:lnTo>
                  <a:pt x="4250768" y="1547996"/>
                </a:lnTo>
                <a:cubicBezTo>
                  <a:pt x="4272427" y="1526333"/>
                  <a:pt x="4272427" y="1491048"/>
                  <a:pt x="4250768" y="1469387"/>
                </a:cubicBezTo>
                <a:lnTo>
                  <a:pt x="4172334" y="1390772"/>
                </a:lnTo>
                <a:cubicBezTo>
                  <a:pt x="4161438" y="1379874"/>
                  <a:pt x="4147299" y="1374426"/>
                  <a:pt x="4133161" y="1374426"/>
                </a:cubicBezTo>
                <a:lnTo>
                  <a:pt x="4133031" y="1374297"/>
                </a:lnTo>
                <a:cubicBezTo>
                  <a:pt x="4118761" y="1374297"/>
                  <a:pt x="4104622" y="1379746"/>
                  <a:pt x="4093725" y="1390772"/>
                </a:cubicBezTo>
                <a:lnTo>
                  <a:pt x="4029252" y="1455376"/>
                </a:lnTo>
                <a:lnTo>
                  <a:pt x="3964654" y="1390643"/>
                </a:lnTo>
                <a:cubicBezTo>
                  <a:pt x="3953756" y="1379746"/>
                  <a:pt x="3939615" y="1374297"/>
                  <a:pt x="3925347" y="1374297"/>
                </a:cubicBezTo>
                <a:close/>
                <a:moveTo>
                  <a:pt x="1871374" y="1374282"/>
                </a:moveTo>
                <a:cubicBezTo>
                  <a:pt x="1857106" y="1374282"/>
                  <a:pt x="1842966" y="1379731"/>
                  <a:pt x="1832200" y="1390627"/>
                </a:cubicBezTo>
                <a:lnTo>
                  <a:pt x="1753721" y="1469369"/>
                </a:lnTo>
                <a:cubicBezTo>
                  <a:pt x="1732059" y="1491033"/>
                  <a:pt x="1732059" y="1526317"/>
                  <a:pt x="1753721" y="1547980"/>
                </a:cubicBezTo>
                <a:lnTo>
                  <a:pt x="1975278" y="1770066"/>
                </a:lnTo>
                <a:lnTo>
                  <a:pt x="2196846" y="1547980"/>
                </a:lnTo>
                <a:cubicBezTo>
                  <a:pt x="2218508" y="1526317"/>
                  <a:pt x="2218508" y="1491033"/>
                  <a:pt x="2196846" y="1469369"/>
                </a:cubicBezTo>
                <a:lnTo>
                  <a:pt x="2118368" y="1390756"/>
                </a:lnTo>
                <a:cubicBezTo>
                  <a:pt x="2107469" y="1379859"/>
                  <a:pt x="2093321" y="1374411"/>
                  <a:pt x="2079181" y="1374411"/>
                </a:cubicBezTo>
                <a:lnTo>
                  <a:pt x="2079052" y="1374282"/>
                </a:lnTo>
                <a:cubicBezTo>
                  <a:pt x="2064784" y="1374282"/>
                  <a:pt x="2050643" y="1379731"/>
                  <a:pt x="2039748" y="1390756"/>
                </a:cubicBezTo>
                <a:lnTo>
                  <a:pt x="1975278" y="1455359"/>
                </a:lnTo>
                <a:lnTo>
                  <a:pt x="1910679" y="1390627"/>
                </a:lnTo>
                <a:cubicBezTo>
                  <a:pt x="1899781" y="1379731"/>
                  <a:pt x="1885643" y="1374282"/>
                  <a:pt x="1871374" y="1374282"/>
                </a:cubicBezTo>
                <a:close/>
                <a:moveTo>
                  <a:pt x="0" y="1204081"/>
                </a:moveTo>
                <a:lnTo>
                  <a:pt x="186352" y="1311926"/>
                </a:lnTo>
                <a:lnTo>
                  <a:pt x="255068" y="1351694"/>
                </a:lnTo>
                <a:lnTo>
                  <a:pt x="255068" y="1737878"/>
                </a:lnTo>
                <a:lnTo>
                  <a:pt x="0" y="1885492"/>
                </a:lnTo>
                <a:lnTo>
                  <a:pt x="0" y="1691301"/>
                </a:lnTo>
                <a:lnTo>
                  <a:pt x="142995" y="1547965"/>
                </a:lnTo>
                <a:cubicBezTo>
                  <a:pt x="164660" y="1526302"/>
                  <a:pt x="164660" y="1491018"/>
                  <a:pt x="142995" y="1469353"/>
                </a:cubicBezTo>
                <a:lnTo>
                  <a:pt x="64516" y="1390741"/>
                </a:lnTo>
                <a:cubicBezTo>
                  <a:pt x="53620" y="1379844"/>
                  <a:pt x="39481" y="1374396"/>
                  <a:pt x="25341" y="1374396"/>
                </a:cubicBezTo>
                <a:lnTo>
                  <a:pt x="25213" y="1374267"/>
                </a:lnTo>
                <a:cubicBezTo>
                  <a:pt x="18079" y="1374267"/>
                  <a:pt x="10976" y="1375628"/>
                  <a:pt x="4296" y="1378369"/>
                </a:cubicBezTo>
                <a:lnTo>
                  <a:pt x="0" y="1381259"/>
                </a:lnTo>
                <a:close/>
                <a:moveTo>
                  <a:pt x="12188651" y="1190935"/>
                </a:moveTo>
                <a:lnTo>
                  <a:pt x="12188651" y="1399384"/>
                </a:lnTo>
                <a:lnTo>
                  <a:pt x="12179990" y="1390703"/>
                </a:lnTo>
                <a:cubicBezTo>
                  <a:pt x="12169092" y="1379806"/>
                  <a:pt x="12154954" y="1374358"/>
                  <a:pt x="12140685" y="1374358"/>
                </a:cubicBezTo>
                <a:cubicBezTo>
                  <a:pt x="12126416" y="1374358"/>
                  <a:pt x="12112276" y="1379806"/>
                  <a:pt x="12101510" y="1390703"/>
                </a:cubicBezTo>
                <a:lnTo>
                  <a:pt x="12023031" y="1469451"/>
                </a:lnTo>
                <a:cubicBezTo>
                  <a:pt x="12001368" y="1491111"/>
                  <a:pt x="12001368" y="1526394"/>
                  <a:pt x="12023031" y="1548057"/>
                </a:cubicBezTo>
                <a:lnTo>
                  <a:pt x="12188651" y="1714074"/>
                </a:lnTo>
                <a:lnTo>
                  <a:pt x="12188651" y="1898836"/>
                </a:lnTo>
                <a:lnTo>
                  <a:pt x="11910696" y="1737973"/>
                </a:lnTo>
                <a:lnTo>
                  <a:pt x="11910696" y="1351792"/>
                </a:lnTo>
                <a:close/>
                <a:moveTo>
                  <a:pt x="10883981" y="1163824"/>
                </a:moveTo>
                <a:lnTo>
                  <a:pt x="11209441" y="1352175"/>
                </a:lnTo>
                <a:lnTo>
                  <a:pt x="11209441" y="1729007"/>
                </a:lnTo>
                <a:lnTo>
                  <a:pt x="10883981" y="1540647"/>
                </a:lnTo>
                <a:close/>
                <a:moveTo>
                  <a:pt x="10867636" y="1163824"/>
                </a:moveTo>
                <a:lnTo>
                  <a:pt x="10867636" y="1540647"/>
                </a:lnTo>
                <a:lnTo>
                  <a:pt x="10542045" y="1729007"/>
                </a:lnTo>
                <a:lnTo>
                  <a:pt x="10542045" y="1352175"/>
                </a:lnTo>
                <a:close/>
                <a:moveTo>
                  <a:pt x="8830033" y="1163807"/>
                </a:moveTo>
                <a:lnTo>
                  <a:pt x="9155493" y="1352160"/>
                </a:lnTo>
                <a:lnTo>
                  <a:pt x="9155493" y="1728992"/>
                </a:lnTo>
                <a:lnTo>
                  <a:pt x="8830033" y="1540632"/>
                </a:lnTo>
                <a:close/>
                <a:moveTo>
                  <a:pt x="8813688" y="1163807"/>
                </a:moveTo>
                <a:lnTo>
                  <a:pt x="8813688" y="1540632"/>
                </a:lnTo>
                <a:lnTo>
                  <a:pt x="8488098" y="1728992"/>
                </a:lnTo>
                <a:lnTo>
                  <a:pt x="8488098" y="1352159"/>
                </a:lnTo>
                <a:close/>
                <a:moveTo>
                  <a:pt x="6776215" y="1163791"/>
                </a:moveTo>
                <a:lnTo>
                  <a:pt x="7101677" y="1352145"/>
                </a:lnTo>
                <a:lnTo>
                  <a:pt x="7101677" y="1728975"/>
                </a:lnTo>
                <a:lnTo>
                  <a:pt x="6776215" y="1540617"/>
                </a:lnTo>
                <a:close/>
                <a:moveTo>
                  <a:pt x="6759871" y="1163791"/>
                </a:moveTo>
                <a:lnTo>
                  <a:pt x="6759871" y="1540617"/>
                </a:lnTo>
                <a:lnTo>
                  <a:pt x="6434280" y="1728975"/>
                </a:lnTo>
                <a:lnTo>
                  <a:pt x="6434280" y="1352145"/>
                </a:lnTo>
                <a:close/>
                <a:moveTo>
                  <a:pt x="4705942" y="1163780"/>
                </a:moveTo>
                <a:lnTo>
                  <a:pt x="4705942" y="1540601"/>
                </a:lnTo>
                <a:lnTo>
                  <a:pt x="4380369" y="1728954"/>
                </a:lnTo>
                <a:lnTo>
                  <a:pt x="4380369" y="1352132"/>
                </a:lnTo>
                <a:close/>
                <a:moveTo>
                  <a:pt x="4722303" y="1163775"/>
                </a:moveTo>
                <a:lnTo>
                  <a:pt x="5047773" y="1352118"/>
                </a:lnTo>
                <a:lnTo>
                  <a:pt x="5047773" y="1728959"/>
                </a:lnTo>
                <a:lnTo>
                  <a:pt x="5020104" y="1712952"/>
                </a:lnTo>
                <a:lnTo>
                  <a:pt x="4722303" y="1540609"/>
                </a:lnTo>
                <a:close/>
                <a:moveTo>
                  <a:pt x="2652150" y="1163775"/>
                </a:moveTo>
                <a:lnTo>
                  <a:pt x="2652150" y="1540587"/>
                </a:lnTo>
                <a:lnTo>
                  <a:pt x="2326589" y="1728927"/>
                </a:lnTo>
                <a:lnTo>
                  <a:pt x="2326589" y="1352115"/>
                </a:lnTo>
                <a:close/>
                <a:moveTo>
                  <a:pt x="2668521" y="1163761"/>
                </a:moveTo>
                <a:lnTo>
                  <a:pt x="2993956" y="1352102"/>
                </a:lnTo>
                <a:lnTo>
                  <a:pt x="2993956" y="1728943"/>
                </a:lnTo>
                <a:lnTo>
                  <a:pt x="2668521" y="1540601"/>
                </a:lnTo>
                <a:close/>
                <a:moveTo>
                  <a:pt x="598173" y="1163759"/>
                </a:moveTo>
                <a:lnTo>
                  <a:pt x="598173" y="1540571"/>
                </a:lnTo>
                <a:lnTo>
                  <a:pt x="272611" y="1728912"/>
                </a:lnTo>
                <a:lnTo>
                  <a:pt x="272611" y="1352101"/>
                </a:lnTo>
                <a:close/>
                <a:moveTo>
                  <a:pt x="614544" y="1163745"/>
                </a:moveTo>
                <a:lnTo>
                  <a:pt x="939978" y="1352086"/>
                </a:lnTo>
                <a:lnTo>
                  <a:pt x="939978" y="1728928"/>
                </a:lnTo>
                <a:lnTo>
                  <a:pt x="614544" y="1540585"/>
                </a:lnTo>
                <a:close/>
                <a:moveTo>
                  <a:pt x="11559549" y="1159023"/>
                </a:moveTo>
                <a:lnTo>
                  <a:pt x="11893312" y="1352175"/>
                </a:lnTo>
                <a:lnTo>
                  <a:pt x="11893312" y="1738478"/>
                </a:lnTo>
                <a:lnTo>
                  <a:pt x="11559679" y="1931637"/>
                </a:lnTo>
                <a:lnTo>
                  <a:pt x="11225916" y="1738478"/>
                </a:lnTo>
                <a:lnTo>
                  <a:pt x="11225916" y="1352175"/>
                </a:lnTo>
                <a:close/>
                <a:moveTo>
                  <a:pt x="9505601" y="1159008"/>
                </a:moveTo>
                <a:lnTo>
                  <a:pt x="9839364" y="1352160"/>
                </a:lnTo>
                <a:lnTo>
                  <a:pt x="9839364" y="1738464"/>
                </a:lnTo>
                <a:lnTo>
                  <a:pt x="9505732" y="1931620"/>
                </a:lnTo>
                <a:lnTo>
                  <a:pt x="9171969" y="1738463"/>
                </a:lnTo>
                <a:lnTo>
                  <a:pt x="9171969" y="1352159"/>
                </a:lnTo>
                <a:close/>
                <a:moveTo>
                  <a:pt x="7451785" y="1158991"/>
                </a:moveTo>
                <a:lnTo>
                  <a:pt x="7785548" y="1352145"/>
                </a:lnTo>
                <a:lnTo>
                  <a:pt x="7785548" y="1738447"/>
                </a:lnTo>
                <a:lnTo>
                  <a:pt x="7451915" y="1931604"/>
                </a:lnTo>
                <a:lnTo>
                  <a:pt x="7118150" y="1738447"/>
                </a:lnTo>
                <a:lnTo>
                  <a:pt x="7118150" y="1352145"/>
                </a:lnTo>
                <a:close/>
                <a:moveTo>
                  <a:pt x="5397886" y="1158976"/>
                </a:moveTo>
                <a:lnTo>
                  <a:pt x="5452129" y="1190368"/>
                </a:lnTo>
                <a:lnTo>
                  <a:pt x="5731616" y="1352126"/>
                </a:lnTo>
                <a:lnTo>
                  <a:pt x="5731616" y="1738431"/>
                </a:lnTo>
                <a:lnTo>
                  <a:pt x="5397992" y="1931587"/>
                </a:lnTo>
                <a:lnTo>
                  <a:pt x="5182218" y="1806716"/>
                </a:lnTo>
                <a:lnTo>
                  <a:pt x="5064275" y="1738445"/>
                </a:lnTo>
                <a:lnTo>
                  <a:pt x="5064275" y="1352132"/>
                </a:lnTo>
                <a:close/>
                <a:moveTo>
                  <a:pt x="3344093" y="1158962"/>
                </a:moveTo>
                <a:lnTo>
                  <a:pt x="3677824" y="1352102"/>
                </a:lnTo>
                <a:lnTo>
                  <a:pt x="3677824" y="1738415"/>
                </a:lnTo>
                <a:lnTo>
                  <a:pt x="3344194" y="1931571"/>
                </a:lnTo>
                <a:lnTo>
                  <a:pt x="3010459" y="1738430"/>
                </a:lnTo>
                <a:lnTo>
                  <a:pt x="3010459" y="1352115"/>
                </a:lnTo>
                <a:close/>
                <a:moveTo>
                  <a:pt x="1290110" y="1158945"/>
                </a:moveTo>
                <a:lnTo>
                  <a:pt x="1623849" y="1352087"/>
                </a:lnTo>
                <a:lnTo>
                  <a:pt x="1623849" y="1738399"/>
                </a:lnTo>
                <a:lnTo>
                  <a:pt x="1290217" y="1931555"/>
                </a:lnTo>
                <a:lnTo>
                  <a:pt x="956479" y="1738413"/>
                </a:lnTo>
                <a:lnTo>
                  <a:pt x="956479" y="1352101"/>
                </a:lnTo>
                <a:close/>
                <a:moveTo>
                  <a:pt x="10190640" y="1158620"/>
                </a:moveTo>
                <a:lnTo>
                  <a:pt x="10524404" y="1351774"/>
                </a:lnTo>
                <a:lnTo>
                  <a:pt x="10524404" y="1737958"/>
                </a:lnTo>
                <a:lnTo>
                  <a:pt x="10190640" y="1931118"/>
                </a:lnTo>
                <a:lnTo>
                  <a:pt x="9856876" y="1737958"/>
                </a:lnTo>
                <a:lnTo>
                  <a:pt x="9856876" y="1351774"/>
                </a:lnTo>
                <a:close/>
                <a:moveTo>
                  <a:pt x="8136693" y="1158604"/>
                </a:moveTo>
                <a:lnTo>
                  <a:pt x="8470456" y="1351760"/>
                </a:lnTo>
                <a:lnTo>
                  <a:pt x="8470456" y="1737941"/>
                </a:lnTo>
                <a:lnTo>
                  <a:pt x="8136693" y="1931100"/>
                </a:lnTo>
                <a:lnTo>
                  <a:pt x="7802930" y="1737941"/>
                </a:lnTo>
                <a:lnTo>
                  <a:pt x="7802930" y="1351760"/>
                </a:lnTo>
                <a:close/>
                <a:moveTo>
                  <a:pt x="6082876" y="1158588"/>
                </a:moveTo>
                <a:lnTo>
                  <a:pt x="6416638" y="1351744"/>
                </a:lnTo>
                <a:lnTo>
                  <a:pt x="6416638" y="1737925"/>
                </a:lnTo>
                <a:lnTo>
                  <a:pt x="6082876" y="1931085"/>
                </a:lnTo>
                <a:lnTo>
                  <a:pt x="5749138" y="1737927"/>
                </a:lnTo>
                <a:lnTo>
                  <a:pt x="5749138" y="1351744"/>
                </a:lnTo>
                <a:close/>
                <a:moveTo>
                  <a:pt x="4029124" y="1158575"/>
                </a:moveTo>
                <a:lnTo>
                  <a:pt x="4362838" y="1351727"/>
                </a:lnTo>
                <a:lnTo>
                  <a:pt x="4362838" y="1737910"/>
                </a:lnTo>
                <a:lnTo>
                  <a:pt x="4029120" y="1931068"/>
                </a:lnTo>
                <a:lnTo>
                  <a:pt x="3695368" y="1737913"/>
                </a:lnTo>
                <a:lnTo>
                  <a:pt x="3695368" y="1351729"/>
                </a:lnTo>
                <a:close/>
                <a:moveTo>
                  <a:pt x="1975151" y="1158559"/>
                </a:moveTo>
                <a:lnTo>
                  <a:pt x="2252090" y="1318821"/>
                </a:lnTo>
                <a:lnTo>
                  <a:pt x="2308917" y="1351709"/>
                </a:lnTo>
                <a:lnTo>
                  <a:pt x="2308917" y="1737894"/>
                </a:lnTo>
                <a:lnTo>
                  <a:pt x="1975144" y="1931051"/>
                </a:lnTo>
                <a:lnTo>
                  <a:pt x="1641388" y="1737898"/>
                </a:lnTo>
                <a:lnTo>
                  <a:pt x="1641388" y="1351714"/>
                </a:lnTo>
                <a:close/>
                <a:moveTo>
                  <a:pt x="11902654" y="960799"/>
                </a:moveTo>
                <a:lnTo>
                  <a:pt x="12188651" y="1126327"/>
                </a:lnTo>
                <a:lnTo>
                  <a:pt x="12188651" y="1171992"/>
                </a:lnTo>
                <a:lnTo>
                  <a:pt x="11902524" y="1337516"/>
                </a:lnTo>
                <a:lnTo>
                  <a:pt x="11577065" y="1149161"/>
                </a:lnTo>
                <a:close/>
                <a:moveTo>
                  <a:pt x="9848833" y="960784"/>
                </a:moveTo>
                <a:lnTo>
                  <a:pt x="10174292" y="1149145"/>
                </a:lnTo>
                <a:lnTo>
                  <a:pt x="9848703" y="1337499"/>
                </a:lnTo>
                <a:lnTo>
                  <a:pt x="9523246" y="1149145"/>
                </a:lnTo>
                <a:close/>
                <a:moveTo>
                  <a:pt x="7794888" y="960771"/>
                </a:moveTo>
                <a:lnTo>
                  <a:pt x="8120344" y="1149132"/>
                </a:lnTo>
                <a:lnTo>
                  <a:pt x="7794758" y="1337484"/>
                </a:lnTo>
                <a:lnTo>
                  <a:pt x="7469301" y="1149132"/>
                </a:lnTo>
                <a:close/>
                <a:moveTo>
                  <a:pt x="5741094" y="960756"/>
                </a:moveTo>
                <a:lnTo>
                  <a:pt x="6066529" y="1149115"/>
                </a:lnTo>
                <a:lnTo>
                  <a:pt x="5740963" y="1337471"/>
                </a:lnTo>
                <a:lnTo>
                  <a:pt x="5504553" y="1200643"/>
                </a:lnTo>
                <a:lnTo>
                  <a:pt x="5415532" y="1149117"/>
                </a:lnTo>
                <a:close/>
                <a:moveTo>
                  <a:pt x="3687323" y="960742"/>
                </a:moveTo>
                <a:lnTo>
                  <a:pt x="4012774" y="1149098"/>
                </a:lnTo>
                <a:lnTo>
                  <a:pt x="3687188" y="1337454"/>
                </a:lnTo>
                <a:lnTo>
                  <a:pt x="3361738" y="1149102"/>
                </a:lnTo>
                <a:close/>
                <a:moveTo>
                  <a:pt x="1633346" y="960729"/>
                </a:moveTo>
                <a:lnTo>
                  <a:pt x="1958798" y="1149083"/>
                </a:lnTo>
                <a:lnTo>
                  <a:pt x="1633210" y="1337440"/>
                </a:lnTo>
                <a:lnTo>
                  <a:pt x="1307756" y="1149086"/>
                </a:lnTo>
                <a:close/>
                <a:moveTo>
                  <a:pt x="11113840" y="796828"/>
                </a:moveTo>
                <a:cubicBezTo>
                  <a:pt x="11124348" y="796828"/>
                  <a:pt x="11134206" y="800978"/>
                  <a:pt x="11141600" y="808373"/>
                </a:cubicBezTo>
                <a:lnTo>
                  <a:pt x="11206199" y="873104"/>
                </a:lnTo>
                <a:lnTo>
                  <a:pt x="11217744" y="884778"/>
                </a:lnTo>
                <a:lnTo>
                  <a:pt x="11229289" y="873104"/>
                </a:lnTo>
                <a:lnTo>
                  <a:pt x="11293758" y="808373"/>
                </a:lnTo>
                <a:cubicBezTo>
                  <a:pt x="11301152" y="800848"/>
                  <a:pt x="11311011" y="796828"/>
                  <a:pt x="11321517" y="796828"/>
                </a:cubicBezTo>
                <a:cubicBezTo>
                  <a:pt x="11331896" y="796828"/>
                  <a:pt x="11341755" y="800978"/>
                  <a:pt x="11349147" y="808373"/>
                </a:cubicBezTo>
                <a:lnTo>
                  <a:pt x="11427627" y="886983"/>
                </a:lnTo>
                <a:lnTo>
                  <a:pt x="11439169" y="914736"/>
                </a:lnTo>
                <a:lnTo>
                  <a:pt x="11427757" y="942490"/>
                </a:lnTo>
                <a:lnTo>
                  <a:pt x="11217744" y="1152909"/>
                </a:lnTo>
                <a:lnTo>
                  <a:pt x="11007731" y="942490"/>
                </a:lnTo>
                <a:lnTo>
                  <a:pt x="10996253" y="914754"/>
                </a:lnTo>
                <a:lnTo>
                  <a:pt x="11007731" y="887113"/>
                </a:lnTo>
                <a:lnTo>
                  <a:pt x="11086210" y="808373"/>
                </a:lnTo>
                <a:cubicBezTo>
                  <a:pt x="11093605" y="800978"/>
                  <a:pt x="11103333" y="796828"/>
                  <a:pt x="11113840" y="796828"/>
                </a:cubicBezTo>
                <a:close/>
                <a:moveTo>
                  <a:pt x="9059892" y="796812"/>
                </a:moveTo>
                <a:cubicBezTo>
                  <a:pt x="9070398" y="796812"/>
                  <a:pt x="9080257" y="800965"/>
                  <a:pt x="9087652" y="808358"/>
                </a:cubicBezTo>
                <a:lnTo>
                  <a:pt x="9152251" y="873089"/>
                </a:lnTo>
                <a:lnTo>
                  <a:pt x="9163796" y="884763"/>
                </a:lnTo>
                <a:lnTo>
                  <a:pt x="9175341" y="873089"/>
                </a:lnTo>
                <a:lnTo>
                  <a:pt x="9239810" y="808358"/>
                </a:lnTo>
                <a:cubicBezTo>
                  <a:pt x="9247204" y="800835"/>
                  <a:pt x="9257062" y="796812"/>
                  <a:pt x="9267570" y="796812"/>
                </a:cubicBezTo>
                <a:cubicBezTo>
                  <a:pt x="9277946" y="796812"/>
                  <a:pt x="9287805" y="800965"/>
                  <a:pt x="9295200" y="808358"/>
                </a:cubicBezTo>
                <a:lnTo>
                  <a:pt x="9373678" y="886967"/>
                </a:lnTo>
                <a:lnTo>
                  <a:pt x="9385221" y="914725"/>
                </a:lnTo>
                <a:lnTo>
                  <a:pt x="9373809" y="942476"/>
                </a:lnTo>
                <a:lnTo>
                  <a:pt x="9163797" y="1152894"/>
                </a:lnTo>
                <a:lnTo>
                  <a:pt x="8953784" y="942476"/>
                </a:lnTo>
                <a:lnTo>
                  <a:pt x="8942307" y="914737"/>
                </a:lnTo>
                <a:lnTo>
                  <a:pt x="8953783" y="887100"/>
                </a:lnTo>
                <a:lnTo>
                  <a:pt x="9032263" y="808358"/>
                </a:lnTo>
                <a:cubicBezTo>
                  <a:pt x="9039655" y="800965"/>
                  <a:pt x="9049385" y="796812"/>
                  <a:pt x="9059892" y="796812"/>
                </a:cubicBezTo>
                <a:close/>
                <a:moveTo>
                  <a:pt x="7006076" y="796800"/>
                </a:moveTo>
                <a:cubicBezTo>
                  <a:pt x="7016582" y="796800"/>
                  <a:pt x="7026440" y="800950"/>
                  <a:pt x="7033834" y="808345"/>
                </a:cubicBezTo>
                <a:lnTo>
                  <a:pt x="7098434" y="873075"/>
                </a:lnTo>
                <a:lnTo>
                  <a:pt x="7109978" y="884750"/>
                </a:lnTo>
                <a:lnTo>
                  <a:pt x="7121523" y="873075"/>
                </a:lnTo>
                <a:lnTo>
                  <a:pt x="7185994" y="808345"/>
                </a:lnTo>
                <a:cubicBezTo>
                  <a:pt x="7193387" y="800820"/>
                  <a:pt x="7203245" y="796800"/>
                  <a:pt x="7213751" y="796800"/>
                </a:cubicBezTo>
                <a:cubicBezTo>
                  <a:pt x="7224130" y="796800"/>
                  <a:pt x="7233989" y="800950"/>
                  <a:pt x="7241381" y="808345"/>
                </a:cubicBezTo>
                <a:lnTo>
                  <a:pt x="7319862" y="886956"/>
                </a:lnTo>
                <a:lnTo>
                  <a:pt x="7331404" y="914710"/>
                </a:lnTo>
                <a:lnTo>
                  <a:pt x="7319992" y="942463"/>
                </a:lnTo>
                <a:lnTo>
                  <a:pt x="7109978" y="1152879"/>
                </a:lnTo>
                <a:lnTo>
                  <a:pt x="6899966" y="942463"/>
                </a:lnTo>
                <a:lnTo>
                  <a:pt x="6888488" y="914725"/>
                </a:lnTo>
                <a:lnTo>
                  <a:pt x="6899966" y="887085"/>
                </a:lnTo>
                <a:lnTo>
                  <a:pt x="6978446" y="808345"/>
                </a:lnTo>
                <a:cubicBezTo>
                  <a:pt x="6985839" y="800950"/>
                  <a:pt x="6995568" y="796800"/>
                  <a:pt x="7006076" y="796800"/>
                </a:cubicBezTo>
                <a:close/>
                <a:moveTo>
                  <a:pt x="4952163" y="796785"/>
                </a:moveTo>
                <a:cubicBezTo>
                  <a:pt x="4962672" y="796785"/>
                  <a:pt x="4972539" y="800935"/>
                  <a:pt x="4979931" y="808330"/>
                </a:cubicBezTo>
                <a:lnTo>
                  <a:pt x="4999601" y="828037"/>
                </a:lnTo>
                <a:lnTo>
                  <a:pt x="5044528" y="873049"/>
                </a:lnTo>
                <a:lnTo>
                  <a:pt x="5056083" y="884723"/>
                </a:lnTo>
                <a:lnTo>
                  <a:pt x="5056083" y="884718"/>
                </a:lnTo>
                <a:lnTo>
                  <a:pt x="5056096" y="884737"/>
                </a:lnTo>
                <a:lnTo>
                  <a:pt x="5067648" y="873062"/>
                </a:lnTo>
                <a:lnTo>
                  <a:pt x="5132091" y="808330"/>
                </a:lnTo>
                <a:cubicBezTo>
                  <a:pt x="5139483" y="800806"/>
                  <a:pt x="5149338" y="796785"/>
                  <a:pt x="5159840" y="796785"/>
                </a:cubicBezTo>
                <a:lnTo>
                  <a:pt x="5187487" y="808327"/>
                </a:lnTo>
                <a:lnTo>
                  <a:pt x="5260329" y="881304"/>
                </a:lnTo>
                <a:lnTo>
                  <a:pt x="5265946" y="886927"/>
                </a:lnTo>
                <a:lnTo>
                  <a:pt x="5277479" y="914688"/>
                </a:lnTo>
                <a:cubicBezTo>
                  <a:pt x="5277479" y="925196"/>
                  <a:pt x="5273469" y="935054"/>
                  <a:pt x="5266075" y="942448"/>
                </a:cubicBezTo>
                <a:lnTo>
                  <a:pt x="5056083" y="1152860"/>
                </a:lnTo>
                <a:lnTo>
                  <a:pt x="4940608" y="1037194"/>
                </a:lnTo>
                <a:lnTo>
                  <a:pt x="4846044" y="942452"/>
                </a:lnTo>
                <a:lnTo>
                  <a:pt x="4834566" y="914718"/>
                </a:lnTo>
                <a:cubicBezTo>
                  <a:pt x="4834566" y="904680"/>
                  <a:pt x="4838398" y="894660"/>
                  <a:pt x="4846044" y="887070"/>
                </a:cubicBezTo>
                <a:lnTo>
                  <a:pt x="4924518" y="808330"/>
                </a:lnTo>
                <a:cubicBezTo>
                  <a:pt x="4931917" y="800935"/>
                  <a:pt x="4941652" y="796785"/>
                  <a:pt x="4952163" y="796785"/>
                </a:cubicBezTo>
                <a:close/>
                <a:moveTo>
                  <a:pt x="2898379" y="796772"/>
                </a:moveTo>
                <a:lnTo>
                  <a:pt x="2926124" y="808309"/>
                </a:lnTo>
                <a:lnTo>
                  <a:pt x="2990715" y="873034"/>
                </a:lnTo>
                <a:lnTo>
                  <a:pt x="3002260" y="884709"/>
                </a:lnTo>
                <a:lnTo>
                  <a:pt x="3002266" y="884703"/>
                </a:lnTo>
                <a:lnTo>
                  <a:pt x="3002284" y="884723"/>
                </a:lnTo>
                <a:lnTo>
                  <a:pt x="3013828" y="873046"/>
                </a:lnTo>
                <a:lnTo>
                  <a:pt x="3078300" y="808316"/>
                </a:lnTo>
                <a:cubicBezTo>
                  <a:pt x="3085695" y="800793"/>
                  <a:pt x="3095551" y="796772"/>
                  <a:pt x="3106059" y="796772"/>
                </a:cubicBezTo>
                <a:lnTo>
                  <a:pt x="3133671" y="808309"/>
                </a:lnTo>
                <a:lnTo>
                  <a:pt x="3212143" y="886914"/>
                </a:lnTo>
                <a:cubicBezTo>
                  <a:pt x="3219537" y="894308"/>
                  <a:pt x="3223561" y="904167"/>
                  <a:pt x="3223689" y="914674"/>
                </a:cubicBezTo>
                <a:cubicBezTo>
                  <a:pt x="3223689" y="925182"/>
                  <a:pt x="3219668" y="935041"/>
                  <a:pt x="3212274" y="942434"/>
                </a:cubicBezTo>
                <a:lnTo>
                  <a:pt x="3002266" y="1152843"/>
                </a:lnTo>
                <a:lnTo>
                  <a:pt x="2792274" y="942447"/>
                </a:lnTo>
                <a:cubicBezTo>
                  <a:pt x="2776962" y="927141"/>
                  <a:pt x="2776962" y="902234"/>
                  <a:pt x="2792274" y="887057"/>
                </a:cubicBezTo>
                <a:lnTo>
                  <a:pt x="2870749" y="808316"/>
                </a:lnTo>
                <a:cubicBezTo>
                  <a:pt x="2878144" y="800921"/>
                  <a:pt x="2887873" y="796772"/>
                  <a:pt x="2898379" y="796772"/>
                </a:cubicBezTo>
                <a:close/>
                <a:moveTo>
                  <a:pt x="844401" y="796757"/>
                </a:moveTo>
                <a:lnTo>
                  <a:pt x="872145" y="808295"/>
                </a:lnTo>
                <a:lnTo>
                  <a:pt x="936739" y="873020"/>
                </a:lnTo>
                <a:lnTo>
                  <a:pt x="948284" y="884695"/>
                </a:lnTo>
                <a:lnTo>
                  <a:pt x="948289" y="884690"/>
                </a:lnTo>
                <a:lnTo>
                  <a:pt x="948306" y="884708"/>
                </a:lnTo>
                <a:lnTo>
                  <a:pt x="959851" y="873033"/>
                </a:lnTo>
                <a:lnTo>
                  <a:pt x="1024320" y="808302"/>
                </a:lnTo>
                <a:cubicBezTo>
                  <a:pt x="1031715" y="800778"/>
                  <a:pt x="1041574" y="796757"/>
                  <a:pt x="1052080" y="796757"/>
                </a:cubicBezTo>
                <a:lnTo>
                  <a:pt x="1079695" y="808295"/>
                </a:lnTo>
                <a:lnTo>
                  <a:pt x="1158166" y="886900"/>
                </a:lnTo>
                <a:cubicBezTo>
                  <a:pt x="1165560" y="894294"/>
                  <a:pt x="1169581" y="904152"/>
                  <a:pt x="1169710" y="914660"/>
                </a:cubicBezTo>
                <a:cubicBezTo>
                  <a:pt x="1169710" y="925168"/>
                  <a:pt x="1165691" y="935027"/>
                  <a:pt x="1158298" y="942421"/>
                </a:cubicBezTo>
                <a:lnTo>
                  <a:pt x="948288" y="1152829"/>
                </a:lnTo>
                <a:lnTo>
                  <a:pt x="738294" y="942434"/>
                </a:lnTo>
                <a:cubicBezTo>
                  <a:pt x="722988" y="927127"/>
                  <a:pt x="722988" y="902221"/>
                  <a:pt x="738294" y="887043"/>
                </a:cubicBezTo>
                <a:lnTo>
                  <a:pt x="816772" y="808302"/>
                </a:lnTo>
                <a:cubicBezTo>
                  <a:pt x="824166" y="800907"/>
                  <a:pt x="833895" y="796757"/>
                  <a:pt x="844401" y="796757"/>
                </a:cubicBezTo>
                <a:close/>
                <a:moveTo>
                  <a:pt x="11113840" y="780338"/>
                </a:moveTo>
                <a:cubicBezTo>
                  <a:pt x="11099571" y="780338"/>
                  <a:pt x="11085432" y="785787"/>
                  <a:pt x="11074665" y="796683"/>
                </a:cubicBezTo>
                <a:lnTo>
                  <a:pt x="10996186" y="875425"/>
                </a:lnTo>
                <a:cubicBezTo>
                  <a:pt x="10985355" y="886258"/>
                  <a:pt x="10979939" y="900495"/>
                  <a:pt x="10979939" y="914730"/>
                </a:cubicBezTo>
                <a:lnTo>
                  <a:pt x="10979942" y="914736"/>
                </a:lnTo>
                <a:lnTo>
                  <a:pt x="10979939" y="914744"/>
                </a:lnTo>
                <a:cubicBezTo>
                  <a:pt x="10979939" y="928981"/>
                  <a:pt x="10985355" y="943218"/>
                  <a:pt x="10996186" y="954050"/>
                </a:cubicBezTo>
                <a:lnTo>
                  <a:pt x="11217744" y="1176145"/>
                </a:lnTo>
                <a:lnTo>
                  <a:pt x="11439301" y="954050"/>
                </a:lnTo>
                <a:cubicBezTo>
                  <a:pt x="11450132" y="943218"/>
                  <a:pt x="11455548" y="928981"/>
                  <a:pt x="11455548" y="914744"/>
                </a:cubicBezTo>
                <a:lnTo>
                  <a:pt x="11455545" y="914736"/>
                </a:lnTo>
                <a:lnTo>
                  <a:pt x="11455548" y="914730"/>
                </a:lnTo>
                <a:cubicBezTo>
                  <a:pt x="11455548" y="900495"/>
                  <a:pt x="11450132" y="886258"/>
                  <a:pt x="11439301" y="875425"/>
                </a:cubicBezTo>
                <a:lnTo>
                  <a:pt x="11360822" y="796812"/>
                </a:lnTo>
                <a:cubicBezTo>
                  <a:pt x="11349927" y="785916"/>
                  <a:pt x="11335787" y="780468"/>
                  <a:pt x="11321647" y="780468"/>
                </a:cubicBezTo>
                <a:lnTo>
                  <a:pt x="11321517" y="780338"/>
                </a:lnTo>
                <a:cubicBezTo>
                  <a:pt x="11307249" y="780338"/>
                  <a:pt x="11293110" y="785787"/>
                  <a:pt x="11282213" y="796812"/>
                </a:cubicBezTo>
                <a:lnTo>
                  <a:pt x="11217744" y="861415"/>
                </a:lnTo>
                <a:lnTo>
                  <a:pt x="11153145" y="796683"/>
                </a:lnTo>
                <a:cubicBezTo>
                  <a:pt x="11142248" y="785787"/>
                  <a:pt x="11128108" y="780338"/>
                  <a:pt x="11113840" y="780338"/>
                </a:cubicBezTo>
                <a:close/>
                <a:moveTo>
                  <a:pt x="9059893" y="780324"/>
                </a:moveTo>
                <a:cubicBezTo>
                  <a:pt x="9045624" y="780324"/>
                  <a:pt x="9031484" y="785773"/>
                  <a:pt x="9020718" y="796669"/>
                </a:cubicBezTo>
                <a:lnTo>
                  <a:pt x="8942239" y="875411"/>
                </a:lnTo>
                <a:cubicBezTo>
                  <a:pt x="8931408" y="886243"/>
                  <a:pt x="8925992" y="900480"/>
                  <a:pt x="8925992" y="914717"/>
                </a:cubicBezTo>
                <a:lnTo>
                  <a:pt x="8925994" y="914722"/>
                </a:lnTo>
                <a:lnTo>
                  <a:pt x="8925991" y="914730"/>
                </a:lnTo>
                <a:cubicBezTo>
                  <a:pt x="8925991" y="928969"/>
                  <a:pt x="8931406" y="943203"/>
                  <a:pt x="8942238" y="954035"/>
                </a:cubicBezTo>
                <a:lnTo>
                  <a:pt x="9163796" y="1176130"/>
                </a:lnTo>
                <a:lnTo>
                  <a:pt x="9385353" y="954035"/>
                </a:lnTo>
                <a:cubicBezTo>
                  <a:pt x="9396184" y="943203"/>
                  <a:pt x="9401600" y="928969"/>
                  <a:pt x="9401600" y="914730"/>
                </a:cubicBezTo>
                <a:lnTo>
                  <a:pt x="9401598" y="914725"/>
                </a:lnTo>
                <a:lnTo>
                  <a:pt x="9401601" y="914717"/>
                </a:lnTo>
                <a:cubicBezTo>
                  <a:pt x="9401601" y="900480"/>
                  <a:pt x="9396185" y="886243"/>
                  <a:pt x="9385354" y="875411"/>
                </a:cubicBezTo>
                <a:lnTo>
                  <a:pt x="9306876" y="796800"/>
                </a:lnTo>
                <a:cubicBezTo>
                  <a:pt x="9295978" y="785903"/>
                  <a:pt x="9281840" y="780454"/>
                  <a:pt x="9267701" y="780454"/>
                </a:cubicBezTo>
                <a:lnTo>
                  <a:pt x="9267571" y="780324"/>
                </a:lnTo>
                <a:cubicBezTo>
                  <a:pt x="9253303" y="780324"/>
                  <a:pt x="9239162" y="785773"/>
                  <a:pt x="9228266" y="796800"/>
                </a:cubicBezTo>
                <a:lnTo>
                  <a:pt x="9163797" y="861401"/>
                </a:lnTo>
                <a:lnTo>
                  <a:pt x="9099198" y="796669"/>
                </a:lnTo>
                <a:cubicBezTo>
                  <a:pt x="9088300" y="785773"/>
                  <a:pt x="9074162" y="780324"/>
                  <a:pt x="9059893" y="780324"/>
                </a:cubicBezTo>
                <a:close/>
                <a:moveTo>
                  <a:pt x="7006076" y="780310"/>
                </a:moveTo>
                <a:cubicBezTo>
                  <a:pt x="6991805" y="780310"/>
                  <a:pt x="6977666" y="785759"/>
                  <a:pt x="6966901" y="796656"/>
                </a:cubicBezTo>
                <a:lnTo>
                  <a:pt x="6888421" y="875397"/>
                </a:lnTo>
                <a:cubicBezTo>
                  <a:pt x="6877589" y="886228"/>
                  <a:pt x="6872174" y="900465"/>
                  <a:pt x="6872174" y="914703"/>
                </a:cubicBezTo>
                <a:lnTo>
                  <a:pt x="6872176" y="914710"/>
                </a:lnTo>
                <a:lnTo>
                  <a:pt x="6872174" y="914717"/>
                </a:lnTo>
                <a:cubicBezTo>
                  <a:pt x="6872174" y="928953"/>
                  <a:pt x="6877589" y="943189"/>
                  <a:pt x="6888421" y="954021"/>
                </a:cubicBezTo>
                <a:lnTo>
                  <a:pt x="7109978" y="1176113"/>
                </a:lnTo>
                <a:lnTo>
                  <a:pt x="7331537" y="954021"/>
                </a:lnTo>
                <a:cubicBezTo>
                  <a:pt x="7342368" y="943189"/>
                  <a:pt x="7347783" y="928953"/>
                  <a:pt x="7347783" y="914717"/>
                </a:cubicBezTo>
                <a:lnTo>
                  <a:pt x="7347780" y="914710"/>
                </a:lnTo>
                <a:lnTo>
                  <a:pt x="7347783" y="914703"/>
                </a:lnTo>
                <a:cubicBezTo>
                  <a:pt x="7347783" y="900465"/>
                  <a:pt x="7342368" y="886228"/>
                  <a:pt x="7331537" y="875397"/>
                </a:cubicBezTo>
                <a:lnTo>
                  <a:pt x="7253057" y="796785"/>
                </a:lnTo>
                <a:cubicBezTo>
                  <a:pt x="7242161" y="785888"/>
                  <a:pt x="7228022" y="780440"/>
                  <a:pt x="7213882" y="780440"/>
                </a:cubicBezTo>
                <a:lnTo>
                  <a:pt x="7213751" y="780310"/>
                </a:lnTo>
                <a:cubicBezTo>
                  <a:pt x="7199483" y="780310"/>
                  <a:pt x="7185345" y="785759"/>
                  <a:pt x="7174449" y="796785"/>
                </a:cubicBezTo>
                <a:lnTo>
                  <a:pt x="7109978" y="861387"/>
                </a:lnTo>
                <a:lnTo>
                  <a:pt x="7045379" y="796656"/>
                </a:lnTo>
                <a:cubicBezTo>
                  <a:pt x="7034483" y="785759"/>
                  <a:pt x="7020344" y="780310"/>
                  <a:pt x="7006076" y="780310"/>
                </a:cubicBezTo>
                <a:close/>
                <a:moveTo>
                  <a:pt x="4952154" y="780296"/>
                </a:moveTo>
                <a:cubicBezTo>
                  <a:pt x="4937883" y="780296"/>
                  <a:pt x="4923734" y="785745"/>
                  <a:pt x="4912973" y="796641"/>
                </a:cubicBezTo>
                <a:lnTo>
                  <a:pt x="4834497" y="875382"/>
                </a:lnTo>
                <a:cubicBezTo>
                  <a:pt x="4812828" y="897046"/>
                  <a:pt x="4812828" y="932332"/>
                  <a:pt x="4834497" y="953994"/>
                </a:cubicBezTo>
                <a:lnTo>
                  <a:pt x="4834505" y="954001"/>
                </a:lnTo>
                <a:lnTo>
                  <a:pt x="4834511" y="954008"/>
                </a:lnTo>
                <a:lnTo>
                  <a:pt x="4925572" y="1045292"/>
                </a:lnTo>
                <a:lnTo>
                  <a:pt x="5056083" y="1176084"/>
                </a:lnTo>
                <a:lnTo>
                  <a:pt x="5056083" y="1176081"/>
                </a:lnTo>
                <a:lnTo>
                  <a:pt x="5056096" y="1176099"/>
                </a:lnTo>
                <a:lnTo>
                  <a:pt x="5277619" y="954008"/>
                </a:lnTo>
                <a:cubicBezTo>
                  <a:pt x="5299298" y="932344"/>
                  <a:pt x="5299298" y="897060"/>
                  <a:pt x="5277619" y="875395"/>
                </a:cubicBezTo>
                <a:lnTo>
                  <a:pt x="5277613" y="875386"/>
                </a:lnTo>
                <a:lnTo>
                  <a:pt x="5277613" y="875382"/>
                </a:lnTo>
                <a:lnTo>
                  <a:pt x="5199129" y="796772"/>
                </a:lnTo>
                <a:cubicBezTo>
                  <a:pt x="5188240" y="785874"/>
                  <a:pt x="5174094" y="780426"/>
                  <a:pt x="5159958" y="780426"/>
                </a:cubicBezTo>
                <a:lnTo>
                  <a:pt x="5159834" y="780296"/>
                </a:lnTo>
                <a:cubicBezTo>
                  <a:pt x="5145563" y="780296"/>
                  <a:pt x="5131434" y="785745"/>
                  <a:pt x="5120536" y="796772"/>
                </a:cubicBezTo>
                <a:lnTo>
                  <a:pt x="5056083" y="861369"/>
                </a:lnTo>
                <a:lnTo>
                  <a:pt x="5001140" y="806336"/>
                </a:lnTo>
                <a:lnTo>
                  <a:pt x="4991465" y="796641"/>
                </a:lnTo>
                <a:cubicBezTo>
                  <a:pt x="4980570" y="785745"/>
                  <a:pt x="4966424" y="780296"/>
                  <a:pt x="4952154" y="780296"/>
                </a:cubicBezTo>
                <a:close/>
                <a:moveTo>
                  <a:pt x="2898359" y="780282"/>
                </a:moveTo>
                <a:cubicBezTo>
                  <a:pt x="2884086" y="780282"/>
                  <a:pt x="2869949" y="785730"/>
                  <a:pt x="2859182" y="796627"/>
                </a:cubicBezTo>
                <a:lnTo>
                  <a:pt x="2780702" y="875369"/>
                </a:lnTo>
                <a:cubicBezTo>
                  <a:pt x="2759040" y="897032"/>
                  <a:pt x="2759040" y="932316"/>
                  <a:pt x="2780702" y="953981"/>
                </a:cubicBezTo>
                <a:lnTo>
                  <a:pt x="3002260" y="1176068"/>
                </a:lnTo>
                <a:lnTo>
                  <a:pt x="3002266" y="1176063"/>
                </a:lnTo>
                <a:lnTo>
                  <a:pt x="3002284" y="1176082"/>
                </a:lnTo>
                <a:lnTo>
                  <a:pt x="3223843" y="953994"/>
                </a:lnTo>
                <a:cubicBezTo>
                  <a:pt x="3245509" y="932331"/>
                  <a:pt x="3245509" y="897046"/>
                  <a:pt x="3223843" y="875382"/>
                </a:cubicBezTo>
                <a:lnTo>
                  <a:pt x="3145363" y="796772"/>
                </a:lnTo>
                <a:cubicBezTo>
                  <a:pt x="3139913" y="791323"/>
                  <a:pt x="3133654" y="787234"/>
                  <a:pt x="3126992" y="784512"/>
                </a:cubicBezTo>
                <a:lnTo>
                  <a:pt x="3126986" y="784511"/>
                </a:lnTo>
                <a:lnTo>
                  <a:pt x="3126967" y="784499"/>
                </a:lnTo>
                <a:lnTo>
                  <a:pt x="3106177" y="780415"/>
                </a:lnTo>
                <a:lnTo>
                  <a:pt x="3106059" y="780295"/>
                </a:lnTo>
                <a:lnTo>
                  <a:pt x="3106051" y="780298"/>
                </a:lnTo>
                <a:lnTo>
                  <a:pt x="3106034" y="780282"/>
                </a:lnTo>
                <a:cubicBezTo>
                  <a:pt x="3091767" y="780282"/>
                  <a:pt x="3077626" y="785730"/>
                  <a:pt x="3066731" y="796757"/>
                </a:cubicBezTo>
                <a:lnTo>
                  <a:pt x="3002266" y="861353"/>
                </a:lnTo>
                <a:lnTo>
                  <a:pt x="2937685" y="796641"/>
                </a:lnTo>
                <a:cubicBezTo>
                  <a:pt x="2932238" y="791192"/>
                  <a:pt x="2925979" y="787106"/>
                  <a:pt x="2919300" y="784382"/>
                </a:cubicBezTo>
                <a:lnTo>
                  <a:pt x="2919293" y="784381"/>
                </a:lnTo>
                <a:lnTo>
                  <a:pt x="2919273" y="784369"/>
                </a:lnTo>
                <a:cubicBezTo>
                  <a:pt x="2912591" y="781644"/>
                  <a:pt x="2905489" y="780282"/>
                  <a:pt x="2898359" y="780282"/>
                </a:cubicBezTo>
                <a:close/>
                <a:moveTo>
                  <a:pt x="844379" y="780268"/>
                </a:moveTo>
                <a:cubicBezTo>
                  <a:pt x="830112" y="780268"/>
                  <a:pt x="815972" y="785717"/>
                  <a:pt x="805206" y="796613"/>
                </a:cubicBezTo>
                <a:lnTo>
                  <a:pt x="726726" y="875355"/>
                </a:lnTo>
                <a:cubicBezTo>
                  <a:pt x="705063" y="897019"/>
                  <a:pt x="705063" y="932303"/>
                  <a:pt x="726726" y="953966"/>
                </a:cubicBezTo>
                <a:lnTo>
                  <a:pt x="948284" y="1176053"/>
                </a:lnTo>
                <a:lnTo>
                  <a:pt x="948288" y="1176048"/>
                </a:lnTo>
                <a:lnTo>
                  <a:pt x="948306" y="1176067"/>
                </a:lnTo>
                <a:lnTo>
                  <a:pt x="1169863" y="953980"/>
                </a:lnTo>
                <a:cubicBezTo>
                  <a:pt x="1191525" y="932316"/>
                  <a:pt x="1191525" y="897032"/>
                  <a:pt x="1169863" y="875369"/>
                </a:cubicBezTo>
                <a:lnTo>
                  <a:pt x="1091384" y="796757"/>
                </a:lnTo>
                <a:cubicBezTo>
                  <a:pt x="1085937" y="791309"/>
                  <a:pt x="1079676" y="787222"/>
                  <a:pt x="1073012" y="784498"/>
                </a:cubicBezTo>
                <a:lnTo>
                  <a:pt x="1073010" y="784497"/>
                </a:lnTo>
                <a:lnTo>
                  <a:pt x="1072991" y="784484"/>
                </a:lnTo>
                <a:lnTo>
                  <a:pt x="1052198" y="780401"/>
                </a:lnTo>
                <a:lnTo>
                  <a:pt x="1052080" y="780282"/>
                </a:lnTo>
                <a:lnTo>
                  <a:pt x="1052072" y="780283"/>
                </a:lnTo>
                <a:lnTo>
                  <a:pt x="1052057" y="780268"/>
                </a:lnTo>
                <a:cubicBezTo>
                  <a:pt x="1037789" y="780268"/>
                  <a:pt x="1023649" y="785717"/>
                  <a:pt x="1012754" y="796743"/>
                </a:cubicBezTo>
                <a:lnTo>
                  <a:pt x="948290" y="861340"/>
                </a:lnTo>
                <a:lnTo>
                  <a:pt x="883707" y="796627"/>
                </a:lnTo>
                <a:cubicBezTo>
                  <a:pt x="878259" y="791178"/>
                  <a:pt x="872000" y="787092"/>
                  <a:pt x="865320" y="784368"/>
                </a:cubicBezTo>
                <a:lnTo>
                  <a:pt x="865315" y="784367"/>
                </a:lnTo>
                <a:lnTo>
                  <a:pt x="865296" y="784354"/>
                </a:lnTo>
                <a:cubicBezTo>
                  <a:pt x="858616" y="781630"/>
                  <a:pt x="851515" y="780268"/>
                  <a:pt x="844379" y="780268"/>
                </a:cubicBezTo>
                <a:close/>
                <a:moveTo>
                  <a:pt x="11910826" y="569816"/>
                </a:moveTo>
                <a:lnTo>
                  <a:pt x="12188651" y="730603"/>
                </a:lnTo>
                <a:lnTo>
                  <a:pt x="12188651" y="1107455"/>
                </a:lnTo>
                <a:lnTo>
                  <a:pt x="11910826" y="946654"/>
                </a:lnTo>
                <a:close/>
                <a:moveTo>
                  <a:pt x="11894481" y="569816"/>
                </a:moveTo>
                <a:lnTo>
                  <a:pt x="11894481" y="946654"/>
                </a:lnTo>
                <a:lnTo>
                  <a:pt x="11568890" y="1135023"/>
                </a:lnTo>
                <a:lnTo>
                  <a:pt x="11568890" y="758171"/>
                </a:lnTo>
                <a:close/>
                <a:moveTo>
                  <a:pt x="9857006" y="569803"/>
                </a:moveTo>
                <a:lnTo>
                  <a:pt x="10182468" y="758157"/>
                </a:lnTo>
                <a:lnTo>
                  <a:pt x="10182468" y="1135005"/>
                </a:lnTo>
                <a:lnTo>
                  <a:pt x="9857006" y="946640"/>
                </a:lnTo>
                <a:close/>
                <a:moveTo>
                  <a:pt x="9840661" y="569803"/>
                </a:moveTo>
                <a:lnTo>
                  <a:pt x="9840661" y="946640"/>
                </a:lnTo>
                <a:lnTo>
                  <a:pt x="9515070" y="1135005"/>
                </a:lnTo>
                <a:lnTo>
                  <a:pt x="9515070" y="758157"/>
                </a:lnTo>
                <a:close/>
                <a:moveTo>
                  <a:pt x="7803060" y="569788"/>
                </a:moveTo>
                <a:lnTo>
                  <a:pt x="8128521" y="758143"/>
                </a:lnTo>
                <a:lnTo>
                  <a:pt x="8128521" y="1134990"/>
                </a:lnTo>
                <a:lnTo>
                  <a:pt x="7803060" y="946626"/>
                </a:lnTo>
                <a:close/>
                <a:moveTo>
                  <a:pt x="7786715" y="569788"/>
                </a:moveTo>
                <a:lnTo>
                  <a:pt x="7786715" y="946626"/>
                </a:lnTo>
                <a:lnTo>
                  <a:pt x="7461125" y="1134990"/>
                </a:lnTo>
                <a:lnTo>
                  <a:pt x="7461125" y="758143"/>
                </a:lnTo>
                <a:close/>
                <a:moveTo>
                  <a:pt x="5749267" y="569774"/>
                </a:moveTo>
                <a:lnTo>
                  <a:pt x="6074705" y="758130"/>
                </a:lnTo>
                <a:lnTo>
                  <a:pt x="6074705" y="1134975"/>
                </a:lnTo>
                <a:lnTo>
                  <a:pt x="5749267" y="946613"/>
                </a:lnTo>
                <a:close/>
                <a:moveTo>
                  <a:pt x="5732923" y="569774"/>
                </a:moveTo>
                <a:lnTo>
                  <a:pt x="5732923" y="946611"/>
                </a:lnTo>
                <a:lnTo>
                  <a:pt x="5407356" y="1134972"/>
                </a:lnTo>
                <a:lnTo>
                  <a:pt x="5407356" y="758130"/>
                </a:lnTo>
                <a:close/>
                <a:moveTo>
                  <a:pt x="3679146" y="569764"/>
                </a:moveTo>
                <a:lnTo>
                  <a:pt x="3679146" y="946598"/>
                </a:lnTo>
                <a:lnTo>
                  <a:pt x="3353565" y="1134955"/>
                </a:lnTo>
                <a:lnTo>
                  <a:pt x="3353565" y="758117"/>
                </a:lnTo>
                <a:close/>
                <a:moveTo>
                  <a:pt x="3695498" y="569759"/>
                </a:moveTo>
                <a:lnTo>
                  <a:pt x="4020947" y="758112"/>
                </a:lnTo>
                <a:lnTo>
                  <a:pt x="4020947" y="1134957"/>
                </a:lnTo>
                <a:lnTo>
                  <a:pt x="3695498" y="946601"/>
                </a:lnTo>
                <a:close/>
                <a:moveTo>
                  <a:pt x="1625167" y="569748"/>
                </a:moveTo>
                <a:lnTo>
                  <a:pt x="1625167" y="946584"/>
                </a:lnTo>
                <a:lnTo>
                  <a:pt x="1299584" y="1134940"/>
                </a:lnTo>
                <a:lnTo>
                  <a:pt x="1299584" y="758102"/>
                </a:lnTo>
                <a:close/>
                <a:moveTo>
                  <a:pt x="1641516" y="569745"/>
                </a:moveTo>
                <a:lnTo>
                  <a:pt x="1966972" y="758098"/>
                </a:lnTo>
                <a:lnTo>
                  <a:pt x="1966972" y="1134943"/>
                </a:lnTo>
                <a:lnTo>
                  <a:pt x="1641516" y="946587"/>
                </a:lnTo>
                <a:close/>
                <a:moveTo>
                  <a:pt x="10532576" y="565003"/>
                </a:moveTo>
                <a:lnTo>
                  <a:pt x="10866339" y="758157"/>
                </a:lnTo>
                <a:lnTo>
                  <a:pt x="10866339" y="1144474"/>
                </a:lnTo>
                <a:lnTo>
                  <a:pt x="10532706" y="1337629"/>
                </a:lnTo>
                <a:lnTo>
                  <a:pt x="10198941" y="1144474"/>
                </a:lnTo>
                <a:lnTo>
                  <a:pt x="10198941" y="758157"/>
                </a:lnTo>
                <a:close/>
                <a:moveTo>
                  <a:pt x="8478628" y="564988"/>
                </a:moveTo>
                <a:lnTo>
                  <a:pt x="8812392" y="758143"/>
                </a:lnTo>
                <a:lnTo>
                  <a:pt x="8812392" y="1144459"/>
                </a:lnTo>
                <a:lnTo>
                  <a:pt x="8478758" y="1337616"/>
                </a:lnTo>
                <a:lnTo>
                  <a:pt x="8144995" y="1144459"/>
                </a:lnTo>
                <a:lnTo>
                  <a:pt x="8144995" y="758143"/>
                </a:lnTo>
                <a:close/>
                <a:moveTo>
                  <a:pt x="6424810" y="564974"/>
                </a:moveTo>
                <a:lnTo>
                  <a:pt x="6758573" y="758130"/>
                </a:lnTo>
                <a:lnTo>
                  <a:pt x="6758573" y="1144443"/>
                </a:lnTo>
                <a:lnTo>
                  <a:pt x="6424940" y="1337600"/>
                </a:lnTo>
                <a:lnTo>
                  <a:pt x="6091179" y="1144443"/>
                </a:lnTo>
                <a:lnTo>
                  <a:pt x="6091179" y="758130"/>
                </a:lnTo>
                <a:close/>
                <a:moveTo>
                  <a:pt x="4371020" y="564960"/>
                </a:moveTo>
                <a:lnTo>
                  <a:pt x="4704777" y="758114"/>
                </a:lnTo>
                <a:lnTo>
                  <a:pt x="4704777" y="1144429"/>
                </a:lnTo>
                <a:lnTo>
                  <a:pt x="4371146" y="1337586"/>
                </a:lnTo>
                <a:lnTo>
                  <a:pt x="4203813" y="1240748"/>
                </a:lnTo>
                <a:lnTo>
                  <a:pt x="4037427" y="1144432"/>
                </a:lnTo>
                <a:lnTo>
                  <a:pt x="4037427" y="758117"/>
                </a:lnTo>
                <a:close/>
                <a:moveTo>
                  <a:pt x="2317096" y="564946"/>
                </a:moveTo>
                <a:lnTo>
                  <a:pt x="2650849" y="758098"/>
                </a:lnTo>
                <a:lnTo>
                  <a:pt x="2650849" y="1144413"/>
                </a:lnTo>
                <a:lnTo>
                  <a:pt x="2317220" y="1337570"/>
                </a:lnTo>
                <a:lnTo>
                  <a:pt x="1983454" y="1144417"/>
                </a:lnTo>
                <a:lnTo>
                  <a:pt x="1983454" y="758102"/>
                </a:lnTo>
                <a:close/>
                <a:moveTo>
                  <a:pt x="263248" y="564931"/>
                </a:moveTo>
                <a:lnTo>
                  <a:pt x="597003" y="758084"/>
                </a:lnTo>
                <a:lnTo>
                  <a:pt x="597003" y="1144398"/>
                </a:lnTo>
                <a:lnTo>
                  <a:pt x="263372" y="1337554"/>
                </a:lnTo>
                <a:lnTo>
                  <a:pt x="0" y="1185135"/>
                </a:lnTo>
                <a:lnTo>
                  <a:pt x="0" y="717338"/>
                </a:lnTo>
                <a:close/>
                <a:moveTo>
                  <a:pt x="11217614" y="564628"/>
                </a:moveTo>
                <a:lnTo>
                  <a:pt x="11551377" y="757782"/>
                </a:lnTo>
                <a:lnTo>
                  <a:pt x="11551377" y="1143957"/>
                </a:lnTo>
                <a:lnTo>
                  <a:pt x="11217614" y="1337111"/>
                </a:lnTo>
                <a:lnTo>
                  <a:pt x="10883851" y="1143959"/>
                </a:lnTo>
                <a:lnTo>
                  <a:pt x="10883851" y="757782"/>
                </a:lnTo>
                <a:close/>
                <a:moveTo>
                  <a:pt x="9163666" y="564614"/>
                </a:moveTo>
                <a:lnTo>
                  <a:pt x="9497429" y="757768"/>
                </a:lnTo>
                <a:lnTo>
                  <a:pt x="9497429" y="1143944"/>
                </a:lnTo>
                <a:lnTo>
                  <a:pt x="9163666" y="1337098"/>
                </a:lnTo>
                <a:lnTo>
                  <a:pt x="8829903" y="1143941"/>
                </a:lnTo>
                <a:lnTo>
                  <a:pt x="8829903" y="757768"/>
                </a:lnTo>
                <a:close/>
                <a:moveTo>
                  <a:pt x="7109850" y="564599"/>
                </a:moveTo>
                <a:lnTo>
                  <a:pt x="7443613" y="757755"/>
                </a:lnTo>
                <a:lnTo>
                  <a:pt x="7443613" y="1143928"/>
                </a:lnTo>
                <a:lnTo>
                  <a:pt x="7109850" y="1337082"/>
                </a:lnTo>
                <a:lnTo>
                  <a:pt x="6776085" y="1143928"/>
                </a:lnTo>
                <a:lnTo>
                  <a:pt x="6776085" y="757755"/>
                </a:lnTo>
                <a:close/>
                <a:moveTo>
                  <a:pt x="5055971" y="564585"/>
                </a:moveTo>
                <a:lnTo>
                  <a:pt x="5143887" y="615477"/>
                </a:lnTo>
                <a:lnTo>
                  <a:pt x="5389701" y="757730"/>
                </a:lnTo>
                <a:lnTo>
                  <a:pt x="5389701" y="1143911"/>
                </a:lnTo>
                <a:lnTo>
                  <a:pt x="5055949" y="1337066"/>
                </a:lnTo>
                <a:lnTo>
                  <a:pt x="4722183" y="1143920"/>
                </a:lnTo>
                <a:lnTo>
                  <a:pt x="4722183" y="757740"/>
                </a:lnTo>
                <a:close/>
                <a:moveTo>
                  <a:pt x="3002159" y="564571"/>
                </a:moveTo>
                <a:lnTo>
                  <a:pt x="3016027" y="572597"/>
                </a:lnTo>
                <a:lnTo>
                  <a:pt x="3335897" y="757711"/>
                </a:lnTo>
                <a:lnTo>
                  <a:pt x="3335897" y="1143896"/>
                </a:lnTo>
                <a:lnTo>
                  <a:pt x="3002127" y="1337052"/>
                </a:lnTo>
                <a:lnTo>
                  <a:pt x="2668394" y="1143911"/>
                </a:lnTo>
                <a:lnTo>
                  <a:pt x="2668394" y="757727"/>
                </a:lnTo>
                <a:close/>
                <a:moveTo>
                  <a:pt x="948179" y="564556"/>
                </a:moveTo>
                <a:lnTo>
                  <a:pt x="1281917" y="757697"/>
                </a:lnTo>
                <a:lnTo>
                  <a:pt x="1281917" y="1143881"/>
                </a:lnTo>
                <a:lnTo>
                  <a:pt x="948154" y="1337037"/>
                </a:lnTo>
                <a:lnTo>
                  <a:pt x="740385" y="1216797"/>
                </a:lnTo>
                <a:lnTo>
                  <a:pt x="614417" y="1143897"/>
                </a:lnTo>
                <a:lnTo>
                  <a:pt x="614417" y="757713"/>
                </a:lnTo>
                <a:close/>
                <a:moveTo>
                  <a:pt x="10875809" y="366803"/>
                </a:moveTo>
                <a:lnTo>
                  <a:pt x="11201256" y="555149"/>
                </a:lnTo>
                <a:lnTo>
                  <a:pt x="10875678" y="743498"/>
                </a:lnTo>
                <a:lnTo>
                  <a:pt x="10550231" y="555149"/>
                </a:lnTo>
                <a:close/>
                <a:moveTo>
                  <a:pt x="8821860" y="366789"/>
                </a:moveTo>
                <a:lnTo>
                  <a:pt x="9147308" y="555135"/>
                </a:lnTo>
                <a:lnTo>
                  <a:pt x="8821731" y="743485"/>
                </a:lnTo>
                <a:lnTo>
                  <a:pt x="8496282" y="555135"/>
                </a:lnTo>
                <a:close/>
                <a:moveTo>
                  <a:pt x="6768043" y="366774"/>
                </a:moveTo>
                <a:lnTo>
                  <a:pt x="7093491" y="555121"/>
                </a:lnTo>
                <a:lnTo>
                  <a:pt x="6767913" y="743469"/>
                </a:lnTo>
                <a:lnTo>
                  <a:pt x="6442466" y="555121"/>
                </a:lnTo>
                <a:close/>
                <a:moveTo>
                  <a:pt x="4714128" y="366759"/>
                </a:moveTo>
                <a:lnTo>
                  <a:pt x="5039593" y="555101"/>
                </a:lnTo>
                <a:lnTo>
                  <a:pt x="4713993" y="743455"/>
                </a:lnTo>
                <a:lnTo>
                  <a:pt x="4388549" y="555110"/>
                </a:lnTo>
                <a:close/>
                <a:moveTo>
                  <a:pt x="2660353" y="366745"/>
                </a:moveTo>
                <a:lnTo>
                  <a:pt x="2961041" y="540764"/>
                </a:lnTo>
                <a:lnTo>
                  <a:pt x="2985786" y="555084"/>
                </a:lnTo>
                <a:lnTo>
                  <a:pt x="2660196" y="743441"/>
                </a:lnTo>
                <a:lnTo>
                  <a:pt x="2334766" y="555101"/>
                </a:lnTo>
                <a:close/>
                <a:moveTo>
                  <a:pt x="606375" y="366730"/>
                </a:moveTo>
                <a:lnTo>
                  <a:pt x="931808" y="555071"/>
                </a:lnTo>
                <a:lnTo>
                  <a:pt x="606218" y="743426"/>
                </a:lnTo>
                <a:lnTo>
                  <a:pt x="280784" y="555086"/>
                </a:lnTo>
                <a:close/>
                <a:moveTo>
                  <a:pt x="12140685" y="202966"/>
                </a:moveTo>
                <a:cubicBezTo>
                  <a:pt x="12151191" y="202966"/>
                  <a:pt x="12161050" y="207115"/>
                  <a:pt x="12168445" y="214509"/>
                </a:cubicBezTo>
                <a:lnTo>
                  <a:pt x="12188651" y="234757"/>
                </a:lnTo>
                <a:lnTo>
                  <a:pt x="12188651" y="503007"/>
                </a:lnTo>
                <a:lnTo>
                  <a:pt x="12034576" y="348641"/>
                </a:lnTo>
                <a:cubicBezTo>
                  <a:pt x="12019270" y="333336"/>
                  <a:pt x="12019270" y="308429"/>
                  <a:pt x="12034576" y="293253"/>
                </a:cubicBezTo>
                <a:lnTo>
                  <a:pt x="12113056" y="214509"/>
                </a:lnTo>
                <a:cubicBezTo>
                  <a:pt x="12120448" y="207115"/>
                  <a:pt x="12130178" y="202966"/>
                  <a:pt x="12140685" y="202966"/>
                </a:cubicBezTo>
                <a:close/>
                <a:moveTo>
                  <a:pt x="10086867" y="202950"/>
                </a:moveTo>
                <a:cubicBezTo>
                  <a:pt x="10097374" y="202950"/>
                  <a:pt x="10107232" y="207102"/>
                  <a:pt x="10114626" y="214495"/>
                </a:cubicBezTo>
                <a:lnTo>
                  <a:pt x="10179226" y="279226"/>
                </a:lnTo>
                <a:lnTo>
                  <a:pt x="10190770" y="290903"/>
                </a:lnTo>
                <a:lnTo>
                  <a:pt x="10202315" y="279226"/>
                </a:lnTo>
                <a:lnTo>
                  <a:pt x="10266786" y="214495"/>
                </a:lnTo>
                <a:cubicBezTo>
                  <a:pt x="10274178" y="206971"/>
                  <a:pt x="10284037" y="202950"/>
                  <a:pt x="10294543" y="202950"/>
                </a:cubicBezTo>
                <a:cubicBezTo>
                  <a:pt x="10304922" y="202950"/>
                  <a:pt x="10314781" y="207102"/>
                  <a:pt x="10322173" y="214495"/>
                </a:cubicBezTo>
                <a:lnTo>
                  <a:pt x="10400653" y="293106"/>
                </a:lnTo>
                <a:cubicBezTo>
                  <a:pt x="10408047" y="300500"/>
                  <a:pt x="10412068" y="310360"/>
                  <a:pt x="10412198" y="320867"/>
                </a:cubicBezTo>
                <a:cubicBezTo>
                  <a:pt x="10412198" y="331375"/>
                  <a:pt x="10408176" y="341234"/>
                  <a:pt x="10400783" y="348627"/>
                </a:cubicBezTo>
                <a:lnTo>
                  <a:pt x="10190770" y="559036"/>
                </a:lnTo>
                <a:lnTo>
                  <a:pt x="9980757" y="348627"/>
                </a:lnTo>
                <a:cubicBezTo>
                  <a:pt x="9965450" y="333321"/>
                  <a:pt x="9965450" y="308414"/>
                  <a:pt x="9980757" y="293236"/>
                </a:cubicBezTo>
                <a:lnTo>
                  <a:pt x="10059237" y="214495"/>
                </a:lnTo>
                <a:cubicBezTo>
                  <a:pt x="10066631" y="207102"/>
                  <a:pt x="10076359" y="202950"/>
                  <a:pt x="10086867" y="202950"/>
                </a:cubicBezTo>
                <a:close/>
                <a:moveTo>
                  <a:pt x="8032919" y="202936"/>
                </a:moveTo>
                <a:cubicBezTo>
                  <a:pt x="8043427" y="202936"/>
                  <a:pt x="8053285" y="207087"/>
                  <a:pt x="8060679" y="214481"/>
                </a:cubicBezTo>
                <a:lnTo>
                  <a:pt x="8125278" y="279212"/>
                </a:lnTo>
                <a:lnTo>
                  <a:pt x="8136823" y="290888"/>
                </a:lnTo>
                <a:lnTo>
                  <a:pt x="8148368" y="279212"/>
                </a:lnTo>
                <a:lnTo>
                  <a:pt x="8212837" y="214481"/>
                </a:lnTo>
                <a:cubicBezTo>
                  <a:pt x="8220232" y="206957"/>
                  <a:pt x="8230090" y="202936"/>
                  <a:pt x="8240596" y="202936"/>
                </a:cubicBezTo>
                <a:cubicBezTo>
                  <a:pt x="8250975" y="202936"/>
                  <a:pt x="8260834" y="207087"/>
                  <a:pt x="8268226" y="214481"/>
                </a:cubicBezTo>
                <a:lnTo>
                  <a:pt x="8346707" y="293091"/>
                </a:lnTo>
                <a:cubicBezTo>
                  <a:pt x="8354100" y="300487"/>
                  <a:pt x="8358121" y="310344"/>
                  <a:pt x="8358252" y="320853"/>
                </a:cubicBezTo>
                <a:cubicBezTo>
                  <a:pt x="8358252" y="331360"/>
                  <a:pt x="8354229" y="341220"/>
                  <a:pt x="8346837" y="348613"/>
                </a:cubicBezTo>
                <a:lnTo>
                  <a:pt x="8136823" y="559021"/>
                </a:lnTo>
                <a:lnTo>
                  <a:pt x="7926811" y="348613"/>
                </a:lnTo>
                <a:cubicBezTo>
                  <a:pt x="7911503" y="333305"/>
                  <a:pt x="7911503" y="308399"/>
                  <a:pt x="7926811" y="293223"/>
                </a:cubicBezTo>
                <a:lnTo>
                  <a:pt x="8005289" y="214481"/>
                </a:lnTo>
                <a:cubicBezTo>
                  <a:pt x="8012684" y="207087"/>
                  <a:pt x="8022413" y="202936"/>
                  <a:pt x="8032919" y="202936"/>
                </a:cubicBezTo>
                <a:close/>
                <a:moveTo>
                  <a:pt x="5979111" y="202922"/>
                </a:moveTo>
                <a:cubicBezTo>
                  <a:pt x="5989617" y="202922"/>
                  <a:pt x="5999474" y="207071"/>
                  <a:pt x="6006869" y="214466"/>
                </a:cubicBezTo>
                <a:lnTo>
                  <a:pt x="6071463" y="279197"/>
                </a:lnTo>
                <a:lnTo>
                  <a:pt x="6083008" y="290872"/>
                </a:lnTo>
                <a:lnTo>
                  <a:pt x="6094550" y="279197"/>
                </a:lnTo>
                <a:lnTo>
                  <a:pt x="6159019" y="214466"/>
                </a:lnTo>
                <a:cubicBezTo>
                  <a:pt x="6166413" y="206942"/>
                  <a:pt x="6176271" y="202922"/>
                  <a:pt x="6186779" y="202922"/>
                </a:cubicBezTo>
                <a:cubicBezTo>
                  <a:pt x="6197156" y="202922"/>
                  <a:pt x="6207014" y="207071"/>
                  <a:pt x="6214409" y="214466"/>
                </a:cubicBezTo>
                <a:lnTo>
                  <a:pt x="6292888" y="293078"/>
                </a:lnTo>
                <a:cubicBezTo>
                  <a:pt x="6300282" y="300473"/>
                  <a:pt x="6304303" y="310331"/>
                  <a:pt x="6304433" y="320838"/>
                </a:cubicBezTo>
                <a:cubicBezTo>
                  <a:pt x="6304433" y="331345"/>
                  <a:pt x="6300412" y="341204"/>
                  <a:pt x="6293017" y="348599"/>
                </a:cubicBezTo>
                <a:lnTo>
                  <a:pt x="6083008" y="559007"/>
                </a:lnTo>
                <a:lnTo>
                  <a:pt x="5873007" y="348599"/>
                </a:lnTo>
                <a:cubicBezTo>
                  <a:pt x="5857705" y="333290"/>
                  <a:pt x="5857705" y="308385"/>
                  <a:pt x="5873007" y="293208"/>
                </a:cubicBezTo>
                <a:lnTo>
                  <a:pt x="5951485" y="214466"/>
                </a:lnTo>
                <a:cubicBezTo>
                  <a:pt x="5958875" y="207071"/>
                  <a:pt x="5968605" y="202922"/>
                  <a:pt x="5979111" y="202922"/>
                </a:cubicBezTo>
                <a:close/>
                <a:moveTo>
                  <a:pt x="3925350" y="202907"/>
                </a:moveTo>
                <a:cubicBezTo>
                  <a:pt x="3935853" y="202907"/>
                  <a:pt x="3945719" y="207057"/>
                  <a:pt x="3953107" y="214451"/>
                </a:cubicBezTo>
                <a:lnTo>
                  <a:pt x="4017710" y="279184"/>
                </a:lnTo>
                <a:lnTo>
                  <a:pt x="4029255" y="290858"/>
                </a:lnTo>
                <a:lnTo>
                  <a:pt x="4040802" y="279184"/>
                </a:lnTo>
                <a:lnTo>
                  <a:pt x="4105272" y="214451"/>
                </a:lnTo>
                <a:cubicBezTo>
                  <a:pt x="4112668" y="206928"/>
                  <a:pt x="4122525" y="202907"/>
                  <a:pt x="4133033" y="202907"/>
                </a:cubicBezTo>
                <a:cubicBezTo>
                  <a:pt x="4143410" y="202907"/>
                  <a:pt x="4153270" y="207057"/>
                  <a:pt x="4160664" y="214451"/>
                </a:cubicBezTo>
                <a:lnTo>
                  <a:pt x="4239091" y="293063"/>
                </a:lnTo>
                <a:cubicBezTo>
                  <a:pt x="4246485" y="300458"/>
                  <a:pt x="4250509" y="310316"/>
                  <a:pt x="4250643" y="320823"/>
                </a:cubicBezTo>
                <a:cubicBezTo>
                  <a:pt x="4250643" y="331330"/>
                  <a:pt x="4246615" y="341189"/>
                  <a:pt x="4239218" y="348583"/>
                </a:cubicBezTo>
                <a:lnTo>
                  <a:pt x="4029255" y="558992"/>
                </a:lnTo>
                <a:lnTo>
                  <a:pt x="3819236" y="348583"/>
                </a:lnTo>
                <a:cubicBezTo>
                  <a:pt x="3803926" y="333277"/>
                  <a:pt x="3803926" y="308369"/>
                  <a:pt x="3819236" y="293193"/>
                </a:cubicBezTo>
                <a:lnTo>
                  <a:pt x="3897721" y="214451"/>
                </a:lnTo>
                <a:cubicBezTo>
                  <a:pt x="3905117" y="207057"/>
                  <a:pt x="3914844" y="202907"/>
                  <a:pt x="3925350" y="202907"/>
                </a:cubicBezTo>
                <a:close/>
                <a:moveTo>
                  <a:pt x="1871377" y="202891"/>
                </a:moveTo>
                <a:cubicBezTo>
                  <a:pt x="1881884" y="202891"/>
                  <a:pt x="1891742" y="207042"/>
                  <a:pt x="1899135" y="214436"/>
                </a:cubicBezTo>
                <a:lnTo>
                  <a:pt x="1963735" y="279169"/>
                </a:lnTo>
                <a:lnTo>
                  <a:pt x="1975281" y="290844"/>
                </a:lnTo>
                <a:lnTo>
                  <a:pt x="1986824" y="279169"/>
                </a:lnTo>
                <a:lnTo>
                  <a:pt x="2051295" y="214436"/>
                </a:lnTo>
                <a:cubicBezTo>
                  <a:pt x="2058689" y="206913"/>
                  <a:pt x="2068548" y="202891"/>
                  <a:pt x="2079054" y="202891"/>
                </a:cubicBezTo>
                <a:cubicBezTo>
                  <a:pt x="2089433" y="202891"/>
                  <a:pt x="2099298" y="207042"/>
                  <a:pt x="2106692" y="214436"/>
                </a:cubicBezTo>
                <a:lnTo>
                  <a:pt x="2185175" y="293048"/>
                </a:lnTo>
                <a:cubicBezTo>
                  <a:pt x="2192567" y="300443"/>
                  <a:pt x="2196589" y="310301"/>
                  <a:pt x="2196719" y="320809"/>
                </a:cubicBezTo>
                <a:cubicBezTo>
                  <a:pt x="2196719" y="331317"/>
                  <a:pt x="2192698" y="341175"/>
                  <a:pt x="2185303" y="348569"/>
                </a:cubicBezTo>
                <a:lnTo>
                  <a:pt x="1975281" y="558978"/>
                </a:lnTo>
                <a:lnTo>
                  <a:pt x="1765268" y="348569"/>
                </a:lnTo>
                <a:cubicBezTo>
                  <a:pt x="1749960" y="333262"/>
                  <a:pt x="1749960" y="308355"/>
                  <a:pt x="1765268" y="293179"/>
                </a:cubicBezTo>
                <a:lnTo>
                  <a:pt x="1843747" y="214436"/>
                </a:lnTo>
                <a:cubicBezTo>
                  <a:pt x="1851141" y="207042"/>
                  <a:pt x="1860869" y="202891"/>
                  <a:pt x="1871377" y="202891"/>
                </a:cubicBezTo>
                <a:close/>
                <a:moveTo>
                  <a:pt x="25217" y="202877"/>
                </a:moveTo>
                <a:cubicBezTo>
                  <a:pt x="35592" y="202877"/>
                  <a:pt x="45451" y="207028"/>
                  <a:pt x="52846" y="214422"/>
                </a:cubicBezTo>
                <a:lnTo>
                  <a:pt x="131324" y="293033"/>
                </a:lnTo>
                <a:cubicBezTo>
                  <a:pt x="138719" y="300428"/>
                  <a:pt x="142740" y="310286"/>
                  <a:pt x="142867" y="320794"/>
                </a:cubicBezTo>
                <a:cubicBezTo>
                  <a:pt x="142867" y="331302"/>
                  <a:pt x="138848" y="341161"/>
                  <a:pt x="131454" y="348554"/>
                </a:cubicBezTo>
                <a:lnTo>
                  <a:pt x="0" y="480257"/>
                </a:lnTo>
                <a:lnTo>
                  <a:pt x="0" y="213364"/>
                </a:lnTo>
                <a:close/>
                <a:moveTo>
                  <a:pt x="10086867" y="186475"/>
                </a:moveTo>
                <a:cubicBezTo>
                  <a:pt x="10072597" y="186475"/>
                  <a:pt x="10058458" y="191923"/>
                  <a:pt x="10047692" y="202821"/>
                </a:cubicBezTo>
                <a:lnTo>
                  <a:pt x="9969212" y="281561"/>
                </a:lnTo>
                <a:cubicBezTo>
                  <a:pt x="9947549" y="303225"/>
                  <a:pt x="9947549" y="338510"/>
                  <a:pt x="9969212" y="360173"/>
                </a:cubicBezTo>
                <a:lnTo>
                  <a:pt x="10190770" y="582255"/>
                </a:lnTo>
                <a:lnTo>
                  <a:pt x="10412328" y="360173"/>
                </a:lnTo>
                <a:cubicBezTo>
                  <a:pt x="10433990" y="338510"/>
                  <a:pt x="10433990" y="303225"/>
                  <a:pt x="10412328" y="281561"/>
                </a:cubicBezTo>
                <a:lnTo>
                  <a:pt x="10333848" y="202950"/>
                </a:lnTo>
                <a:cubicBezTo>
                  <a:pt x="10322953" y="192053"/>
                  <a:pt x="10308813" y="186606"/>
                  <a:pt x="10294673" y="186606"/>
                </a:cubicBezTo>
                <a:lnTo>
                  <a:pt x="10294543" y="186475"/>
                </a:lnTo>
                <a:cubicBezTo>
                  <a:pt x="10280275" y="186475"/>
                  <a:pt x="10266136" y="191923"/>
                  <a:pt x="10255241" y="202950"/>
                </a:cubicBezTo>
                <a:lnTo>
                  <a:pt x="10190770" y="267553"/>
                </a:lnTo>
                <a:lnTo>
                  <a:pt x="10126171" y="202821"/>
                </a:lnTo>
                <a:cubicBezTo>
                  <a:pt x="10115274" y="191923"/>
                  <a:pt x="10101136" y="186475"/>
                  <a:pt x="10086867" y="186475"/>
                </a:cubicBezTo>
                <a:close/>
                <a:moveTo>
                  <a:pt x="8032919" y="186461"/>
                </a:moveTo>
                <a:cubicBezTo>
                  <a:pt x="8018650" y="186461"/>
                  <a:pt x="8004511" y="191909"/>
                  <a:pt x="7993744" y="202806"/>
                </a:cubicBezTo>
                <a:lnTo>
                  <a:pt x="7915266" y="281547"/>
                </a:lnTo>
                <a:cubicBezTo>
                  <a:pt x="7893603" y="303211"/>
                  <a:pt x="7893603" y="338495"/>
                  <a:pt x="7915266" y="360159"/>
                </a:cubicBezTo>
                <a:lnTo>
                  <a:pt x="8136823" y="582242"/>
                </a:lnTo>
                <a:lnTo>
                  <a:pt x="8358382" y="360159"/>
                </a:lnTo>
                <a:cubicBezTo>
                  <a:pt x="8380044" y="338495"/>
                  <a:pt x="8380044" y="303211"/>
                  <a:pt x="8358382" y="281547"/>
                </a:cubicBezTo>
                <a:lnTo>
                  <a:pt x="8279902" y="202936"/>
                </a:lnTo>
                <a:cubicBezTo>
                  <a:pt x="8269006" y="192038"/>
                  <a:pt x="8254866" y="186591"/>
                  <a:pt x="8240727" y="186591"/>
                </a:cubicBezTo>
                <a:lnTo>
                  <a:pt x="8240596" y="186461"/>
                </a:lnTo>
                <a:cubicBezTo>
                  <a:pt x="8226328" y="186461"/>
                  <a:pt x="8212190" y="191909"/>
                  <a:pt x="8201292" y="202936"/>
                </a:cubicBezTo>
                <a:lnTo>
                  <a:pt x="8136823" y="267537"/>
                </a:lnTo>
                <a:lnTo>
                  <a:pt x="8072224" y="202806"/>
                </a:lnTo>
                <a:cubicBezTo>
                  <a:pt x="8061328" y="191909"/>
                  <a:pt x="8047187" y="186461"/>
                  <a:pt x="8032919" y="186461"/>
                </a:cubicBezTo>
                <a:close/>
                <a:moveTo>
                  <a:pt x="5979111" y="186446"/>
                </a:moveTo>
                <a:cubicBezTo>
                  <a:pt x="5964843" y="186446"/>
                  <a:pt x="5950704" y="191896"/>
                  <a:pt x="5939940" y="202790"/>
                </a:cubicBezTo>
                <a:lnTo>
                  <a:pt x="5861464" y="281532"/>
                </a:lnTo>
                <a:cubicBezTo>
                  <a:pt x="5839806" y="303196"/>
                  <a:pt x="5839806" y="338481"/>
                  <a:pt x="5861464" y="360144"/>
                </a:cubicBezTo>
                <a:lnTo>
                  <a:pt x="6083008" y="582227"/>
                </a:lnTo>
                <a:lnTo>
                  <a:pt x="6304562" y="360144"/>
                </a:lnTo>
                <a:cubicBezTo>
                  <a:pt x="6326226" y="338481"/>
                  <a:pt x="6326226" y="303196"/>
                  <a:pt x="6304562" y="281532"/>
                </a:cubicBezTo>
                <a:lnTo>
                  <a:pt x="6226084" y="202922"/>
                </a:lnTo>
                <a:cubicBezTo>
                  <a:pt x="6215186" y="192023"/>
                  <a:pt x="6201048" y="186576"/>
                  <a:pt x="6186909" y="186576"/>
                </a:cubicBezTo>
                <a:lnTo>
                  <a:pt x="6186779" y="186446"/>
                </a:lnTo>
                <a:cubicBezTo>
                  <a:pt x="6172511" y="186446"/>
                  <a:pt x="6158370" y="191896"/>
                  <a:pt x="6147474" y="202922"/>
                </a:cubicBezTo>
                <a:lnTo>
                  <a:pt x="6083008" y="267522"/>
                </a:lnTo>
                <a:lnTo>
                  <a:pt x="6018412" y="202790"/>
                </a:lnTo>
                <a:cubicBezTo>
                  <a:pt x="6007516" y="191896"/>
                  <a:pt x="5993380" y="186446"/>
                  <a:pt x="5979111" y="186446"/>
                </a:cubicBezTo>
                <a:close/>
                <a:moveTo>
                  <a:pt x="3925350" y="186431"/>
                </a:moveTo>
                <a:cubicBezTo>
                  <a:pt x="3911082" y="186431"/>
                  <a:pt x="3896942" y="191880"/>
                  <a:pt x="3886173" y="202777"/>
                </a:cubicBezTo>
                <a:lnTo>
                  <a:pt x="3807690" y="281518"/>
                </a:lnTo>
                <a:cubicBezTo>
                  <a:pt x="3786026" y="303181"/>
                  <a:pt x="3786026" y="338465"/>
                  <a:pt x="3807690" y="360128"/>
                </a:cubicBezTo>
                <a:lnTo>
                  <a:pt x="4029255" y="582213"/>
                </a:lnTo>
                <a:lnTo>
                  <a:pt x="4250768" y="360128"/>
                </a:lnTo>
                <a:cubicBezTo>
                  <a:pt x="4272427" y="338465"/>
                  <a:pt x="4272427" y="303181"/>
                  <a:pt x="4250768" y="281518"/>
                </a:cubicBezTo>
                <a:lnTo>
                  <a:pt x="4172338" y="202907"/>
                </a:lnTo>
                <a:cubicBezTo>
                  <a:pt x="4161440" y="192009"/>
                  <a:pt x="4147303" y="186561"/>
                  <a:pt x="4133162" y="186561"/>
                </a:cubicBezTo>
                <a:lnTo>
                  <a:pt x="4133033" y="186431"/>
                </a:lnTo>
                <a:cubicBezTo>
                  <a:pt x="4118762" y="186431"/>
                  <a:pt x="4104625" y="191880"/>
                  <a:pt x="4093728" y="202907"/>
                </a:cubicBezTo>
                <a:lnTo>
                  <a:pt x="4029255" y="267508"/>
                </a:lnTo>
                <a:lnTo>
                  <a:pt x="3964656" y="202777"/>
                </a:lnTo>
                <a:cubicBezTo>
                  <a:pt x="3953756" y="191880"/>
                  <a:pt x="3939617" y="186431"/>
                  <a:pt x="3925350" y="186431"/>
                </a:cubicBezTo>
                <a:close/>
                <a:moveTo>
                  <a:pt x="1871377" y="186416"/>
                </a:moveTo>
                <a:cubicBezTo>
                  <a:pt x="1857110" y="186416"/>
                  <a:pt x="1842970" y="191865"/>
                  <a:pt x="1832202" y="202761"/>
                </a:cubicBezTo>
                <a:lnTo>
                  <a:pt x="1753725" y="281503"/>
                </a:lnTo>
                <a:cubicBezTo>
                  <a:pt x="1732061" y="303167"/>
                  <a:pt x="1732061" y="338451"/>
                  <a:pt x="1753725" y="360115"/>
                </a:cubicBezTo>
                <a:lnTo>
                  <a:pt x="1975281" y="582199"/>
                </a:lnTo>
                <a:lnTo>
                  <a:pt x="2196847" y="360115"/>
                </a:lnTo>
                <a:cubicBezTo>
                  <a:pt x="2218511" y="338451"/>
                  <a:pt x="2218511" y="303167"/>
                  <a:pt x="2196847" y="281503"/>
                </a:cubicBezTo>
                <a:lnTo>
                  <a:pt x="2118368" y="202891"/>
                </a:lnTo>
                <a:cubicBezTo>
                  <a:pt x="2107471" y="191994"/>
                  <a:pt x="2093325" y="186547"/>
                  <a:pt x="2079182" y="186547"/>
                </a:cubicBezTo>
                <a:lnTo>
                  <a:pt x="2079054" y="186416"/>
                </a:lnTo>
                <a:cubicBezTo>
                  <a:pt x="2064785" y="186416"/>
                  <a:pt x="2050647" y="191865"/>
                  <a:pt x="2039750" y="202891"/>
                </a:cubicBezTo>
                <a:lnTo>
                  <a:pt x="1975281" y="267493"/>
                </a:lnTo>
                <a:lnTo>
                  <a:pt x="1910682" y="202761"/>
                </a:lnTo>
                <a:cubicBezTo>
                  <a:pt x="1899785" y="191865"/>
                  <a:pt x="1885645" y="186416"/>
                  <a:pt x="1871377" y="186416"/>
                </a:cubicBezTo>
                <a:close/>
                <a:moveTo>
                  <a:pt x="0" y="16212"/>
                </a:moveTo>
                <a:lnTo>
                  <a:pt x="255071" y="163827"/>
                </a:lnTo>
                <a:lnTo>
                  <a:pt x="255071" y="550010"/>
                </a:lnTo>
                <a:lnTo>
                  <a:pt x="0" y="697625"/>
                </a:lnTo>
                <a:lnTo>
                  <a:pt x="0" y="503439"/>
                </a:lnTo>
                <a:lnTo>
                  <a:pt x="143000" y="360100"/>
                </a:lnTo>
                <a:cubicBezTo>
                  <a:pt x="164663" y="338436"/>
                  <a:pt x="164663" y="303152"/>
                  <a:pt x="143000" y="281489"/>
                </a:cubicBezTo>
                <a:lnTo>
                  <a:pt x="64519" y="202877"/>
                </a:lnTo>
                <a:cubicBezTo>
                  <a:pt x="53623" y="191979"/>
                  <a:pt x="39484" y="186532"/>
                  <a:pt x="25344" y="186532"/>
                </a:cubicBezTo>
                <a:lnTo>
                  <a:pt x="25217" y="186401"/>
                </a:lnTo>
                <a:cubicBezTo>
                  <a:pt x="18081" y="186401"/>
                  <a:pt x="10979" y="187764"/>
                  <a:pt x="4299" y="190504"/>
                </a:cubicBezTo>
                <a:lnTo>
                  <a:pt x="0" y="193396"/>
                </a:lnTo>
                <a:close/>
                <a:moveTo>
                  <a:pt x="12188651" y="3063"/>
                </a:moveTo>
                <a:lnTo>
                  <a:pt x="12188651" y="211515"/>
                </a:lnTo>
                <a:lnTo>
                  <a:pt x="12179990" y="202835"/>
                </a:lnTo>
                <a:cubicBezTo>
                  <a:pt x="12169092" y="191938"/>
                  <a:pt x="12154954" y="186490"/>
                  <a:pt x="12140685" y="186490"/>
                </a:cubicBezTo>
                <a:cubicBezTo>
                  <a:pt x="12126416" y="186490"/>
                  <a:pt x="12112276" y="191938"/>
                  <a:pt x="12101510" y="202835"/>
                </a:cubicBezTo>
                <a:lnTo>
                  <a:pt x="12023031" y="281576"/>
                </a:lnTo>
                <a:cubicBezTo>
                  <a:pt x="12001368" y="303240"/>
                  <a:pt x="12001368" y="338524"/>
                  <a:pt x="12023031" y="360188"/>
                </a:cubicBezTo>
                <a:lnTo>
                  <a:pt x="12188651" y="526200"/>
                </a:lnTo>
                <a:lnTo>
                  <a:pt x="12188651" y="710954"/>
                </a:lnTo>
                <a:lnTo>
                  <a:pt x="11910696" y="550094"/>
                </a:lnTo>
                <a:lnTo>
                  <a:pt x="11910696" y="163920"/>
                </a:lnTo>
                <a:close/>
                <a:moveTo>
                  <a:pt x="11643950" y="0"/>
                </a:moveTo>
                <a:lnTo>
                  <a:pt x="12161201" y="0"/>
                </a:lnTo>
                <a:lnTo>
                  <a:pt x="11902524" y="149646"/>
                </a:lnTo>
                <a:close/>
                <a:moveTo>
                  <a:pt x="11509496" y="0"/>
                </a:moveTo>
                <a:lnTo>
                  <a:pt x="11609622" y="0"/>
                </a:lnTo>
                <a:lnTo>
                  <a:pt x="11893312" y="164177"/>
                </a:lnTo>
                <a:lnTo>
                  <a:pt x="11893312" y="550471"/>
                </a:lnTo>
                <a:lnTo>
                  <a:pt x="11559679" y="743626"/>
                </a:lnTo>
                <a:lnTo>
                  <a:pt x="11225916" y="550471"/>
                </a:lnTo>
                <a:lnTo>
                  <a:pt x="11225916" y="164178"/>
                </a:lnTo>
                <a:close/>
                <a:moveTo>
                  <a:pt x="10959725" y="0"/>
                </a:moveTo>
                <a:lnTo>
                  <a:pt x="11475502" y="0"/>
                </a:lnTo>
                <a:lnTo>
                  <a:pt x="11217614" y="149246"/>
                </a:lnTo>
                <a:close/>
                <a:moveTo>
                  <a:pt x="10883981" y="0"/>
                </a:moveTo>
                <a:lnTo>
                  <a:pt x="10925760" y="0"/>
                </a:lnTo>
                <a:lnTo>
                  <a:pt x="11209441" y="164177"/>
                </a:lnTo>
                <a:lnTo>
                  <a:pt x="11209441" y="541003"/>
                </a:lnTo>
                <a:lnTo>
                  <a:pt x="10883981" y="352647"/>
                </a:lnTo>
                <a:close/>
                <a:moveTo>
                  <a:pt x="10825841" y="0"/>
                </a:moveTo>
                <a:lnTo>
                  <a:pt x="10867636" y="0"/>
                </a:lnTo>
                <a:lnTo>
                  <a:pt x="10867636" y="352647"/>
                </a:lnTo>
                <a:lnTo>
                  <a:pt x="10542045" y="541003"/>
                </a:lnTo>
                <a:lnTo>
                  <a:pt x="10542045" y="164178"/>
                </a:lnTo>
                <a:close/>
                <a:moveTo>
                  <a:pt x="10273927" y="0"/>
                </a:moveTo>
                <a:lnTo>
                  <a:pt x="10791383" y="0"/>
                </a:lnTo>
                <a:lnTo>
                  <a:pt x="10532706" y="149760"/>
                </a:lnTo>
                <a:close/>
                <a:moveTo>
                  <a:pt x="10140095" y="0"/>
                </a:moveTo>
                <a:lnTo>
                  <a:pt x="10241185" y="0"/>
                </a:lnTo>
                <a:lnTo>
                  <a:pt x="10524404" y="163905"/>
                </a:lnTo>
                <a:lnTo>
                  <a:pt x="10524404" y="550081"/>
                </a:lnTo>
                <a:lnTo>
                  <a:pt x="10190640" y="743237"/>
                </a:lnTo>
                <a:lnTo>
                  <a:pt x="9856876" y="550081"/>
                </a:lnTo>
                <a:lnTo>
                  <a:pt x="9856876" y="163905"/>
                </a:lnTo>
                <a:close/>
                <a:moveTo>
                  <a:pt x="9590156" y="0"/>
                </a:moveTo>
                <a:lnTo>
                  <a:pt x="10107355" y="0"/>
                </a:lnTo>
                <a:lnTo>
                  <a:pt x="9848703" y="149632"/>
                </a:lnTo>
                <a:close/>
                <a:moveTo>
                  <a:pt x="9455523" y="0"/>
                </a:moveTo>
                <a:lnTo>
                  <a:pt x="9555699" y="0"/>
                </a:lnTo>
                <a:lnTo>
                  <a:pt x="9839364" y="164163"/>
                </a:lnTo>
                <a:lnTo>
                  <a:pt x="9839364" y="550457"/>
                </a:lnTo>
                <a:lnTo>
                  <a:pt x="9505732" y="743612"/>
                </a:lnTo>
                <a:lnTo>
                  <a:pt x="9171969" y="550457"/>
                </a:lnTo>
                <a:lnTo>
                  <a:pt x="9171969" y="164163"/>
                </a:lnTo>
                <a:close/>
                <a:moveTo>
                  <a:pt x="8905803" y="0"/>
                </a:moveTo>
                <a:lnTo>
                  <a:pt x="9421530" y="0"/>
                </a:lnTo>
                <a:lnTo>
                  <a:pt x="9163666" y="149231"/>
                </a:lnTo>
                <a:close/>
                <a:moveTo>
                  <a:pt x="8830033" y="0"/>
                </a:moveTo>
                <a:lnTo>
                  <a:pt x="8871836" y="0"/>
                </a:lnTo>
                <a:lnTo>
                  <a:pt x="9155493" y="164163"/>
                </a:lnTo>
                <a:lnTo>
                  <a:pt x="9155493" y="540989"/>
                </a:lnTo>
                <a:lnTo>
                  <a:pt x="8830033" y="352632"/>
                </a:lnTo>
                <a:close/>
                <a:moveTo>
                  <a:pt x="8771868" y="0"/>
                </a:moveTo>
                <a:lnTo>
                  <a:pt x="8813688" y="0"/>
                </a:lnTo>
                <a:lnTo>
                  <a:pt x="8813688" y="352633"/>
                </a:lnTo>
                <a:lnTo>
                  <a:pt x="8488098" y="540989"/>
                </a:lnTo>
                <a:lnTo>
                  <a:pt x="8488098" y="164163"/>
                </a:lnTo>
                <a:close/>
                <a:moveTo>
                  <a:pt x="8220006" y="0"/>
                </a:moveTo>
                <a:lnTo>
                  <a:pt x="8737411" y="0"/>
                </a:lnTo>
                <a:lnTo>
                  <a:pt x="8478758" y="149746"/>
                </a:lnTo>
                <a:close/>
                <a:moveTo>
                  <a:pt x="8086123" y="0"/>
                </a:moveTo>
                <a:lnTo>
                  <a:pt x="8187263" y="0"/>
                </a:lnTo>
                <a:lnTo>
                  <a:pt x="8470456" y="163890"/>
                </a:lnTo>
                <a:lnTo>
                  <a:pt x="8470456" y="550066"/>
                </a:lnTo>
                <a:lnTo>
                  <a:pt x="8136693" y="743223"/>
                </a:lnTo>
                <a:lnTo>
                  <a:pt x="7802930" y="550066"/>
                </a:lnTo>
                <a:lnTo>
                  <a:pt x="7802930" y="163890"/>
                </a:lnTo>
                <a:close/>
                <a:moveTo>
                  <a:pt x="7536237" y="0"/>
                </a:moveTo>
                <a:lnTo>
                  <a:pt x="8053383" y="0"/>
                </a:lnTo>
                <a:lnTo>
                  <a:pt x="7794758" y="149616"/>
                </a:lnTo>
                <a:close/>
                <a:moveTo>
                  <a:pt x="7401681" y="0"/>
                </a:moveTo>
                <a:lnTo>
                  <a:pt x="7501908" y="0"/>
                </a:lnTo>
                <a:lnTo>
                  <a:pt x="7785548" y="164149"/>
                </a:lnTo>
                <a:lnTo>
                  <a:pt x="7785548" y="550443"/>
                </a:lnTo>
                <a:lnTo>
                  <a:pt x="7451915" y="743599"/>
                </a:lnTo>
                <a:lnTo>
                  <a:pt x="7118150" y="550443"/>
                </a:lnTo>
                <a:lnTo>
                  <a:pt x="7118150" y="164149"/>
                </a:lnTo>
                <a:close/>
                <a:moveTo>
                  <a:pt x="6852010" y="0"/>
                </a:moveTo>
                <a:lnTo>
                  <a:pt x="7367688" y="0"/>
                </a:lnTo>
                <a:lnTo>
                  <a:pt x="7109850" y="149217"/>
                </a:lnTo>
                <a:close/>
                <a:moveTo>
                  <a:pt x="6776215" y="0"/>
                </a:moveTo>
                <a:lnTo>
                  <a:pt x="6818044" y="0"/>
                </a:lnTo>
                <a:lnTo>
                  <a:pt x="7101677" y="164149"/>
                </a:lnTo>
                <a:lnTo>
                  <a:pt x="7101677" y="540974"/>
                </a:lnTo>
                <a:lnTo>
                  <a:pt x="6776215" y="352617"/>
                </a:lnTo>
                <a:close/>
                <a:moveTo>
                  <a:pt x="6718025" y="0"/>
                </a:moveTo>
                <a:lnTo>
                  <a:pt x="6759871" y="0"/>
                </a:lnTo>
                <a:lnTo>
                  <a:pt x="6759871" y="352617"/>
                </a:lnTo>
                <a:lnTo>
                  <a:pt x="6434280" y="540974"/>
                </a:lnTo>
                <a:lnTo>
                  <a:pt x="6434280" y="164149"/>
                </a:lnTo>
                <a:close/>
                <a:moveTo>
                  <a:pt x="6166213" y="0"/>
                </a:moveTo>
                <a:lnTo>
                  <a:pt x="6683567" y="0"/>
                </a:lnTo>
                <a:lnTo>
                  <a:pt x="6424940" y="149731"/>
                </a:lnTo>
                <a:close/>
                <a:moveTo>
                  <a:pt x="6032286" y="0"/>
                </a:moveTo>
                <a:lnTo>
                  <a:pt x="6133471" y="0"/>
                </a:lnTo>
                <a:lnTo>
                  <a:pt x="6416638" y="163875"/>
                </a:lnTo>
                <a:lnTo>
                  <a:pt x="6416638" y="550053"/>
                </a:lnTo>
                <a:lnTo>
                  <a:pt x="6082876" y="743207"/>
                </a:lnTo>
                <a:lnTo>
                  <a:pt x="5749140" y="550054"/>
                </a:lnTo>
                <a:lnTo>
                  <a:pt x="5749140" y="163875"/>
                </a:lnTo>
                <a:close/>
                <a:moveTo>
                  <a:pt x="5482485" y="0"/>
                </a:moveTo>
                <a:lnTo>
                  <a:pt x="5999546" y="0"/>
                </a:lnTo>
                <a:lnTo>
                  <a:pt x="5740963" y="149601"/>
                </a:lnTo>
                <a:close/>
                <a:moveTo>
                  <a:pt x="5347761" y="0"/>
                </a:moveTo>
                <a:lnTo>
                  <a:pt x="5448034" y="0"/>
                </a:lnTo>
                <a:lnTo>
                  <a:pt x="5731618" y="164130"/>
                </a:lnTo>
                <a:lnTo>
                  <a:pt x="5731618" y="550429"/>
                </a:lnTo>
                <a:lnTo>
                  <a:pt x="5398000" y="743584"/>
                </a:lnTo>
                <a:lnTo>
                  <a:pt x="5064275" y="550443"/>
                </a:lnTo>
                <a:lnTo>
                  <a:pt x="5064275" y="164134"/>
                </a:lnTo>
                <a:close/>
                <a:moveTo>
                  <a:pt x="4798110" y="0"/>
                </a:moveTo>
                <a:lnTo>
                  <a:pt x="5313753" y="0"/>
                </a:lnTo>
                <a:lnTo>
                  <a:pt x="5055955" y="149201"/>
                </a:lnTo>
                <a:lnTo>
                  <a:pt x="4816718" y="10771"/>
                </a:lnTo>
                <a:close/>
                <a:moveTo>
                  <a:pt x="4722313" y="0"/>
                </a:moveTo>
                <a:lnTo>
                  <a:pt x="4764172" y="0"/>
                </a:lnTo>
                <a:lnTo>
                  <a:pt x="5047775" y="164120"/>
                </a:lnTo>
                <a:lnTo>
                  <a:pt x="5047775" y="540960"/>
                </a:lnTo>
                <a:lnTo>
                  <a:pt x="4722313" y="352611"/>
                </a:lnTo>
                <a:close/>
                <a:moveTo>
                  <a:pt x="4664088" y="0"/>
                </a:moveTo>
                <a:lnTo>
                  <a:pt x="4705942" y="0"/>
                </a:lnTo>
                <a:lnTo>
                  <a:pt x="4705942" y="352603"/>
                </a:lnTo>
                <a:lnTo>
                  <a:pt x="4380369" y="540954"/>
                </a:lnTo>
                <a:lnTo>
                  <a:pt x="4380369" y="164134"/>
                </a:lnTo>
                <a:close/>
                <a:moveTo>
                  <a:pt x="4112484" y="0"/>
                </a:moveTo>
                <a:lnTo>
                  <a:pt x="4629754" y="0"/>
                </a:lnTo>
                <a:lnTo>
                  <a:pt x="4371146" y="149717"/>
                </a:lnTo>
                <a:close/>
                <a:moveTo>
                  <a:pt x="3978507" y="0"/>
                </a:moveTo>
                <a:lnTo>
                  <a:pt x="4079738" y="0"/>
                </a:lnTo>
                <a:lnTo>
                  <a:pt x="4207107" y="73731"/>
                </a:lnTo>
                <a:lnTo>
                  <a:pt x="4362838" y="163859"/>
                </a:lnTo>
                <a:lnTo>
                  <a:pt x="4362838" y="550038"/>
                </a:lnTo>
                <a:lnTo>
                  <a:pt x="4029120" y="743194"/>
                </a:lnTo>
                <a:lnTo>
                  <a:pt x="3695368" y="550042"/>
                </a:lnTo>
                <a:lnTo>
                  <a:pt x="3695368" y="163860"/>
                </a:lnTo>
                <a:close/>
                <a:moveTo>
                  <a:pt x="3428727" y="0"/>
                </a:moveTo>
                <a:lnTo>
                  <a:pt x="3945759" y="0"/>
                </a:lnTo>
                <a:lnTo>
                  <a:pt x="3687190" y="149586"/>
                </a:lnTo>
                <a:close/>
                <a:moveTo>
                  <a:pt x="3293942" y="0"/>
                </a:moveTo>
                <a:lnTo>
                  <a:pt x="3394267" y="0"/>
                </a:lnTo>
                <a:lnTo>
                  <a:pt x="3677828" y="164102"/>
                </a:lnTo>
                <a:lnTo>
                  <a:pt x="3677828" y="550415"/>
                </a:lnTo>
                <a:lnTo>
                  <a:pt x="3344198" y="743570"/>
                </a:lnTo>
                <a:lnTo>
                  <a:pt x="3010461" y="550429"/>
                </a:lnTo>
                <a:lnTo>
                  <a:pt x="3010461" y="164119"/>
                </a:lnTo>
                <a:close/>
                <a:moveTo>
                  <a:pt x="2744346" y="0"/>
                </a:moveTo>
                <a:lnTo>
                  <a:pt x="3259920" y="0"/>
                </a:lnTo>
                <a:lnTo>
                  <a:pt x="3002133" y="149187"/>
                </a:lnTo>
                <a:lnTo>
                  <a:pt x="2867142" y="71063"/>
                </a:lnTo>
                <a:close/>
                <a:moveTo>
                  <a:pt x="2668523" y="0"/>
                </a:moveTo>
                <a:lnTo>
                  <a:pt x="2710404" y="0"/>
                </a:lnTo>
                <a:lnTo>
                  <a:pt x="2993958" y="164103"/>
                </a:lnTo>
                <a:lnTo>
                  <a:pt x="2993958" y="540944"/>
                </a:lnTo>
                <a:lnTo>
                  <a:pt x="2778118" y="416029"/>
                </a:lnTo>
                <a:lnTo>
                  <a:pt x="2737216" y="392357"/>
                </a:lnTo>
                <a:lnTo>
                  <a:pt x="2734179" y="390600"/>
                </a:lnTo>
                <a:lnTo>
                  <a:pt x="2668523" y="352604"/>
                </a:lnTo>
                <a:close/>
                <a:moveTo>
                  <a:pt x="2610283" y="0"/>
                </a:moveTo>
                <a:lnTo>
                  <a:pt x="2652154" y="0"/>
                </a:lnTo>
                <a:lnTo>
                  <a:pt x="2652154" y="352589"/>
                </a:lnTo>
                <a:lnTo>
                  <a:pt x="2326593" y="540928"/>
                </a:lnTo>
                <a:lnTo>
                  <a:pt x="2326593" y="164119"/>
                </a:lnTo>
                <a:close/>
                <a:moveTo>
                  <a:pt x="2058538" y="0"/>
                </a:moveTo>
                <a:lnTo>
                  <a:pt x="2575794" y="0"/>
                </a:lnTo>
                <a:lnTo>
                  <a:pt x="2317223" y="149702"/>
                </a:lnTo>
                <a:lnTo>
                  <a:pt x="2260282" y="116749"/>
                </a:lnTo>
                <a:close/>
                <a:moveTo>
                  <a:pt x="1924507" y="0"/>
                </a:moveTo>
                <a:lnTo>
                  <a:pt x="2025801" y="0"/>
                </a:lnTo>
                <a:lnTo>
                  <a:pt x="2308919" y="163842"/>
                </a:lnTo>
                <a:lnTo>
                  <a:pt x="2308919" y="550024"/>
                </a:lnTo>
                <a:lnTo>
                  <a:pt x="1975146" y="743180"/>
                </a:lnTo>
                <a:lnTo>
                  <a:pt x="1641391" y="550028"/>
                </a:lnTo>
                <a:lnTo>
                  <a:pt x="1641391" y="163846"/>
                </a:lnTo>
                <a:close/>
                <a:moveTo>
                  <a:pt x="1374768" y="0"/>
                </a:moveTo>
                <a:lnTo>
                  <a:pt x="1891761" y="0"/>
                </a:lnTo>
                <a:lnTo>
                  <a:pt x="1633212" y="149572"/>
                </a:lnTo>
                <a:close/>
                <a:moveTo>
                  <a:pt x="1239933" y="0"/>
                </a:moveTo>
                <a:lnTo>
                  <a:pt x="1340313" y="0"/>
                </a:lnTo>
                <a:lnTo>
                  <a:pt x="1623852" y="164090"/>
                </a:lnTo>
                <a:lnTo>
                  <a:pt x="1623852" y="550400"/>
                </a:lnTo>
                <a:lnTo>
                  <a:pt x="1290219" y="743557"/>
                </a:lnTo>
                <a:lnTo>
                  <a:pt x="956480" y="550415"/>
                </a:lnTo>
                <a:lnTo>
                  <a:pt x="956480" y="164104"/>
                </a:lnTo>
                <a:close/>
                <a:moveTo>
                  <a:pt x="690398" y="0"/>
                </a:moveTo>
                <a:lnTo>
                  <a:pt x="1205918" y="0"/>
                </a:lnTo>
                <a:lnTo>
                  <a:pt x="948156" y="149172"/>
                </a:lnTo>
                <a:close/>
                <a:moveTo>
                  <a:pt x="614547" y="0"/>
                </a:moveTo>
                <a:lnTo>
                  <a:pt x="656453" y="0"/>
                </a:lnTo>
                <a:lnTo>
                  <a:pt x="939981" y="164089"/>
                </a:lnTo>
                <a:lnTo>
                  <a:pt x="939981" y="540931"/>
                </a:lnTo>
                <a:lnTo>
                  <a:pt x="760662" y="437152"/>
                </a:lnTo>
                <a:lnTo>
                  <a:pt x="614547" y="352589"/>
                </a:lnTo>
                <a:close/>
                <a:moveTo>
                  <a:pt x="556281" y="0"/>
                </a:moveTo>
                <a:lnTo>
                  <a:pt x="598177" y="0"/>
                </a:lnTo>
                <a:lnTo>
                  <a:pt x="598177" y="352574"/>
                </a:lnTo>
                <a:lnTo>
                  <a:pt x="272612" y="540915"/>
                </a:lnTo>
                <a:lnTo>
                  <a:pt x="272612" y="164104"/>
                </a:lnTo>
                <a:close/>
                <a:moveTo>
                  <a:pt x="4723" y="0"/>
                </a:moveTo>
                <a:lnTo>
                  <a:pt x="521923" y="0"/>
                </a:lnTo>
                <a:lnTo>
                  <a:pt x="263373" y="149687"/>
                </a:lnTo>
                <a:close/>
              </a:path>
            </a:pathLst>
          </a:custGeom>
          <a:solidFill>
            <a:srgbClr val="0A4B8C"/>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4" name="Title 1">
            <a:extLst>
              <a:ext uri="{FF2B5EF4-FFF2-40B4-BE49-F238E27FC236}">
                <a16:creationId xmlns:a16="http://schemas.microsoft.com/office/drawing/2014/main" id="{9A4C26F9-22AB-4BCE-80DC-4FD8A04F1C7D}"/>
              </a:ext>
            </a:extLst>
          </p:cNvPr>
          <p:cNvSpPr>
            <a:spLocks noGrp="1"/>
          </p:cNvSpPr>
          <p:nvPr>
            <p:ph type="title" hasCustomPrompt="1"/>
          </p:nvPr>
        </p:nvSpPr>
        <p:spPr>
          <a:xfrm>
            <a:off x="3066419" y="3022967"/>
            <a:ext cx="6059163" cy="812066"/>
          </a:xfrm>
        </p:spPr>
        <p:txBody>
          <a:bodyPr rIns="0" anchor="ctr"/>
          <a:lstStyle>
            <a:lvl1pPr algn="ctr" defTabSz="457200" rtl="0" eaLnBrk="1" latinLnBrk="0" hangingPunct="1">
              <a:lnSpc>
                <a:spcPct val="90000"/>
              </a:lnSpc>
              <a:spcBef>
                <a:spcPct val="0"/>
              </a:spcBef>
              <a:buNone/>
              <a:defRPr lang="en-US" sz="3600" b="0" kern="1200" dirty="0">
                <a:solidFill>
                  <a:schemeClr val="bg1"/>
                </a:solidFill>
                <a:latin typeface="+mj-lt"/>
                <a:ea typeface="+mj-ea"/>
                <a:cs typeface="+mj-cs"/>
              </a:defRPr>
            </a:lvl1pPr>
          </a:lstStyle>
          <a:p>
            <a:r>
              <a:rPr lang="en-US" dirty="0"/>
              <a:t>Click to edit title for divider</a:t>
            </a:r>
          </a:p>
        </p:txBody>
      </p:sp>
    </p:spTree>
    <p:extLst>
      <p:ext uri="{BB962C8B-B14F-4D97-AF65-F5344CB8AC3E}">
        <p14:creationId xmlns:p14="http://schemas.microsoft.com/office/powerpoint/2010/main" val="11897488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332E9A-2793-4275-87C3-72545F39F056}"/>
              </a:ext>
            </a:extLst>
          </p:cNvPr>
          <p:cNvSpPr/>
          <p:nvPr userDrawn="1"/>
        </p:nvSpPr>
        <p:spPr>
          <a:xfrm>
            <a:off x="1" y="0"/>
            <a:ext cx="12192000" cy="6858000"/>
          </a:xfrm>
          <a:prstGeom prst="rect">
            <a:avLst/>
          </a:prstGeom>
          <a:solidFill>
            <a:srgbClr val="0073E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mn-lt"/>
              <a:cs typeface="Arial" panose="020B0604020202020204" pitchFamily="34" charset="0"/>
            </a:endParaRPr>
          </a:p>
        </p:txBody>
      </p:sp>
      <p:sp>
        <p:nvSpPr>
          <p:cNvPr id="5" name="Freeform: Shape 4">
            <a:extLst>
              <a:ext uri="{FF2B5EF4-FFF2-40B4-BE49-F238E27FC236}">
                <a16:creationId xmlns:a16="http://schemas.microsoft.com/office/drawing/2014/main" id="{0FADF98C-D0F0-C6F6-100C-D76395CB6E78}"/>
              </a:ext>
            </a:extLst>
          </p:cNvPr>
          <p:cNvSpPr/>
          <p:nvPr userDrawn="1"/>
        </p:nvSpPr>
        <p:spPr bwMode="gray">
          <a:xfrm>
            <a:off x="0" y="0"/>
            <a:ext cx="12191826" cy="6858000"/>
          </a:xfrm>
          <a:custGeom>
            <a:avLst/>
            <a:gdLst>
              <a:gd name="connsiteX0" fmla="*/ 2898356 w 12188651"/>
              <a:gd name="connsiteY0" fmla="*/ 6736207 h 6858000"/>
              <a:gd name="connsiteX1" fmla="*/ 2926103 w 12188651"/>
              <a:gd name="connsiteY1" fmla="*/ 6747747 h 6858000"/>
              <a:gd name="connsiteX2" fmla="*/ 2990703 w 12188651"/>
              <a:gd name="connsiteY2" fmla="*/ 6812479 h 6858000"/>
              <a:gd name="connsiteX3" fmla="*/ 3002247 w 12188651"/>
              <a:gd name="connsiteY3" fmla="*/ 6824154 h 6858000"/>
              <a:gd name="connsiteX4" fmla="*/ 3002260 w 12188651"/>
              <a:gd name="connsiteY4" fmla="*/ 6824142 h 6858000"/>
              <a:gd name="connsiteX5" fmla="*/ 3002268 w 12188651"/>
              <a:gd name="connsiteY5" fmla="*/ 6824154 h 6858000"/>
              <a:gd name="connsiteX6" fmla="*/ 3013815 w 12188651"/>
              <a:gd name="connsiteY6" fmla="*/ 6812479 h 6858000"/>
              <a:gd name="connsiteX7" fmla="*/ 3078283 w 12188651"/>
              <a:gd name="connsiteY7" fmla="*/ 6747747 h 6858000"/>
              <a:gd name="connsiteX8" fmla="*/ 3106032 w 12188651"/>
              <a:gd name="connsiteY8" fmla="*/ 6736207 h 6858000"/>
              <a:gd name="connsiteX9" fmla="*/ 3133652 w 12188651"/>
              <a:gd name="connsiteY9" fmla="*/ 6747747 h 6858000"/>
              <a:gd name="connsiteX10" fmla="*/ 3212130 w 12188651"/>
              <a:gd name="connsiteY10" fmla="*/ 6826359 h 6858000"/>
              <a:gd name="connsiteX11" fmla="*/ 3223674 w 12188651"/>
              <a:gd name="connsiteY11" fmla="*/ 6854120 h 6858000"/>
              <a:gd name="connsiteX12" fmla="*/ 3222078 w 12188651"/>
              <a:gd name="connsiteY12" fmla="*/ 6858000 h 6858000"/>
              <a:gd name="connsiteX13" fmla="*/ 2782374 w 12188651"/>
              <a:gd name="connsiteY13" fmla="*/ 6858000 h 6858000"/>
              <a:gd name="connsiteX14" fmla="*/ 2780774 w 12188651"/>
              <a:gd name="connsiteY14" fmla="*/ 6854136 h 6858000"/>
              <a:gd name="connsiteX15" fmla="*/ 2792259 w 12188651"/>
              <a:gd name="connsiteY15" fmla="*/ 6826489 h 6858000"/>
              <a:gd name="connsiteX16" fmla="*/ 2870736 w 12188651"/>
              <a:gd name="connsiteY16" fmla="*/ 6747747 h 6858000"/>
              <a:gd name="connsiteX17" fmla="*/ 844377 w 12188651"/>
              <a:gd name="connsiteY17" fmla="*/ 6736207 h 6858000"/>
              <a:gd name="connsiteX18" fmla="*/ 872125 w 12188651"/>
              <a:gd name="connsiteY18" fmla="*/ 6747747 h 6858000"/>
              <a:gd name="connsiteX19" fmla="*/ 936724 w 12188651"/>
              <a:gd name="connsiteY19" fmla="*/ 6812479 h 6858000"/>
              <a:gd name="connsiteX20" fmla="*/ 948269 w 12188651"/>
              <a:gd name="connsiteY20" fmla="*/ 6824154 h 6858000"/>
              <a:gd name="connsiteX21" fmla="*/ 948282 w 12188651"/>
              <a:gd name="connsiteY21" fmla="*/ 6824142 h 6858000"/>
              <a:gd name="connsiteX22" fmla="*/ 948294 w 12188651"/>
              <a:gd name="connsiteY22" fmla="*/ 6824154 h 6858000"/>
              <a:gd name="connsiteX23" fmla="*/ 959838 w 12188651"/>
              <a:gd name="connsiteY23" fmla="*/ 6812479 h 6858000"/>
              <a:gd name="connsiteX24" fmla="*/ 1024306 w 12188651"/>
              <a:gd name="connsiteY24" fmla="*/ 6747747 h 6858000"/>
              <a:gd name="connsiteX25" fmla="*/ 1052055 w 12188651"/>
              <a:gd name="connsiteY25" fmla="*/ 6736207 h 6858000"/>
              <a:gd name="connsiteX26" fmla="*/ 1079674 w 12188651"/>
              <a:gd name="connsiteY26" fmla="*/ 6747747 h 6858000"/>
              <a:gd name="connsiteX27" fmla="*/ 1158152 w 12188651"/>
              <a:gd name="connsiteY27" fmla="*/ 6826359 h 6858000"/>
              <a:gd name="connsiteX28" fmla="*/ 1169697 w 12188651"/>
              <a:gd name="connsiteY28" fmla="*/ 6854120 h 6858000"/>
              <a:gd name="connsiteX29" fmla="*/ 1168102 w 12188651"/>
              <a:gd name="connsiteY29" fmla="*/ 6858000 h 6858000"/>
              <a:gd name="connsiteX30" fmla="*/ 728400 w 12188651"/>
              <a:gd name="connsiteY30" fmla="*/ 6858000 h 6858000"/>
              <a:gd name="connsiteX31" fmla="*/ 726801 w 12188651"/>
              <a:gd name="connsiteY31" fmla="*/ 6854136 h 6858000"/>
              <a:gd name="connsiteX32" fmla="*/ 738281 w 12188651"/>
              <a:gd name="connsiteY32" fmla="*/ 6826489 h 6858000"/>
              <a:gd name="connsiteX33" fmla="*/ 816760 w 12188651"/>
              <a:gd name="connsiteY33" fmla="*/ 6747747 h 6858000"/>
              <a:gd name="connsiteX34" fmla="*/ 4952154 w 12188651"/>
              <a:gd name="connsiteY34" fmla="*/ 6736204 h 6858000"/>
              <a:gd name="connsiteX35" fmla="*/ 4979914 w 12188651"/>
              <a:gd name="connsiteY35" fmla="*/ 6747747 h 6858000"/>
              <a:gd name="connsiteX36" fmla="*/ 5044520 w 12188651"/>
              <a:gd name="connsiteY36" fmla="*/ 6812479 h 6858000"/>
              <a:gd name="connsiteX37" fmla="*/ 5056064 w 12188651"/>
              <a:gd name="connsiteY37" fmla="*/ 6824154 h 6858000"/>
              <a:gd name="connsiteX38" fmla="*/ 5056083 w 12188651"/>
              <a:gd name="connsiteY38" fmla="*/ 6824144 h 6858000"/>
              <a:gd name="connsiteX39" fmla="*/ 5056087 w 12188651"/>
              <a:gd name="connsiteY39" fmla="*/ 6824154 h 6858000"/>
              <a:gd name="connsiteX40" fmla="*/ 5067633 w 12188651"/>
              <a:gd name="connsiteY40" fmla="*/ 6812479 h 6858000"/>
              <a:gd name="connsiteX41" fmla="*/ 5132089 w 12188651"/>
              <a:gd name="connsiteY41" fmla="*/ 6747747 h 6858000"/>
              <a:gd name="connsiteX42" fmla="*/ 5159834 w 12188651"/>
              <a:gd name="connsiteY42" fmla="*/ 6736204 h 6858000"/>
              <a:gd name="connsiteX43" fmla="*/ 5187464 w 12188651"/>
              <a:gd name="connsiteY43" fmla="*/ 6747747 h 6858000"/>
              <a:gd name="connsiteX44" fmla="*/ 5265932 w 12188651"/>
              <a:gd name="connsiteY44" fmla="*/ 6826359 h 6858000"/>
              <a:gd name="connsiteX45" fmla="*/ 5277479 w 12188651"/>
              <a:gd name="connsiteY45" fmla="*/ 6854120 h 6858000"/>
              <a:gd name="connsiteX46" fmla="*/ 5275883 w 12188651"/>
              <a:gd name="connsiteY46" fmla="*/ 6858000 h 6858000"/>
              <a:gd name="connsiteX47" fmla="*/ 4836166 w 12188651"/>
              <a:gd name="connsiteY47" fmla="*/ 6858000 h 6858000"/>
              <a:gd name="connsiteX48" fmla="*/ 4834566 w 12188651"/>
              <a:gd name="connsiteY48" fmla="*/ 6854136 h 6858000"/>
              <a:gd name="connsiteX49" fmla="*/ 4846044 w 12188651"/>
              <a:gd name="connsiteY49" fmla="*/ 6826489 h 6858000"/>
              <a:gd name="connsiteX50" fmla="*/ 4924518 w 12188651"/>
              <a:gd name="connsiteY50" fmla="*/ 6747747 h 6858000"/>
              <a:gd name="connsiteX51" fmla="*/ 11113840 w 12188651"/>
              <a:gd name="connsiteY51" fmla="*/ 6736202 h 6858000"/>
              <a:gd name="connsiteX52" fmla="*/ 11141600 w 12188651"/>
              <a:gd name="connsiteY52" fmla="*/ 6747747 h 6858000"/>
              <a:gd name="connsiteX53" fmla="*/ 11206199 w 12188651"/>
              <a:gd name="connsiteY53" fmla="*/ 6812479 h 6858000"/>
              <a:gd name="connsiteX54" fmla="*/ 11217744 w 12188651"/>
              <a:gd name="connsiteY54" fmla="*/ 6824154 h 6858000"/>
              <a:gd name="connsiteX55" fmla="*/ 11229289 w 12188651"/>
              <a:gd name="connsiteY55" fmla="*/ 6812479 h 6858000"/>
              <a:gd name="connsiteX56" fmla="*/ 11293758 w 12188651"/>
              <a:gd name="connsiteY56" fmla="*/ 6747747 h 6858000"/>
              <a:gd name="connsiteX57" fmla="*/ 11321517 w 12188651"/>
              <a:gd name="connsiteY57" fmla="*/ 6736202 h 6858000"/>
              <a:gd name="connsiteX58" fmla="*/ 11349147 w 12188651"/>
              <a:gd name="connsiteY58" fmla="*/ 6747747 h 6858000"/>
              <a:gd name="connsiteX59" fmla="*/ 11427627 w 12188651"/>
              <a:gd name="connsiteY59" fmla="*/ 6826359 h 6858000"/>
              <a:gd name="connsiteX60" fmla="*/ 11439172 w 12188651"/>
              <a:gd name="connsiteY60" fmla="*/ 6854120 h 6858000"/>
              <a:gd name="connsiteX61" fmla="*/ 11437577 w 12188651"/>
              <a:gd name="connsiteY61" fmla="*/ 6858000 h 6858000"/>
              <a:gd name="connsiteX62" fmla="*/ 10997850 w 12188651"/>
              <a:gd name="connsiteY62" fmla="*/ 6858000 h 6858000"/>
              <a:gd name="connsiteX63" fmla="*/ 10996251 w 12188651"/>
              <a:gd name="connsiteY63" fmla="*/ 6854136 h 6858000"/>
              <a:gd name="connsiteX64" fmla="*/ 11007731 w 12188651"/>
              <a:gd name="connsiteY64" fmla="*/ 6826489 h 6858000"/>
              <a:gd name="connsiteX65" fmla="*/ 11086210 w 12188651"/>
              <a:gd name="connsiteY65" fmla="*/ 6747747 h 6858000"/>
              <a:gd name="connsiteX66" fmla="*/ 11113840 w 12188651"/>
              <a:gd name="connsiteY66" fmla="*/ 6736202 h 6858000"/>
              <a:gd name="connsiteX67" fmla="*/ 9059892 w 12188651"/>
              <a:gd name="connsiteY67" fmla="*/ 6736202 h 6858000"/>
              <a:gd name="connsiteX68" fmla="*/ 9087652 w 12188651"/>
              <a:gd name="connsiteY68" fmla="*/ 6747747 h 6858000"/>
              <a:gd name="connsiteX69" fmla="*/ 9152251 w 12188651"/>
              <a:gd name="connsiteY69" fmla="*/ 6812479 h 6858000"/>
              <a:gd name="connsiteX70" fmla="*/ 9163796 w 12188651"/>
              <a:gd name="connsiteY70" fmla="*/ 6824154 h 6858000"/>
              <a:gd name="connsiteX71" fmla="*/ 9163797 w 12188651"/>
              <a:gd name="connsiteY71" fmla="*/ 6824154 h 6858000"/>
              <a:gd name="connsiteX72" fmla="*/ 9175342 w 12188651"/>
              <a:gd name="connsiteY72" fmla="*/ 6812479 h 6858000"/>
              <a:gd name="connsiteX73" fmla="*/ 9239811 w 12188651"/>
              <a:gd name="connsiteY73" fmla="*/ 6747747 h 6858000"/>
              <a:gd name="connsiteX74" fmla="*/ 9267570 w 12188651"/>
              <a:gd name="connsiteY74" fmla="*/ 6736202 h 6858000"/>
              <a:gd name="connsiteX75" fmla="*/ 9295200 w 12188651"/>
              <a:gd name="connsiteY75" fmla="*/ 6747747 h 6858000"/>
              <a:gd name="connsiteX76" fmla="*/ 9373678 w 12188651"/>
              <a:gd name="connsiteY76" fmla="*/ 6826359 h 6858000"/>
              <a:gd name="connsiteX77" fmla="*/ 9385223 w 12188651"/>
              <a:gd name="connsiteY77" fmla="*/ 6854120 h 6858000"/>
              <a:gd name="connsiteX78" fmla="*/ 9383628 w 12188651"/>
              <a:gd name="connsiteY78" fmla="*/ 6858000 h 6858000"/>
              <a:gd name="connsiteX79" fmla="*/ 8943904 w 12188651"/>
              <a:gd name="connsiteY79" fmla="*/ 6858000 h 6858000"/>
              <a:gd name="connsiteX80" fmla="*/ 8942305 w 12188651"/>
              <a:gd name="connsiteY80" fmla="*/ 6854136 h 6858000"/>
              <a:gd name="connsiteX81" fmla="*/ 8953784 w 12188651"/>
              <a:gd name="connsiteY81" fmla="*/ 6826489 h 6858000"/>
              <a:gd name="connsiteX82" fmla="*/ 9032264 w 12188651"/>
              <a:gd name="connsiteY82" fmla="*/ 6747747 h 6858000"/>
              <a:gd name="connsiteX83" fmla="*/ 7006076 w 12188651"/>
              <a:gd name="connsiteY83" fmla="*/ 6736202 h 6858000"/>
              <a:gd name="connsiteX84" fmla="*/ 7033834 w 12188651"/>
              <a:gd name="connsiteY84" fmla="*/ 6747747 h 6858000"/>
              <a:gd name="connsiteX85" fmla="*/ 7098434 w 12188651"/>
              <a:gd name="connsiteY85" fmla="*/ 6812479 h 6858000"/>
              <a:gd name="connsiteX86" fmla="*/ 7109978 w 12188651"/>
              <a:gd name="connsiteY86" fmla="*/ 6824154 h 6858000"/>
              <a:gd name="connsiteX87" fmla="*/ 7121523 w 12188651"/>
              <a:gd name="connsiteY87" fmla="*/ 6812479 h 6858000"/>
              <a:gd name="connsiteX88" fmla="*/ 7185994 w 12188651"/>
              <a:gd name="connsiteY88" fmla="*/ 6747747 h 6858000"/>
              <a:gd name="connsiteX89" fmla="*/ 7213751 w 12188651"/>
              <a:gd name="connsiteY89" fmla="*/ 6736202 h 6858000"/>
              <a:gd name="connsiteX90" fmla="*/ 7241381 w 12188651"/>
              <a:gd name="connsiteY90" fmla="*/ 6747747 h 6858000"/>
              <a:gd name="connsiteX91" fmla="*/ 7319862 w 12188651"/>
              <a:gd name="connsiteY91" fmla="*/ 6826359 h 6858000"/>
              <a:gd name="connsiteX92" fmla="*/ 7331407 w 12188651"/>
              <a:gd name="connsiteY92" fmla="*/ 6854120 h 6858000"/>
              <a:gd name="connsiteX93" fmla="*/ 7329812 w 12188651"/>
              <a:gd name="connsiteY93" fmla="*/ 6858000 h 6858000"/>
              <a:gd name="connsiteX94" fmla="*/ 6890084 w 12188651"/>
              <a:gd name="connsiteY94" fmla="*/ 6858000 h 6858000"/>
              <a:gd name="connsiteX95" fmla="*/ 6888485 w 12188651"/>
              <a:gd name="connsiteY95" fmla="*/ 6854136 h 6858000"/>
              <a:gd name="connsiteX96" fmla="*/ 6899966 w 12188651"/>
              <a:gd name="connsiteY96" fmla="*/ 6826489 h 6858000"/>
              <a:gd name="connsiteX97" fmla="*/ 6978446 w 12188651"/>
              <a:gd name="connsiteY97" fmla="*/ 6747747 h 6858000"/>
              <a:gd name="connsiteX98" fmla="*/ 7006076 w 12188651"/>
              <a:gd name="connsiteY98" fmla="*/ 6736202 h 6858000"/>
              <a:gd name="connsiteX99" fmla="*/ 3679133 w 12188651"/>
              <a:gd name="connsiteY99" fmla="*/ 6509063 h 6858000"/>
              <a:gd name="connsiteX100" fmla="*/ 3679133 w 12188651"/>
              <a:gd name="connsiteY100" fmla="*/ 6858000 h 6858000"/>
              <a:gd name="connsiteX101" fmla="*/ 3353551 w 12188651"/>
              <a:gd name="connsiteY101" fmla="*/ 6858000 h 6858000"/>
              <a:gd name="connsiteX102" fmla="*/ 3353551 w 12188651"/>
              <a:gd name="connsiteY102" fmla="*/ 6697415 h 6858000"/>
              <a:gd name="connsiteX103" fmla="*/ 3695482 w 12188651"/>
              <a:gd name="connsiteY103" fmla="*/ 6509061 h 6858000"/>
              <a:gd name="connsiteX104" fmla="*/ 4020937 w 12188651"/>
              <a:gd name="connsiteY104" fmla="*/ 6697415 h 6858000"/>
              <a:gd name="connsiteX105" fmla="*/ 4020937 w 12188651"/>
              <a:gd name="connsiteY105" fmla="*/ 6858000 h 6858000"/>
              <a:gd name="connsiteX106" fmla="*/ 3695482 w 12188651"/>
              <a:gd name="connsiteY106" fmla="*/ 6858000 h 6858000"/>
              <a:gd name="connsiteX107" fmla="*/ 1641506 w 12188651"/>
              <a:gd name="connsiteY107" fmla="*/ 6509061 h 6858000"/>
              <a:gd name="connsiteX108" fmla="*/ 1966962 w 12188651"/>
              <a:gd name="connsiteY108" fmla="*/ 6697415 h 6858000"/>
              <a:gd name="connsiteX109" fmla="*/ 1966962 w 12188651"/>
              <a:gd name="connsiteY109" fmla="*/ 6858000 h 6858000"/>
              <a:gd name="connsiteX110" fmla="*/ 1641506 w 12188651"/>
              <a:gd name="connsiteY110" fmla="*/ 6858000 h 6858000"/>
              <a:gd name="connsiteX111" fmla="*/ 1625155 w 12188651"/>
              <a:gd name="connsiteY111" fmla="*/ 6509061 h 6858000"/>
              <a:gd name="connsiteX112" fmla="*/ 1625155 w 12188651"/>
              <a:gd name="connsiteY112" fmla="*/ 6858000 h 6858000"/>
              <a:gd name="connsiteX113" fmla="*/ 1299571 w 12188651"/>
              <a:gd name="connsiteY113" fmla="*/ 6858000 h 6858000"/>
              <a:gd name="connsiteX114" fmla="*/ 1299571 w 12188651"/>
              <a:gd name="connsiteY114" fmla="*/ 6697415 h 6858000"/>
              <a:gd name="connsiteX115" fmla="*/ 5749262 w 12188651"/>
              <a:gd name="connsiteY115" fmla="*/ 6509059 h 6858000"/>
              <a:gd name="connsiteX116" fmla="*/ 6074705 w 12188651"/>
              <a:gd name="connsiteY116" fmla="*/ 6697415 h 6858000"/>
              <a:gd name="connsiteX117" fmla="*/ 6074705 w 12188651"/>
              <a:gd name="connsiteY117" fmla="*/ 6858000 h 6858000"/>
              <a:gd name="connsiteX118" fmla="*/ 5749262 w 12188651"/>
              <a:gd name="connsiteY118" fmla="*/ 6858000 h 6858000"/>
              <a:gd name="connsiteX119" fmla="*/ 5732919 w 12188651"/>
              <a:gd name="connsiteY119" fmla="*/ 6509059 h 6858000"/>
              <a:gd name="connsiteX120" fmla="*/ 5732919 w 12188651"/>
              <a:gd name="connsiteY120" fmla="*/ 6858000 h 6858000"/>
              <a:gd name="connsiteX121" fmla="*/ 5407350 w 12188651"/>
              <a:gd name="connsiteY121" fmla="*/ 6858000 h 6858000"/>
              <a:gd name="connsiteX122" fmla="*/ 5407350 w 12188651"/>
              <a:gd name="connsiteY122" fmla="*/ 6697415 h 6858000"/>
              <a:gd name="connsiteX123" fmla="*/ 11910826 w 12188651"/>
              <a:gd name="connsiteY123" fmla="*/ 6509058 h 6858000"/>
              <a:gd name="connsiteX124" fmla="*/ 12188651 w 12188651"/>
              <a:gd name="connsiteY124" fmla="*/ 6669846 h 6858000"/>
              <a:gd name="connsiteX125" fmla="*/ 12188651 w 12188651"/>
              <a:gd name="connsiteY125" fmla="*/ 6858000 h 6858000"/>
              <a:gd name="connsiteX126" fmla="*/ 11910826 w 12188651"/>
              <a:gd name="connsiteY126" fmla="*/ 6858000 h 6858000"/>
              <a:gd name="connsiteX127" fmla="*/ 11894481 w 12188651"/>
              <a:gd name="connsiteY127" fmla="*/ 6509058 h 6858000"/>
              <a:gd name="connsiteX128" fmla="*/ 11894481 w 12188651"/>
              <a:gd name="connsiteY128" fmla="*/ 6858000 h 6858000"/>
              <a:gd name="connsiteX129" fmla="*/ 11568890 w 12188651"/>
              <a:gd name="connsiteY129" fmla="*/ 6858000 h 6858000"/>
              <a:gd name="connsiteX130" fmla="*/ 11568890 w 12188651"/>
              <a:gd name="connsiteY130" fmla="*/ 6697415 h 6858000"/>
              <a:gd name="connsiteX131" fmla="*/ 9857006 w 12188651"/>
              <a:gd name="connsiteY131" fmla="*/ 6509058 h 6858000"/>
              <a:gd name="connsiteX132" fmla="*/ 10182468 w 12188651"/>
              <a:gd name="connsiteY132" fmla="*/ 6697415 h 6858000"/>
              <a:gd name="connsiteX133" fmla="*/ 10182468 w 12188651"/>
              <a:gd name="connsiteY133" fmla="*/ 6858000 h 6858000"/>
              <a:gd name="connsiteX134" fmla="*/ 9857006 w 12188651"/>
              <a:gd name="connsiteY134" fmla="*/ 6858000 h 6858000"/>
              <a:gd name="connsiteX135" fmla="*/ 9840661 w 12188651"/>
              <a:gd name="connsiteY135" fmla="*/ 6509058 h 6858000"/>
              <a:gd name="connsiteX136" fmla="*/ 9840661 w 12188651"/>
              <a:gd name="connsiteY136" fmla="*/ 6858000 h 6858000"/>
              <a:gd name="connsiteX137" fmla="*/ 9515070 w 12188651"/>
              <a:gd name="connsiteY137" fmla="*/ 6858000 h 6858000"/>
              <a:gd name="connsiteX138" fmla="*/ 9515070 w 12188651"/>
              <a:gd name="connsiteY138" fmla="*/ 6697415 h 6858000"/>
              <a:gd name="connsiteX139" fmla="*/ 7803060 w 12188651"/>
              <a:gd name="connsiteY139" fmla="*/ 6509058 h 6858000"/>
              <a:gd name="connsiteX140" fmla="*/ 8128521 w 12188651"/>
              <a:gd name="connsiteY140" fmla="*/ 6697415 h 6858000"/>
              <a:gd name="connsiteX141" fmla="*/ 8128521 w 12188651"/>
              <a:gd name="connsiteY141" fmla="*/ 6858000 h 6858000"/>
              <a:gd name="connsiteX142" fmla="*/ 7803060 w 12188651"/>
              <a:gd name="connsiteY142" fmla="*/ 6858000 h 6858000"/>
              <a:gd name="connsiteX143" fmla="*/ 7786715 w 12188651"/>
              <a:gd name="connsiteY143" fmla="*/ 6509058 h 6858000"/>
              <a:gd name="connsiteX144" fmla="*/ 7786715 w 12188651"/>
              <a:gd name="connsiteY144" fmla="*/ 6858000 h 6858000"/>
              <a:gd name="connsiteX145" fmla="*/ 7461125 w 12188651"/>
              <a:gd name="connsiteY145" fmla="*/ 6858000 h 6858000"/>
              <a:gd name="connsiteX146" fmla="*/ 7461125 w 12188651"/>
              <a:gd name="connsiteY146" fmla="*/ 6697415 h 6858000"/>
              <a:gd name="connsiteX147" fmla="*/ 2317076 w 12188651"/>
              <a:gd name="connsiteY147" fmla="*/ 6504260 h 6858000"/>
              <a:gd name="connsiteX148" fmla="*/ 2650835 w 12188651"/>
              <a:gd name="connsiteY148" fmla="*/ 6697415 h 6858000"/>
              <a:gd name="connsiteX149" fmla="*/ 2650835 w 12188651"/>
              <a:gd name="connsiteY149" fmla="*/ 6858000 h 6858000"/>
              <a:gd name="connsiteX150" fmla="*/ 1983442 w 12188651"/>
              <a:gd name="connsiteY150" fmla="*/ 6858000 h 6858000"/>
              <a:gd name="connsiteX151" fmla="*/ 1983442 w 12188651"/>
              <a:gd name="connsiteY151" fmla="*/ 6697415 h 6858000"/>
              <a:gd name="connsiteX152" fmla="*/ 263230 w 12188651"/>
              <a:gd name="connsiteY152" fmla="*/ 6504260 h 6858000"/>
              <a:gd name="connsiteX153" fmla="*/ 596989 w 12188651"/>
              <a:gd name="connsiteY153" fmla="*/ 6697415 h 6858000"/>
              <a:gd name="connsiteX154" fmla="*/ 596989 w 12188651"/>
              <a:gd name="connsiteY154" fmla="*/ 6858000 h 6858000"/>
              <a:gd name="connsiteX155" fmla="*/ 0 w 12188651"/>
              <a:gd name="connsiteY155" fmla="*/ 6858000 h 6858000"/>
              <a:gd name="connsiteX156" fmla="*/ 0 w 12188651"/>
              <a:gd name="connsiteY156" fmla="*/ 6656657 h 6858000"/>
              <a:gd name="connsiteX157" fmla="*/ 10532576 w 12188651"/>
              <a:gd name="connsiteY157" fmla="*/ 6504258 h 6858000"/>
              <a:gd name="connsiteX158" fmla="*/ 10866339 w 12188651"/>
              <a:gd name="connsiteY158" fmla="*/ 6697415 h 6858000"/>
              <a:gd name="connsiteX159" fmla="*/ 10866339 w 12188651"/>
              <a:gd name="connsiteY159" fmla="*/ 6858000 h 6858000"/>
              <a:gd name="connsiteX160" fmla="*/ 10198941 w 12188651"/>
              <a:gd name="connsiteY160" fmla="*/ 6858000 h 6858000"/>
              <a:gd name="connsiteX161" fmla="*/ 10198941 w 12188651"/>
              <a:gd name="connsiteY161" fmla="*/ 6697415 h 6858000"/>
              <a:gd name="connsiteX162" fmla="*/ 8478628 w 12188651"/>
              <a:gd name="connsiteY162" fmla="*/ 6504258 h 6858000"/>
              <a:gd name="connsiteX163" fmla="*/ 8812392 w 12188651"/>
              <a:gd name="connsiteY163" fmla="*/ 6697415 h 6858000"/>
              <a:gd name="connsiteX164" fmla="*/ 8812392 w 12188651"/>
              <a:gd name="connsiteY164" fmla="*/ 6858000 h 6858000"/>
              <a:gd name="connsiteX165" fmla="*/ 8144995 w 12188651"/>
              <a:gd name="connsiteY165" fmla="*/ 6858000 h 6858000"/>
              <a:gd name="connsiteX166" fmla="*/ 8144995 w 12188651"/>
              <a:gd name="connsiteY166" fmla="*/ 6697415 h 6858000"/>
              <a:gd name="connsiteX167" fmla="*/ 6424810 w 12188651"/>
              <a:gd name="connsiteY167" fmla="*/ 6504258 h 6858000"/>
              <a:gd name="connsiteX168" fmla="*/ 6758573 w 12188651"/>
              <a:gd name="connsiteY168" fmla="*/ 6697415 h 6858000"/>
              <a:gd name="connsiteX169" fmla="*/ 6758573 w 12188651"/>
              <a:gd name="connsiteY169" fmla="*/ 6858000 h 6858000"/>
              <a:gd name="connsiteX170" fmla="*/ 6091179 w 12188651"/>
              <a:gd name="connsiteY170" fmla="*/ 6858000 h 6858000"/>
              <a:gd name="connsiteX171" fmla="*/ 6091179 w 12188651"/>
              <a:gd name="connsiteY171" fmla="*/ 6697415 h 6858000"/>
              <a:gd name="connsiteX172" fmla="*/ 4371009 w 12188651"/>
              <a:gd name="connsiteY172" fmla="*/ 6504258 h 6858000"/>
              <a:gd name="connsiteX173" fmla="*/ 4704773 w 12188651"/>
              <a:gd name="connsiteY173" fmla="*/ 6697415 h 6858000"/>
              <a:gd name="connsiteX174" fmla="*/ 4704773 w 12188651"/>
              <a:gd name="connsiteY174" fmla="*/ 6858000 h 6858000"/>
              <a:gd name="connsiteX175" fmla="*/ 4037417 w 12188651"/>
              <a:gd name="connsiteY175" fmla="*/ 6858000 h 6858000"/>
              <a:gd name="connsiteX176" fmla="*/ 4037417 w 12188651"/>
              <a:gd name="connsiteY176" fmla="*/ 6697415 h 6858000"/>
              <a:gd name="connsiteX177" fmla="*/ 3002127 w 12188651"/>
              <a:gd name="connsiteY177" fmla="*/ 6504006 h 6858000"/>
              <a:gd name="connsiteX178" fmla="*/ 3335880 w 12188651"/>
              <a:gd name="connsiteY178" fmla="*/ 6697155 h 6858000"/>
              <a:gd name="connsiteX179" fmla="*/ 3335880 w 12188651"/>
              <a:gd name="connsiteY179" fmla="*/ 6858000 h 6858000"/>
              <a:gd name="connsiteX180" fmla="*/ 3238471 w 12188651"/>
              <a:gd name="connsiteY180" fmla="*/ 6858000 h 6858000"/>
              <a:gd name="connsiteX181" fmla="*/ 3240074 w 12188651"/>
              <a:gd name="connsiteY181" fmla="*/ 6854120 h 6858000"/>
              <a:gd name="connsiteX182" fmla="*/ 3223830 w 12188651"/>
              <a:gd name="connsiteY182" fmla="*/ 6814814 h 6858000"/>
              <a:gd name="connsiteX183" fmla="*/ 3145351 w 12188651"/>
              <a:gd name="connsiteY183" fmla="*/ 6736202 h 6858000"/>
              <a:gd name="connsiteX184" fmla="*/ 3106173 w 12188651"/>
              <a:gd name="connsiteY184" fmla="*/ 6719857 h 6858000"/>
              <a:gd name="connsiteX185" fmla="*/ 3106046 w 12188651"/>
              <a:gd name="connsiteY185" fmla="*/ 6719727 h 6858000"/>
              <a:gd name="connsiteX186" fmla="*/ 3106024 w 12188651"/>
              <a:gd name="connsiteY186" fmla="*/ 6719731 h 6858000"/>
              <a:gd name="connsiteX187" fmla="*/ 3106018 w 12188651"/>
              <a:gd name="connsiteY187" fmla="*/ 6719727 h 6858000"/>
              <a:gd name="connsiteX188" fmla="*/ 3066715 w 12188651"/>
              <a:gd name="connsiteY188" fmla="*/ 6736202 h 6858000"/>
              <a:gd name="connsiteX189" fmla="*/ 3002260 w 12188651"/>
              <a:gd name="connsiteY189" fmla="*/ 6800792 h 6858000"/>
              <a:gd name="connsiteX190" fmla="*/ 2937672 w 12188651"/>
              <a:gd name="connsiteY190" fmla="*/ 6736072 h 6858000"/>
              <a:gd name="connsiteX191" fmla="*/ 2898367 w 12188651"/>
              <a:gd name="connsiteY191" fmla="*/ 6719727 h 6858000"/>
              <a:gd name="connsiteX192" fmla="*/ 2898356 w 12188651"/>
              <a:gd name="connsiteY192" fmla="*/ 6719730 h 6858000"/>
              <a:gd name="connsiteX193" fmla="*/ 2898342 w 12188651"/>
              <a:gd name="connsiteY193" fmla="*/ 6719727 h 6858000"/>
              <a:gd name="connsiteX194" fmla="*/ 2859168 w 12188651"/>
              <a:gd name="connsiteY194" fmla="*/ 6736072 h 6858000"/>
              <a:gd name="connsiteX195" fmla="*/ 2780689 w 12188651"/>
              <a:gd name="connsiteY195" fmla="*/ 6814814 h 6858000"/>
              <a:gd name="connsiteX196" fmla="*/ 2764442 w 12188651"/>
              <a:gd name="connsiteY196" fmla="*/ 6854120 h 6858000"/>
              <a:gd name="connsiteX197" fmla="*/ 2766045 w 12188651"/>
              <a:gd name="connsiteY197" fmla="*/ 6858000 h 6858000"/>
              <a:gd name="connsiteX198" fmla="*/ 2668379 w 12188651"/>
              <a:gd name="connsiteY198" fmla="*/ 6858000 h 6858000"/>
              <a:gd name="connsiteX199" fmla="*/ 2668379 w 12188651"/>
              <a:gd name="connsiteY199" fmla="*/ 6697155 h 6858000"/>
              <a:gd name="connsiteX200" fmla="*/ 948152 w 12188651"/>
              <a:gd name="connsiteY200" fmla="*/ 6504006 h 6858000"/>
              <a:gd name="connsiteX201" fmla="*/ 1281903 w 12188651"/>
              <a:gd name="connsiteY201" fmla="*/ 6697155 h 6858000"/>
              <a:gd name="connsiteX202" fmla="*/ 1281903 w 12188651"/>
              <a:gd name="connsiteY202" fmla="*/ 6858000 h 6858000"/>
              <a:gd name="connsiteX203" fmla="*/ 1184494 w 12188651"/>
              <a:gd name="connsiteY203" fmla="*/ 6858000 h 6858000"/>
              <a:gd name="connsiteX204" fmla="*/ 1186097 w 12188651"/>
              <a:gd name="connsiteY204" fmla="*/ 6854120 h 6858000"/>
              <a:gd name="connsiteX205" fmla="*/ 1169850 w 12188651"/>
              <a:gd name="connsiteY205" fmla="*/ 6814814 h 6858000"/>
              <a:gd name="connsiteX206" fmla="*/ 1091372 w 12188651"/>
              <a:gd name="connsiteY206" fmla="*/ 6736202 h 6858000"/>
              <a:gd name="connsiteX207" fmla="*/ 1052196 w 12188651"/>
              <a:gd name="connsiteY207" fmla="*/ 6719857 h 6858000"/>
              <a:gd name="connsiteX208" fmla="*/ 1052065 w 12188651"/>
              <a:gd name="connsiteY208" fmla="*/ 6719727 h 6858000"/>
              <a:gd name="connsiteX209" fmla="*/ 1052048 w 12188651"/>
              <a:gd name="connsiteY209" fmla="*/ 6719731 h 6858000"/>
              <a:gd name="connsiteX210" fmla="*/ 1052044 w 12188651"/>
              <a:gd name="connsiteY210" fmla="*/ 6719727 h 6858000"/>
              <a:gd name="connsiteX211" fmla="*/ 1012740 w 12188651"/>
              <a:gd name="connsiteY211" fmla="*/ 6736202 h 6858000"/>
              <a:gd name="connsiteX212" fmla="*/ 948282 w 12188651"/>
              <a:gd name="connsiteY212" fmla="*/ 6800792 h 6858000"/>
              <a:gd name="connsiteX213" fmla="*/ 883695 w 12188651"/>
              <a:gd name="connsiteY213" fmla="*/ 6736072 h 6858000"/>
              <a:gd name="connsiteX214" fmla="*/ 844389 w 12188651"/>
              <a:gd name="connsiteY214" fmla="*/ 6719727 h 6858000"/>
              <a:gd name="connsiteX215" fmla="*/ 844377 w 12188651"/>
              <a:gd name="connsiteY215" fmla="*/ 6719730 h 6858000"/>
              <a:gd name="connsiteX216" fmla="*/ 844365 w 12188651"/>
              <a:gd name="connsiteY216" fmla="*/ 6719727 h 6858000"/>
              <a:gd name="connsiteX217" fmla="*/ 805191 w 12188651"/>
              <a:gd name="connsiteY217" fmla="*/ 6736072 h 6858000"/>
              <a:gd name="connsiteX218" fmla="*/ 726712 w 12188651"/>
              <a:gd name="connsiteY218" fmla="*/ 6814814 h 6858000"/>
              <a:gd name="connsiteX219" fmla="*/ 710465 w 12188651"/>
              <a:gd name="connsiteY219" fmla="*/ 6854120 h 6858000"/>
              <a:gd name="connsiteX220" fmla="*/ 712069 w 12188651"/>
              <a:gd name="connsiteY220" fmla="*/ 6858000 h 6858000"/>
              <a:gd name="connsiteX221" fmla="*/ 614404 w 12188651"/>
              <a:gd name="connsiteY221" fmla="*/ 6858000 h 6858000"/>
              <a:gd name="connsiteX222" fmla="*/ 614404 w 12188651"/>
              <a:gd name="connsiteY222" fmla="*/ 6697155 h 6858000"/>
              <a:gd name="connsiteX223" fmla="*/ 5055949 w 12188651"/>
              <a:gd name="connsiteY223" fmla="*/ 6504005 h 6858000"/>
              <a:gd name="connsiteX224" fmla="*/ 5389688 w 12188651"/>
              <a:gd name="connsiteY224" fmla="*/ 6697155 h 6858000"/>
              <a:gd name="connsiteX225" fmla="*/ 5389688 w 12188651"/>
              <a:gd name="connsiteY225" fmla="*/ 6858000 h 6858000"/>
              <a:gd name="connsiteX226" fmla="*/ 5292268 w 12188651"/>
              <a:gd name="connsiteY226" fmla="*/ 6858000 h 6858000"/>
              <a:gd name="connsiteX227" fmla="*/ 5293870 w 12188651"/>
              <a:gd name="connsiteY227" fmla="*/ 6854120 h 6858000"/>
              <a:gd name="connsiteX228" fmla="*/ 5277615 w 12188651"/>
              <a:gd name="connsiteY228" fmla="*/ 6814814 h 6858000"/>
              <a:gd name="connsiteX229" fmla="*/ 5199142 w 12188651"/>
              <a:gd name="connsiteY229" fmla="*/ 6736202 h 6858000"/>
              <a:gd name="connsiteX230" fmla="*/ 5159966 w 12188651"/>
              <a:gd name="connsiteY230" fmla="*/ 6719857 h 6858000"/>
              <a:gd name="connsiteX231" fmla="*/ 5159837 w 12188651"/>
              <a:gd name="connsiteY231" fmla="*/ 6719727 h 6858000"/>
              <a:gd name="connsiteX232" fmla="*/ 5159824 w 12188651"/>
              <a:gd name="connsiteY232" fmla="*/ 6719729 h 6858000"/>
              <a:gd name="connsiteX233" fmla="*/ 5159824 w 12188651"/>
              <a:gd name="connsiteY233" fmla="*/ 6719727 h 6858000"/>
              <a:gd name="connsiteX234" fmla="*/ 5120526 w 12188651"/>
              <a:gd name="connsiteY234" fmla="*/ 6736202 h 6858000"/>
              <a:gd name="connsiteX235" fmla="*/ 5056083 w 12188651"/>
              <a:gd name="connsiteY235" fmla="*/ 6800794 h 6858000"/>
              <a:gd name="connsiteX236" fmla="*/ 4991465 w 12188651"/>
              <a:gd name="connsiteY236" fmla="*/ 6736072 h 6858000"/>
              <a:gd name="connsiteX237" fmla="*/ 4952157 w 12188651"/>
              <a:gd name="connsiteY237" fmla="*/ 6719727 h 6858000"/>
              <a:gd name="connsiteX238" fmla="*/ 4952154 w 12188651"/>
              <a:gd name="connsiteY238" fmla="*/ 6719728 h 6858000"/>
              <a:gd name="connsiteX239" fmla="*/ 4952148 w 12188651"/>
              <a:gd name="connsiteY239" fmla="*/ 6719727 h 6858000"/>
              <a:gd name="connsiteX240" fmla="*/ 4912971 w 12188651"/>
              <a:gd name="connsiteY240" fmla="*/ 6736072 h 6858000"/>
              <a:gd name="connsiteX241" fmla="*/ 4834495 w 12188651"/>
              <a:gd name="connsiteY241" fmla="*/ 6814814 h 6858000"/>
              <a:gd name="connsiteX242" fmla="*/ 4818244 w 12188651"/>
              <a:gd name="connsiteY242" fmla="*/ 6854120 h 6858000"/>
              <a:gd name="connsiteX243" fmla="*/ 4819847 w 12188651"/>
              <a:gd name="connsiteY243" fmla="*/ 6858000 h 6858000"/>
              <a:gd name="connsiteX244" fmla="*/ 4722171 w 12188651"/>
              <a:gd name="connsiteY244" fmla="*/ 6858000 h 6858000"/>
              <a:gd name="connsiteX245" fmla="*/ 4722171 w 12188651"/>
              <a:gd name="connsiteY245" fmla="*/ 6697155 h 6858000"/>
              <a:gd name="connsiteX246" fmla="*/ 11217614 w 12188651"/>
              <a:gd name="connsiteY246" fmla="*/ 6503998 h 6858000"/>
              <a:gd name="connsiteX247" fmla="*/ 11551377 w 12188651"/>
              <a:gd name="connsiteY247" fmla="*/ 6697155 h 6858000"/>
              <a:gd name="connsiteX248" fmla="*/ 11551377 w 12188651"/>
              <a:gd name="connsiteY248" fmla="*/ 6858000 h 6858000"/>
              <a:gd name="connsiteX249" fmla="*/ 11453944 w 12188651"/>
              <a:gd name="connsiteY249" fmla="*/ 6858000 h 6858000"/>
              <a:gd name="connsiteX250" fmla="*/ 11455548 w 12188651"/>
              <a:gd name="connsiteY250" fmla="*/ 6854120 h 6858000"/>
              <a:gd name="connsiteX251" fmla="*/ 11439301 w 12188651"/>
              <a:gd name="connsiteY251" fmla="*/ 6814814 h 6858000"/>
              <a:gd name="connsiteX252" fmla="*/ 11360822 w 12188651"/>
              <a:gd name="connsiteY252" fmla="*/ 6736202 h 6858000"/>
              <a:gd name="connsiteX253" fmla="*/ 11321647 w 12188651"/>
              <a:gd name="connsiteY253" fmla="*/ 6719857 h 6858000"/>
              <a:gd name="connsiteX254" fmla="*/ 11321517 w 12188651"/>
              <a:gd name="connsiteY254" fmla="*/ 6719727 h 6858000"/>
              <a:gd name="connsiteX255" fmla="*/ 11282213 w 12188651"/>
              <a:gd name="connsiteY255" fmla="*/ 6736202 h 6858000"/>
              <a:gd name="connsiteX256" fmla="*/ 11217744 w 12188651"/>
              <a:gd name="connsiteY256" fmla="*/ 6800804 h 6858000"/>
              <a:gd name="connsiteX257" fmla="*/ 11153145 w 12188651"/>
              <a:gd name="connsiteY257" fmla="*/ 6736072 h 6858000"/>
              <a:gd name="connsiteX258" fmla="*/ 11113840 w 12188651"/>
              <a:gd name="connsiteY258" fmla="*/ 6719727 h 6858000"/>
              <a:gd name="connsiteX259" fmla="*/ 11074665 w 12188651"/>
              <a:gd name="connsiteY259" fmla="*/ 6736072 h 6858000"/>
              <a:gd name="connsiteX260" fmla="*/ 10996186 w 12188651"/>
              <a:gd name="connsiteY260" fmla="*/ 6814814 h 6858000"/>
              <a:gd name="connsiteX261" fmla="*/ 10979939 w 12188651"/>
              <a:gd name="connsiteY261" fmla="*/ 6854120 h 6858000"/>
              <a:gd name="connsiteX262" fmla="*/ 10981543 w 12188651"/>
              <a:gd name="connsiteY262" fmla="*/ 6858000 h 6858000"/>
              <a:gd name="connsiteX263" fmla="*/ 10883851 w 12188651"/>
              <a:gd name="connsiteY263" fmla="*/ 6858000 h 6858000"/>
              <a:gd name="connsiteX264" fmla="*/ 10883851 w 12188651"/>
              <a:gd name="connsiteY264" fmla="*/ 6697155 h 6858000"/>
              <a:gd name="connsiteX265" fmla="*/ 9163666 w 12188651"/>
              <a:gd name="connsiteY265" fmla="*/ 6503998 h 6858000"/>
              <a:gd name="connsiteX266" fmla="*/ 9497429 w 12188651"/>
              <a:gd name="connsiteY266" fmla="*/ 6697155 h 6858000"/>
              <a:gd name="connsiteX267" fmla="*/ 9497429 w 12188651"/>
              <a:gd name="connsiteY267" fmla="*/ 6858000 h 6858000"/>
              <a:gd name="connsiteX268" fmla="*/ 9399997 w 12188651"/>
              <a:gd name="connsiteY268" fmla="*/ 6858000 h 6858000"/>
              <a:gd name="connsiteX269" fmla="*/ 9401601 w 12188651"/>
              <a:gd name="connsiteY269" fmla="*/ 6854120 h 6858000"/>
              <a:gd name="connsiteX270" fmla="*/ 9385354 w 12188651"/>
              <a:gd name="connsiteY270" fmla="*/ 6814814 h 6858000"/>
              <a:gd name="connsiteX271" fmla="*/ 9306876 w 12188651"/>
              <a:gd name="connsiteY271" fmla="*/ 6736202 h 6858000"/>
              <a:gd name="connsiteX272" fmla="*/ 9267701 w 12188651"/>
              <a:gd name="connsiteY272" fmla="*/ 6719857 h 6858000"/>
              <a:gd name="connsiteX273" fmla="*/ 9267571 w 12188651"/>
              <a:gd name="connsiteY273" fmla="*/ 6719727 h 6858000"/>
              <a:gd name="connsiteX274" fmla="*/ 9267570 w 12188651"/>
              <a:gd name="connsiteY274" fmla="*/ 6719727 h 6858000"/>
              <a:gd name="connsiteX275" fmla="*/ 9228265 w 12188651"/>
              <a:gd name="connsiteY275" fmla="*/ 6736202 h 6858000"/>
              <a:gd name="connsiteX276" fmla="*/ 9163796 w 12188651"/>
              <a:gd name="connsiteY276" fmla="*/ 6800804 h 6858000"/>
              <a:gd name="connsiteX277" fmla="*/ 9099198 w 12188651"/>
              <a:gd name="connsiteY277" fmla="*/ 6736072 h 6858000"/>
              <a:gd name="connsiteX278" fmla="*/ 9059893 w 12188651"/>
              <a:gd name="connsiteY278" fmla="*/ 6719727 h 6858000"/>
              <a:gd name="connsiteX279" fmla="*/ 9059892 w 12188651"/>
              <a:gd name="connsiteY279" fmla="*/ 6719727 h 6858000"/>
              <a:gd name="connsiteX280" fmla="*/ 9020717 w 12188651"/>
              <a:gd name="connsiteY280" fmla="*/ 6736072 h 6858000"/>
              <a:gd name="connsiteX281" fmla="*/ 8942238 w 12188651"/>
              <a:gd name="connsiteY281" fmla="*/ 6814814 h 6858000"/>
              <a:gd name="connsiteX282" fmla="*/ 8925991 w 12188651"/>
              <a:gd name="connsiteY282" fmla="*/ 6854120 h 6858000"/>
              <a:gd name="connsiteX283" fmla="*/ 8927595 w 12188651"/>
              <a:gd name="connsiteY283" fmla="*/ 6858000 h 6858000"/>
              <a:gd name="connsiteX284" fmla="*/ 8829903 w 12188651"/>
              <a:gd name="connsiteY284" fmla="*/ 6858000 h 6858000"/>
              <a:gd name="connsiteX285" fmla="*/ 8829903 w 12188651"/>
              <a:gd name="connsiteY285" fmla="*/ 6697155 h 6858000"/>
              <a:gd name="connsiteX286" fmla="*/ 7109850 w 12188651"/>
              <a:gd name="connsiteY286" fmla="*/ 6503998 h 6858000"/>
              <a:gd name="connsiteX287" fmla="*/ 7443613 w 12188651"/>
              <a:gd name="connsiteY287" fmla="*/ 6697155 h 6858000"/>
              <a:gd name="connsiteX288" fmla="*/ 7443613 w 12188651"/>
              <a:gd name="connsiteY288" fmla="*/ 6858000 h 6858000"/>
              <a:gd name="connsiteX289" fmla="*/ 7346179 w 12188651"/>
              <a:gd name="connsiteY289" fmla="*/ 6858000 h 6858000"/>
              <a:gd name="connsiteX290" fmla="*/ 7347783 w 12188651"/>
              <a:gd name="connsiteY290" fmla="*/ 6854120 h 6858000"/>
              <a:gd name="connsiteX291" fmla="*/ 7331537 w 12188651"/>
              <a:gd name="connsiteY291" fmla="*/ 6814814 h 6858000"/>
              <a:gd name="connsiteX292" fmla="*/ 7253057 w 12188651"/>
              <a:gd name="connsiteY292" fmla="*/ 6736202 h 6858000"/>
              <a:gd name="connsiteX293" fmla="*/ 7213882 w 12188651"/>
              <a:gd name="connsiteY293" fmla="*/ 6719857 h 6858000"/>
              <a:gd name="connsiteX294" fmla="*/ 7213751 w 12188651"/>
              <a:gd name="connsiteY294" fmla="*/ 6719727 h 6858000"/>
              <a:gd name="connsiteX295" fmla="*/ 7174449 w 12188651"/>
              <a:gd name="connsiteY295" fmla="*/ 6736202 h 6858000"/>
              <a:gd name="connsiteX296" fmla="*/ 7109978 w 12188651"/>
              <a:gd name="connsiteY296" fmla="*/ 6800804 h 6858000"/>
              <a:gd name="connsiteX297" fmla="*/ 7045379 w 12188651"/>
              <a:gd name="connsiteY297" fmla="*/ 6736072 h 6858000"/>
              <a:gd name="connsiteX298" fmla="*/ 7006076 w 12188651"/>
              <a:gd name="connsiteY298" fmla="*/ 6719727 h 6858000"/>
              <a:gd name="connsiteX299" fmla="*/ 6966901 w 12188651"/>
              <a:gd name="connsiteY299" fmla="*/ 6736072 h 6858000"/>
              <a:gd name="connsiteX300" fmla="*/ 6888421 w 12188651"/>
              <a:gd name="connsiteY300" fmla="*/ 6814814 h 6858000"/>
              <a:gd name="connsiteX301" fmla="*/ 6872173 w 12188651"/>
              <a:gd name="connsiteY301" fmla="*/ 6854120 h 6858000"/>
              <a:gd name="connsiteX302" fmla="*/ 6873777 w 12188651"/>
              <a:gd name="connsiteY302" fmla="*/ 6858000 h 6858000"/>
              <a:gd name="connsiteX303" fmla="*/ 6776085 w 12188651"/>
              <a:gd name="connsiteY303" fmla="*/ 6858000 h 6858000"/>
              <a:gd name="connsiteX304" fmla="*/ 6776085 w 12188651"/>
              <a:gd name="connsiteY304" fmla="*/ 6697155 h 6858000"/>
              <a:gd name="connsiteX305" fmla="*/ 2660324 w 12188651"/>
              <a:gd name="connsiteY305" fmla="*/ 6306179 h 6858000"/>
              <a:gd name="connsiteX306" fmla="*/ 2985774 w 12188651"/>
              <a:gd name="connsiteY306" fmla="*/ 6494528 h 6858000"/>
              <a:gd name="connsiteX307" fmla="*/ 2660196 w 12188651"/>
              <a:gd name="connsiteY307" fmla="*/ 6682877 h 6858000"/>
              <a:gd name="connsiteX308" fmla="*/ 2334751 w 12188651"/>
              <a:gd name="connsiteY308" fmla="*/ 6494528 h 6858000"/>
              <a:gd name="connsiteX309" fmla="*/ 606349 w 12188651"/>
              <a:gd name="connsiteY309" fmla="*/ 6306179 h 6858000"/>
              <a:gd name="connsiteX310" fmla="*/ 931795 w 12188651"/>
              <a:gd name="connsiteY310" fmla="*/ 6494528 h 6858000"/>
              <a:gd name="connsiteX311" fmla="*/ 606218 w 12188651"/>
              <a:gd name="connsiteY311" fmla="*/ 6682877 h 6858000"/>
              <a:gd name="connsiteX312" fmla="*/ 280770 w 12188651"/>
              <a:gd name="connsiteY312" fmla="*/ 6494528 h 6858000"/>
              <a:gd name="connsiteX313" fmla="*/ 4714117 w 12188651"/>
              <a:gd name="connsiteY313" fmla="*/ 6306174 h 6858000"/>
              <a:gd name="connsiteX314" fmla="*/ 5039591 w 12188651"/>
              <a:gd name="connsiteY314" fmla="*/ 6494528 h 6858000"/>
              <a:gd name="connsiteX315" fmla="*/ 4713993 w 12188651"/>
              <a:gd name="connsiteY315" fmla="*/ 6682882 h 6858000"/>
              <a:gd name="connsiteX316" fmla="*/ 4388541 w 12188651"/>
              <a:gd name="connsiteY316" fmla="*/ 6494528 h 6858000"/>
              <a:gd name="connsiteX317" fmla="*/ 10875808 w 12188651"/>
              <a:gd name="connsiteY317" fmla="*/ 6306171 h 6858000"/>
              <a:gd name="connsiteX318" fmla="*/ 11201269 w 12188651"/>
              <a:gd name="connsiteY318" fmla="*/ 6494528 h 6858000"/>
              <a:gd name="connsiteX319" fmla="*/ 10875679 w 12188651"/>
              <a:gd name="connsiteY319" fmla="*/ 6682885 h 6858000"/>
              <a:gd name="connsiteX320" fmla="*/ 10550217 w 12188651"/>
              <a:gd name="connsiteY320" fmla="*/ 6494528 h 6858000"/>
              <a:gd name="connsiteX321" fmla="*/ 8821860 w 12188651"/>
              <a:gd name="connsiteY321" fmla="*/ 6306171 h 6858000"/>
              <a:gd name="connsiteX322" fmla="*/ 9147321 w 12188651"/>
              <a:gd name="connsiteY322" fmla="*/ 6494528 h 6858000"/>
              <a:gd name="connsiteX323" fmla="*/ 8821731 w 12188651"/>
              <a:gd name="connsiteY323" fmla="*/ 6682885 h 6858000"/>
              <a:gd name="connsiteX324" fmla="*/ 8496269 w 12188651"/>
              <a:gd name="connsiteY324" fmla="*/ 6494528 h 6858000"/>
              <a:gd name="connsiteX325" fmla="*/ 6768043 w 12188651"/>
              <a:gd name="connsiteY325" fmla="*/ 6306171 h 6858000"/>
              <a:gd name="connsiteX326" fmla="*/ 7093505 w 12188651"/>
              <a:gd name="connsiteY326" fmla="*/ 6494528 h 6858000"/>
              <a:gd name="connsiteX327" fmla="*/ 6767913 w 12188651"/>
              <a:gd name="connsiteY327" fmla="*/ 6682885 h 6858000"/>
              <a:gd name="connsiteX328" fmla="*/ 6442452 w 12188651"/>
              <a:gd name="connsiteY328" fmla="*/ 6494528 h 6858000"/>
              <a:gd name="connsiteX329" fmla="*/ 12140685 w 12188651"/>
              <a:gd name="connsiteY329" fmla="*/ 6142204 h 6858000"/>
              <a:gd name="connsiteX330" fmla="*/ 12168445 w 12188651"/>
              <a:gd name="connsiteY330" fmla="*/ 6153749 h 6858000"/>
              <a:gd name="connsiteX331" fmla="*/ 12188651 w 12188651"/>
              <a:gd name="connsiteY331" fmla="*/ 6173997 h 6858000"/>
              <a:gd name="connsiteX332" fmla="*/ 12188651 w 12188651"/>
              <a:gd name="connsiteY332" fmla="*/ 6442248 h 6858000"/>
              <a:gd name="connsiteX333" fmla="*/ 12034576 w 12188651"/>
              <a:gd name="connsiteY333" fmla="*/ 6287882 h 6858000"/>
              <a:gd name="connsiteX334" fmla="*/ 12034576 w 12188651"/>
              <a:gd name="connsiteY334" fmla="*/ 6232490 h 6858000"/>
              <a:gd name="connsiteX335" fmla="*/ 12113056 w 12188651"/>
              <a:gd name="connsiteY335" fmla="*/ 6153749 h 6858000"/>
              <a:gd name="connsiteX336" fmla="*/ 12140685 w 12188651"/>
              <a:gd name="connsiteY336" fmla="*/ 6142204 h 6858000"/>
              <a:gd name="connsiteX337" fmla="*/ 10086867 w 12188651"/>
              <a:gd name="connsiteY337" fmla="*/ 6142204 h 6858000"/>
              <a:gd name="connsiteX338" fmla="*/ 10114626 w 12188651"/>
              <a:gd name="connsiteY338" fmla="*/ 6153749 h 6858000"/>
              <a:gd name="connsiteX339" fmla="*/ 10179226 w 12188651"/>
              <a:gd name="connsiteY339" fmla="*/ 6218481 h 6858000"/>
              <a:gd name="connsiteX340" fmla="*/ 10190770 w 12188651"/>
              <a:gd name="connsiteY340" fmla="*/ 6230155 h 6858000"/>
              <a:gd name="connsiteX341" fmla="*/ 10202315 w 12188651"/>
              <a:gd name="connsiteY341" fmla="*/ 6218481 h 6858000"/>
              <a:gd name="connsiteX342" fmla="*/ 10266786 w 12188651"/>
              <a:gd name="connsiteY342" fmla="*/ 6153749 h 6858000"/>
              <a:gd name="connsiteX343" fmla="*/ 10294543 w 12188651"/>
              <a:gd name="connsiteY343" fmla="*/ 6142204 h 6858000"/>
              <a:gd name="connsiteX344" fmla="*/ 10322173 w 12188651"/>
              <a:gd name="connsiteY344" fmla="*/ 6153749 h 6858000"/>
              <a:gd name="connsiteX345" fmla="*/ 10400653 w 12188651"/>
              <a:gd name="connsiteY345" fmla="*/ 6232360 h 6858000"/>
              <a:gd name="connsiteX346" fmla="*/ 10412198 w 12188651"/>
              <a:gd name="connsiteY346" fmla="*/ 6260121 h 6858000"/>
              <a:gd name="connsiteX347" fmla="*/ 10400783 w 12188651"/>
              <a:gd name="connsiteY347" fmla="*/ 6287882 h 6858000"/>
              <a:gd name="connsiteX348" fmla="*/ 10190770 w 12188651"/>
              <a:gd name="connsiteY348" fmla="*/ 6498291 h 6858000"/>
              <a:gd name="connsiteX349" fmla="*/ 9980757 w 12188651"/>
              <a:gd name="connsiteY349" fmla="*/ 6287882 h 6858000"/>
              <a:gd name="connsiteX350" fmla="*/ 9980757 w 12188651"/>
              <a:gd name="connsiteY350" fmla="*/ 6232490 h 6858000"/>
              <a:gd name="connsiteX351" fmla="*/ 10059237 w 12188651"/>
              <a:gd name="connsiteY351" fmla="*/ 6153749 h 6858000"/>
              <a:gd name="connsiteX352" fmla="*/ 10086867 w 12188651"/>
              <a:gd name="connsiteY352" fmla="*/ 6142204 h 6858000"/>
              <a:gd name="connsiteX353" fmla="*/ 8032919 w 12188651"/>
              <a:gd name="connsiteY353" fmla="*/ 6142204 h 6858000"/>
              <a:gd name="connsiteX354" fmla="*/ 8060679 w 12188651"/>
              <a:gd name="connsiteY354" fmla="*/ 6153749 h 6858000"/>
              <a:gd name="connsiteX355" fmla="*/ 8125278 w 12188651"/>
              <a:gd name="connsiteY355" fmla="*/ 6218481 h 6858000"/>
              <a:gd name="connsiteX356" fmla="*/ 8136823 w 12188651"/>
              <a:gd name="connsiteY356" fmla="*/ 6230155 h 6858000"/>
              <a:gd name="connsiteX357" fmla="*/ 8148368 w 12188651"/>
              <a:gd name="connsiteY357" fmla="*/ 6218481 h 6858000"/>
              <a:gd name="connsiteX358" fmla="*/ 8212837 w 12188651"/>
              <a:gd name="connsiteY358" fmla="*/ 6153749 h 6858000"/>
              <a:gd name="connsiteX359" fmla="*/ 8240596 w 12188651"/>
              <a:gd name="connsiteY359" fmla="*/ 6142204 h 6858000"/>
              <a:gd name="connsiteX360" fmla="*/ 8268226 w 12188651"/>
              <a:gd name="connsiteY360" fmla="*/ 6153749 h 6858000"/>
              <a:gd name="connsiteX361" fmla="*/ 8346707 w 12188651"/>
              <a:gd name="connsiteY361" fmla="*/ 6232360 h 6858000"/>
              <a:gd name="connsiteX362" fmla="*/ 8358252 w 12188651"/>
              <a:gd name="connsiteY362" fmla="*/ 6260121 h 6858000"/>
              <a:gd name="connsiteX363" fmla="*/ 8346837 w 12188651"/>
              <a:gd name="connsiteY363" fmla="*/ 6287882 h 6858000"/>
              <a:gd name="connsiteX364" fmla="*/ 8136823 w 12188651"/>
              <a:gd name="connsiteY364" fmla="*/ 6498291 h 6858000"/>
              <a:gd name="connsiteX365" fmla="*/ 7926811 w 12188651"/>
              <a:gd name="connsiteY365" fmla="*/ 6287882 h 6858000"/>
              <a:gd name="connsiteX366" fmla="*/ 7926811 w 12188651"/>
              <a:gd name="connsiteY366" fmla="*/ 6232490 h 6858000"/>
              <a:gd name="connsiteX367" fmla="*/ 8005289 w 12188651"/>
              <a:gd name="connsiteY367" fmla="*/ 6153749 h 6858000"/>
              <a:gd name="connsiteX368" fmla="*/ 8032919 w 12188651"/>
              <a:gd name="connsiteY368" fmla="*/ 6142204 h 6858000"/>
              <a:gd name="connsiteX369" fmla="*/ 5979109 w 12188651"/>
              <a:gd name="connsiteY369" fmla="*/ 6142204 h 6858000"/>
              <a:gd name="connsiteX370" fmla="*/ 6006867 w 12188651"/>
              <a:gd name="connsiteY370" fmla="*/ 6153749 h 6858000"/>
              <a:gd name="connsiteX371" fmla="*/ 6071463 w 12188651"/>
              <a:gd name="connsiteY371" fmla="*/ 6218481 h 6858000"/>
              <a:gd name="connsiteX372" fmla="*/ 6083006 w 12188651"/>
              <a:gd name="connsiteY372" fmla="*/ 6230155 h 6858000"/>
              <a:gd name="connsiteX373" fmla="*/ 6094550 w 12188651"/>
              <a:gd name="connsiteY373" fmla="*/ 6218481 h 6858000"/>
              <a:gd name="connsiteX374" fmla="*/ 6159019 w 12188651"/>
              <a:gd name="connsiteY374" fmla="*/ 6153749 h 6858000"/>
              <a:gd name="connsiteX375" fmla="*/ 6186779 w 12188651"/>
              <a:gd name="connsiteY375" fmla="*/ 6142204 h 6858000"/>
              <a:gd name="connsiteX376" fmla="*/ 6214409 w 12188651"/>
              <a:gd name="connsiteY376" fmla="*/ 6153749 h 6858000"/>
              <a:gd name="connsiteX377" fmla="*/ 6292888 w 12188651"/>
              <a:gd name="connsiteY377" fmla="*/ 6232360 h 6858000"/>
              <a:gd name="connsiteX378" fmla="*/ 6304433 w 12188651"/>
              <a:gd name="connsiteY378" fmla="*/ 6260121 h 6858000"/>
              <a:gd name="connsiteX379" fmla="*/ 6293017 w 12188651"/>
              <a:gd name="connsiteY379" fmla="*/ 6287882 h 6858000"/>
              <a:gd name="connsiteX380" fmla="*/ 6083006 w 12188651"/>
              <a:gd name="connsiteY380" fmla="*/ 6498291 h 6858000"/>
              <a:gd name="connsiteX381" fmla="*/ 5873007 w 12188651"/>
              <a:gd name="connsiteY381" fmla="*/ 6287882 h 6858000"/>
              <a:gd name="connsiteX382" fmla="*/ 5873007 w 12188651"/>
              <a:gd name="connsiteY382" fmla="*/ 6232490 h 6858000"/>
              <a:gd name="connsiteX383" fmla="*/ 5951483 w 12188651"/>
              <a:gd name="connsiteY383" fmla="*/ 6153749 h 6858000"/>
              <a:gd name="connsiteX384" fmla="*/ 5979109 w 12188651"/>
              <a:gd name="connsiteY384" fmla="*/ 6142204 h 6858000"/>
              <a:gd name="connsiteX385" fmla="*/ 3925340 w 12188651"/>
              <a:gd name="connsiteY385" fmla="*/ 6142204 h 6858000"/>
              <a:gd name="connsiteX386" fmla="*/ 3953098 w 12188651"/>
              <a:gd name="connsiteY386" fmla="*/ 6153749 h 6858000"/>
              <a:gd name="connsiteX387" fmla="*/ 4017696 w 12188651"/>
              <a:gd name="connsiteY387" fmla="*/ 6218481 h 6858000"/>
              <a:gd name="connsiteX388" fmla="*/ 4029239 w 12188651"/>
              <a:gd name="connsiteY388" fmla="*/ 6230155 h 6858000"/>
              <a:gd name="connsiteX389" fmla="*/ 4040788 w 12188651"/>
              <a:gd name="connsiteY389" fmla="*/ 6218481 h 6858000"/>
              <a:gd name="connsiteX390" fmla="*/ 4105258 w 12188651"/>
              <a:gd name="connsiteY390" fmla="*/ 6153749 h 6858000"/>
              <a:gd name="connsiteX391" fmla="*/ 4133019 w 12188651"/>
              <a:gd name="connsiteY391" fmla="*/ 6142204 h 6858000"/>
              <a:gd name="connsiteX392" fmla="*/ 4160649 w 12188651"/>
              <a:gd name="connsiteY392" fmla="*/ 6153749 h 6858000"/>
              <a:gd name="connsiteX393" fmla="*/ 4239088 w 12188651"/>
              <a:gd name="connsiteY393" fmla="*/ 6232360 h 6858000"/>
              <a:gd name="connsiteX394" fmla="*/ 4250634 w 12188651"/>
              <a:gd name="connsiteY394" fmla="*/ 6260121 h 6858000"/>
              <a:gd name="connsiteX395" fmla="*/ 4239218 w 12188651"/>
              <a:gd name="connsiteY395" fmla="*/ 6287882 h 6858000"/>
              <a:gd name="connsiteX396" fmla="*/ 4029239 w 12188651"/>
              <a:gd name="connsiteY396" fmla="*/ 6498291 h 6858000"/>
              <a:gd name="connsiteX397" fmla="*/ 3819224 w 12188651"/>
              <a:gd name="connsiteY397" fmla="*/ 6287882 h 6858000"/>
              <a:gd name="connsiteX398" fmla="*/ 3819224 w 12188651"/>
              <a:gd name="connsiteY398" fmla="*/ 6232490 h 6858000"/>
              <a:gd name="connsiteX399" fmla="*/ 3897706 w 12188651"/>
              <a:gd name="connsiteY399" fmla="*/ 6153749 h 6858000"/>
              <a:gd name="connsiteX400" fmla="*/ 3925340 w 12188651"/>
              <a:gd name="connsiteY400" fmla="*/ 6142204 h 6858000"/>
              <a:gd name="connsiteX401" fmla="*/ 1871365 w 12188651"/>
              <a:gd name="connsiteY401" fmla="*/ 6142204 h 6858000"/>
              <a:gd name="connsiteX402" fmla="*/ 1899125 w 12188651"/>
              <a:gd name="connsiteY402" fmla="*/ 6153749 h 6858000"/>
              <a:gd name="connsiteX403" fmla="*/ 1963725 w 12188651"/>
              <a:gd name="connsiteY403" fmla="*/ 6218481 h 6858000"/>
              <a:gd name="connsiteX404" fmla="*/ 1975268 w 12188651"/>
              <a:gd name="connsiteY404" fmla="*/ 6230155 h 6858000"/>
              <a:gd name="connsiteX405" fmla="*/ 1986815 w 12188651"/>
              <a:gd name="connsiteY405" fmla="*/ 6218481 h 6858000"/>
              <a:gd name="connsiteX406" fmla="*/ 2051282 w 12188651"/>
              <a:gd name="connsiteY406" fmla="*/ 6153749 h 6858000"/>
              <a:gd name="connsiteX407" fmla="*/ 2079043 w 12188651"/>
              <a:gd name="connsiteY407" fmla="*/ 6142204 h 6858000"/>
              <a:gd name="connsiteX408" fmla="*/ 2106680 w 12188651"/>
              <a:gd name="connsiteY408" fmla="*/ 6153749 h 6858000"/>
              <a:gd name="connsiteX409" fmla="*/ 2185159 w 12188651"/>
              <a:gd name="connsiteY409" fmla="*/ 6232360 h 6858000"/>
              <a:gd name="connsiteX410" fmla="*/ 2196704 w 12188651"/>
              <a:gd name="connsiteY410" fmla="*/ 6260121 h 6858000"/>
              <a:gd name="connsiteX411" fmla="*/ 2185289 w 12188651"/>
              <a:gd name="connsiteY411" fmla="*/ 6287882 h 6858000"/>
              <a:gd name="connsiteX412" fmla="*/ 1975268 w 12188651"/>
              <a:gd name="connsiteY412" fmla="*/ 6498291 h 6858000"/>
              <a:gd name="connsiteX413" fmla="*/ 1765256 w 12188651"/>
              <a:gd name="connsiteY413" fmla="*/ 6287882 h 6858000"/>
              <a:gd name="connsiteX414" fmla="*/ 1765256 w 12188651"/>
              <a:gd name="connsiteY414" fmla="*/ 6232490 h 6858000"/>
              <a:gd name="connsiteX415" fmla="*/ 1843735 w 12188651"/>
              <a:gd name="connsiteY415" fmla="*/ 6153749 h 6858000"/>
              <a:gd name="connsiteX416" fmla="*/ 1871365 w 12188651"/>
              <a:gd name="connsiteY416" fmla="*/ 6142204 h 6858000"/>
              <a:gd name="connsiteX417" fmla="*/ 25201 w 12188651"/>
              <a:gd name="connsiteY417" fmla="*/ 6142204 h 6858000"/>
              <a:gd name="connsiteX418" fmla="*/ 52832 w 12188651"/>
              <a:gd name="connsiteY418" fmla="*/ 6153749 h 6858000"/>
              <a:gd name="connsiteX419" fmla="*/ 131310 w 12188651"/>
              <a:gd name="connsiteY419" fmla="*/ 6232360 h 6858000"/>
              <a:gd name="connsiteX420" fmla="*/ 142854 w 12188651"/>
              <a:gd name="connsiteY420" fmla="*/ 6260121 h 6858000"/>
              <a:gd name="connsiteX421" fmla="*/ 131440 w 12188651"/>
              <a:gd name="connsiteY421" fmla="*/ 6287882 h 6858000"/>
              <a:gd name="connsiteX422" fmla="*/ 0 w 12188651"/>
              <a:gd name="connsiteY422" fmla="*/ 6419570 h 6858000"/>
              <a:gd name="connsiteX423" fmla="*/ 0 w 12188651"/>
              <a:gd name="connsiteY423" fmla="*/ 6152685 h 6858000"/>
              <a:gd name="connsiteX424" fmla="*/ 10086867 w 12188651"/>
              <a:gd name="connsiteY424" fmla="*/ 6125729 h 6858000"/>
              <a:gd name="connsiteX425" fmla="*/ 10047692 w 12188651"/>
              <a:gd name="connsiteY425" fmla="*/ 6142074 h 6858000"/>
              <a:gd name="connsiteX426" fmla="*/ 9969212 w 12188651"/>
              <a:gd name="connsiteY426" fmla="*/ 6220816 h 6858000"/>
              <a:gd name="connsiteX427" fmla="*/ 9969212 w 12188651"/>
              <a:gd name="connsiteY427" fmla="*/ 6299428 h 6858000"/>
              <a:gd name="connsiteX428" fmla="*/ 10190770 w 12188651"/>
              <a:gd name="connsiteY428" fmla="*/ 6521512 h 6858000"/>
              <a:gd name="connsiteX429" fmla="*/ 10412328 w 12188651"/>
              <a:gd name="connsiteY429" fmla="*/ 6299428 h 6858000"/>
              <a:gd name="connsiteX430" fmla="*/ 10412328 w 12188651"/>
              <a:gd name="connsiteY430" fmla="*/ 6220816 h 6858000"/>
              <a:gd name="connsiteX431" fmla="*/ 10333848 w 12188651"/>
              <a:gd name="connsiteY431" fmla="*/ 6142204 h 6858000"/>
              <a:gd name="connsiteX432" fmla="*/ 10294673 w 12188651"/>
              <a:gd name="connsiteY432" fmla="*/ 6125859 h 6858000"/>
              <a:gd name="connsiteX433" fmla="*/ 10294543 w 12188651"/>
              <a:gd name="connsiteY433" fmla="*/ 6125729 h 6858000"/>
              <a:gd name="connsiteX434" fmla="*/ 10255241 w 12188651"/>
              <a:gd name="connsiteY434" fmla="*/ 6142204 h 6858000"/>
              <a:gd name="connsiteX435" fmla="*/ 10190770 w 12188651"/>
              <a:gd name="connsiteY435" fmla="*/ 6206806 h 6858000"/>
              <a:gd name="connsiteX436" fmla="*/ 10126171 w 12188651"/>
              <a:gd name="connsiteY436" fmla="*/ 6142074 h 6858000"/>
              <a:gd name="connsiteX437" fmla="*/ 10086867 w 12188651"/>
              <a:gd name="connsiteY437" fmla="*/ 6125729 h 6858000"/>
              <a:gd name="connsiteX438" fmla="*/ 8032919 w 12188651"/>
              <a:gd name="connsiteY438" fmla="*/ 6125729 h 6858000"/>
              <a:gd name="connsiteX439" fmla="*/ 7993744 w 12188651"/>
              <a:gd name="connsiteY439" fmla="*/ 6142074 h 6858000"/>
              <a:gd name="connsiteX440" fmla="*/ 7915266 w 12188651"/>
              <a:gd name="connsiteY440" fmla="*/ 6220816 h 6858000"/>
              <a:gd name="connsiteX441" fmla="*/ 7915266 w 12188651"/>
              <a:gd name="connsiteY441" fmla="*/ 6299428 h 6858000"/>
              <a:gd name="connsiteX442" fmla="*/ 8136823 w 12188651"/>
              <a:gd name="connsiteY442" fmla="*/ 6521512 h 6858000"/>
              <a:gd name="connsiteX443" fmla="*/ 8358382 w 12188651"/>
              <a:gd name="connsiteY443" fmla="*/ 6299428 h 6858000"/>
              <a:gd name="connsiteX444" fmla="*/ 8358382 w 12188651"/>
              <a:gd name="connsiteY444" fmla="*/ 6220816 h 6858000"/>
              <a:gd name="connsiteX445" fmla="*/ 8279902 w 12188651"/>
              <a:gd name="connsiteY445" fmla="*/ 6142204 h 6858000"/>
              <a:gd name="connsiteX446" fmla="*/ 8240727 w 12188651"/>
              <a:gd name="connsiteY446" fmla="*/ 6125859 h 6858000"/>
              <a:gd name="connsiteX447" fmla="*/ 8240596 w 12188651"/>
              <a:gd name="connsiteY447" fmla="*/ 6125729 h 6858000"/>
              <a:gd name="connsiteX448" fmla="*/ 8201292 w 12188651"/>
              <a:gd name="connsiteY448" fmla="*/ 6142204 h 6858000"/>
              <a:gd name="connsiteX449" fmla="*/ 8136823 w 12188651"/>
              <a:gd name="connsiteY449" fmla="*/ 6206806 h 6858000"/>
              <a:gd name="connsiteX450" fmla="*/ 8072224 w 12188651"/>
              <a:gd name="connsiteY450" fmla="*/ 6142074 h 6858000"/>
              <a:gd name="connsiteX451" fmla="*/ 8032919 w 12188651"/>
              <a:gd name="connsiteY451" fmla="*/ 6125729 h 6858000"/>
              <a:gd name="connsiteX452" fmla="*/ 5979109 w 12188651"/>
              <a:gd name="connsiteY452" fmla="*/ 6125729 h 6858000"/>
              <a:gd name="connsiteX453" fmla="*/ 5939936 w 12188651"/>
              <a:gd name="connsiteY453" fmla="*/ 6142074 h 6858000"/>
              <a:gd name="connsiteX454" fmla="*/ 5861462 w 12188651"/>
              <a:gd name="connsiteY454" fmla="*/ 6220816 h 6858000"/>
              <a:gd name="connsiteX455" fmla="*/ 5861462 w 12188651"/>
              <a:gd name="connsiteY455" fmla="*/ 6299428 h 6858000"/>
              <a:gd name="connsiteX456" fmla="*/ 6083006 w 12188651"/>
              <a:gd name="connsiteY456" fmla="*/ 6521512 h 6858000"/>
              <a:gd name="connsiteX457" fmla="*/ 6304562 w 12188651"/>
              <a:gd name="connsiteY457" fmla="*/ 6299428 h 6858000"/>
              <a:gd name="connsiteX458" fmla="*/ 6304562 w 12188651"/>
              <a:gd name="connsiteY458" fmla="*/ 6220816 h 6858000"/>
              <a:gd name="connsiteX459" fmla="*/ 6226084 w 12188651"/>
              <a:gd name="connsiteY459" fmla="*/ 6142204 h 6858000"/>
              <a:gd name="connsiteX460" fmla="*/ 6186909 w 12188651"/>
              <a:gd name="connsiteY460" fmla="*/ 6125859 h 6858000"/>
              <a:gd name="connsiteX461" fmla="*/ 6186779 w 12188651"/>
              <a:gd name="connsiteY461" fmla="*/ 6125729 h 6858000"/>
              <a:gd name="connsiteX462" fmla="*/ 6147474 w 12188651"/>
              <a:gd name="connsiteY462" fmla="*/ 6142204 h 6858000"/>
              <a:gd name="connsiteX463" fmla="*/ 6083006 w 12188651"/>
              <a:gd name="connsiteY463" fmla="*/ 6206806 h 6858000"/>
              <a:gd name="connsiteX464" fmla="*/ 6018412 w 12188651"/>
              <a:gd name="connsiteY464" fmla="*/ 6142074 h 6858000"/>
              <a:gd name="connsiteX465" fmla="*/ 5979109 w 12188651"/>
              <a:gd name="connsiteY465" fmla="*/ 6125729 h 6858000"/>
              <a:gd name="connsiteX466" fmla="*/ 3925340 w 12188651"/>
              <a:gd name="connsiteY466" fmla="*/ 6125729 h 6858000"/>
              <a:gd name="connsiteX467" fmla="*/ 3886162 w 12188651"/>
              <a:gd name="connsiteY467" fmla="*/ 6142074 h 6858000"/>
              <a:gd name="connsiteX468" fmla="*/ 3807680 w 12188651"/>
              <a:gd name="connsiteY468" fmla="*/ 6220816 h 6858000"/>
              <a:gd name="connsiteX469" fmla="*/ 3807680 w 12188651"/>
              <a:gd name="connsiteY469" fmla="*/ 6299428 h 6858000"/>
              <a:gd name="connsiteX470" fmla="*/ 4029239 w 12188651"/>
              <a:gd name="connsiteY470" fmla="*/ 6521512 h 6858000"/>
              <a:gd name="connsiteX471" fmla="*/ 4250759 w 12188651"/>
              <a:gd name="connsiteY471" fmla="*/ 6299428 h 6858000"/>
              <a:gd name="connsiteX472" fmla="*/ 4250759 w 12188651"/>
              <a:gd name="connsiteY472" fmla="*/ 6220816 h 6858000"/>
              <a:gd name="connsiteX473" fmla="*/ 4172324 w 12188651"/>
              <a:gd name="connsiteY473" fmla="*/ 6142204 h 6858000"/>
              <a:gd name="connsiteX474" fmla="*/ 4133150 w 12188651"/>
              <a:gd name="connsiteY474" fmla="*/ 6125859 h 6858000"/>
              <a:gd name="connsiteX475" fmla="*/ 4133019 w 12188651"/>
              <a:gd name="connsiteY475" fmla="*/ 6125729 h 6858000"/>
              <a:gd name="connsiteX476" fmla="*/ 4093716 w 12188651"/>
              <a:gd name="connsiteY476" fmla="*/ 6142204 h 6858000"/>
              <a:gd name="connsiteX477" fmla="*/ 4029239 w 12188651"/>
              <a:gd name="connsiteY477" fmla="*/ 6206806 h 6858000"/>
              <a:gd name="connsiteX478" fmla="*/ 3964640 w 12188651"/>
              <a:gd name="connsiteY478" fmla="*/ 6142074 h 6858000"/>
              <a:gd name="connsiteX479" fmla="*/ 3925340 w 12188651"/>
              <a:gd name="connsiteY479" fmla="*/ 6125729 h 6858000"/>
              <a:gd name="connsiteX480" fmla="*/ 1871365 w 12188651"/>
              <a:gd name="connsiteY480" fmla="*/ 6125729 h 6858000"/>
              <a:gd name="connsiteX481" fmla="*/ 1832190 w 12188651"/>
              <a:gd name="connsiteY481" fmla="*/ 6142074 h 6858000"/>
              <a:gd name="connsiteX482" fmla="*/ 1753712 w 12188651"/>
              <a:gd name="connsiteY482" fmla="*/ 6220816 h 6858000"/>
              <a:gd name="connsiteX483" fmla="*/ 1753712 w 12188651"/>
              <a:gd name="connsiteY483" fmla="*/ 6299428 h 6858000"/>
              <a:gd name="connsiteX484" fmla="*/ 1975268 w 12188651"/>
              <a:gd name="connsiteY484" fmla="*/ 6521512 h 6858000"/>
              <a:gd name="connsiteX485" fmla="*/ 2196833 w 12188651"/>
              <a:gd name="connsiteY485" fmla="*/ 6299428 h 6858000"/>
              <a:gd name="connsiteX486" fmla="*/ 2196833 w 12188651"/>
              <a:gd name="connsiteY486" fmla="*/ 6220816 h 6858000"/>
              <a:gd name="connsiteX487" fmla="*/ 2118354 w 12188651"/>
              <a:gd name="connsiteY487" fmla="*/ 6142204 h 6858000"/>
              <a:gd name="connsiteX488" fmla="*/ 2079172 w 12188651"/>
              <a:gd name="connsiteY488" fmla="*/ 6125859 h 6858000"/>
              <a:gd name="connsiteX489" fmla="*/ 2079043 w 12188651"/>
              <a:gd name="connsiteY489" fmla="*/ 6125729 h 6858000"/>
              <a:gd name="connsiteX490" fmla="*/ 2039739 w 12188651"/>
              <a:gd name="connsiteY490" fmla="*/ 6142204 h 6858000"/>
              <a:gd name="connsiteX491" fmla="*/ 1975268 w 12188651"/>
              <a:gd name="connsiteY491" fmla="*/ 6206806 h 6858000"/>
              <a:gd name="connsiteX492" fmla="*/ 1910670 w 12188651"/>
              <a:gd name="connsiteY492" fmla="*/ 6142074 h 6858000"/>
              <a:gd name="connsiteX493" fmla="*/ 1871365 w 12188651"/>
              <a:gd name="connsiteY493" fmla="*/ 6125729 h 6858000"/>
              <a:gd name="connsiteX494" fmla="*/ 0 w 12188651"/>
              <a:gd name="connsiteY494" fmla="*/ 5955550 h 6858000"/>
              <a:gd name="connsiteX495" fmla="*/ 255057 w 12188651"/>
              <a:gd name="connsiteY495" fmla="*/ 6103157 h 6858000"/>
              <a:gd name="connsiteX496" fmla="*/ 255057 w 12188651"/>
              <a:gd name="connsiteY496" fmla="*/ 6489340 h 6858000"/>
              <a:gd name="connsiteX497" fmla="*/ 0 w 12188651"/>
              <a:gd name="connsiteY497" fmla="*/ 6636947 h 6858000"/>
              <a:gd name="connsiteX498" fmla="*/ 0 w 12188651"/>
              <a:gd name="connsiteY498" fmla="*/ 6442752 h 6858000"/>
              <a:gd name="connsiteX499" fmla="*/ 142984 w 12188651"/>
              <a:gd name="connsiteY499" fmla="*/ 6299428 h 6858000"/>
              <a:gd name="connsiteX500" fmla="*/ 142984 w 12188651"/>
              <a:gd name="connsiteY500" fmla="*/ 6220816 h 6858000"/>
              <a:gd name="connsiteX501" fmla="*/ 64505 w 12188651"/>
              <a:gd name="connsiteY501" fmla="*/ 6142204 h 6858000"/>
              <a:gd name="connsiteX502" fmla="*/ 25329 w 12188651"/>
              <a:gd name="connsiteY502" fmla="*/ 6125859 h 6858000"/>
              <a:gd name="connsiteX503" fmla="*/ 25201 w 12188651"/>
              <a:gd name="connsiteY503" fmla="*/ 6125729 h 6858000"/>
              <a:gd name="connsiteX504" fmla="*/ 4284 w 12188651"/>
              <a:gd name="connsiteY504" fmla="*/ 6129832 h 6858000"/>
              <a:gd name="connsiteX505" fmla="*/ 0 w 12188651"/>
              <a:gd name="connsiteY505" fmla="*/ 6132714 h 6858000"/>
              <a:gd name="connsiteX506" fmla="*/ 12188651 w 12188651"/>
              <a:gd name="connsiteY506" fmla="*/ 5942299 h 6858000"/>
              <a:gd name="connsiteX507" fmla="*/ 12188651 w 12188651"/>
              <a:gd name="connsiteY507" fmla="*/ 6150753 h 6858000"/>
              <a:gd name="connsiteX508" fmla="*/ 12179990 w 12188651"/>
              <a:gd name="connsiteY508" fmla="*/ 6142074 h 6858000"/>
              <a:gd name="connsiteX509" fmla="*/ 12140685 w 12188651"/>
              <a:gd name="connsiteY509" fmla="*/ 6125729 h 6858000"/>
              <a:gd name="connsiteX510" fmla="*/ 12101510 w 12188651"/>
              <a:gd name="connsiteY510" fmla="*/ 6142074 h 6858000"/>
              <a:gd name="connsiteX511" fmla="*/ 12023031 w 12188651"/>
              <a:gd name="connsiteY511" fmla="*/ 6220816 h 6858000"/>
              <a:gd name="connsiteX512" fmla="*/ 12023031 w 12188651"/>
              <a:gd name="connsiteY512" fmla="*/ 6299428 h 6858000"/>
              <a:gd name="connsiteX513" fmla="*/ 12188651 w 12188651"/>
              <a:gd name="connsiteY513" fmla="*/ 6465441 h 6858000"/>
              <a:gd name="connsiteX514" fmla="*/ 12188651 w 12188651"/>
              <a:gd name="connsiteY514" fmla="*/ 6650199 h 6858000"/>
              <a:gd name="connsiteX515" fmla="*/ 11910696 w 12188651"/>
              <a:gd name="connsiteY515" fmla="*/ 6489340 h 6858000"/>
              <a:gd name="connsiteX516" fmla="*/ 11910696 w 12188651"/>
              <a:gd name="connsiteY516" fmla="*/ 6103158 h 6858000"/>
              <a:gd name="connsiteX517" fmla="*/ 2668510 w 12188651"/>
              <a:gd name="connsiteY517" fmla="*/ 5915205 h 6858000"/>
              <a:gd name="connsiteX518" fmla="*/ 2993944 w 12188651"/>
              <a:gd name="connsiteY518" fmla="*/ 6103545 h 6858000"/>
              <a:gd name="connsiteX519" fmla="*/ 2993944 w 12188651"/>
              <a:gd name="connsiteY519" fmla="*/ 6480372 h 6858000"/>
              <a:gd name="connsiteX520" fmla="*/ 2668510 w 12188651"/>
              <a:gd name="connsiteY520" fmla="*/ 6292032 h 6858000"/>
              <a:gd name="connsiteX521" fmla="*/ 2652138 w 12188651"/>
              <a:gd name="connsiteY521" fmla="*/ 5915205 h 6858000"/>
              <a:gd name="connsiteX522" fmla="*/ 2652138 w 12188651"/>
              <a:gd name="connsiteY522" fmla="*/ 6292032 h 6858000"/>
              <a:gd name="connsiteX523" fmla="*/ 2326578 w 12188651"/>
              <a:gd name="connsiteY523" fmla="*/ 6480371 h 6858000"/>
              <a:gd name="connsiteX524" fmla="*/ 2326578 w 12188651"/>
              <a:gd name="connsiteY524" fmla="*/ 6103545 h 6858000"/>
              <a:gd name="connsiteX525" fmla="*/ 614534 w 12188651"/>
              <a:gd name="connsiteY525" fmla="*/ 5915205 h 6858000"/>
              <a:gd name="connsiteX526" fmla="*/ 939967 w 12188651"/>
              <a:gd name="connsiteY526" fmla="*/ 6103545 h 6858000"/>
              <a:gd name="connsiteX527" fmla="*/ 939967 w 12188651"/>
              <a:gd name="connsiteY527" fmla="*/ 6480373 h 6858000"/>
              <a:gd name="connsiteX528" fmla="*/ 614534 w 12188651"/>
              <a:gd name="connsiteY528" fmla="*/ 6292032 h 6858000"/>
              <a:gd name="connsiteX529" fmla="*/ 598162 w 12188651"/>
              <a:gd name="connsiteY529" fmla="*/ 5915205 h 6858000"/>
              <a:gd name="connsiteX530" fmla="*/ 598162 w 12188651"/>
              <a:gd name="connsiteY530" fmla="*/ 6292032 h 6858000"/>
              <a:gd name="connsiteX531" fmla="*/ 272599 w 12188651"/>
              <a:gd name="connsiteY531" fmla="*/ 6480372 h 6858000"/>
              <a:gd name="connsiteX532" fmla="*/ 272599 w 12188651"/>
              <a:gd name="connsiteY532" fmla="*/ 6103545 h 6858000"/>
              <a:gd name="connsiteX533" fmla="*/ 4722303 w 12188651"/>
              <a:gd name="connsiteY533" fmla="*/ 5915196 h 6858000"/>
              <a:gd name="connsiteX534" fmla="*/ 5047767 w 12188651"/>
              <a:gd name="connsiteY534" fmla="*/ 6103545 h 6858000"/>
              <a:gd name="connsiteX535" fmla="*/ 5047767 w 12188651"/>
              <a:gd name="connsiteY535" fmla="*/ 6480376 h 6858000"/>
              <a:gd name="connsiteX536" fmla="*/ 4722303 w 12188651"/>
              <a:gd name="connsiteY536" fmla="*/ 6292032 h 6858000"/>
              <a:gd name="connsiteX537" fmla="*/ 4705942 w 12188651"/>
              <a:gd name="connsiteY537" fmla="*/ 5915194 h 6858000"/>
              <a:gd name="connsiteX538" fmla="*/ 4705942 w 12188651"/>
              <a:gd name="connsiteY538" fmla="*/ 6292032 h 6858000"/>
              <a:gd name="connsiteX539" fmla="*/ 4380369 w 12188651"/>
              <a:gd name="connsiteY539" fmla="*/ 6480381 h 6858000"/>
              <a:gd name="connsiteX540" fmla="*/ 4380369 w 12188651"/>
              <a:gd name="connsiteY540" fmla="*/ 6103545 h 6858000"/>
              <a:gd name="connsiteX541" fmla="*/ 10883981 w 12188651"/>
              <a:gd name="connsiteY541" fmla="*/ 5915189 h 6858000"/>
              <a:gd name="connsiteX542" fmla="*/ 11209441 w 12188651"/>
              <a:gd name="connsiteY542" fmla="*/ 6103545 h 6858000"/>
              <a:gd name="connsiteX543" fmla="*/ 11209441 w 12188651"/>
              <a:gd name="connsiteY543" fmla="*/ 6480388 h 6858000"/>
              <a:gd name="connsiteX544" fmla="*/ 10883981 w 12188651"/>
              <a:gd name="connsiteY544" fmla="*/ 6292032 h 6858000"/>
              <a:gd name="connsiteX545" fmla="*/ 10867636 w 12188651"/>
              <a:gd name="connsiteY545" fmla="*/ 5915189 h 6858000"/>
              <a:gd name="connsiteX546" fmla="*/ 10867636 w 12188651"/>
              <a:gd name="connsiteY546" fmla="*/ 6292032 h 6858000"/>
              <a:gd name="connsiteX547" fmla="*/ 10542045 w 12188651"/>
              <a:gd name="connsiteY547" fmla="*/ 6480389 h 6858000"/>
              <a:gd name="connsiteX548" fmla="*/ 10542045 w 12188651"/>
              <a:gd name="connsiteY548" fmla="*/ 6103545 h 6858000"/>
              <a:gd name="connsiteX549" fmla="*/ 8830033 w 12188651"/>
              <a:gd name="connsiteY549" fmla="*/ 5915189 h 6858000"/>
              <a:gd name="connsiteX550" fmla="*/ 9155493 w 12188651"/>
              <a:gd name="connsiteY550" fmla="*/ 6103545 h 6858000"/>
              <a:gd name="connsiteX551" fmla="*/ 9155493 w 12188651"/>
              <a:gd name="connsiteY551" fmla="*/ 6480388 h 6858000"/>
              <a:gd name="connsiteX552" fmla="*/ 8830033 w 12188651"/>
              <a:gd name="connsiteY552" fmla="*/ 6292032 h 6858000"/>
              <a:gd name="connsiteX553" fmla="*/ 8813688 w 12188651"/>
              <a:gd name="connsiteY553" fmla="*/ 5915189 h 6858000"/>
              <a:gd name="connsiteX554" fmla="*/ 8813688 w 12188651"/>
              <a:gd name="connsiteY554" fmla="*/ 6292032 h 6858000"/>
              <a:gd name="connsiteX555" fmla="*/ 8488098 w 12188651"/>
              <a:gd name="connsiteY555" fmla="*/ 6480388 h 6858000"/>
              <a:gd name="connsiteX556" fmla="*/ 8488098 w 12188651"/>
              <a:gd name="connsiteY556" fmla="*/ 6103545 h 6858000"/>
              <a:gd name="connsiteX557" fmla="*/ 6776215 w 12188651"/>
              <a:gd name="connsiteY557" fmla="*/ 5915189 h 6858000"/>
              <a:gd name="connsiteX558" fmla="*/ 7101677 w 12188651"/>
              <a:gd name="connsiteY558" fmla="*/ 6103545 h 6858000"/>
              <a:gd name="connsiteX559" fmla="*/ 7101677 w 12188651"/>
              <a:gd name="connsiteY559" fmla="*/ 6480389 h 6858000"/>
              <a:gd name="connsiteX560" fmla="*/ 6776215 w 12188651"/>
              <a:gd name="connsiteY560" fmla="*/ 6292032 h 6858000"/>
              <a:gd name="connsiteX561" fmla="*/ 6759871 w 12188651"/>
              <a:gd name="connsiteY561" fmla="*/ 5915189 h 6858000"/>
              <a:gd name="connsiteX562" fmla="*/ 6759871 w 12188651"/>
              <a:gd name="connsiteY562" fmla="*/ 6292032 h 6858000"/>
              <a:gd name="connsiteX563" fmla="*/ 6434280 w 12188651"/>
              <a:gd name="connsiteY563" fmla="*/ 6480389 h 6858000"/>
              <a:gd name="connsiteX564" fmla="*/ 6434280 w 12188651"/>
              <a:gd name="connsiteY564" fmla="*/ 6103545 h 6858000"/>
              <a:gd name="connsiteX565" fmla="*/ 3344066 w 12188651"/>
              <a:gd name="connsiteY565" fmla="*/ 5910397 h 6858000"/>
              <a:gd name="connsiteX566" fmla="*/ 3677812 w 12188651"/>
              <a:gd name="connsiteY566" fmla="*/ 6103545 h 6858000"/>
              <a:gd name="connsiteX567" fmla="*/ 3677812 w 12188651"/>
              <a:gd name="connsiteY567" fmla="*/ 6489859 h 6858000"/>
              <a:gd name="connsiteX568" fmla="*/ 3344198 w 12188651"/>
              <a:gd name="connsiteY568" fmla="*/ 6683007 h 6858000"/>
              <a:gd name="connsiteX569" fmla="*/ 3010447 w 12188651"/>
              <a:gd name="connsiteY569" fmla="*/ 6489859 h 6858000"/>
              <a:gd name="connsiteX570" fmla="*/ 3010447 w 12188651"/>
              <a:gd name="connsiteY570" fmla="*/ 6103545 h 6858000"/>
              <a:gd name="connsiteX571" fmla="*/ 1290088 w 12188651"/>
              <a:gd name="connsiteY571" fmla="*/ 5910397 h 6858000"/>
              <a:gd name="connsiteX572" fmla="*/ 1623838 w 12188651"/>
              <a:gd name="connsiteY572" fmla="*/ 6103545 h 6858000"/>
              <a:gd name="connsiteX573" fmla="*/ 1623838 w 12188651"/>
              <a:gd name="connsiteY573" fmla="*/ 6489859 h 6858000"/>
              <a:gd name="connsiteX574" fmla="*/ 1290218 w 12188651"/>
              <a:gd name="connsiteY574" fmla="*/ 6683007 h 6858000"/>
              <a:gd name="connsiteX575" fmla="*/ 956469 w 12188651"/>
              <a:gd name="connsiteY575" fmla="*/ 6489859 h 6858000"/>
              <a:gd name="connsiteX576" fmla="*/ 956469 w 12188651"/>
              <a:gd name="connsiteY576" fmla="*/ 6103545 h 6858000"/>
              <a:gd name="connsiteX577" fmla="*/ 5397866 w 12188651"/>
              <a:gd name="connsiteY577" fmla="*/ 5910393 h 6858000"/>
              <a:gd name="connsiteX578" fmla="*/ 5731614 w 12188651"/>
              <a:gd name="connsiteY578" fmla="*/ 6103545 h 6858000"/>
              <a:gd name="connsiteX579" fmla="*/ 5731614 w 12188651"/>
              <a:gd name="connsiteY579" fmla="*/ 6489859 h 6858000"/>
              <a:gd name="connsiteX580" fmla="*/ 5398000 w 12188651"/>
              <a:gd name="connsiteY580" fmla="*/ 6683010 h 6858000"/>
              <a:gd name="connsiteX581" fmla="*/ 5064265 w 12188651"/>
              <a:gd name="connsiteY581" fmla="*/ 6489859 h 6858000"/>
              <a:gd name="connsiteX582" fmla="*/ 5064265 w 12188651"/>
              <a:gd name="connsiteY582" fmla="*/ 6103545 h 6858000"/>
              <a:gd name="connsiteX583" fmla="*/ 11559549 w 12188651"/>
              <a:gd name="connsiteY583" fmla="*/ 5910389 h 6858000"/>
              <a:gd name="connsiteX584" fmla="*/ 11893312 w 12188651"/>
              <a:gd name="connsiteY584" fmla="*/ 6103545 h 6858000"/>
              <a:gd name="connsiteX585" fmla="*/ 11893312 w 12188651"/>
              <a:gd name="connsiteY585" fmla="*/ 6489859 h 6858000"/>
              <a:gd name="connsiteX586" fmla="*/ 11559679 w 12188651"/>
              <a:gd name="connsiteY586" fmla="*/ 6683015 h 6858000"/>
              <a:gd name="connsiteX587" fmla="*/ 11225916 w 12188651"/>
              <a:gd name="connsiteY587" fmla="*/ 6489859 h 6858000"/>
              <a:gd name="connsiteX588" fmla="*/ 11225916 w 12188651"/>
              <a:gd name="connsiteY588" fmla="*/ 6103545 h 6858000"/>
              <a:gd name="connsiteX589" fmla="*/ 9505601 w 12188651"/>
              <a:gd name="connsiteY589" fmla="*/ 5910389 h 6858000"/>
              <a:gd name="connsiteX590" fmla="*/ 9839364 w 12188651"/>
              <a:gd name="connsiteY590" fmla="*/ 6103545 h 6858000"/>
              <a:gd name="connsiteX591" fmla="*/ 9839364 w 12188651"/>
              <a:gd name="connsiteY591" fmla="*/ 6489859 h 6858000"/>
              <a:gd name="connsiteX592" fmla="*/ 9505732 w 12188651"/>
              <a:gd name="connsiteY592" fmla="*/ 6683015 h 6858000"/>
              <a:gd name="connsiteX593" fmla="*/ 9171969 w 12188651"/>
              <a:gd name="connsiteY593" fmla="*/ 6489859 h 6858000"/>
              <a:gd name="connsiteX594" fmla="*/ 9171969 w 12188651"/>
              <a:gd name="connsiteY594" fmla="*/ 6103545 h 6858000"/>
              <a:gd name="connsiteX595" fmla="*/ 7451785 w 12188651"/>
              <a:gd name="connsiteY595" fmla="*/ 5910389 h 6858000"/>
              <a:gd name="connsiteX596" fmla="*/ 7785548 w 12188651"/>
              <a:gd name="connsiteY596" fmla="*/ 6103545 h 6858000"/>
              <a:gd name="connsiteX597" fmla="*/ 7785548 w 12188651"/>
              <a:gd name="connsiteY597" fmla="*/ 6489859 h 6858000"/>
              <a:gd name="connsiteX598" fmla="*/ 7451915 w 12188651"/>
              <a:gd name="connsiteY598" fmla="*/ 6683015 h 6858000"/>
              <a:gd name="connsiteX599" fmla="*/ 7118150 w 12188651"/>
              <a:gd name="connsiteY599" fmla="*/ 6489859 h 6858000"/>
              <a:gd name="connsiteX600" fmla="*/ 7118150 w 12188651"/>
              <a:gd name="connsiteY600" fmla="*/ 6103545 h 6858000"/>
              <a:gd name="connsiteX601" fmla="*/ 4029112 w 12188651"/>
              <a:gd name="connsiteY601" fmla="*/ 5910002 h 6858000"/>
              <a:gd name="connsiteX602" fmla="*/ 4213228 w 12188651"/>
              <a:gd name="connsiteY602" fmla="*/ 6016569 h 6858000"/>
              <a:gd name="connsiteX603" fmla="*/ 4362832 w 12188651"/>
              <a:gd name="connsiteY603" fmla="*/ 6103157 h 6858000"/>
              <a:gd name="connsiteX604" fmla="*/ 4362832 w 12188651"/>
              <a:gd name="connsiteY604" fmla="*/ 6489340 h 6858000"/>
              <a:gd name="connsiteX605" fmla="*/ 4029112 w 12188651"/>
              <a:gd name="connsiteY605" fmla="*/ 6682495 h 6858000"/>
              <a:gd name="connsiteX606" fmla="*/ 3695358 w 12188651"/>
              <a:gd name="connsiteY606" fmla="*/ 6489340 h 6858000"/>
              <a:gd name="connsiteX607" fmla="*/ 3695358 w 12188651"/>
              <a:gd name="connsiteY607" fmla="*/ 6103157 h 6858000"/>
              <a:gd name="connsiteX608" fmla="*/ 1975138 w 12188651"/>
              <a:gd name="connsiteY608" fmla="*/ 5910002 h 6858000"/>
              <a:gd name="connsiteX609" fmla="*/ 2308904 w 12188651"/>
              <a:gd name="connsiteY609" fmla="*/ 6103157 h 6858000"/>
              <a:gd name="connsiteX610" fmla="*/ 2308904 w 12188651"/>
              <a:gd name="connsiteY610" fmla="*/ 6489340 h 6858000"/>
              <a:gd name="connsiteX611" fmla="*/ 1975138 w 12188651"/>
              <a:gd name="connsiteY611" fmla="*/ 6682495 h 6858000"/>
              <a:gd name="connsiteX612" fmla="*/ 1641379 w 12188651"/>
              <a:gd name="connsiteY612" fmla="*/ 6489340 h 6858000"/>
              <a:gd name="connsiteX613" fmla="*/ 1641379 w 12188651"/>
              <a:gd name="connsiteY613" fmla="*/ 6103157 h 6858000"/>
              <a:gd name="connsiteX614" fmla="*/ 10190640 w 12188651"/>
              <a:gd name="connsiteY614" fmla="*/ 5910001 h 6858000"/>
              <a:gd name="connsiteX615" fmla="*/ 10524404 w 12188651"/>
              <a:gd name="connsiteY615" fmla="*/ 6103158 h 6858000"/>
              <a:gd name="connsiteX616" fmla="*/ 10524404 w 12188651"/>
              <a:gd name="connsiteY616" fmla="*/ 6489340 h 6858000"/>
              <a:gd name="connsiteX617" fmla="*/ 10190640 w 12188651"/>
              <a:gd name="connsiteY617" fmla="*/ 6682497 h 6858000"/>
              <a:gd name="connsiteX618" fmla="*/ 9856876 w 12188651"/>
              <a:gd name="connsiteY618" fmla="*/ 6489340 h 6858000"/>
              <a:gd name="connsiteX619" fmla="*/ 9856876 w 12188651"/>
              <a:gd name="connsiteY619" fmla="*/ 6103158 h 6858000"/>
              <a:gd name="connsiteX620" fmla="*/ 8136693 w 12188651"/>
              <a:gd name="connsiteY620" fmla="*/ 5910001 h 6858000"/>
              <a:gd name="connsiteX621" fmla="*/ 8470456 w 12188651"/>
              <a:gd name="connsiteY621" fmla="*/ 6103158 h 6858000"/>
              <a:gd name="connsiteX622" fmla="*/ 8470456 w 12188651"/>
              <a:gd name="connsiteY622" fmla="*/ 6489340 h 6858000"/>
              <a:gd name="connsiteX623" fmla="*/ 8136693 w 12188651"/>
              <a:gd name="connsiteY623" fmla="*/ 6682497 h 6858000"/>
              <a:gd name="connsiteX624" fmla="*/ 7802930 w 12188651"/>
              <a:gd name="connsiteY624" fmla="*/ 6489340 h 6858000"/>
              <a:gd name="connsiteX625" fmla="*/ 7802930 w 12188651"/>
              <a:gd name="connsiteY625" fmla="*/ 6103158 h 6858000"/>
              <a:gd name="connsiteX626" fmla="*/ 6082876 w 12188651"/>
              <a:gd name="connsiteY626" fmla="*/ 5910001 h 6858000"/>
              <a:gd name="connsiteX627" fmla="*/ 6416638 w 12188651"/>
              <a:gd name="connsiteY627" fmla="*/ 6103158 h 6858000"/>
              <a:gd name="connsiteX628" fmla="*/ 6416638 w 12188651"/>
              <a:gd name="connsiteY628" fmla="*/ 6489340 h 6858000"/>
              <a:gd name="connsiteX629" fmla="*/ 6082876 w 12188651"/>
              <a:gd name="connsiteY629" fmla="*/ 6682497 h 6858000"/>
              <a:gd name="connsiteX630" fmla="*/ 5749136 w 12188651"/>
              <a:gd name="connsiteY630" fmla="*/ 6489340 h 6858000"/>
              <a:gd name="connsiteX631" fmla="*/ 5749136 w 12188651"/>
              <a:gd name="connsiteY631" fmla="*/ 6103157 h 6858000"/>
              <a:gd name="connsiteX632" fmla="*/ 3687309 w 12188651"/>
              <a:gd name="connsiteY632" fmla="*/ 5712175 h 6858000"/>
              <a:gd name="connsiteX633" fmla="*/ 4012766 w 12188651"/>
              <a:gd name="connsiteY633" fmla="*/ 5900530 h 6858000"/>
              <a:gd name="connsiteX634" fmla="*/ 3687182 w 12188651"/>
              <a:gd name="connsiteY634" fmla="*/ 6088884 h 6858000"/>
              <a:gd name="connsiteX635" fmla="*/ 3361724 w 12188651"/>
              <a:gd name="connsiteY635" fmla="*/ 5900530 h 6858000"/>
              <a:gd name="connsiteX636" fmla="*/ 1633334 w 12188651"/>
              <a:gd name="connsiteY636" fmla="*/ 5712175 h 6858000"/>
              <a:gd name="connsiteX637" fmla="*/ 1958791 w 12188651"/>
              <a:gd name="connsiteY637" fmla="*/ 5900530 h 6858000"/>
              <a:gd name="connsiteX638" fmla="*/ 1633203 w 12188651"/>
              <a:gd name="connsiteY638" fmla="*/ 6088884 h 6858000"/>
              <a:gd name="connsiteX639" fmla="*/ 1307745 w 12188651"/>
              <a:gd name="connsiteY639" fmla="*/ 5900530 h 6858000"/>
              <a:gd name="connsiteX640" fmla="*/ 11902654 w 12188651"/>
              <a:gd name="connsiteY640" fmla="*/ 5712174 h 6858000"/>
              <a:gd name="connsiteX641" fmla="*/ 12188651 w 12188651"/>
              <a:gd name="connsiteY641" fmla="*/ 5877692 h 6858000"/>
              <a:gd name="connsiteX642" fmla="*/ 12188651 w 12188651"/>
              <a:gd name="connsiteY642" fmla="*/ 5923360 h 6858000"/>
              <a:gd name="connsiteX643" fmla="*/ 11902524 w 12188651"/>
              <a:gd name="connsiteY643" fmla="*/ 6088886 h 6858000"/>
              <a:gd name="connsiteX644" fmla="*/ 11577062 w 12188651"/>
              <a:gd name="connsiteY644" fmla="*/ 5900531 h 6858000"/>
              <a:gd name="connsiteX645" fmla="*/ 9848833 w 12188651"/>
              <a:gd name="connsiteY645" fmla="*/ 5712174 h 6858000"/>
              <a:gd name="connsiteX646" fmla="*/ 10174295 w 12188651"/>
              <a:gd name="connsiteY646" fmla="*/ 5900531 h 6858000"/>
              <a:gd name="connsiteX647" fmla="*/ 9848703 w 12188651"/>
              <a:gd name="connsiteY647" fmla="*/ 6088886 h 6858000"/>
              <a:gd name="connsiteX648" fmla="*/ 9523243 w 12188651"/>
              <a:gd name="connsiteY648" fmla="*/ 5900531 h 6858000"/>
              <a:gd name="connsiteX649" fmla="*/ 7794888 w 12188651"/>
              <a:gd name="connsiteY649" fmla="*/ 5712174 h 6858000"/>
              <a:gd name="connsiteX650" fmla="*/ 8120347 w 12188651"/>
              <a:gd name="connsiteY650" fmla="*/ 5900531 h 6858000"/>
              <a:gd name="connsiteX651" fmla="*/ 7794758 w 12188651"/>
              <a:gd name="connsiteY651" fmla="*/ 6088886 h 6858000"/>
              <a:gd name="connsiteX652" fmla="*/ 7469298 w 12188651"/>
              <a:gd name="connsiteY652" fmla="*/ 5900531 h 6858000"/>
              <a:gd name="connsiteX653" fmla="*/ 5741090 w 12188651"/>
              <a:gd name="connsiteY653" fmla="*/ 5712174 h 6858000"/>
              <a:gd name="connsiteX654" fmla="*/ 6066531 w 12188651"/>
              <a:gd name="connsiteY654" fmla="*/ 5900531 h 6858000"/>
              <a:gd name="connsiteX655" fmla="*/ 5740963 w 12188651"/>
              <a:gd name="connsiteY655" fmla="*/ 6088886 h 6858000"/>
              <a:gd name="connsiteX656" fmla="*/ 5415520 w 12188651"/>
              <a:gd name="connsiteY656" fmla="*/ 5900530 h 6858000"/>
              <a:gd name="connsiteX657" fmla="*/ 5655997 w 12188651"/>
              <a:gd name="connsiteY657" fmla="*/ 5761405 h 6858000"/>
              <a:gd name="connsiteX658" fmla="*/ 3106034 w 12188651"/>
              <a:gd name="connsiteY658" fmla="*/ 5548339 h 6858000"/>
              <a:gd name="connsiteX659" fmla="*/ 3133652 w 12188651"/>
              <a:gd name="connsiteY659" fmla="*/ 5559879 h 6858000"/>
              <a:gd name="connsiteX660" fmla="*/ 3212133 w 12188651"/>
              <a:gd name="connsiteY660" fmla="*/ 5638491 h 6858000"/>
              <a:gd name="connsiteX661" fmla="*/ 3223677 w 12188651"/>
              <a:gd name="connsiteY661" fmla="*/ 5666252 h 6858000"/>
              <a:gd name="connsiteX662" fmla="*/ 3212262 w 12188651"/>
              <a:gd name="connsiteY662" fmla="*/ 5694012 h 6858000"/>
              <a:gd name="connsiteX663" fmla="*/ 3002260 w 12188651"/>
              <a:gd name="connsiteY663" fmla="*/ 5904411 h 6858000"/>
              <a:gd name="connsiteX664" fmla="*/ 2792261 w 12188651"/>
              <a:gd name="connsiteY664" fmla="*/ 5694012 h 6858000"/>
              <a:gd name="connsiteX665" fmla="*/ 2792261 w 12188651"/>
              <a:gd name="connsiteY665" fmla="*/ 5638621 h 6858000"/>
              <a:gd name="connsiteX666" fmla="*/ 2870738 w 12188651"/>
              <a:gd name="connsiteY666" fmla="*/ 5559879 h 6858000"/>
              <a:gd name="connsiteX667" fmla="*/ 2898359 w 12188651"/>
              <a:gd name="connsiteY667" fmla="*/ 5548340 h 6858000"/>
              <a:gd name="connsiteX668" fmla="*/ 2926105 w 12188651"/>
              <a:gd name="connsiteY668" fmla="*/ 5559879 h 6858000"/>
              <a:gd name="connsiteX669" fmla="*/ 2990706 w 12188651"/>
              <a:gd name="connsiteY669" fmla="*/ 5624611 h 6858000"/>
              <a:gd name="connsiteX670" fmla="*/ 3002248 w 12188651"/>
              <a:gd name="connsiteY670" fmla="*/ 5636286 h 6858000"/>
              <a:gd name="connsiteX671" fmla="*/ 3002260 w 12188651"/>
              <a:gd name="connsiteY671" fmla="*/ 5636275 h 6858000"/>
              <a:gd name="connsiteX672" fmla="*/ 3002272 w 12188651"/>
              <a:gd name="connsiteY672" fmla="*/ 5636286 h 6858000"/>
              <a:gd name="connsiteX673" fmla="*/ 3013817 w 12188651"/>
              <a:gd name="connsiteY673" fmla="*/ 5624611 h 6858000"/>
              <a:gd name="connsiteX674" fmla="*/ 3078286 w 12188651"/>
              <a:gd name="connsiteY674" fmla="*/ 5559879 h 6858000"/>
              <a:gd name="connsiteX675" fmla="*/ 844380 w 12188651"/>
              <a:gd name="connsiteY675" fmla="*/ 5548339 h 6858000"/>
              <a:gd name="connsiteX676" fmla="*/ 872128 w 12188651"/>
              <a:gd name="connsiteY676" fmla="*/ 5559879 h 6858000"/>
              <a:gd name="connsiteX677" fmla="*/ 936727 w 12188651"/>
              <a:gd name="connsiteY677" fmla="*/ 5624611 h 6858000"/>
              <a:gd name="connsiteX678" fmla="*/ 948272 w 12188651"/>
              <a:gd name="connsiteY678" fmla="*/ 5636286 h 6858000"/>
              <a:gd name="connsiteX679" fmla="*/ 948285 w 12188651"/>
              <a:gd name="connsiteY679" fmla="*/ 5636274 h 6858000"/>
              <a:gd name="connsiteX680" fmla="*/ 948296 w 12188651"/>
              <a:gd name="connsiteY680" fmla="*/ 5636286 h 6858000"/>
              <a:gd name="connsiteX681" fmla="*/ 959841 w 12188651"/>
              <a:gd name="connsiteY681" fmla="*/ 5624611 h 6858000"/>
              <a:gd name="connsiteX682" fmla="*/ 1024310 w 12188651"/>
              <a:gd name="connsiteY682" fmla="*/ 5559879 h 6858000"/>
              <a:gd name="connsiteX683" fmla="*/ 1052058 w 12188651"/>
              <a:gd name="connsiteY683" fmla="*/ 5548339 h 6858000"/>
              <a:gd name="connsiteX684" fmla="*/ 1079676 w 12188651"/>
              <a:gd name="connsiteY684" fmla="*/ 5559879 h 6858000"/>
              <a:gd name="connsiteX685" fmla="*/ 1158155 w 12188651"/>
              <a:gd name="connsiteY685" fmla="*/ 5638491 h 6858000"/>
              <a:gd name="connsiteX686" fmla="*/ 1169700 w 12188651"/>
              <a:gd name="connsiteY686" fmla="*/ 5666252 h 6858000"/>
              <a:gd name="connsiteX687" fmla="*/ 1158286 w 12188651"/>
              <a:gd name="connsiteY687" fmla="*/ 5694012 h 6858000"/>
              <a:gd name="connsiteX688" fmla="*/ 948285 w 12188651"/>
              <a:gd name="connsiteY688" fmla="*/ 5904410 h 6858000"/>
              <a:gd name="connsiteX689" fmla="*/ 738284 w 12188651"/>
              <a:gd name="connsiteY689" fmla="*/ 5694012 h 6858000"/>
              <a:gd name="connsiteX690" fmla="*/ 738284 w 12188651"/>
              <a:gd name="connsiteY690" fmla="*/ 5638621 h 6858000"/>
              <a:gd name="connsiteX691" fmla="*/ 816760 w 12188651"/>
              <a:gd name="connsiteY691" fmla="*/ 5559879 h 6858000"/>
              <a:gd name="connsiteX692" fmla="*/ 4952154 w 12188651"/>
              <a:gd name="connsiteY692" fmla="*/ 5548336 h 6858000"/>
              <a:gd name="connsiteX693" fmla="*/ 4979914 w 12188651"/>
              <a:gd name="connsiteY693" fmla="*/ 5559879 h 6858000"/>
              <a:gd name="connsiteX694" fmla="*/ 5044521 w 12188651"/>
              <a:gd name="connsiteY694" fmla="*/ 5624611 h 6858000"/>
              <a:gd name="connsiteX695" fmla="*/ 5056064 w 12188651"/>
              <a:gd name="connsiteY695" fmla="*/ 5636286 h 6858000"/>
              <a:gd name="connsiteX696" fmla="*/ 5056083 w 12188651"/>
              <a:gd name="connsiteY696" fmla="*/ 5636276 h 6858000"/>
              <a:gd name="connsiteX697" fmla="*/ 5056087 w 12188651"/>
              <a:gd name="connsiteY697" fmla="*/ 5636286 h 6858000"/>
              <a:gd name="connsiteX698" fmla="*/ 5067633 w 12188651"/>
              <a:gd name="connsiteY698" fmla="*/ 5624611 h 6858000"/>
              <a:gd name="connsiteX699" fmla="*/ 5132089 w 12188651"/>
              <a:gd name="connsiteY699" fmla="*/ 5559879 h 6858000"/>
              <a:gd name="connsiteX700" fmla="*/ 5159834 w 12188651"/>
              <a:gd name="connsiteY700" fmla="*/ 5548336 h 6858000"/>
              <a:gd name="connsiteX701" fmla="*/ 5187464 w 12188651"/>
              <a:gd name="connsiteY701" fmla="*/ 5559879 h 6858000"/>
              <a:gd name="connsiteX702" fmla="*/ 5265932 w 12188651"/>
              <a:gd name="connsiteY702" fmla="*/ 5638491 h 6858000"/>
              <a:gd name="connsiteX703" fmla="*/ 5277479 w 12188651"/>
              <a:gd name="connsiteY703" fmla="*/ 5666252 h 6858000"/>
              <a:gd name="connsiteX704" fmla="*/ 5266071 w 12188651"/>
              <a:gd name="connsiteY704" fmla="*/ 5694012 h 6858000"/>
              <a:gd name="connsiteX705" fmla="*/ 5056083 w 12188651"/>
              <a:gd name="connsiteY705" fmla="*/ 5904412 h 6858000"/>
              <a:gd name="connsiteX706" fmla="*/ 4846044 w 12188651"/>
              <a:gd name="connsiteY706" fmla="*/ 5694012 h 6858000"/>
              <a:gd name="connsiteX707" fmla="*/ 4846044 w 12188651"/>
              <a:gd name="connsiteY707" fmla="*/ 5638621 h 6858000"/>
              <a:gd name="connsiteX708" fmla="*/ 4924518 w 12188651"/>
              <a:gd name="connsiteY708" fmla="*/ 5559879 h 6858000"/>
              <a:gd name="connsiteX709" fmla="*/ 11113840 w 12188651"/>
              <a:gd name="connsiteY709" fmla="*/ 5548334 h 6858000"/>
              <a:gd name="connsiteX710" fmla="*/ 11141600 w 12188651"/>
              <a:gd name="connsiteY710" fmla="*/ 5559879 h 6858000"/>
              <a:gd name="connsiteX711" fmla="*/ 11206199 w 12188651"/>
              <a:gd name="connsiteY711" fmla="*/ 5624611 h 6858000"/>
              <a:gd name="connsiteX712" fmla="*/ 11217744 w 12188651"/>
              <a:gd name="connsiteY712" fmla="*/ 5636286 h 6858000"/>
              <a:gd name="connsiteX713" fmla="*/ 11229289 w 12188651"/>
              <a:gd name="connsiteY713" fmla="*/ 5624611 h 6858000"/>
              <a:gd name="connsiteX714" fmla="*/ 11293758 w 12188651"/>
              <a:gd name="connsiteY714" fmla="*/ 5559879 h 6858000"/>
              <a:gd name="connsiteX715" fmla="*/ 11321517 w 12188651"/>
              <a:gd name="connsiteY715" fmla="*/ 5548334 h 6858000"/>
              <a:gd name="connsiteX716" fmla="*/ 11349147 w 12188651"/>
              <a:gd name="connsiteY716" fmla="*/ 5559879 h 6858000"/>
              <a:gd name="connsiteX717" fmla="*/ 11427627 w 12188651"/>
              <a:gd name="connsiteY717" fmla="*/ 5638491 h 6858000"/>
              <a:gd name="connsiteX718" fmla="*/ 11439172 w 12188651"/>
              <a:gd name="connsiteY718" fmla="*/ 5666252 h 6858000"/>
              <a:gd name="connsiteX719" fmla="*/ 11427757 w 12188651"/>
              <a:gd name="connsiteY719" fmla="*/ 5694012 h 6858000"/>
              <a:gd name="connsiteX720" fmla="*/ 11217744 w 12188651"/>
              <a:gd name="connsiteY720" fmla="*/ 5904422 h 6858000"/>
              <a:gd name="connsiteX721" fmla="*/ 11007731 w 12188651"/>
              <a:gd name="connsiteY721" fmla="*/ 5694012 h 6858000"/>
              <a:gd name="connsiteX722" fmla="*/ 11007731 w 12188651"/>
              <a:gd name="connsiteY722" fmla="*/ 5638621 h 6858000"/>
              <a:gd name="connsiteX723" fmla="*/ 11086210 w 12188651"/>
              <a:gd name="connsiteY723" fmla="*/ 5559879 h 6858000"/>
              <a:gd name="connsiteX724" fmla="*/ 11113840 w 12188651"/>
              <a:gd name="connsiteY724" fmla="*/ 5548334 h 6858000"/>
              <a:gd name="connsiteX725" fmla="*/ 9059892 w 12188651"/>
              <a:gd name="connsiteY725" fmla="*/ 5548334 h 6858000"/>
              <a:gd name="connsiteX726" fmla="*/ 9087652 w 12188651"/>
              <a:gd name="connsiteY726" fmla="*/ 5559879 h 6858000"/>
              <a:gd name="connsiteX727" fmla="*/ 9152251 w 12188651"/>
              <a:gd name="connsiteY727" fmla="*/ 5624611 h 6858000"/>
              <a:gd name="connsiteX728" fmla="*/ 9163796 w 12188651"/>
              <a:gd name="connsiteY728" fmla="*/ 5636286 h 6858000"/>
              <a:gd name="connsiteX729" fmla="*/ 9163797 w 12188651"/>
              <a:gd name="connsiteY729" fmla="*/ 5636286 h 6858000"/>
              <a:gd name="connsiteX730" fmla="*/ 9175342 w 12188651"/>
              <a:gd name="connsiteY730" fmla="*/ 5624611 h 6858000"/>
              <a:gd name="connsiteX731" fmla="*/ 9239811 w 12188651"/>
              <a:gd name="connsiteY731" fmla="*/ 5559879 h 6858000"/>
              <a:gd name="connsiteX732" fmla="*/ 9267570 w 12188651"/>
              <a:gd name="connsiteY732" fmla="*/ 5548334 h 6858000"/>
              <a:gd name="connsiteX733" fmla="*/ 9295200 w 12188651"/>
              <a:gd name="connsiteY733" fmla="*/ 5559879 h 6858000"/>
              <a:gd name="connsiteX734" fmla="*/ 9373678 w 12188651"/>
              <a:gd name="connsiteY734" fmla="*/ 5638491 h 6858000"/>
              <a:gd name="connsiteX735" fmla="*/ 9385223 w 12188651"/>
              <a:gd name="connsiteY735" fmla="*/ 5666252 h 6858000"/>
              <a:gd name="connsiteX736" fmla="*/ 9373808 w 12188651"/>
              <a:gd name="connsiteY736" fmla="*/ 5694012 h 6858000"/>
              <a:gd name="connsiteX737" fmla="*/ 9163797 w 12188651"/>
              <a:gd name="connsiteY737" fmla="*/ 5904422 h 6858000"/>
              <a:gd name="connsiteX738" fmla="*/ 8953784 w 12188651"/>
              <a:gd name="connsiteY738" fmla="*/ 5694012 h 6858000"/>
              <a:gd name="connsiteX739" fmla="*/ 8953784 w 12188651"/>
              <a:gd name="connsiteY739" fmla="*/ 5638621 h 6858000"/>
              <a:gd name="connsiteX740" fmla="*/ 9032264 w 12188651"/>
              <a:gd name="connsiteY740" fmla="*/ 5559879 h 6858000"/>
              <a:gd name="connsiteX741" fmla="*/ 7006076 w 12188651"/>
              <a:gd name="connsiteY741" fmla="*/ 5548334 h 6858000"/>
              <a:gd name="connsiteX742" fmla="*/ 7033834 w 12188651"/>
              <a:gd name="connsiteY742" fmla="*/ 5559879 h 6858000"/>
              <a:gd name="connsiteX743" fmla="*/ 7098434 w 12188651"/>
              <a:gd name="connsiteY743" fmla="*/ 5624611 h 6858000"/>
              <a:gd name="connsiteX744" fmla="*/ 7109978 w 12188651"/>
              <a:gd name="connsiteY744" fmla="*/ 5636286 h 6858000"/>
              <a:gd name="connsiteX745" fmla="*/ 7121523 w 12188651"/>
              <a:gd name="connsiteY745" fmla="*/ 5624611 h 6858000"/>
              <a:gd name="connsiteX746" fmla="*/ 7185994 w 12188651"/>
              <a:gd name="connsiteY746" fmla="*/ 5559879 h 6858000"/>
              <a:gd name="connsiteX747" fmla="*/ 7213751 w 12188651"/>
              <a:gd name="connsiteY747" fmla="*/ 5548334 h 6858000"/>
              <a:gd name="connsiteX748" fmla="*/ 7241381 w 12188651"/>
              <a:gd name="connsiteY748" fmla="*/ 5559879 h 6858000"/>
              <a:gd name="connsiteX749" fmla="*/ 7319862 w 12188651"/>
              <a:gd name="connsiteY749" fmla="*/ 5638491 h 6858000"/>
              <a:gd name="connsiteX750" fmla="*/ 7331407 w 12188651"/>
              <a:gd name="connsiteY750" fmla="*/ 5666252 h 6858000"/>
              <a:gd name="connsiteX751" fmla="*/ 7319992 w 12188651"/>
              <a:gd name="connsiteY751" fmla="*/ 5694012 h 6858000"/>
              <a:gd name="connsiteX752" fmla="*/ 7109978 w 12188651"/>
              <a:gd name="connsiteY752" fmla="*/ 5904422 h 6858000"/>
              <a:gd name="connsiteX753" fmla="*/ 6899966 w 12188651"/>
              <a:gd name="connsiteY753" fmla="*/ 5694012 h 6858000"/>
              <a:gd name="connsiteX754" fmla="*/ 6899966 w 12188651"/>
              <a:gd name="connsiteY754" fmla="*/ 5638621 h 6858000"/>
              <a:gd name="connsiteX755" fmla="*/ 6978446 w 12188651"/>
              <a:gd name="connsiteY755" fmla="*/ 5559879 h 6858000"/>
              <a:gd name="connsiteX756" fmla="*/ 7006076 w 12188651"/>
              <a:gd name="connsiteY756" fmla="*/ 5548334 h 6858000"/>
              <a:gd name="connsiteX757" fmla="*/ 11113840 w 12188651"/>
              <a:gd name="connsiteY757" fmla="*/ 5531859 h 6858000"/>
              <a:gd name="connsiteX758" fmla="*/ 11074665 w 12188651"/>
              <a:gd name="connsiteY758" fmla="*/ 5548204 h 6858000"/>
              <a:gd name="connsiteX759" fmla="*/ 10996186 w 12188651"/>
              <a:gd name="connsiteY759" fmla="*/ 5626946 h 6858000"/>
              <a:gd name="connsiteX760" fmla="*/ 10996186 w 12188651"/>
              <a:gd name="connsiteY760" fmla="*/ 5705558 h 6858000"/>
              <a:gd name="connsiteX761" fmla="*/ 11217744 w 12188651"/>
              <a:gd name="connsiteY761" fmla="*/ 5927642 h 6858000"/>
              <a:gd name="connsiteX762" fmla="*/ 11439301 w 12188651"/>
              <a:gd name="connsiteY762" fmla="*/ 5705558 h 6858000"/>
              <a:gd name="connsiteX763" fmla="*/ 11439301 w 12188651"/>
              <a:gd name="connsiteY763" fmla="*/ 5626946 h 6858000"/>
              <a:gd name="connsiteX764" fmla="*/ 11360822 w 12188651"/>
              <a:gd name="connsiteY764" fmla="*/ 5548334 h 6858000"/>
              <a:gd name="connsiteX765" fmla="*/ 11321647 w 12188651"/>
              <a:gd name="connsiteY765" fmla="*/ 5531989 h 6858000"/>
              <a:gd name="connsiteX766" fmla="*/ 11321517 w 12188651"/>
              <a:gd name="connsiteY766" fmla="*/ 5531859 h 6858000"/>
              <a:gd name="connsiteX767" fmla="*/ 11282213 w 12188651"/>
              <a:gd name="connsiteY767" fmla="*/ 5548334 h 6858000"/>
              <a:gd name="connsiteX768" fmla="*/ 11217744 w 12188651"/>
              <a:gd name="connsiteY768" fmla="*/ 5612936 h 6858000"/>
              <a:gd name="connsiteX769" fmla="*/ 11153145 w 12188651"/>
              <a:gd name="connsiteY769" fmla="*/ 5548204 h 6858000"/>
              <a:gd name="connsiteX770" fmla="*/ 11113840 w 12188651"/>
              <a:gd name="connsiteY770" fmla="*/ 5531859 h 6858000"/>
              <a:gd name="connsiteX771" fmla="*/ 9059892 w 12188651"/>
              <a:gd name="connsiteY771" fmla="*/ 5531859 h 6858000"/>
              <a:gd name="connsiteX772" fmla="*/ 9020717 w 12188651"/>
              <a:gd name="connsiteY772" fmla="*/ 5548204 h 6858000"/>
              <a:gd name="connsiteX773" fmla="*/ 8942238 w 12188651"/>
              <a:gd name="connsiteY773" fmla="*/ 5626946 h 6858000"/>
              <a:gd name="connsiteX774" fmla="*/ 8942238 w 12188651"/>
              <a:gd name="connsiteY774" fmla="*/ 5705558 h 6858000"/>
              <a:gd name="connsiteX775" fmla="*/ 9163796 w 12188651"/>
              <a:gd name="connsiteY775" fmla="*/ 5927642 h 6858000"/>
              <a:gd name="connsiteX776" fmla="*/ 9163797 w 12188651"/>
              <a:gd name="connsiteY776" fmla="*/ 5927642 h 6858000"/>
              <a:gd name="connsiteX777" fmla="*/ 9385354 w 12188651"/>
              <a:gd name="connsiteY777" fmla="*/ 5705558 h 6858000"/>
              <a:gd name="connsiteX778" fmla="*/ 9385354 w 12188651"/>
              <a:gd name="connsiteY778" fmla="*/ 5626946 h 6858000"/>
              <a:gd name="connsiteX779" fmla="*/ 9306876 w 12188651"/>
              <a:gd name="connsiteY779" fmla="*/ 5548334 h 6858000"/>
              <a:gd name="connsiteX780" fmla="*/ 9267701 w 12188651"/>
              <a:gd name="connsiteY780" fmla="*/ 5531989 h 6858000"/>
              <a:gd name="connsiteX781" fmla="*/ 9267571 w 12188651"/>
              <a:gd name="connsiteY781" fmla="*/ 5531859 h 6858000"/>
              <a:gd name="connsiteX782" fmla="*/ 9267570 w 12188651"/>
              <a:gd name="connsiteY782" fmla="*/ 5531859 h 6858000"/>
              <a:gd name="connsiteX783" fmla="*/ 9228265 w 12188651"/>
              <a:gd name="connsiteY783" fmla="*/ 5548334 h 6858000"/>
              <a:gd name="connsiteX784" fmla="*/ 9163797 w 12188651"/>
              <a:gd name="connsiteY784" fmla="*/ 5612936 h 6858000"/>
              <a:gd name="connsiteX785" fmla="*/ 9099198 w 12188651"/>
              <a:gd name="connsiteY785" fmla="*/ 5548204 h 6858000"/>
              <a:gd name="connsiteX786" fmla="*/ 9059893 w 12188651"/>
              <a:gd name="connsiteY786" fmla="*/ 5531859 h 6858000"/>
              <a:gd name="connsiteX787" fmla="*/ 7006076 w 12188651"/>
              <a:gd name="connsiteY787" fmla="*/ 5531859 h 6858000"/>
              <a:gd name="connsiteX788" fmla="*/ 6966901 w 12188651"/>
              <a:gd name="connsiteY788" fmla="*/ 5548204 h 6858000"/>
              <a:gd name="connsiteX789" fmla="*/ 6888421 w 12188651"/>
              <a:gd name="connsiteY789" fmla="*/ 5626946 h 6858000"/>
              <a:gd name="connsiteX790" fmla="*/ 6888421 w 12188651"/>
              <a:gd name="connsiteY790" fmla="*/ 5705558 h 6858000"/>
              <a:gd name="connsiteX791" fmla="*/ 7109978 w 12188651"/>
              <a:gd name="connsiteY791" fmla="*/ 5927642 h 6858000"/>
              <a:gd name="connsiteX792" fmla="*/ 7331537 w 12188651"/>
              <a:gd name="connsiteY792" fmla="*/ 5705558 h 6858000"/>
              <a:gd name="connsiteX793" fmla="*/ 7331537 w 12188651"/>
              <a:gd name="connsiteY793" fmla="*/ 5626946 h 6858000"/>
              <a:gd name="connsiteX794" fmla="*/ 7253057 w 12188651"/>
              <a:gd name="connsiteY794" fmla="*/ 5548334 h 6858000"/>
              <a:gd name="connsiteX795" fmla="*/ 7213882 w 12188651"/>
              <a:gd name="connsiteY795" fmla="*/ 5531989 h 6858000"/>
              <a:gd name="connsiteX796" fmla="*/ 7213751 w 12188651"/>
              <a:gd name="connsiteY796" fmla="*/ 5531859 h 6858000"/>
              <a:gd name="connsiteX797" fmla="*/ 7174449 w 12188651"/>
              <a:gd name="connsiteY797" fmla="*/ 5548334 h 6858000"/>
              <a:gd name="connsiteX798" fmla="*/ 7109978 w 12188651"/>
              <a:gd name="connsiteY798" fmla="*/ 5612936 h 6858000"/>
              <a:gd name="connsiteX799" fmla="*/ 7045379 w 12188651"/>
              <a:gd name="connsiteY799" fmla="*/ 5548204 h 6858000"/>
              <a:gd name="connsiteX800" fmla="*/ 7006076 w 12188651"/>
              <a:gd name="connsiteY800" fmla="*/ 5531859 h 6858000"/>
              <a:gd name="connsiteX801" fmla="*/ 4952148 w 12188651"/>
              <a:gd name="connsiteY801" fmla="*/ 5531859 h 6858000"/>
              <a:gd name="connsiteX802" fmla="*/ 4912971 w 12188651"/>
              <a:gd name="connsiteY802" fmla="*/ 5548204 h 6858000"/>
              <a:gd name="connsiteX803" fmla="*/ 4834495 w 12188651"/>
              <a:gd name="connsiteY803" fmla="*/ 5626946 h 6858000"/>
              <a:gd name="connsiteX804" fmla="*/ 4834495 w 12188651"/>
              <a:gd name="connsiteY804" fmla="*/ 5705558 h 6858000"/>
              <a:gd name="connsiteX805" fmla="*/ 5056064 w 12188651"/>
              <a:gd name="connsiteY805" fmla="*/ 5927642 h 6858000"/>
              <a:gd name="connsiteX806" fmla="*/ 5056083 w 12188651"/>
              <a:gd name="connsiteY806" fmla="*/ 5927632 h 6858000"/>
              <a:gd name="connsiteX807" fmla="*/ 5056087 w 12188651"/>
              <a:gd name="connsiteY807" fmla="*/ 5927642 h 6858000"/>
              <a:gd name="connsiteX808" fmla="*/ 5277615 w 12188651"/>
              <a:gd name="connsiteY808" fmla="*/ 5705558 h 6858000"/>
              <a:gd name="connsiteX809" fmla="*/ 5277615 w 12188651"/>
              <a:gd name="connsiteY809" fmla="*/ 5626946 h 6858000"/>
              <a:gd name="connsiteX810" fmla="*/ 5199142 w 12188651"/>
              <a:gd name="connsiteY810" fmla="*/ 5548334 h 6858000"/>
              <a:gd name="connsiteX811" fmla="*/ 5159966 w 12188651"/>
              <a:gd name="connsiteY811" fmla="*/ 5531989 h 6858000"/>
              <a:gd name="connsiteX812" fmla="*/ 5159837 w 12188651"/>
              <a:gd name="connsiteY812" fmla="*/ 5531859 h 6858000"/>
              <a:gd name="connsiteX813" fmla="*/ 5159824 w 12188651"/>
              <a:gd name="connsiteY813" fmla="*/ 5531861 h 6858000"/>
              <a:gd name="connsiteX814" fmla="*/ 5159824 w 12188651"/>
              <a:gd name="connsiteY814" fmla="*/ 5531859 h 6858000"/>
              <a:gd name="connsiteX815" fmla="*/ 5120536 w 12188651"/>
              <a:gd name="connsiteY815" fmla="*/ 5548334 h 6858000"/>
              <a:gd name="connsiteX816" fmla="*/ 5056083 w 12188651"/>
              <a:gd name="connsiteY816" fmla="*/ 5612926 h 6858000"/>
              <a:gd name="connsiteX817" fmla="*/ 4991467 w 12188651"/>
              <a:gd name="connsiteY817" fmla="*/ 5548204 h 6858000"/>
              <a:gd name="connsiteX818" fmla="*/ 4952157 w 12188651"/>
              <a:gd name="connsiteY818" fmla="*/ 5531859 h 6858000"/>
              <a:gd name="connsiteX819" fmla="*/ 4952154 w 12188651"/>
              <a:gd name="connsiteY819" fmla="*/ 5531860 h 6858000"/>
              <a:gd name="connsiteX820" fmla="*/ 2898346 w 12188651"/>
              <a:gd name="connsiteY820" fmla="*/ 5531859 h 6858000"/>
              <a:gd name="connsiteX821" fmla="*/ 2859169 w 12188651"/>
              <a:gd name="connsiteY821" fmla="*/ 5548204 h 6858000"/>
              <a:gd name="connsiteX822" fmla="*/ 2780693 w 12188651"/>
              <a:gd name="connsiteY822" fmla="*/ 5626946 h 6858000"/>
              <a:gd name="connsiteX823" fmla="*/ 2780693 w 12188651"/>
              <a:gd name="connsiteY823" fmla="*/ 5705558 h 6858000"/>
              <a:gd name="connsiteX824" fmla="*/ 3002248 w 12188651"/>
              <a:gd name="connsiteY824" fmla="*/ 5927642 h 6858000"/>
              <a:gd name="connsiteX825" fmla="*/ 3002260 w 12188651"/>
              <a:gd name="connsiteY825" fmla="*/ 5927631 h 6858000"/>
              <a:gd name="connsiteX826" fmla="*/ 3002272 w 12188651"/>
              <a:gd name="connsiteY826" fmla="*/ 5927642 h 6858000"/>
              <a:gd name="connsiteX827" fmla="*/ 3223830 w 12188651"/>
              <a:gd name="connsiteY827" fmla="*/ 5705558 h 6858000"/>
              <a:gd name="connsiteX828" fmla="*/ 3223830 w 12188651"/>
              <a:gd name="connsiteY828" fmla="*/ 5626946 h 6858000"/>
              <a:gd name="connsiteX829" fmla="*/ 3145351 w 12188651"/>
              <a:gd name="connsiteY829" fmla="*/ 5548334 h 6858000"/>
              <a:gd name="connsiteX830" fmla="*/ 3106175 w 12188651"/>
              <a:gd name="connsiteY830" fmla="*/ 5531989 h 6858000"/>
              <a:gd name="connsiteX831" fmla="*/ 3106046 w 12188651"/>
              <a:gd name="connsiteY831" fmla="*/ 5531859 h 6858000"/>
              <a:gd name="connsiteX832" fmla="*/ 3106028 w 12188651"/>
              <a:gd name="connsiteY832" fmla="*/ 5531863 h 6858000"/>
              <a:gd name="connsiteX833" fmla="*/ 3106023 w 12188651"/>
              <a:gd name="connsiteY833" fmla="*/ 5531859 h 6858000"/>
              <a:gd name="connsiteX834" fmla="*/ 3066719 w 12188651"/>
              <a:gd name="connsiteY834" fmla="*/ 5548334 h 6858000"/>
              <a:gd name="connsiteX835" fmla="*/ 3002260 w 12188651"/>
              <a:gd name="connsiteY835" fmla="*/ 5612925 h 6858000"/>
              <a:gd name="connsiteX836" fmla="*/ 2937674 w 12188651"/>
              <a:gd name="connsiteY836" fmla="*/ 5548204 h 6858000"/>
              <a:gd name="connsiteX837" fmla="*/ 2898371 w 12188651"/>
              <a:gd name="connsiteY837" fmla="*/ 5531859 h 6858000"/>
              <a:gd name="connsiteX838" fmla="*/ 2898359 w 12188651"/>
              <a:gd name="connsiteY838" fmla="*/ 5531862 h 6858000"/>
              <a:gd name="connsiteX839" fmla="*/ 844367 w 12188651"/>
              <a:gd name="connsiteY839" fmla="*/ 5531859 h 6858000"/>
              <a:gd name="connsiteX840" fmla="*/ 805194 w 12188651"/>
              <a:gd name="connsiteY840" fmla="*/ 5548204 h 6858000"/>
              <a:gd name="connsiteX841" fmla="*/ 726714 w 12188651"/>
              <a:gd name="connsiteY841" fmla="*/ 5626946 h 6858000"/>
              <a:gd name="connsiteX842" fmla="*/ 726714 w 12188651"/>
              <a:gd name="connsiteY842" fmla="*/ 5705558 h 6858000"/>
              <a:gd name="connsiteX843" fmla="*/ 948272 w 12188651"/>
              <a:gd name="connsiteY843" fmla="*/ 5927642 h 6858000"/>
              <a:gd name="connsiteX844" fmla="*/ 948285 w 12188651"/>
              <a:gd name="connsiteY844" fmla="*/ 5927630 h 6858000"/>
              <a:gd name="connsiteX845" fmla="*/ 948296 w 12188651"/>
              <a:gd name="connsiteY845" fmla="*/ 5927642 h 6858000"/>
              <a:gd name="connsiteX846" fmla="*/ 1169852 w 12188651"/>
              <a:gd name="connsiteY846" fmla="*/ 5705558 h 6858000"/>
              <a:gd name="connsiteX847" fmla="*/ 1169852 w 12188651"/>
              <a:gd name="connsiteY847" fmla="*/ 5626946 h 6858000"/>
              <a:gd name="connsiteX848" fmla="*/ 1091374 w 12188651"/>
              <a:gd name="connsiteY848" fmla="*/ 5548334 h 6858000"/>
              <a:gd name="connsiteX849" fmla="*/ 1052199 w 12188651"/>
              <a:gd name="connsiteY849" fmla="*/ 5531989 h 6858000"/>
              <a:gd name="connsiteX850" fmla="*/ 1052070 w 12188651"/>
              <a:gd name="connsiteY850" fmla="*/ 5531859 h 6858000"/>
              <a:gd name="connsiteX851" fmla="*/ 1052050 w 12188651"/>
              <a:gd name="connsiteY851" fmla="*/ 5531863 h 6858000"/>
              <a:gd name="connsiteX852" fmla="*/ 1052046 w 12188651"/>
              <a:gd name="connsiteY852" fmla="*/ 5531859 h 6858000"/>
              <a:gd name="connsiteX853" fmla="*/ 1012742 w 12188651"/>
              <a:gd name="connsiteY853" fmla="*/ 5548334 h 6858000"/>
              <a:gd name="connsiteX854" fmla="*/ 948285 w 12188651"/>
              <a:gd name="connsiteY854" fmla="*/ 5612924 h 6858000"/>
              <a:gd name="connsiteX855" fmla="*/ 883696 w 12188651"/>
              <a:gd name="connsiteY855" fmla="*/ 5548204 h 6858000"/>
              <a:gd name="connsiteX856" fmla="*/ 844392 w 12188651"/>
              <a:gd name="connsiteY856" fmla="*/ 5531859 h 6858000"/>
              <a:gd name="connsiteX857" fmla="*/ 844380 w 12188651"/>
              <a:gd name="connsiteY857" fmla="*/ 5531862 h 6858000"/>
              <a:gd name="connsiteX858" fmla="*/ 3695484 w 12188651"/>
              <a:gd name="connsiteY858" fmla="*/ 5321194 h 6858000"/>
              <a:gd name="connsiteX859" fmla="*/ 4020937 w 12188651"/>
              <a:gd name="connsiteY859" fmla="*/ 5509547 h 6858000"/>
              <a:gd name="connsiteX860" fmla="*/ 4020937 w 12188651"/>
              <a:gd name="connsiteY860" fmla="*/ 5886386 h 6858000"/>
              <a:gd name="connsiteX861" fmla="*/ 3695484 w 12188651"/>
              <a:gd name="connsiteY861" fmla="*/ 5698034 h 6858000"/>
              <a:gd name="connsiteX862" fmla="*/ 3679135 w 12188651"/>
              <a:gd name="connsiteY862" fmla="*/ 5321194 h 6858000"/>
              <a:gd name="connsiteX863" fmla="*/ 3679135 w 12188651"/>
              <a:gd name="connsiteY863" fmla="*/ 5698034 h 6858000"/>
              <a:gd name="connsiteX864" fmla="*/ 3353555 w 12188651"/>
              <a:gd name="connsiteY864" fmla="*/ 5886385 h 6858000"/>
              <a:gd name="connsiteX865" fmla="*/ 3353555 w 12188651"/>
              <a:gd name="connsiteY865" fmla="*/ 5509547 h 6858000"/>
              <a:gd name="connsiteX866" fmla="*/ 1625159 w 12188651"/>
              <a:gd name="connsiteY866" fmla="*/ 5321194 h 6858000"/>
              <a:gd name="connsiteX867" fmla="*/ 1625159 w 12188651"/>
              <a:gd name="connsiteY867" fmla="*/ 5698034 h 6858000"/>
              <a:gd name="connsiteX868" fmla="*/ 1299574 w 12188651"/>
              <a:gd name="connsiteY868" fmla="*/ 5886386 h 6858000"/>
              <a:gd name="connsiteX869" fmla="*/ 1299574 w 12188651"/>
              <a:gd name="connsiteY869" fmla="*/ 5509547 h 6858000"/>
              <a:gd name="connsiteX870" fmla="*/ 1641508 w 12188651"/>
              <a:gd name="connsiteY870" fmla="*/ 5321193 h 6858000"/>
              <a:gd name="connsiteX871" fmla="*/ 1966963 w 12188651"/>
              <a:gd name="connsiteY871" fmla="*/ 5509547 h 6858000"/>
              <a:gd name="connsiteX872" fmla="*/ 1966963 w 12188651"/>
              <a:gd name="connsiteY872" fmla="*/ 5886386 h 6858000"/>
              <a:gd name="connsiteX873" fmla="*/ 1641508 w 12188651"/>
              <a:gd name="connsiteY873" fmla="*/ 5698034 h 6858000"/>
              <a:gd name="connsiteX874" fmla="*/ 5749264 w 12188651"/>
              <a:gd name="connsiteY874" fmla="*/ 5321192 h 6858000"/>
              <a:gd name="connsiteX875" fmla="*/ 6074705 w 12188651"/>
              <a:gd name="connsiteY875" fmla="*/ 5509548 h 6858000"/>
              <a:gd name="connsiteX876" fmla="*/ 6074705 w 12188651"/>
              <a:gd name="connsiteY876" fmla="*/ 5886390 h 6858000"/>
              <a:gd name="connsiteX877" fmla="*/ 5749264 w 12188651"/>
              <a:gd name="connsiteY877" fmla="*/ 5698034 h 6858000"/>
              <a:gd name="connsiteX878" fmla="*/ 11910826 w 12188651"/>
              <a:gd name="connsiteY878" fmla="*/ 5321191 h 6858000"/>
              <a:gd name="connsiteX879" fmla="*/ 12188651 w 12188651"/>
              <a:gd name="connsiteY879" fmla="*/ 5481979 h 6858000"/>
              <a:gd name="connsiteX880" fmla="*/ 12188651 w 12188651"/>
              <a:gd name="connsiteY880" fmla="*/ 5858821 h 6858000"/>
              <a:gd name="connsiteX881" fmla="*/ 11910826 w 12188651"/>
              <a:gd name="connsiteY881" fmla="*/ 5698034 h 6858000"/>
              <a:gd name="connsiteX882" fmla="*/ 11894481 w 12188651"/>
              <a:gd name="connsiteY882" fmla="*/ 5321191 h 6858000"/>
              <a:gd name="connsiteX883" fmla="*/ 11894481 w 12188651"/>
              <a:gd name="connsiteY883" fmla="*/ 5698034 h 6858000"/>
              <a:gd name="connsiteX884" fmla="*/ 11568890 w 12188651"/>
              <a:gd name="connsiteY884" fmla="*/ 5886390 h 6858000"/>
              <a:gd name="connsiteX885" fmla="*/ 11568890 w 12188651"/>
              <a:gd name="connsiteY885" fmla="*/ 5509548 h 6858000"/>
              <a:gd name="connsiteX886" fmla="*/ 9857006 w 12188651"/>
              <a:gd name="connsiteY886" fmla="*/ 5321191 h 6858000"/>
              <a:gd name="connsiteX887" fmla="*/ 10182468 w 12188651"/>
              <a:gd name="connsiteY887" fmla="*/ 5509548 h 6858000"/>
              <a:gd name="connsiteX888" fmla="*/ 10182468 w 12188651"/>
              <a:gd name="connsiteY888" fmla="*/ 5886390 h 6858000"/>
              <a:gd name="connsiteX889" fmla="*/ 9857006 w 12188651"/>
              <a:gd name="connsiteY889" fmla="*/ 5698034 h 6858000"/>
              <a:gd name="connsiteX890" fmla="*/ 9840661 w 12188651"/>
              <a:gd name="connsiteY890" fmla="*/ 5321191 h 6858000"/>
              <a:gd name="connsiteX891" fmla="*/ 9840661 w 12188651"/>
              <a:gd name="connsiteY891" fmla="*/ 5698034 h 6858000"/>
              <a:gd name="connsiteX892" fmla="*/ 9515070 w 12188651"/>
              <a:gd name="connsiteY892" fmla="*/ 5886390 h 6858000"/>
              <a:gd name="connsiteX893" fmla="*/ 9515070 w 12188651"/>
              <a:gd name="connsiteY893" fmla="*/ 5509548 h 6858000"/>
              <a:gd name="connsiteX894" fmla="*/ 7803060 w 12188651"/>
              <a:gd name="connsiteY894" fmla="*/ 5321191 h 6858000"/>
              <a:gd name="connsiteX895" fmla="*/ 8128521 w 12188651"/>
              <a:gd name="connsiteY895" fmla="*/ 5509548 h 6858000"/>
              <a:gd name="connsiteX896" fmla="*/ 8128521 w 12188651"/>
              <a:gd name="connsiteY896" fmla="*/ 5886390 h 6858000"/>
              <a:gd name="connsiteX897" fmla="*/ 7803060 w 12188651"/>
              <a:gd name="connsiteY897" fmla="*/ 5698034 h 6858000"/>
              <a:gd name="connsiteX898" fmla="*/ 7786715 w 12188651"/>
              <a:gd name="connsiteY898" fmla="*/ 5321191 h 6858000"/>
              <a:gd name="connsiteX899" fmla="*/ 7786715 w 12188651"/>
              <a:gd name="connsiteY899" fmla="*/ 5698034 h 6858000"/>
              <a:gd name="connsiteX900" fmla="*/ 7461125 w 12188651"/>
              <a:gd name="connsiteY900" fmla="*/ 5886390 h 6858000"/>
              <a:gd name="connsiteX901" fmla="*/ 7461125 w 12188651"/>
              <a:gd name="connsiteY901" fmla="*/ 5509548 h 6858000"/>
              <a:gd name="connsiteX902" fmla="*/ 5732919 w 12188651"/>
              <a:gd name="connsiteY902" fmla="*/ 5321191 h 6858000"/>
              <a:gd name="connsiteX903" fmla="*/ 5732919 w 12188651"/>
              <a:gd name="connsiteY903" fmla="*/ 5698034 h 6858000"/>
              <a:gd name="connsiteX904" fmla="*/ 5407350 w 12188651"/>
              <a:gd name="connsiteY904" fmla="*/ 5886387 h 6858000"/>
              <a:gd name="connsiteX905" fmla="*/ 5407350 w 12188651"/>
              <a:gd name="connsiteY905" fmla="*/ 5509547 h 6858000"/>
              <a:gd name="connsiteX906" fmla="*/ 5539925 w 12188651"/>
              <a:gd name="connsiteY906" fmla="*/ 5432844 h 6858000"/>
              <a:gd name="connsiteX907" fmla="*/ 2317081 w 12188651"/>
              <a:gd name="connsiteY907" fmla="*/ 5316392 h 6858000"/>
              <a:gd name="connsiteX908" fmla="*/ 2650837 w 12188651"/>
              <a:gd name="connsiteY908" fmla="*/ 5509547 h 6858000"/>
              <a:gd name="connsiteX909" fmla="*/ 2650837 w 12188651"/>
              <a:gd name="connsiteY909" fmla="*/ 5895861 h 6858000"/>
              <a:gd name="connsiteX910" fmla="*/ 2317210 w 12188651"/>
              <a:gd name="connsiteY910" fmla="*/ 6089014 h 6858000"/>
              <a:gd name="connsiteX911" fmla="*/ 1983444 w 12188651"/>
              <a:gd name="connsiteY911" fmla="*/ 5895861 h 6858000"/>
              <a:gd name="connsiteX912" fmla="*/ 1983444 w 12188651"/>
              <a:gd name="connsiteY912" fmla="*/ 5509547 h 6858000"/>
              <a:gd name="connsiteX913" fmla="*/ 263233 w 12188651"/>
              <a:gd name="connsiteY913" fmla="*/ 5316392 h 6858000"/>
              <a:gd name="connsiteX914" fmla="*/ 596992 w 12188651"/>
              <a:gd name="connsiteY914" fmla="*/ 5509547 h 6858000"/>
              <a:gd name="connsiteX915" fmla="*/ 596992 w 12188651"/>
              <a:gd name="connsiteY915" fmla="*/ 5895861 h 6858000"/>
              <a:gd name="connsiteX916" fmla="*/ 263362 w 12188651"/>
              <a:gd name="connsiteY916" fmla="*/ 6089014 h 6858000"/>
              <a:gd name="connsiteX917" fmla="*/ 0 w 12188651"/>
              <a:gd name="connsiteY917" fmla="*/ 5936601 h 6858000"/>
              <a:gd name="connsiteX918" fmla="*/ 0 w 12188651"/>
              <a:gd name="connsiteY918" fmla="*/ 5468791 h 6858000"/>
              <a:gd name="connsiteX919" fmla="*/ 10532576 w 12188651"/>
              <a:gd name="connsiteY919" fmla="*/ 5316391 h 6858000"/>
              <a:gd name="connsiteX920" fmla="*/ 10866339 w 12188651"/>
              <a:gd name="connsiteY920" fmla="*/ 5509548 h 6858000"/>
              <a:gd name="connsiteX921" fmla="*/ 10866339 w 12188651"/>
              <a:gd name="connsiteY921" fmla="*/ 5895861 h 6858000"/>
              <a:gd name="connsiteX922" fmla="*/ 10532706 w 12188651"/>
              <a:gd name="connsiteY922" fmla="*/ 6089016 h 6858000"/>
              <a:gd name="connsiteX923" fmla="*/ 10198941 w 12188651"/>
              <a:gd name="connsiteY923" fmla="*/ 5895861 h 6858000"/>
              <a:gd name="connsiteX924" fmla="*/ 10198941 w 12188651"/>
              <a:gd name="connsiteY924" fmla="*/ 5509548 h 6858000"/>
              <a:gd name="connsiteX925" fmla="*/ 8478628 w 12188651"/>
              <a:gd name="connsiteY925" fmla="*/ 5316391 h 6858000"/>
              <a:gd name="connsiteX926" fmla="*/ 8812392 w 12188651"/>
              <a:gd name="connsiteY926" fmla="*/ 5509548 h 6858000"/>
              <a:gd name="connsiteX927" fmla="*/ 8812392 w 12188651"/>
              <a:gd name="connsiteY927" fmla="*/ 5895861 h 6858000"/>
              <a:gd name="connsiteX928" fmla="*/ 8478758 w 12188651"/>
              <a:gd name="connsiteY928" fmla="*/ 6089016 h 6858000"/>
              <a:gd name="connsiteX929" fmla="*/ 8144995 w 12188651"/>
              <a:gd name="connsiteY929" fmla="*/ 5895861 h 6858000"/>
              <a:gd name="connsiteX930" fmla="*/ 8144995 w 12188651"/>
              <a:gd name="connsiteY930" fmla="*/ 5509548 h 6858000"/>
              <a:gd name="connsiteX931" fmla="*/ 6424810 w 12188651"/>
              <a:gd name="connsiteY931" fmla="*/ 5316391 h 6858000"/>
              <a:gd name="connsiteX932" fmla="*/ 6758573 w 12188651"/>
              <a:gd name="connsiteY932" fmla="*/ 5509548 h 6858000"/>
              <a:gd name="connsiteX933" fmla="*/ 6758573 w 12188651"/>
              <a:gd name="connsiteY933" fmla="*/ 5895861 h 6858000"/>
              <a:gd name="connsiteX934" fmla="*/ 6424940 w 12188651"/>
              <a:gd name="connsiteY934" fmla="*/ 6089016 h 6858000"/>
              <a:gd name="connsiteX935" fmla="*/ 6091179 w 12188651"/>
              <a:gd name="connsiteY935" fmla="*/ 5895861 h 6858000"/>
              <a:gd name="connsiteX936" fmla="*/ 6091179 w 12188651"/>
              <a:gd name="connsiteY936" fmla="*/ 5509548 h 6858000"/>
              <a:gd name="connsiteX937" fmla="*/ 4371009 w 12188651"/>
              <a:gd name="connsiteY937" fmla="*/ 5316391 h 6858000"/>
              <a:gd name="connsiteX938" fmla="*/ 4704773 w 12188651"/>
              <a:gd name="connsiteY938" fmla="*/ 5509548 h 6858000"/>
              <a:gd name="connsiteX939" fmla="*/ 4704773 w 12188651"/>
              <a:gd name="connsiteY939" fmla="*/ 5895861 h 6858000"/>
              <a:gd name="connsiteX940" fmla="*/ 4371144 w 12188651"/>
              <a:gd name="connsiteY940" fmla="*/ 6089016 h 6858000"/>
              <a:gd name="connsiteX941" fmla="*/ 4037419 w 12188651"/>
              <a:gd name="connsiteY941" fmla="*/ 5895861 h 6858000"/>
              <a:gd name="connsiteX942" fmla="*/ 4037419 w 12188651"/>
              <a:gd name="connsiteY942" fmla="*/ 5509547 h 6858000"/>
              <a:gd name="connsiteX943" fmla="*/ 4248574 w 12188651"/>
              <a:gd name="connsiteY943" fmla="*/ 5387277 h 6858000"/>
              <a:gd name="connsiteX944" fmla="*/ 3002131 w 12188651"/>
              <a:gd name="connsiteY944" fmla="*/ 5316139 h 6858000"/>
              <a:gd name="connsiteX945" fmla="*/ 3335884 w 12188651"/>
              <a:gd name="connsiteY945" fmla="*/ 5509288 h 6858000"/>
              <a:gd name="connsiteX946" fmla="*/ 3335884 w 12188651"/>
              <a:gd name="connsiteY946" fmla="*/ 5895471 h 6858000"/>
              <a:gd name="connsiteX947" fmla="*/ 3002133 w 12188651"/>
              <a:gd name="connsiteY947" fmla="*/ 6088619 h 6858000"/>
              <a:gd name="connsiteX948" fmla="*/ 2668383 w 12188651"/>
              <a:gd name="connsiteY948" fmla="*/ 5895470 h 6858000"/>
              <a:gd name="connsiteX949" fmla="*/ 2668383 w 12188651"/>
              <a:gd name="connsiteY949" fmla="*/ 5509287 h 6858000"/>
              <a:gd name="connsiteX950" fmla="*/ 948155 w 12188651"/>
              <a:gd name="connsiteY950" fmla="*/ 5316139 h 6858000"/>
              <a:gd name="connsiteX951" fmla="*/ 1281905 w 12188651"/>
              <a:gd name="connsiteY951" fmla="*/ 5509288 h 6858000"/>
              <a:gd name="connsiteX952" fmla="*/ 1281905 w 12188651"/>
              <a:gd name="connsiteY952" fmla="*/ 5895471 h 6858000"/>
              <a:gd name="connsiteX953" fmla="*/ 948156 w 12188651"/>
              <a:gd name="connsiteY953" fmla="*/ 6088620 h 6858000"/>
              <a:gd name="connsiteX954" fmla="*/ 614407 w 12188651"/>
              <a:gd name="connsiteY954" fmla="*/ 5895470 h 6858000"/>
              <a:gd name="connsiteX955" fmla="*/ 614407 w 12188651"/>
              <a:gd name="connsiteY955" fmla="*/ 5509287 h 6858000"/>
              <a:gd name="connsiteX956" fmla="*/ 5055949 w 12188651"/>
              <a:gd name="connsiteY956" fmla="*/ 5316138 h 6858000"/>
              <a:gd name="connsiteX957" fmla="*/ 5389688 w 12188651"/>
              <a:gd name="connsiteY957" fmla="*/ 5509288 h 6858000"/>
              <a:gd name="connsiteX958" fmla="*/ 5389688 w 12188651"/>
              <a:gd name="connsiteY958" fmla="*/ 5895471 h 6858000"/>
              <a:gd name="connsiteX959" fmla="*/ 5055955 w 12188651"/>
              <a:gd name="connsiteY959" fmla="*/ 6088620 h 6858000"/>
              <a:gd name="connsiteX960" fmla="*/ 4722171 w 12188651"/>
              <a:gd name="connsiteY960" fmla="*/ 5895470 h 6858000"/>
              <a:gd name="connsiteX961" fmla="*/ 4722171 w 12188651"/>
              <a:gd name="connsiteY961" fmla="*/ 5509287 h 6858000"/>
              <a:gd name="connsiteX962" fmla="*/ 4848154 w 12188651"/>
              <a:gd name="connsiteY962" fmla="*/ 5436375 h 6858000"/>
              <a:gd name="connsiteX963" fmla="*/ 11217614 w 12188651"/>
              <a:gd name="connsiteY963" fmla="*/ 5316132 h 6858000"/>
              <a:gd name="connsiteX964" fmla="*/ 11551377 w 12188651"/>
              <a:gd name="connsiteY964" fmla="*/ 5509288 h 6858000"/>
              <a:gd name="connsiteX965" fmla="*/ 11551377 w 12188651"/>
              <a:gd name="connsiteY965" fmla="*/ 5895470 h 6858000"/>
              <a:gd name="connsiteX966" fmla="*/ 11217614 w 12188651"/>
              <a:gd name="connsiteY966" fmla="*/ 6088627 h 6858000"/>
              <a:gd name="connsiteX967" fmla="*/ 10883851 w 12188651"/>
              <a:gd name="connsiteY967" fmla="*/ 5895470 h 6858000"/>
              <a:gd name="connsiteX968" fmla="*/ 10883851 w 12188651"/>
              <a:gd name="connsiteY968" fmla="*/ 5509288 h 6858000"/>
              <a:gd name="connsiteX969" fmla="*/ 9163666 w 12188651"/>
              <a:gd name="connsiteY969" fmla="*/ 5316132 h 6858000"/>
              <a:gd name="connsiteX970" fmla="*/ 9497429 w 12188651"/>
              <a:gd name="connsiteY970" fmla="*/ 5509288 h 6858000"/>
              <a:gd name="connsiteX971" fmla="*/ 9497429 w 12188651"/>
              <a:gd name="connsiteY971" fmla="*/ 5895470 h 6858000"/>
              <a:gd name="connsiteX972" fmla="*/ 9163666 w 12188651"/>
              <a:gd name="connsiteY972" fmla="*/ 6088627 h 6858000"/>
              <a:gd name="connsiteX973" fmla="*/ 8829903 w 12188651"/>
              <a:gd name="connsiteY973" fmla="*/ 5895470 h 6858000"/>
              <a:gd name="connsiteX974" fmla="*/ 8829903 w 12188651"/>
              <a:gd name="connsiteY974" fmla="*/ 5509288 h 6858000"/>
              <a:gd name="connsiteX975" fmla="*/ 7109850 w 12188651"/>
              <a:gd name="connsiteY975" fmla="*/ 5316132 h 6858000"/>
              <a:gd name="connsiteX976" fmla="*/ 7443613 w 12188651"/>
              <a:gd name="connsiteY976" fmla="*/ 5509288 h 6858000"/>
              <a:gd name="connsiteX977" fmla="*/ 7443613 w 12188651"/>
              <a:gd name="connsiteY977" fmla="*/ 5895470 h 6858000"/>
              <a:gd name="connsiteX978" fmla="*/ 7109850 w 12188651"/>
              <a:gd name="connsiteY978" fmla="*/ 6088627 h 6858000"/>
              <a:gd name="connsiteX979" fmla="*/ 6776085 w 12188651"/>
              <a:gd name="connsiteY979" fmla="*/ 5895470 h 6858000"/>
              <a:gd name="connsiteX980" fmla="*/ 6776085 w 12188651"/>
              <a:gd name="connsiteY980" fmla="*/ 5509288 h 6858000"/>
              <a:gd name="connsiteX981" fmla="*/ 2660328 w 12188651"/>
              <a:gd name="connsiteY981" fmla="*/ 5118312 h 6858000"/>
              <a:gd name="connsiteX982" fmla="*/ 2985776 w 12188651"/>
              <a:gd name="connsiteY982" fmla="*/ 5306661 h 6858000"/>
              <a:gd name="connsiteX983" fmla="*/ 2660199 w 12188651"/>
              <a:gd name="connsiteY983" fmla="*/ 5495010 h 6858000"/>
              <a:gd name="connsiteX984" fmla="*/ 2334754 w 12188651"/>
              <a:gd name="connsiteY984" fmla="*/ 5306660 h 6858000"/>
              <a:gd name="connsiteX985" fmla="*/ 606350 w 12188651"/>
              <a:gd name="connsiteY985" fmla="*/ 5118312 h 6858000"/>
              <a:gd name="connsiteX986" fmla="*/ 931797 w 12188651"/>
              <a:gd name="connsiteY986" fmla="*/ 5306661 h 6858000"/>
              <a:gd name="connsiteX987" fmla="*/ 606221 w 12188651"/>
              <a:gd name="connsiteY987" fmla="*/ 5495010 h 6858000"/>
              <a:gd name="connsiteX988" fmla="*/ 280773 w 12188651"/>
              <a:gd name="connsiteY988" fmla="*/ 5306660 h 6858000"/>
              <a:gd name="connsiteX989" fmla="*/ 4714113 w 12188651"/>
              <a:gd name="connsiteY989" fmla="*/ 5118307 h 6858000"/>
              <a:gd name="connsiteX990" fmla="*/ 5039591 w 12188651"/>
              <a:gd name="connsiteY990" fmla="*/ 5306661 h 6858000"/>
              <a:gd name="connsiteX991" fmla="*/ 4977019 w 12188651"/>
              <a:gd name="connsiteY991" fmla="*/ 5342855 h 6858000"/>
              <a:gd name="connsiteX992" fmla="*/ 4713993 w 12188651"/>
              <a:gd name="connsiteY992" fmla="*/ 5495014 h 6858000"/>
              <a:gd name="connsiteX993" fmla="*/ 4388541 w 12188651"/>
              <a:gd name="connsiteY993" fmla="*/ 5306660 h 6858000"/>
              <a:gd name="connsiteX994" fmla="*/ 10875808 w 12188651"/>
              <a:gd name="connsiteY994" fmla="*/ 5118305 h 6858000"/>
              <a:gd name="connsiteX995" fmla="*/ 11201268 w 12188651"/>
              <a:gd name="connsiteY995" fmla="*/ 5306661 h 6858000"/>
              <a:gd name="connsiteX996" fmla="*/ 10875679 w 12188651"/>
              <a:gd name="connsiteY996" fmla="*/ 5495017 h 6858000"/>
              <a:gd name="connsiteX997" fmla="*/ 10550218 w 12188651"/>
              <a:gd name="connsiteY997" fmla="*/ 5306661 h 6858000"/>
              <a:gd name="connsiteX998" fmla="*/ 8821860 w 12188651"/>
              <a:gd name="connsiteY998" fmla="*/ 5118305 h 6858000"/>
              <a:gd name="connsiteX999" fmla="*/ 9147320 w 12188651"/>
              <a:gd name="connsiteY999" fmla="*/ 5306661 h 6858000"/>
              <a:gd name="connsiteX1000" fmla="*/ 8821730 w 12188651"/>
              <a:gd name="connsiteY1000" fmla="*/ 5495017 h 6858000"/>
              <a:gd name="connsiteX1001" fmla="*/ 8496270 w 12188651"/>
              <a:gd name="connsiteY1001" fmla="*/ 5306661 h 6858000"/>
              <a:gd name="connsiteX1002" fmla="*/ 6768043 w 12188651"/>
              <a:gd name="connsiteY1002" fmla="*/ 5118305 h 6858000"/>
              <a:gd name="connsiteX1003" fmla="*/ 7093504 w 12188651"/>
              <a:gd name="connsiteY1003" fmla="*/ 5306661 h 6858000"/>
              <a:gd name="connsiteX1004" fmla="*/ 6767913 w 12188651"/>
              <a:gd name="connsiteY1004" fmla="*/ 5495017 h 6858000"/>
              <a:gd name="connsiteX1005" fmla="*/ 6442453 w 12188651"/>
              <a:gd name="connsiteY1005" fmla="*/ 5306661 h 6858000"/>
              <a:gd name="connsiteX1006" fmla="*/ 12140685 w 12188651"/>
              <a:gd name="connsiteY1006" fmla="*/ 4954335 h 6858000"/>
              <a:gd name="connsiteX1007" fmla="*/ 12168445 w 12188651"/>
              <a:gd name="connsiteY1007" fmla="*/ 4965880 h 6858000"/>
              <a:gd name="connsiteX1008" fmla="*/ 12188651 w 12188651"/>
              <a:gd name="connsiteY1008" fmla="*/ 4986128 h 6858000"/>
              <a:gd name="connsiteX1009" fmla="*/ 12188651 w 12188651"/>
              <a:gd name="connsiteY1009" fmla="*/ 5254379 h 6858000"/>
              <a:gd name="connsiteX1010" fmla="*/ 12034576 w 12188651"/>
              <a:gd name="connsiteY1010" fmla="*/ 5100013 h 6858000"/>
              <a:gd name="connsiteX1011" fmla="*/ 12034576 w 12188651"/>
              <a:gd name="connsiteY1011" fmla="*/ 5044621 h 6858000"/>
              <a:gd name="connsiteX1012" fmla="*/ 12113056 w 12188651"/>
              <a:gd name="connsiteY1012" fmla="*/ 4965880 h 6858000"/>
              <a:gd name="connsiteX1013" fmla="*/ 12140685 w 12188651"/>
              <a:gd name="connsiteY1013" fmla="*/ 4954335 h 6858000"/>
              <a:gd name="connsiteX1014" fmla="*/ 10086867 w 12188651"/>
              <a:gd name="connsiteY1014" fmla="*/ 4954335 h 6858000"/>
              <a:gd name="connsiteX1015" fmla="*/ 10114626 w 12188651"/>
              <a:gd name="connsiteY1015" fmla="*/ 4965880 h 6858000"/>
              <a:gd name="connsiteX1016" fmla="*/ 10179226 w 12188651"/>
              <a:gd name="connsiteY1016" fmla="*/ 5030612 h 6858000"/>
              <a:gd name="connsiteX1017" fmla="*/ 10190770 w 12188651"/>
              <a:gd name="connsiteY1017" fmla="*/ 5042286 h 6858000"/>
              <a:gd name="connsiteX1018" fmla="*/ 10202315 w 12188651"/>
              <a:gd name="connsiteY1018" fmla="*/ 5030612 h 6858000"/>
              <a:gd name="connsiteX1019" fmla="*/ 10266786 w 12188651"/>
              <a:gd name="connsiteY1019" fmla="*/ 4965880 h 6858000"/>
              <a:gd name="connsiteX1020" fmla="*/ 10294543 w 12188651"/>
              <a:gd name="connsiteY1020" fmla="*/ 4954335 h 6858000"/>
              <a:gd name="connsiteX1021" fmla="*/ 10322173 w 12188651"/>
              <a:gd name="connsiteY1021" fmla="*/ 4965880 h 6858000"/>
              <a:gd name="connsiteX1022" fmla="*/ 10400653 w 12188651"/>
              <a:gd name="connsiteY1022" fmla="*/ 5044492 h 6858000"/>
              <a:gd name="connsiteX1023" fmla="*/ 10412198 w 12188651"/>
              <a:gd name="connsiteY1023" fmla="*/ 5072252 h 6858000"/>
              <a:gd name="connsiteX1024" fmla="*/ 10400783 w 12188651"/>
              <a:gd name="connsiteY1024" fmla="*/ 5100013 h 6858000"/>
              <a:gd name="connsiteX1025" fmla="*/ 10190770 w 12188651"/>
              <a:gd name="connsiteY1025" fmla="*/ 5310423 h 6858000"/>
              <a:gd name="connsiteX1026" fmla="*/ 9980757 w 12188651"/>
              <a:gd name="connsiteY1026" fmla="*/ 5100013 h 6858000"/>
              <a:gd name="connsiteX1027" fmla="*/ 9980757 w 12188651"/>
              <a:gd name="connsiteY1027" fmla="*/ 5044621 h 6858000"/>
              <a:gd name="connsiteX1028" fmla="*/ 10059237 w 12188651"/>
              <a:gd name="connsiteY1028" fmla="*/ 4965880 h 6858000"/>
              <a:gd name="connsiteX1029" fmla="*/ 10086867 w 12188651"/>
              <a:gd name="connsiteY1029" fmla="*/ 4954335 h 6858000"/>
              <a:gd name="connsiteX1030" fmla="*/ 8032919 w 12188651"/>
              <a:gd name="connsiteY1030" fmla="*/ 4954335 h 6858000"/>
              <a:gd name="connsiteX1031" fmla="*/ 8060679 w 12188651"/>
              <a:gd name="connsiteY1031" fmla="*/ 4965880 h 6858000"/>
              <a:gd name="connsiteX1032" fmla="*/ 8125278 w 12188651"/>
              <a:gd name="connsiteY1032" fmla="*/ 5030612 h 6858000"/>
              <a:gd name="connsiteX1033" fmla="*/ 8136823 w 12188651"/>
              <a:gd name="connsiteY1033" fmla="*/ 5042286 h 6858000"/>
              <a:gd name="connsiteX1034" fmla="*/ 8148368 w 12188651"/>
              <a:gd name="connsiteY1034" fmla="*/ 5030612 h 6858000"/>
              <a:gd name="connsiteX1035" fmla="*/ 8212837 w 12188651"/>
              <a:gd name="connsiteY1035" fmla="*/ 4965880 h 6858000"/>
              <a:gd name="connsiteX1036" fmla="*/ 8240596 w 12188651"/>
              <a:gd name="connsiteY1036" fmla="*/ 4954335 h 6858000"/>
              <a:gd name="connsiteX1037" fmla="*/ 8268226 w 12188651"/>
              <a:gd name="connsiteY1037" fmla="*/ 4965880 h 6858000"/>
              <a:gd name="connsiteX1038" fmla="*/ 8346707 w 12188651"/>
              <a:gd name="connsiteY1038" fmla="*/ 5044492 h 6858000"/>
              <a:gd name="connsiteX1039" fmla="*/ 8358252 w 12188651"/>
              <a:gd name="connsiteY1039" fmla="*/ 5072252 h 6858000"/>
              <a:gd name="connsiteX1040" fmla="*/ 8346837 w 12188651"/>
              <a:gd name="connsiteY1040" fmla="*/ 5100013 h 6858000"/>
              <a:gd name="connsiteX1041" fmla="*/ 8136823 w 12188651"/>
              <a:gd name="connsiteY1041" fmla="*/ 5310423 h 6858000"/>
              <a:gd name="connsiteX1042" fmla="*/ 7926811 w 12188651"/>
              <a:gd name="connsiteY1042" fmla="*/ 5100013 h 6858000"/>
              <a:gd name="connsiteX1043" fmla="*/ 7926811 w 12188651"/>
              <a:gd name="connsiteY1043" fmla="*/ 5044621 h 6858000"/>
              <a:gd name="connsiteX1044" fmla="*/ 8005289 w 12188651"/>
              <a:gd name="connsiteY1044" fmla="*/ 4965880 h 6858000"/>
              <a:gd name="connsiteX1045" fmla="*/ 8032919 w 12188651"/>
              <a:gd name="connsiteY1045" fmla="*/ 4954335 h 6858000"/>
              <a:gd name="connsiteX1046" fmla="*/ 5979109 w 12188651"/>
              <a:gd name="connsiteY1046" fmla="*/ 4954335 h 6858000"/>
              <a:gd name="connsiteX1047" fmla="*/ 6006867 w 12188651"/>
              <a:gd name="connsiteY1047" fmla="*/ 4965880 h 6858000"/>
              <a:gd name="connsiteX1048" fmla="*/ 6071463 w 12188651"/>
              <a:gd name="connsiteY1048" fmla="*/ 5030612 h 6858000"/>
              <a:gd name="connsiteX1049" fmla="*/ 6083006 w 12188651"/>
              <a:gd name="connsiteY1049" fmla="*/ 5042286 h 6858000"/>
              <a:gd name="connsiteX1050" fmla="*/ 6094550 w 12188651"/>
              <a:gd name="connsiteY1050" fmla="*/ 5030612 h 6858000"/>
              <a:gd name="connsiteX1051" fmla="*/ 6159019 w 12188651"/>
              <a:gd name="connsiteY1051" fmla="*/ 4965880 h 6858000"/>
              <a:gd name="connsiteX1052" fmla="*/ 6186779 w 12188651"/>
              <a:gd name="connsiteY1052" fmla="*/ 4954335 h 6858000"/>
              <a:gd name="connsiteX1053" fmla="*/ 6214409 w 12188651"/>
              <a:gd name="connsiteY1053" fmla="*/ 4965880 h 6858000"/>
              <a:gd name="connsiteX1054" fmla="*/ 6292888 w 12188651"/>
              <a:gd name="connsiteY1054" fmla="*/ 5044492 h 6858000"/>
              <a:gd name="connsiteX1055" fmla="*/ 6304433 w 12188651"/>
              <a:gd name="connsiteY1055" fmla="*/ 5072252 h 6858000"/>
              <a:gd name="connsiteX1056" fmla="*/ 6293017 w 12188651"/>
              <a:gd name="connsiteY1056" fmla="*/ 5100013 h 6858000"/>
              <a:gd name="connsiteX1057" fmla="*/ 6083006 w 12188651"/>
              <a:gd name="connsiteY1057" fmla="*/ 5310423 h 6858000"/>
              <a:gd name="connsiteX1058" fmla="*/ 5873007 w 12188651"/>
              <a:gd name="connsiteY1058" fmla="*/ 5100013 h 6858000"/>
              <a:gd name="connsiteX1059" fmla="*/ 5873007 w 12188651"/>
              <a:gd name="connsiteY1059" fmla="*/ 5044621 h 6858000"/>
              <a:gd name="connsiteX1060" fmla="*/ 5951483 w 12188651"/>
              <a:gd name="connsiteY1060" fmla="*/ 4965880 h 6858000"/>
              <a:gd name="connsiteX1061" fmla="*/ 5979109 w 12188651"/>
              <a:gd name="connsiteY1061" fmla="*/ 4954335 h 6858000"/>
              <a:gd name="connsiteX1062" fmla="*/ 3925342 w 12188651"/>
              <a:gd name="connsiteY1062" fmla="*/ 4954335 h 6858000"/>
              <a:gd name="connsiteX1063" fmla="*/ 3953100 w 12188651"/>
              <a:gd name="connsiteY1063" fmla="*/ 4965880 h 6858000"/>
              <a:gd name="connsiteX1064" fmla="*/ 4017699 w 12188651"/>
              <a:gd name="connsiteY1064" fmla="*/ 5030612 h 6858000"/>
              <a:gd name="connsiteX1065" fmla="*/ 4029246 w 12188651"/>
              <a:gd name="connsiteY1065" fmla="*/ 5042286 h 6858000"/>
              <a:gd name="connsiteX1066" fmla="*/ 4040790 w 12188651"/>
              <a:gd name="connsiteY1066" fmla="*/ 5030612 h 6858000"/>
              <a:gd name="connsiteX1067" fmla="*/ 4105262 w 12188651"/>
              <a:gd name="connsiteY1067" fmla="*/ 4965880 h 6858000"/>
              <a:gd name="connsiteX1068" fmla="*/ 4133023 w 12188651"/>
              <a:gd name="connsiteY1068" fmla="*/ 4954335 h 6858000"/>
              <a:gd name="connsiteX1069" fmla="*/ 4160653 w 12188651"/>
              <a:gd name="connsiteY1069" fmla="*/ 4965880 h 6858000"/>
              <a:gd name="connsiteX1070" fmla="*/ 4239088 w 12188651"/>
              <a:gd name="connsiteY1070" fmla="*/ 5044492 h 6858000"/>
              <a:gd name="connsiteX1071" fmla="*/ 4250634 w 12188651"/>
              <a:gd name="connsiteY1071" fmla="*/ 5072252 h 6858000"/>
              <a:gd name="connsiteX1072" fmla="*/ 4239218 w 12188651"/>
              <a:gd name="connsiteY1072" fmla="*/ 5100013 h 6858000"/>
              <a:gd name="connsiteX1073" fmla="*/ 4029246 w 12188651"/>
              <a:gd name="connsiteY1073" fmla="*/ 5310423 h 6858000"/>
              <a:gd name="connsiteX1074" fmla="*/ 3819226 w 12188651"/>
              <a:gd name="connsiteY1074" fmla="*/ 5100013 h 6858000"/>
              <a:gd name="connsiteX1075" fmla="*/ 3819226 w 12188651"/>
              <a:gd name="connsiteY1075" fmla="*/ 5044621 h 6858000"/>
              <a:gd name="connsiteX1076" fmla="*/ 3897709 w 12188651"/>
              <a:gd name="connsiteY1076" fmla="*/ 4965880 h 6858000"/>
              <a:gd name="connsiteX1077" fmla="*/ 3925342 w 12188651"/>
              <a:gd name="connsiteY1077" fmla="*/ 4954335 h 6858000"/>
              <a:gd name="connsiteX1078" fmla="*/ 1871366 w 12188651"/>
              <a:gd name="connsiteY1078" fmla="*/ 4954335 h 6858000"/>
              <a:gd name="connsiteX1079" fmla="*/ 1899126 w 12188651"/>
              <a:gd name="connsiteY1079" fmla="*/ 4965880 h 6858000"/>
              <a:gd name="connsiteX1080" fmla="*/ 1963727 w 12188651"/>
              <a:gd name="connsiteY1080" fmla="*/ 5030612 h 6858000"/>
              <a:gd name="connsiteX1081" fmla="*/ 1975271 w 12188651"/>
              <a:gd name="connsiteY1081" fmla="*/ 5042286 h 6858000"/>
              <a:gd name="connsiteX1082" fmla="*/ 1986816 w 12188651"/>
              <a:gd name="connsiteY1082" fmla="*/ 5030612 h 6858000"/>
              <a:gd name="connsiteX1083" fmla="*/ 2051285 w 12188651"/>
              <a:gd name="connsiteY1083" fmla="*/ 4965880 h 6858000"/>
              <a:gd name="connsiteX1084" fmla="*/ 2079045 w 12188651"/>
              <a:gd name="connsiteY1084" fmla="*/ 4954335 h 6858000"/>
              <a:gd name="connsiteX1085" fmla="*/ 2106680 w 12188651"/>
              <a:gd name="connsiteY1085" fmla="*/ 4965880 h 6858000"/>
              <a:gd name="connsiteX1086" fmla="*/ 2185159 w 12188651"/>
              <a:gd name="connsiteY1086" fmla="*/ 5044492 h 6858000"/>
              <a:gd name="connsiteX1087" fmla="*/ 2196706 w 12188651"/>
              <a:gd name="connsiteY1087" fmla="*/ 5072252 h 6858000"/>
              <a:gd name="connsiteX1088" fmla="*/ 2185291 w 12188651"/>
              <a:gd name="connsiteY1088" fmla="*/ 5100013 h 6858000"/>
              <a:gd name="connsiteX1089" fmla="*/ 1975271 w 12188651"/>
              <a:gd name="connsiteY1089" fmla="*/ 5310423 h 6858000"/>
              <a:gd name="connsiteX1090" fmla="*/ 1765258 w 12188651"/>
              <a:gd name="connsiteY1090" fmla="*/ 5100013 h 6858000"/>
              <a:gd name="connsiteX1091" fmla="*/ 1765258 w 12188651"/>
              <a:gd name="connsiteY1091" fmla="*/ 5044621 h 6858000"/>
              <a:gd name="connsiteX1092" fmla="*/ 1843739 w 12188651"/>
              <a:gd name="connsiteY1092" fmla="*/ 4965880 h 6858000"/>
              <a:gd name="connsiteX1093" fmla="*/ 1871366 w 12188651"/>
              <a:gd name="connsiteY1093" fmla="*/ 4954335 h 6858000"/>
              <a:gd name="connsiteX1094" fmla="*/ 25204 w 12188651"/>
              <a:gd name="connsiteY1094" fmla="*/ 4954335 h 6858000"/>
              <a:gd name="connsiteX1095" fmla="*/ 52835 w 12188651"/>
              <a:gd name="connsiteY1095" fmla="*/ 4965880 h 6858000"/>
              <a:gd name="connsiteX1096" fmla="*/ 131313 w 12188651"/>
              <a:gd name="connsiteY1096" fmla="*/ 5044492 h 6858000"/>
              <a:gd name="connsiteX1097" fmla="*/ 142857 w 12188651"/>
              <a:gd name="connsiteY1097" fmla="*/ 5072252 h 6858000"/>
              <a:gd name="connsiteX1098" fmla="*/ 131443 w 12188651"/>
              <a:gd name="connsiteY1098" fmla="*/ 5100013 h 6858000"/>
              <a:gd name="connsiteX1099" fmla="*/ 0 w 12188651"/>
              <a:gd name="connsiteY1099" fmla="*/ 5231705 h 6858000"/>
              <a:gd name="connsiteX1100" fmla="*/ 0 w 12188651"/>
              <a:gd name="connsiteY1100" fmla="*/ 4964818 h 6858000"/>
              <a:gd name="connsiteX1101" fmla="*/ 10086867 w 12188651"/>
              <a:gd name="connsiteY1101" fmla="*/ 4937860 h 6858000"/>
              <a:gd name="connsiteX1102" fmla="*/ 10047692 w 12188651"/>
              <a:gd name="connsiteY1102" fmla="*/ 4954205 h 6858000"/>
              <a:gd name="connsiteX1103" fmla="*/ 9969212 w 12188651"/>
              <a:gd name="connsiteY1103" fmla="*/ 5032947 h 6858000"/>
              <a:gd name="connsiteX1104" fmla="*/ 9969212 w 12188651"/>
              <a:gd name="connsiteY1104" fmla="*/ 5111559 h 6858000"/>
              <a:gd name="connsiteX1105" fmla="*/ 10190770 w 12188651"/>
              <a:gd name="connsiteY1105" fmla="*/ 5333643 h 6858000"/>
              <a:gd name="connsiteX1106" fmla="*/ 10412328 w 12188651"/>
              <a:gd name="connsiteY1106" fmla="*/ 5111559 h 6858000"/>
              <a:gd name="connsiteX1107" fmla="*/ 10412328 w 12188651"/>
              <a:gd name="connsiteY1107" fmla="*/ 5032947 h 6858000"/>
              <a:gd name="connsiteX1108" fmla="*/ 10333848 w 12188651"/>
              <a:gd name="connsiteY1108" fmla="*/ 4954335 h 6858000"/>
              <a:gd name="connsiteX1109" fmla="*/ 10294673 w 12188651"/>
              <a:gd name="connsiteY1109" fmla="*/ 4937990 h 6858000"/>
              <a:gd name="connsiteX1110" fmla="*/ 10294543 w 12188651"/>
              <a:gd name="connsiteY1110" fmla="*/ 4937860 h 6858000"/>
              <a:gd name="connsiteX1111" fmla="*/ 10255241 w 12188651"/>
              <a:gd name="connsiteY1111" fmla="*/ 4954335 h 6858000"/>
              <a:gd name="connsiteX1112" fmla="*/ 10190770 w 12188651"/>
              <a:gd name="connsiteY1112" fmla="*/ 5018937 h 6858000"/>
              <a:gd name="connsiteX1113" fmla="*/ 10126171 w 12188651"/>
              <a:gd name="connsiteY1113" fmla="*/ 4954205 h 6858000"/>
              <a:gd name="connsiteX1114" fmla="*/ 10086867 w 12188651"/>
              <a:gd name="connsiteY1114" fmla="*/ 4937860 h 6858000"/>
              <a:gd name="connsiteX1115" fmla="*/ 8032919 w 12188651"/>
              <a:gd name="connsiteY1115" fmla="*/ 4937860 h 6858000"/>
              <a:gd name="connsiteX1116" fmla="*/ 7993744 w 12188651"/>
              <a:gd name="connsiteY1116" fmla="*/ 4954205 h 6858000"/>
              <a:gd name="connsiteX1117" fmla="*/ 7915266 w 12188651"/>
              <a:gd name="connsiteY1117" fmla="*/ 5032947 h 6858000"/>
              <a:gd name="connsiteX1118" fmla="*/ 7915266 w 12188651"/>
              <a:gd name="connsiteY1118" fmla="*/ 5111559 h 6858000"/>
              <a:gd name="connsiteX1119" fmla="*/ 8136823 w 12188651"/>
              <a:gd name="connsiteY1119" fmla="*/ 5333643 h 6858000"/>
              <a:gd name="connsiteX1120" fmla="*/ 8358382 w 12188651"/>
              <a:gd name="connsiteY1120" fmla="*/ 5111559 h 6858000"/>
              <a:gd name="connsiteX1121" fmla="*/ 8358382 w 12188651"/>
              <a:gd name="connsiteY1121" fmla="*/ 5032947 h 6858000"/>
              <a:gd name="connsiteX1122" fmla="*/ 8279902 w 12188651"/>
              <a:gd name="connsiteY1122" fmla="*/ 4954335 h 6858000"/>
              <a:gd name="connsiteX1123" fmla="*/ 8240727 w 12188651"/>
              <a:gd name="connsiteY1123" fmla="*/ 4937990 h 6858000"/>
              <a:gd name="connsiteX1124" fmla="*/ 8240596 w 12188651"/>
              <a:gd name="connsiteY1124" fmla="*/ 4937860 h 6858000"/>
              <a:gd name="connsiteX1125" fmla="*/ 8201292 w 12188651"/>
              <a:gd name="connsiteY1125" fmla="*/ 4954335 h 6858000"/>
              <a:gd name="connsiteX1126" fmla="*/ 8136823 w 12188651"/>
              <a:gd name="connsiteY1126" fmla="*/ 5018937 h 6858000"/>
              <a:gd name="connsiteX1127" fmla="*/ 8072224 w 12188651"/>
              <a:gd name="connsiteY1127" fmla="*/ 4954205 h 6858000"/>
              <a:gd name="connsiteX1128" fmla="*/ 8032919 w 12188651"/>
              <a:gd name="connsiteY1128" fmla="*/ 4937860 h 6858000"/>
              <a:gd name="connsiteX1129" fmla="*/ 5979109 w 12188651"/>
              <a:gd name="connsiteY1129" fmla="*/ 4937860 h 6858000"/>
              <a:gd name="connsiteX1130" fmla="*/ 5939936 w 12188651"/>
              <a:gd name="connsiteY1130" fmla="*/ 4954205 h 6858000"/>
              <a:gd name="connsiteX1131" fmla="*/ 5861462 w 12188651"/>
              <a:gd name="connsiteY1131" fmla="*/ 5032947 h 6858000"/>
              <a:gd name="connsiteX1132" fmla="*/ 5861462 w 12188651"/>
              <a:gd name="connsiteY1132" fmla="*/ 5111559 h 6858000"/>
              <a:gd name="connsiteX1133" fmla="*/ 6083006 w 12188651"/>
              <a:gd name="connsiteY1133" fmla="*/ 5333643 h 6858000"/>
              <a:gd name="connsiteX1134" fmla="*/ 6304562 w 12188651"/>
              <a:gd name="connsiteY1134" fmla="*/ 5111559 h 6858000"/>
              <a:gd name="connsiteX1135" fmla="*/ 6304562 w 12188651"/>
              <a:gd name="connsiteY1135" fmla="*/ 5032947 h 6858000"/>
              <a:gd name="connsiteX1136" fmla="*/ 6226084 w 12188651"/>
              <a:gd name="connsiteY1136" fmla="*/ 4954335 h 6858000"/>
              <a:gd name="connsiteX1137" fmla="*/ 6186909 w 12188651"/>
              <a:gd name="connsiteY1137" fmla="*/ 4937990 h 6858000"/>
              <a:gd name="connsiteX1138" fmla="*/ 6186779 w 12188651"/>
              <a:gd name="connsiteY1138" fmla="*/ 4937860 h 6858000"/>
              <a:gd name="connsiteX1139" fmla="*/ 6147474 w 12188651"/>
              <a:gd name="connsiteY1139" fmla="*/ 4954335 h 6858000"/>
              <a:gd name="connsiteX1140" fmla="*/ 6083006 w 12188651"/>
              <a:gd name="connsiteY1140" fmla="*/ 5018937 h 6858000"/>
              <a:gd name="connsiteX1141" fmla="*/ 6018412 w 12188651"/>
              <a:gd name="connsiteY1141" fmla="*/ 4954205 h 6858000"/>
              <a:gd name="connsiteX1142" fmla="*/ 5979109 w 12188651"/>
              <a:gd name="connsiteY1142" fmla="*/ 4937860 h 6858000"/>
              <a:gd name="connsiteX1143" fmla="*/ 3925342 w 12188651"/>
              <a:gd name="connsiteY1143" fmla="*/ 4937860 h 6858000"/>
              <a:gd name="connsiteX1144" fmla="*/ 3886165 w 12188651"/>
              <a:gd name="connsiteY1144" fmla="*/ 4954205 h 6858000"/>
              <a:gd name="connsiteX1145" fmla="*/ 3807682 w 12188651"/>
              <a:gd name="connsiteY1145" fmla="*/ 5032947 h 6858000"/>
              <a:gd name="connsiteX1146" fmla="*/ 3807682 w 12188651"/>
              <a:gd name="connsiteY1146" fmla="*/ 5111559 h 6858000"/>
              <a:gd name="connsiteX1147" fmla="*/ 4029246 w 12188651"/>
              <a:gd name="connsiteY1147" fmla="*/ 5333643 h 6858000"/>
              <a:gd name="connsiteX1148" fmla="*/ 4250759 w 12188651"/>
              <a:gd name="connsiteY1148" fmla="*/ 5111559 h 6858000"/>
              <a:gd name="connsiteX1149" fmla="*/ 4250759 w 12188651"/>
              <a:gd name="connsiteY1149" fmla="*/ 5032947 h 6858000"/>
              <a:gd name="connsiteX1150" fmla="*/ 4172326 w 12188651"/>
              <a:gd name="connsiteY1150" fmla="*/ 4954335 h 6858000"/>
              <a:gd name="connsiteX1151" fmla="*/ 4133153 w 12188651"/>
              <a:gd name="connsiteY1151" fmla="*/ 4937990 h 6858000"/>
              <a:gd name="connsiteX1152" fmla="*/ 4133023 w 12188651"/>
              <a:gd name="connsiteY1152" fmla="*/ 4937860 h 6858000"/>
              <a:gd name="connsiteX1153" fmla="*/ 4093717 w 12188651"/>
              <a:gd name="connsiteY1153" fmla="*/ 4954335 h 6858000"/>
              <a:gd name="connsiteX1154" fmla="*/ 4029246 w 12188651"/>
              <a:gd name="connsiteY1154" fmla="*/ 5018937 h 6858000"/>
              <a:gd name="connsiteX1155" fmla="*/ 3964644 w 12188651"/>
              <a:gd name="connsiteY1155" fmla="*/ 4954205 h 6858000"/>
              <a:gd name="connsiteX1156" fmla="*/ 3925342 w 12188651"/>
              <a:gd name="connsiteY1156" fmla="*/ 4937860 h 6858000"/>
              <a:gd name="connsiteX1157" fmla="*/ 1871366 w 12188651"/>
              <a:gd name="connsiteY1157" fmla="*/ 4937860 h 6858000"/>
              <a:gd name="connsiteX1158" fmla="*/ 1832193 w 12188651"/>
              <a:gd name="connsiteY1158" fmla="*/ 4954205 h 6858000"/>
              <a:gd name="connsiteX1159" fmla="*/ 1753714 w 12188651"/>
              <a:gd name="connsiteY1159" fmla="*/ 5032947 h 6858000"/>
              <a:gd name="connsiteX1160" fmla="*/ 1753714 w 12188651"/>
              <a:gd name="connsiteY1160" fmla="*/ 5111559 h 6858000"/>
              <a:gd name="connsiteX1161" fmla="*/ 1975271 w 12188651"/>
              <a:gd name="connsiteY1161" fmla="*/ 5333643 h 6858000"/>
              <a:gd name="connsiteX1162" fmla="*/ 2196836 w 12188651"/>
              <a:gd name="connsiteY1162" fmla="*/ 5111559 h 6858000"/>
              <a:gd name="connsiteX1163" fmla="*/ 2196836 w 12188651"/>
              <a:gd name="connsiteY1163" fmla="*/ 5032947 h 6858000"/>
              <a:gd name="connsiteX1164" fmla="*/ 2118358 w 12188651"/>
              <a:gd name="connsiteY1164" fmla="*/ 4954335 h 6858000"/>
              <a:gd name="connsiteX1165" fmla="*/ 2079175 w 12188651"/>
              <a:gd name="connsiteY1165" fmla="*/ 4937990 h 6858000"/>
              <a:gd name="connsiteX1166" fmla="*/ 2079045 w 12188651"/>
              <a:gd name="connsiteY1166" fmla="*/ 4937860 h 6858000"/>
              <a:gd name="connsiteX1167" fmla="*/ 2039742 w 12188651"/>
              <a:gd name="connsiteY1167" fmla="*/ 4954335 h 6858000"/>
              <a:gd name="connsiteX1168" fmla="*/ 1975271 w 12188651"/>
              <a:gd name="connsiteY1168" fmla="*/ 5018937 h 6858000"/>
              <a:gd name="connsiteX1169" fmla="*/ 1910671 w 12188651"/>
              <a:gd name="connsiteY1169" fmla="*/ 4954205 h 6858000"/>
              <a:gd name="connsiteX1170" fmla="*/ 1871366 w 12188651"/>
              <a:gd name="connsiteY1170" fmla="*/ 4937860 h 6858000"/>
              <a:gd name="connsiteX1171" fmla="*/ 0 w 12188651"/>
              <a:gd name="connsiteY1171" fmla="*/ 4767681 h 6858000"/>
              <a:gd name="connsiteX1172" fmla="*/ 255060 w 12188651"/>
              <a:gd name="connsiteY1172" fmla="*/ 4915290 h 6858000"/>
              <a:gd name="connsiteX1173" fmla="*/ 255060 w 12188651"/>
              <a:gd name="connsiteY1173" fmla="*/ 5301473 h 6858000"/>
              <a:gd name="connsiteX1174" fmla="*/ 0 w 12188651"/>
              <a:gd name="connsiteY1174" fmla="*/ 5449082 h 6858000"/>
              <a:gd name="connsiteX1175" fmla="*/ 0 w 12188651"/>
              <a:gd name="connsiteY1175" fmla="*/ 5254886 h 6858000"/>
              <a:gd name="connsiteX1176" fmla="*/ 142988 w 12188651"/>
              <a:gd name="connsiteY1176" fmla="*/ 5111559 h 6858000"/>
              <a:gd name="connsiteX1177" fmla="*/ 142988 w 12188651"/>
              <a:gd name="connsiteY1177" fmla="*/ 5032947 h 6858000"/>
              <a:gd name="connsiteX1178" fmla="*/ 64507 w 12188651"/>
              <a:gd name="connsiteY1178" fmla="*/ 4954335 h 6858000"/>
              <a:gd name="connsiteX1179" fmla="*/ 25332 w 12188651"/>
              <a:gd name="connsiteY1179" fmla="*/ 4937990 h 6858000"/>
              <a:gd name="connsiteX1180" fmla="*/ 25204 w 12188651"/>
              <a:gd name="connsiteY1180" fmla="*/ 4937860 h 6858000"/>
              <a:gd name="connsiteX1181" fmla="*/ 4287 w 12188651"/>
              <a:gd name="connsiteY1181" fmla="*/ 4941963 h 6858000"/>
              <a:gd name="connsiteX1182" fmla="*/ 0 w 12188651"/>
              <a:gd name="connsiteY1182" fmla="*/ 4944847 h 6858000"/>
              <a:gd name="connsiteX1183" fmla="*/ 12188651 w 12188651"/>
              <a:gd name="connsiteY1183" fmla="*/ 4754431 h 6858000"/>
              <a:gd name="connsiteX1184" fmla="*/ 12188651 w 12188651"/>
              <a:gd name="connsiteY1184" fmla="*/ 4962884 h 6858000"/>
              <a:gd name="connsiteX1185" fmla="*/ 12179990 w 12188651"/>
              <a:gd name="connsiteY1185" fmla="*/ 4954205 h 6858000"/>
              <a:gd name="connsiteX1186" fmla="*/ 12140685 w 12188651"/>
              <a:gd name="connsiteY1186" fmla="*/ 4937860 h 6858000"/>
              <a:gd name="connsiteX1187" fmla="*/ 12101510 w 12188651"/>
              <a:gd name="connsiteY1187" fmla="*/ 4954205 h 6858000"/>
              <a:gd name="connsiteX1188" fmla="*/ 12023031 w 12188651"/>
              <a:gd name="connsiteY1188" fmla="*/ 5032947 h 6858000"/>
              <a:gd name="connsiteX1189" fmla="*/ 12023031 w 12188651"/>
              <a:gd name="connsiteY1189" fmla="*/ 5111559 h 6858000"/>
              <a:gd name="connsiteX1190" fmla="*/ 12188651 w 12188651"/>
              <a:gd name="connsiteY1190" fmla="*/ 5277572 h 6858000"/>
              <a:gd name="connsiteX1191" fmla="*/ 12188651 w 12188651"/>
              <a:gd name="connsiteY1191" fmla="*/ 5462331 h 6858000"/>
              <a:gd name="connsiteX1192" fmla="*/ 11910696 w 12188651"/>
              <a:gd name="connsiteY1192" fmla="*/ 5301472 h 6858000"/>
              <a:gd name="connsiteX1193" fmla="*/ 11910696 w 12188651"/>
              <a:gd name="connsiteY1193" fmla="*/ 4915290 h 6858000"/>
              <a:gd name="connsiteX1194" fmla="*/ 2668513 w 12188651"/>
              <a:gd name="connsiteY1194" fmla="*/ 4727338 h 6858000"/>
              <a:gd name="connsiteX1195" fmla="*/ 2993946 w 12188651"/>
              <a:gd name="connsiteY1195" fmla="*/ 4915678 h 6858000"/>
              <a:gd name="connsiteX1196" fmla="*/ 2993946 w 12188651"/>
              <a:gd name="connsiteY1196" fmla="*/ 5292504 h 6858000"/>
              <a:gd name="connsiteX1197" fmla="*/ 2668513 w 12188651"/>
              <a:gd name="connsiteY1197" fmla="*/ 5104164 h 6858000"/>
              <a:gd name="connsiteX1198" fmla="*/ 614537 w 12188651"/>
              <a:gd name="connsiteY1198" fmla="*/ 4727338 h 6858000"/>
              <a:gd name="connsiteX1199" fmla="*/ 939970 w 12188651"/>
              <a:gd name="connsiteY1199" fmla="*/ 4915678 h 6858000"/>
              <a:gd name="connsiteX1200" fmla="*/ 939970 w 12188651"/>
              <a:gd name="connsiteY1200" fmla="*/ 5292505 h 6858000"/>
              <a:gd name="connsiteX1201" fmla="*/ 614537 w 12188651"/>
              <a:gd name="connsiteY1201" fmla="*/ 5104164 h 6858000"/>
              <a:gd name="connsiteX1202" fmla="*/ 2652140 w 12188651"/>
              <a:gd name="connsiteY1202" fmla="*/ 4727337 h 6858000"/>
              <a:gd name="connsiteX1203" fmla="*/ 2652140 w 12188651"/>
              <a:gd name="connsiteY1203" fmla="*/ 5104165 h 6858000"/>
              <a:gd name="connsiteX1204" fmla="*/ 2326580 w 12188651"/>
              <a:gd name="connsiteY1204" fmla="*/ 5292504 h 6858000"/>
              <a:gd name="connsiteX1205" fmla="*/ 2326580 w 12188651"/>
              <a:gd name="connsiteY1205" fmla="*/ 4915677 h 6858000"/>
              <a:gd name="connsiteX1206" fmla="*/ 598165 w 12188651"/>
              <a:gd name="connsiteY1206" fmla="*/ 4727336 h 6858000"/>
              <a:gd name="connsiteX1207" fmla="*/ 598165 w 12188651"/>
              <a:gd name="connsiteY1207" fmla="*/ 5104165 h 6858000"/>
              <a:gd name="connsiteX1208" fmla="*/ 272602 w 12188651"/>
              <a:gd name="connsiteY1208" fmla="*/ 5292505 h 6858000"/>
              <a:gd name="connsiteX1209" fmla="*/ 272602 w 12188651"/>
              <a:gd name="connsiteY1209" fmla="*/ 4915677 h 6858000"/>
              <a:gd name="connsiteX1210" fmla="*/ 4722303 w 12188651"/>
              <a:gd name="connsiteY1210" fmla="*/ 4727330 h 6858000"/>
              <a:gd name="connsiteX1211" fmla="*/ 5047768 w 12188651"/>
              <a:gd name="connsiteY1211" fmla="*/ 4915678 h 6858000"/>
              <a:gd name="connsiteX1212" fmla="*/ 5047768 w 12188651"/>
              <a:gd name="connsiteY1212" fmla="*/ 5292507 h 6858000"/>
              <a:gd name="connsiteX1213" fmla="*/ 4722303 w 12188651"/>
              <a:gd name="connsiteY1213" fmla="*/ 5104164 h 6858000"/>
              <a:gd name="connsiteX1214" fmla="*/ 4705942 w 12188651"/>
              <a:gd name="connsiteY1214" fmla="*/ 4727326 h 6858000"/>
              <a:gd name="connsiteX1215" fmla="*/ 4705942 w 12188651"/>
              <a:gd name="connsiteY1215" fmla="*/ 5104165 h 6858000"/>
              <a:gd name="connsiteX1216" fmla="*/ 4598874 w 12188651"/>
              <a:gd name="connsiteY1216" fmla="*/ 5166110 h 6858000"/>
              <a:gd name="connsiteX1217" fmla="*/ 4380369 w 12188651"/>
              <a:gd name="connsiteY1217" fmla="*/ 5292515 h 6858000"/>
              <a:gd name="connsiteX1218" fmla="*/ 4380369 w 12188651"/>
              <a:gd name="connsiteY1218" fmla="*/ 4915677 h 6858000"/>
              <a:gd name="connsiteX1219" fmla="*/ 10883981 w 12188651"/>
              <a:gd name="connsiteY1219" fmla="*/ 4727322 h 6858000"/>
              <a:gd name="connsiteX1220" fmla="*/ 11209441 w 12188651"/>
              <a:gd name="connsiteY1220" fmla="*/ 4915678 h 6858000"/>
              <a:gd name="connsiteX1221" fmla="*/ 11209441 w 12188651"/>
              <a:gd name="connsiteY1221" fmla="*/ 5292520 h 6858000"/>
              <a:gd name="connsiteX1222" fmla="*/ 10883981 w 12188651"/>
              <a:gd name="connsiteY1222" fmla="*/ 5104164 h 6858000"/>
              <a:gd name="connsiteX1223" fmla="*/ 10867636 w 12188651"/>
              <a:gd name="connsiteY1223" fmla="*/ 4727322 h 6858000"/>
              <a:gd name="connsiteX1224" fmla="*/ 10867636 w 12188651"/>
              <a:gd name="connsiteY1224" fmla="*/ 5104164 h 6858000"/>
              <a:gd name="connsiteX1225" fmla="*/ 10542045 w 12188651"/>
              <a:gd name="connsiteY1225" fmla="*/ 5292521 h 6858000"/>
              <a:gd name="connsiteX1226" fmla="*/ 10542045 w 12188651"/>
              <a:gd name="connsiteY1226" fmla="*/ 4915678 h 6858000"/>
              <a:gd name="connsiteX1227" fmla="*/ 8830033 w 12188651"/>
              <a:gd name="connsiteY1227" fmla="*/ 4727322 h 6858000"/>
              <a:gd name="connsiteX1228" fmla="*/ 9155493 w 12188651"/>
              <a:gd name="connsiteY1228" fmla="*/ 4915678 h 6858000"/>
              <a:gd name="connsiteX1229" fmla="*/ 9155493 w 12188651"/>
              <a:gd name="connsiteY1229" fmla="*/ 5292520 h 6858000"/>
              <a:gd name="connsiteX1230" fmla="*/ 8830033 w 12188651"/>
              <a:gd name="connsiteY1230" fmla="*/ 5104164 h 6858000"/>
              <a:gd name="connsiteX1231" fmla="*/ 8813688 w 12188651"/>
              <a:gd name="connsiteY1231" fmla="*/ 4727322 h 6858000"/>
              <a:gd name="connsiteX1232" fmla="*/ 8813688 w 12188651"/>
              <a:gd name="connsiteY1232" fmla="*/ 5104164 h 6858000"/>
              <a:gd name="connsiteX1233" fmla="*/ 8488098 w 12188651"/>
              <a:gd name="connsiteY1233" fmla="*/ 5292520 h 6858000"/>
              <a:gd name="connsiteX1234" fmla="*/ 8488098 w 12188651"/>
              <a:gd name="connsiteY1234" fmla="*/ 4915678 h 6858000"/>
              <a:gd name="connsiteX1235" fmla="*/ 6776215 w 12188651"/>
              <a:gd name="connsiteY1235" fmla="*/ 4727322 h 6858000"/>
              <a:gd name="connsiteX1236" fmla="*/ 7101677 w 12188651"/>
              <a:gd name="connsiteY1236" fmla="*/ 4915678 h 6858000"/>
              <a:gd name="connsiteX1237" fmla="*/ 7101677 w 12188651"/>
              <a:gd name="connsiteY1237" fmla="*/ 5292521 h 6858000"/>
              <a:gd name="connsiteX1238" fmla="*/ 6776215 w 12188651"/>
              <a:gd name="connsiteY1238" fmla="*/ 5104164 h 6858000"/>
              <a:gd name="connsiteX1239" fmla="*/ 6759871 w 12188651"/>
              <a:gd name="connsiteY1239" fmla="*/ 4727322 h 6858000"/>
              <a:gd name="connsiteX1240" fmla="*/ 6759871 w 12188651"/>
              <a:gd name="connsiteY1240" fmla="*/ 5104164 h 6858000"/>
              <a:gd name="connsiteX1241" fmla="*/ 6434280 w 12188651"/>
              <a:gd name="connsiteY1241" fmla="*/ 5292521 h 6858000"/>
              <a:gd name="connsiteX1242" fmla="*/ 6434280 w 12188651"/>
              <a:gd name="connsiteY1242" fmla="*/ 4915678 h 6858000"/>
              <a:gd name="connsiteX1243" fmla="*/ 3344069 w 12188651"/>
              <a:gd name="connsiteY1243" fmla="*/ 4722530 h 6858000"/>
              <a:gd name="connsiteX1244" fmla="*/ 3677814 w 12188651"/>
              <a:gd name="connsiteY1244" fmla="*/ 4915678 h 6858000"/>
              <a:gd name="connsiteX1245" fmla="*/ 3677814 w 12188651"/>
              <a:gd name="connsiteY1245" fmla="*/ 5301992 h 6858000"/>
              <a:gd name="connsiteX1246" fmla="*/ 3344201 w 12188651"/>
              <a:gd name="connsiteY1246" fmla="*/ 5495140 h 6858000"/>
              <a:gd name="connsiteX1247" fmla="*/ 3010451 w 12188651"/>
              <a:gd name="connsiteY1247" fmla="*/ 5301991 h 6858000"/>
              <a:gd name="connsiteX1248" fmla="*/ 3010451 w 12188651"/>
              <a:gd name="connsiteY1248" fmla="*/ 4915677 h 6858000"/>
              <a:gd name="connsiteX1249" fmla="*/ 1290091 w 12188651"/>
              <a:gd name="connsiteY1249" fmla="*/ 4722529 h 6858000"/>
              <a:gd name="connsiteX1250" fmla="*/ 1623841 w 12188651"/>
              <a:gd name="connsiteY1250" fmla="*/ 4915678 h 6858000"/>
              <a:gd name="connsiteX1251" fmla="*/ 1623841 w 12188651"/>
              <a:gd name="connsiteY1251" fmla="*/ 5301992 h 6858000"/>
              <a:gd name="connsiteX1252" fmla="*/ 1290221 w 12188651"/>
              <a:gd name="connsiteY1252" fmla="*/ 5495140 h 6858000"/>
              <a:gd name="connsiteX1253" fmla="*/ 956471 w 12188651"/>
              <a:gd name="connsiteY1253" fmla="*/ 5301991 h 6858000"/>
              <a:gd name="connsiteX1254" fmla="*/ 956471 w 12188651"/>
              <a:gd name="connsiteY1254" fmla="*/ 4915677 h 6858000"/>
              <a:gd name="connsiteX1255" fmla="*/ 5397866 w 12188651"/>
              <a:gd name="connsiteY1255" fmla="*/ 4722526 h 6858000"/>
              <a:gd name="connsiteX1256" fmla="*/ 5731614 w 12188651"/>
              <a:gd name="connsiteY1256" fmla="*/ 4915678 h 6858000"/>
              <a:gd name="connsiteX1257" fmla="*/ 5731614 w 12188651"/>
              <a:gd name="connsiteY1257" fmla="*/ 5301991 h 6858000"/>
              <a:gd name="connsiteX1258" fmla="*/ 5571733 w 12188651"/>
              <a:gd name="connsiteY1258" fmla="*/ 5394557 h 6858000"/>
              <a:gd name="connsiteX1259" fmla="*/ 5398006 w 12188651"/>
              <a:gd name="connsiteY1259" fmla="*/ 5495143 h 6858000"/>
              <a:gd name="connsiteX1260" fmla="*/ 5064265 w 12188651"/>
              <a:gd name="connsiteY1260" fmla="*/ 5301991 h 6858000"/>
              <a:gd name="connsiteX1261" fmla="*/ 5064265 w 12188651"/>
              <a:gd name="connsiteY1261" fmla="*/ 4915677 h 6858000"/>
              <a:gd name="connsiteX1262" fmla="*/ 11559549 w 12188651"/>
              <a:gd name="connsiteY1262" fmla="*/ 4722522 h 6858000"/>
              <a:gd name="connsiteX1263" fmla="*/ 11893312 w 12188651"/>
              <a:gd name="connsiteY1263" fmla="*/ 4915678 h 6858000"/>
              <a:gd name="connsiteX1264" fmla="*/ 11893312 w 12188651"/>
              <a:gd name="connsiteY1264" fmla="*/ 5301991 h 6858000"/>
              <a:gd name="connsiteX1265" fmla="*/ 11559680 w 12188651"/>
              <a:gd name="connsiteY1265" fmla="*/ 5495147 h 6858000"/>
              <a:gd name="connsiteX1266" fmla="*/ 11225916 w 12188651"/>
              <a:gd name="connsiteY1266" fmla="*/ 5301991 h 6858000"/>
              <a:gd name="connsiteX1267" fmla="*/ 11225916 w 12188651"/>
              <a:gd name="connsiteY1267" fmla="*/ 4915678 h 6858000"/>
              <a:gd name="connsiteX1268" fmla="*/ 9505601 w 12188651"/>
              <a:gd name="connsiteY1268" fmla="*/ 4722522 h 6858000"/>
              <a:gd name="connsiteX1269" fmla="*/ 9839364 w 12188651"/>
              <a:gd name="connsiteY1269" fmla="*/ 4915678 h 6858000"/>
              <a:gd name="connsiteX1270" fmla="*/ 9839364 w 12188651"/>
              <a:gd name="connsiteY1270" fmla="*/ 5301991 h 6858000"/>
              <a:gd name="connsiteX1271" fmla="*/ 9505731 w 12188651"/>
              <a:gd name="connsiteY1271" fmla="*/ 5495147 h 6858000"/>
              <a:gd name="connsiteX1272" fmla="*/ 9171969 w 12188651"/>
              <a:gd name="connsiteY1272" fmla="*/ 5301991 h 6858000"/>
              <a:gd name="connsiteX1273" fmla="*/ 9171969 w 12188651"/>
              <a:gd name="connsiteY1273" fmla="*/ 4915678 h 6858000"/>
              <a:gd name="connsiteX1274" fmla="*/ 7451785 w 12188651"/>
              <a:gd name="connsiteY1274" fmla="*/ 4722522 h 6858000"/>
              <a:gd name="connsiteX1275" fmla="*/ 7785548 w 12188651"/>
              <a:gd name="connsiteY1275" fmla="*/ 4915678 h 6858000"/>
              <a:gd name="connsiteX1276" fmla="*/ 7785548 w 12188651"/>
              <a:gd name="connsiteY1276" fmla="*/ 5301991 h 6858000"/>
              <a:gd name="connsiteX1277" fmla="*/ 7451915 w 12188651"/>
              <a:gd name="connsiteY1277" fmla="*/ 5495147 h 6858000"/>
              <a:gd name="connsiteX1278" fmla="*/ 7118150 w 12188651"/>
              <a:gd name="connsiteY1278" fmla="*/ 5301991 h 6858000"/>
              <a:gd name="connsiteX1279" fmla="*/ 7118150 w 12188651"/>
              <a:gd name="connsiteY1279" fmla="*/ 4915678 h 6858000"/>
              <a:gd name="connsiteX1280" fmla="*/ 4029112 w 12188651"/>
              <a:gd name="connsiteY1280" fmla="*/ 4722135 h 6858000"/>
              <a:gd name="connsiteX1281" fmla="*/ 4362838 w 12188651"/>
              <a:gd name="connsiteY1281" fmla="*/ 4915290 h 6858000"/>
              <a:gd name="connsiteX1282" fmla="*/ 4362838 w 12188651"/>
              <a:gd name="connsiteY1282" fmla="*/ 5301473 h 6858000"/>
              <a:gd name="connsiteX1283" fmla="*/ 4337499 w 12188651"/>
              <a:gd name="connsiteY1283" fmla="*/ 5316139 h 6858000"/>
              <a:gd name="connsiteX1284" fmla="*/ 4029115 w 12188651"/>
              <a:gd name="connsiteY1284" fmla="*/ 5494627 h 6858000"/>
              <a:gd name="connsiteX1285" fmla="*/ 3695358 w 12188651"/>
              <a:gd name="connsiteY1285" fmla="*/ 5301472 h 6858000"/>
              <a:gd name="connsiteX1286" fmla="*/ 3695358 w 12188651"/>
              <a:gd name="connsiteY1286" fmla="*/ 4915289 h 6858000"/>
              <a:gd name="connsiteX1287" fmla="*/ 1975140 w 12188651"/>
              <a:gd name="connsiteY1287" fmla="*/ 4722135 h 6858000"/>
              <a:gd name="connsiteX1288" fmla="*/ 2308909 w 12188651"/>
              <a:gd name="connsiteY1288" fmla="*/ 4915290 h 6858000"/>
              <a:gd name="connsiteX1289" fmla="*/ 2308909 w 12188651"/>
              <a:gd name="connsiteY1289" fmla="*/ 5301473 h 6858000"/>
              <a:gd name="connsiteX1290" fmla="*/ 1975142 w 12188651"/>
              <a:gd name="connsiteY1290" fmla="*/ 5494627 h 6858000"/>
              <a:gd name="connsiteX1291" fmla="*/ 1641381 w 12188651"/>
              <a:gd name="connsiteY1291" fmla="*/ 5301472 h 6858000"/>
              <a:gd name="connsiteX1292" fmla="*/ 1641381 w 12188651"/>
              <a:gd name="connsiteY1292" fmla="*/ 4915289 h 6858000"/>
              <a:gd name="connsiteX1293" fmla="*/ 10190640 w 12188651"/>
              <a:gd name="connsiteY1293" fmla="*/ 4722133 h 6858000"/>
              <a:gd name="connsiteX1294" fmla="*/ 10524404 w 12188651"/>
              <a:gd name="connsiteY1294" fmla="*/ 4915290 h 6858000"/>
              <a:gd name="connsiteX1295" fmla="*/ 10524404 w 12188651"/>
              <a:gd name="connsiteY1295" fmla="*/ 5301472 h 6858000"/>
              <a:gd name="connsiteX1296" fmla="*/ 10190640 w 12188651"/>
              <a:gd name="connsiteY1296" fmla="*/ 5494629 h 6858000"/>
              <a:gd name="connsiteX1297" fmla="*/ 9856876 w 12188651"/>
              <a:gd name="connsiteY1297" fmla="*/ 5301472 h 6858000"/>
              <a:gd name="connsiteX1298" fmla="*/ 9856876 w 12188651"/>
              <a:gd name="connsiteY1298" fmla="*/ 4915290 h 6858000"/>
              <a:gd name="connsiteX1299" fmla="*/ 8136693 w 12188651"/>
              <a:gd name="connsiteY1299" fmla="*/ 4722133 h 6858000"/>
              <a:gd name="connsiteX1300" fmla="*/ 8470456 w 12188651"/>
              <a:gd name="connsiteY1300" fmla="*/ 4915290 h 6858000"/>
              <a:gd name="connsiteX1301" fmla="*/ 8470456 w 12188651"/>
              <a:gd name="connsiteY1301" fmla="*/ 5301472 h 6858000"/>
              <a:gd name="connsiteX1302" fmla="*/ 8136693 w 12188651"/>
              <a:gd name="connsiteY1302" fmla="*/ 5494629 h 6858000"/>
              <a:gd name="connsiteX1303" fmla="*/ 7802930 w 12188651"/>
              <a:gd name="connsiteY1303" fmla="*/ 5301472 h 6858000"/>
              <a:gd name="connsiteX1304" fmla="*/ 7802930 w 12188651"/>
              <a:gd name="connsiteY1304" fmla="*/ 4915290 h 6858000"/>
              <a:gd name="connsiteX1305" fmla="*/ 6082876 w 12188651"/>
              <a:gd name="connsiteY1305" fmla="*/ 4722133 h 6858000"/>
              <a:gd name="connsiteX1306" fmla="*/ 6416638 w 12188651"/>
              <a:gd name="connsiteY1306" fmla="*/ 4915290 h 6858000"/>
              <a:gd name="connsiteX1307" fmla="*/ 6416638 w 12188651"/>
              <a:gd name="connsiteY1307" fmla="*/ 5301472 h 6858000"/>
              <a:gd name="connsiteX1308" fmla="*/ 6082876 w 12188651"/>
              <a:gd name="connsiteY1308" fmla="*/ 5494629 h 6858000"/>
              <a:gd name="connsiteX1309" fmla="*/ 5749136 w 12188651"/>
              <a:gd name="connsiteY1309" fmla="*/ 5301472 h 6858000"/>
              <a:gd name="connsiteX1310" fmla="*/ 5749136 w 12188651"/>
              <a:gd name="connsiteY1310" fmla="*/ 4915289 h 6858000"/>
              <a:gd name="connsiteX1311" fmla="*/ 5849860 w 12188651"/>
              <a:gd name="connsiteY1311" fmla="*/ 4856993 h 6858000"/>
              <a:gd name="connsiteX1312" fmla="*/ 3687311 w 12188651"/>
              <a:gd name="connsiteY1312" fmla="*/ 4524307 h 6858000"/>
              <a:gd name="connsiteX1313" fmla="*/ 4012766 w 12188651"/>
              <a:gd name="connsiteY1313" fmla="*/ 4712663 h 6858000"/>
              <a:gd name="connsiteX1314" fmla="*/ 3687184 w 12188651"/>
              <a:gd name="connsiteY1314" fmla="*/ 4901018 h 6858000"/>
              <a:gd name="connsiteX1315" fmla="*/ 3361728 w 12188651"/>
              <a:gd name="connsiteY1315" fmla="*/ 4712662 h 6858000"/>
              <a:gd name="connsiteX1316" fmla="*/ 1633335 w 12188651"/>
              <a:gd name="connsiteY1316" fmla="*/ 4524307 h 6858000"/>
              <a:gd name="connsiteX1317" fmla="*/ 1958793 w 12188651"/>
              <a:gd name="connsiteY1317" fmla="*/ 4712663 h 6858000"/>
              <a:gd name="connsiteX1318" fmla="*/ 1633206 w 12188651"/>
              <a:gd name="connsiteY1318" fmla="*/ 4901018 h 6858000"/>
              <a:gd name="connsiteX1319" fmla="*/ 1307748 w 12188651"/>
              <a:gd name="connsiteY1319" fmla="*/ 4712662 h 6858000"/>
              <a:gd name="connsiteX1320" fmla="*/ 11902654 w 12188651"/>
              <a:gd name="connsiteY1320" fmla="*/ 4524306 h 6858000"/>
              <a:gd name="connsiteX1321" fmla="*/ 12188651 w 12188651"/>
              <a:gd name="connsiteY1321" fmla="*/ 4689824 h 6858000"/>
              <a:gd name="connsiteX1322" fmla="*/ 12188651 w 12188651"/>
              <a:gd name="connsiteY1322" fmla="*/ 4735492 h 6858000"/>
              <a:gd name="connsiteX1323" fmla="*/ 11902524 w 12188651"/>
              <a:gd name="connsiteY1323" fmla="*/ 4901019 h 6858000"/>
              <a:gd name="connsiteX1324" fmla="*/ 11577062 w 12188651"/>
              <a:gd name="connsiteY1324" fmla="*/ 4712663 h 6858000"/>
              <a:gd name="connsiteX1325" fmla="*/ 9848833 w 12188651"/>
              <a:gd name="connsiteY1325" fmla="*/ 4524306 h 6858000"/>
              <a:gd name="connsiteX1326" fmla="*/ 10174295 w 12188651"/>
              <a:gd name="connsiteY1326" fmla="*/ 4712663 h 6858000"/>
              <a:gd name="connsiteX1327" fmla="*/ 9848703 w 12188651"/>
              <a:gd name="connsiteY1327" fmla="*/ 4901019 h 6858000"/>
              <a:gd name="connsiteX1328" fmla="*/ 9523243 w 12188651"/>
              <a:gd name="connsiteY1328" fmla="*/ 4712663 h 6858000"/>
              <a:gd name="connsiteX1329" fmla="*/ 7794888 w 12188651"/>
              <a:gd name="connsiteY1329" fmla="*/ 4524306 h 6858000"/>
              <a:gd name="connsiteX1330" fmla="*/ 8120347 w 12188651"/>
              <a:gd name="connsiteY1330" fmla="*/ 4712663 h 6858000"/>
              <a:gd name="connsiteX1331" fmla="*/ 7794758 w 12188651"/>
              <a:gd name="connsiteY1331" fmla="*/ 4901019 h 6858000"/>
              <a:gd name="connsiteX1332" fmla="*/ 7469298 w 12188651"/>
              <a:gd name="connsiteY1332" fmla="*/ 4712663 h 6858000"/>
              <a:gd name="connsiteX1333" fmla="*/ 5741090 w 12188651"/>
              <a:gd name="connsiteY1333" fmla="*/ 4524306 h 6858000"/>
              <a:gd name="connsiteX1334" fmla="*/ 6066531 w 12188651"/>
              <a:gd name="connsiteY1334" fmla="*/ 4712663 h 6858000"/>
              <a:gd name="connsiteX1335" fmla="*/ 5740963 w 12188651"/>
              <a:gd name="connsiteY1335" fmla="*/ 4901019 h 6858000"/>
              <a:gd name="connsiteX1336" fmla="*/ 5415520 w 12188651"/>
              <a:gd name="connsiteY1336" fmla="*/ 4712662 h 6858000"/>
              <a:gd name="connsiteX1337" fmla="*/ 2898361 w 12188651"/>
              <a:gd name="connsiteY1337" fmla="*/ 4360472 h 6858000"/>
              <a:gd name="connsiteX1338" fmla="*/ 2926109 w 12188651"/>
              <a:gd name="connsiteY1338" fmla="*/ 4372012 h 6858000"/>
              <a:gd name="connsiteX1339" fmla="*/ 2990709 w 12188651"/>
              <a:gd name="connsiteY1339" fmla="*/ 4436743 h 6858000"/>
              <a:gd name="connsiteX1340" fmla="*/ 3002253 w 12188651"/>
              <a:gd name="connsiteY1340" fmla="*/ 4448418 h 6858000"/>
              <a:gd name="connsiteX1341" fmla="*/ 3002263 w 12188651"/>
              <a:gd name="connsiteY1341" fmla="*/ 4448406 h 6858000"/>
              <a:gd name="connsiteX1342" fmla="*/ 3002276 w 12188651"/>
              <a:gd name="connsiteY1342" fmla="*/ 4448418 h 6858000"/>
              <a:gd name="connsiteX1343" fmla="*/ 3013818 w 12188651"/>
              <a:gd name="connsiteY1343" fmla="*/ 4436743 h 6858000"/>
              <a:gd name="connsiteX1344" fmla="*/ 3078289 w 12188651"/>
              <a:gd name="connsiteY1344" fmla="*/ 4372012 h 6858000"/>
              <a:gd name="connsiteX1345" fmla="*/ 3106038 w 12188651"/>
              <a:gd name="connsiteY1345" fmla="*/ 4360472 h 6858000"/>
              <a:gd name="connsiteX1346" fmla="*/ 3133656 w 12188651"/>
              <a:gd name="connsiteY1346" fmla="*/ 4372012 h 6858000"/>
              <a:gd name="connsiteX1347" fmla="*/ 3212135 w 12188651"/>
              <a:gd name="connsiteY1347" fmla="*/ 4450623 h 6858000"/>
              <a:gd name="connsiteX1348" fmla="*/ 3223679 w 12188651"/>
              <a:gd name="connsiteY1348" fmla="*/ 4478384 h 6858000"/>
              <a:gd name="connsiteX1349" fmla="*/ 3212265 w 12188651"/>
              <a:gd name="connsiteY1349" fmla="*/ 4506145 h 6858000"/>
              <a:gd name="connsiteX1350" fmla="*/ 3002263 w 12188651"/>
              <a:gd name="connsiteY1350" fmla="*/ 4716542 h 6858000"/>
              <a:gd name="connsiteX1351" fmla="*/ 2792265 w 12188651"/>
              <a:gd name="connsiteY1351" fmla="*/ 4506145 h 6858000"/>
              <a:gd name="connsiteX1352" fmla="*/ 2792265 w 12188651"/>
              <a:gd name="connsiteY1352" fmla="*/ 4450753 h 6858000"/>
              <a:gd name="connsiteX1353" fmla="*/ 2870741 w 12188651"/>
              <a:gd name="connsiteY1353" fmla="*/ 4372012 h 6858000"/>
              <a:gd name="connsiteX1354" fmla="*/ 844383 w 12188651"/>
              <a:gd name="connsiteY1354" fmla="*/ 4360472 h 6858000"/>
              <a:gd name="connsiteX1355" fmla="*/ 872131 w 12188651"/>
              <a:gd name="connsiteY1355" fmla="*/ 4372012 h 6858000"/>
              <a:gd name="connsiteX1356" fmla="*/ 936730 w 12188651"/>
              <a:gd name="connsiteY1356" fmla="*/ 4436743 h 6858000"/>
              <a:gd name="connsiteX1357" fmla="*/ 948275 w 12188651"/>
              <a:gd name="connsiteY1357" fmla="*/ 4448418 h 6858000"/>
              <a:gd name="connsiteX1358" fmla="*/ 948287 w 12188651"/>
              <a:gd name="connsiteY1358" fmla="*/ 4448407 h 6858000"/>
              <a:gd name="connsiteX1359" fmla="*/ 948298 w 12188651"/>
              <a:gd name="connsiteY1359" fmla="*/ 4448418 h 6858000"/>
              <a:gd name="connsiteX1360" fmla="*/ 959843 w 12188651"/>
              <a:gd name="connsiteY1360" fmla="*/ 4436743 h 6858000"/>
              <a:gd name="connsiteX1361" fmla="*/ 1024312 w 12188651"/>
              <a:gd name="connsiteY1361" fmla="*/ 4372012 h 6858000"/>
              <a:gd name="connsiteX1362" fmla="*/ 1052060 w 12188651"/>
              <a:gd name="connsiteY1362" fmla="*/ 4360472 h 6858000"/>
              <a:gd name="connsiteX1363" fmla="*/ 1079679 w 12188651"/>
              <a:gd name="connsiteY1363" fmla="*/ 4372012 h 6858000"/>
              <a:gd name="connsiteX1364" fmla="*/ 1158157 w 12188651"/>
              <a:gd name="connsiteY1364" fmla="*/ 4450623 h 6858000"/>
              <a:gd name="connsiteX1365" fmla="*/ 1169703 w 12188651"/>
              <a:gd name="connsiteY1365" fmla="*/ 4478384 h 6858000"/>
              <a:gd name="connsiteX1366" fmla="*/ 1158288 w 12188651"/>
              <a:gd name="connsiteY1366" fmla="*/ 4506145 h 6858000"/>
              <a:gd name="connsiteX1367" fmla="*/ 948287 w 12188651"/>
              <a:gd name="connsiteY1367" fmla="*/ 4716543 h 6858000"/>
              <a:gd name="connsiteX1368" fmla="*/ 738286 w 12188651"/>
              <a:gd name="connsiteY1368" fmla="*/ 4506145 h 6858000"/>
              <a:gd name="connsiteX1369" fmla="*/ 738286 w 12188651"/>
              <a:gd name="connsiteY1369" fmla="*/ 4450753 h 6858000"/>
              <a:gd name="connsiteX1370" fmla="*/ 816763 w 12188651"/>
              <a:gd name="connsiteY1370" fmla="*/ 4372012 h 6858000"/>
              <a:gd name="connsiteX1371" fmla="*/ 4952155 w 12188651"/>
              <a:gd name="connsiteY1371" fmla="*/ 4360469 h 6858000"/>
              <a:gd name="connsiteX1372" fmla="*/ 4979914 w 12188651"/>
              <a:gd name="connsiteY1372" fmla="*/ 4372012 h 6858000"/>
              <a:gd name="connsiteX1373" fmla="*/ 5044521 w 12188651"/>
              <a:gd name="connsiteY1373" fmla="*/ 4436743 h 6858000"/>
              <a:gd name="connsiteX1374" fmla="*/ 5056064 w 12188651"/>
              <a:gd name="connsiteY1374" fmla="*/ 4448418 h 6858000"/>
              <a:gd name="connsiteX1375" fmla="*/ 5056083 w 12188651"/>
              <a:gd name="connsiteY1375" fmla="*/ 4448408 h 6858000"/>
              <a:gd name="connsiteX1376" fmla="*/ 5056087 w 12188651"/>
              <a:gd name="connsiteY1376" fmla="*/ 4448418 h 6858000"/>
              <a:gd name="connsiteX1377" fmla="*/ 5067642 w 12188651"/>
              <a:gd name="connsiteY1377" fmla="*/ 4436743 h 6858000"/>
              <a:gd name="connsiteX1378" fmla="*/ 5132091 w 12188651"/>
              <a:gd name="connsiteY1378" fmla="*/ 4372012 h 6858000"/>
              <a:gd name="connsiteX1379" fmla="*/ 5159834 w 12188651"/>
              <a:gd name="connsiteY1379" fmla="*/ 4360469 h 6858000"/>
              <a:gd name="connsiteX1380" fmla="*/ 5187464 w 12188651"/>
              <a:gd name="connsiteY1380" fmla="*/ 4372012 h 6858000"/>
              <a:gd name="connsiteX1381" fmla="*/ 5265932 w 12188651"/>
              <a:gd name="connsiteY1381" fmla="*/ 4450623 h 6858000"/>
              <a:gd name="connsiteX1382" fmla="*/ 5277479 w 12188651"/>
              <a:gd name="connsiteY1382" fmla="*/ 4478384 h 6858000"/>
              <a:gd name="connsiteX1383" fmla="*/ 5266071 w 12188651"/>
              <a:gd name="connsiteY1383" fmla="*/ 4506145 h 6858000"/>
              <a:gd name="connsiteX1384" fmla="*/ 5056083 w 12188651"/>
              <a:gd name="connsiteY1384" fmla="*/ 4716544 h 6858000"/>
              <a:gd name="connsiteX1385" fmla="*/ 4846044 w 12188651"/>
              <a:gd name="connsiteY1385" fmla="*/ 4506145 h 6858000"/>
              <a:gd name="connsiteX1386" fmla="*/ 4846044 w 12188651"/>
              <a:gd name="connsiteY1386" fmla="*/ 4450753 h 6858000"/>
              <a:gd name="connsiteX1387" fmla="*/ 4924518 w 12188651"/>
              <a:gd name="connsiteY1387" fmla="*/ 4372012 h 6858000"/>
              <a:gd name="connsiteX1388" fmla="*/ 11113840 w 12188651"/>
              <a:gd name="connsiteY1388" fmla="*/ 4360467 h 6858000"/>
              <a:gd name="connsiteX1389" fmla="*/ 11141600 w 12188651"/>
              <a:gd name="connsiteY1389" fmla="*/ 4372012 h 6858000"/>
              <a:gd name="connsiteX1390" fmla="*/ 11206199 w 12188651"/>
              <a:gd name="connsiteY1390" fmla="*/ 4436743 h 6858000"/>
              <a:gd name="connsiteX1391" fmla="*/ 11217744 w 12188651"/>
              <a:gd name="connsiteY1391" fmla="*/ 4448418 h 6858000"/>
              <a:gd name="connsiteX1392" fmla="*/ 11229289 w 12188651"/>
              <a:gd name="connsiteY1392" fmla="*/ 4436743 h 6858000"/>
              <a:gd name="connsiteX1393" fmla="*/ 11293758 w 12188651"/>
              <a:gd name="connsiteY1393" fmla="*/ 4372012 h 6858000"/>
              <a:gd name="connsiteX1394" fmla="*/ 11321517 w 12188651"/>
              <a:gd name="connsiteY1394" fmla="*/ 4360467 h 6858000"/>
              <a:gd name="connsiteX1395" fmla="*/ 11349147 w 12188651"/>
              <a:gd name="connsiteY1395" fmla="*/ 4372012 h 6858000"/>
              <a:gd name="connsiteX1396" fmla="*/ 11427627 w 12188651"/>
              <a:gd name="connsiteY1396" fmla="*/ 4450623 h 6858000"/>
              <a:gd name="connsiteX1397" fmla="*/ 11439172 w 12188651"/>
              <a:gd name="connsiteY1397" fmla="*/ 4478384 h 6858000"/>
              <a:gd name="connsiteX1398" fmla="*/ 11427757 w 12188651"/>
              <a:gd name="connsiteY1398" fmla="*/ 4506145 h 6858000"/>
              <a:gd name="connsiteX1399" fmla="*/ 11217744 w 12188651"/>
              <a:gd name="connsiteY1399" fmla="*/ 4716554 h 6858000"/>
              <a:gd name="connsiteX1400" fmla="*/ 11007731 w 12188651"/>
              <a:gd name="connsiteY1400" fmla="*/ 4506145 h 6858000"/>
              <a:gd name="connsiteX1401" fmla="*/ 11007731 w 12188651"/>
              <a:gd name="connsiteY1401" fmla="*/ 4450753 h 6858000"/>
              <a:gd name="connsiteX1402" fmla="*/ 11086210 w 12188651"/>
              <a:gd name="connsiteY1402" fmla="*/ 4372012 h 6858000"/>
              <a:gd name="connsiteX1403" fmla="*/ 11113840 w 12188651"/>
              <a:gd name="connsiteY1403" fmla="*/ 4360467 h 6858000"/>
              <a:gd name="connsiteX1404" fmla="*/ 9059893 w 12188651"/>
              <a:gd name="connsiteY1404" fmla="*/ 4360467 h 6858000"/>
              <a:gd name="connsiteX1405" fmla="*/ 9087652 w 12188651"/>
              <a:gd name="connsiteY1405" fmla="*/ 4372012 h 6858000"/>
              <a:gd name="connsiteX1406" fmla="*/ 9152251 w 12188651"/>
              <a:gd name="connsiteY1406" fmla="*/ 4436743 h 6858000"/>
              <a:gd name="connsiteX1407" fmla="*/ 9163796 w 12188651"/>
              <a:gd name="connsiteY1407" fmla="*/ 4448418 h 6858000"/>
              <a:gd name="connsiteX1408" fmla="*/ 9163797 w 12188651"/>
              <a:gd name="connsiteY1408" fmla="*/ 4448418 h 6858000"/>
              <a:gd name="connsiteX1409" fmla="*/ 9175342 w 12188651"/>
              <a:gd name="connsiteY1409" fmla="*/ 4436743 h 6858000"/>
              <a:gd name="connsiteX1410" fmla="*/ 9239811 w 12188651"/>
              <a:gd name="connsiteY1410" fmla="*/ 4372012 h 6858000"/>
              <a:gd name="connsiteX1411" fmla="*/ 9267571 w 12188651"/>
              <a:gd name="connsiteY1411" fmla="*/ 4360467 h 6858000"/>
              <a:gd name="connsiteX1412" fmla="*/ 9295200 w 12188651"/>
              <a:gd name="connsiteY1412" fmla="*/ 4372012 h 6858000"/>
              <a:gd name="connsiteX1413" fmla="*/ 9373678 w 12188651"/>
              <a:gd name="connsiteY1413" fmla="*/ 4450623 h 6858000"/>
              <a:gd name="connsiteX1414" fmla="*/ 9385223 w 12188651"/>
              <a:gd name="connsiteY1414" fmla="*/ 4478384 h 6858000"/>
              <a:gd name="connsiteX1415" fmla="*/ 9373808 w 12188651"/>
              <a:gd name="connsiteY1415" fmla="*/ 4506145 h 6858000"/>
              <a:gd name="connsiteX1416" fmla="*/ 9163796 w 12188651"/>
              <a:gd name="connsiteY1416" fmla="*/ 4716554 h 6858000"/>
              <a:gd name="connsiteX1417" fmla="*/ 8953784 w 12188651"/>
              <a:gd name="connsiteY1417" fmla="*/ 4506145 h 6858000"/>
              <a:gd name="connsiteX1418" fmla="*/ 8953784 w 12188651"/>
              <a:gd name="connsiteY1418" fmla="*/ 4450753 h 6858000"/>
              <a:gd name="connsiteX1419" fmla="*/ 9032264 w 12188651"/>
              <a:gd name="connsiteY1419" fmla="*/ 4372012 h 6858000"/>
              <a:gd name="connsiteX1420" fmla="*/ 7006076 w 12188651"/>
              <a:gd name="connsiteY1420" fmla="*/ 4360467 h 6858000"/>
              <a:gd name="connsiteX1421" fmla="*/ 7033834 w 12188651"/>
              <a:gd name="connsiteY1421" fmla="*/ 4372012 h 6858000"/>
              <a:gd name="connsiteX1422" fmla="*/ 7098434 w 12188651"/>
              <a:gd name="connsiteY1422" fmla="*/ 4436743 h 6858000"/>
              <a:gd name="connsiteX1423" fmla="*/ 7109978 w 12188651"/>
              <a:gd name="connsiteY1423" fmla="*/ 4448418 h 6858000"/>
              <a:gd name="connsiteX1424" fmla="*/ 7121523 w 12188651"/>
              <a:gd name="connsiteY1424" fmla="*/ 4436743 h 6858000"/>
              <a:gd name="connsiteX1425" fmla="*/ 7185994 w 12188651"/>
              <a:gd name="connsiteY1425" fmla="*/ 4372012 h 6858000"/>
              <a:gd name="connsiteX1426" fmla="*/ 7213751 w 12188651"/>
              <a:gd name="connsiteY1426" fmla="*/ 4360467 h 6858000"/>
              <a:gd name="connsiteX1427" fmla="*/ 7241381 w 12188651"/>
              <a:gd name="connsiteY1427" fmla="*/ 4372012 h 6858000"/>
              <a:gd name="connsiteX1428" fmla="*/ 7319862 w 12188651"/>
              <a:gd name="connsiteY1428" fmla="*/ 4450623 h 6858000"/>
              <a:gd name="connsiteX1429" fmla="*/ 7331407 w 12188651"/>
              <a:gd name="connsiteY1429" fmla="*/ 4478384 h 6858000"/>
              <a:gd name="connsiteX1430" fmla="*/ 7319992 w 12188651"/>
              <a:gd name="connsiteY1430" fmla="*/ 4506145 h 6858000"/>
              <a:gd name="connsiteX1431" fmla="*/ 7109978 w 12188651"/>
              <a:gd name="connsiteY1431" fmla="*/ 4716554 h 6858000"/>
              <a:gd name="connsiteX1432" fmla="*/ 6899966 w 12188651"/>
              <a:gd name="connsiteY1432" fmla="*/ 4506145 h 6858000"/>
              <a:gd name="connsiteX1433" fmla="*/ 6899966 w 12188651"/>
              <a:gd name="connsiteY1433" fmla="*/ 4450753 h 6858000"/>
              <a:gd name="connsiteX1434" fmla="*/ 6978446 w 12188651"/>
              <a:gd name="connsiteY1434" fmla="*/ 4372012 h 6858000"/>
              <a:gd name="connsiteX1435" fmla="*/ 7006076 w 12188651"/>
              <a:gd name="connsiteY1435" fmla="*/ 4360467 h 6858000"/>
              <a:gd name="connsiteX1436" fmla="*/ 11113840 w 12188651"/>
              <a:gd name="connsiteY1436" fmla="*/ 4343992 h 6858000"/>
              <a:gd name="connsiteX1437" fmla="*/ 11074665 w 12188651"/>
              <a:gd name="connsiteY1437" fmla="*/ 4360336 h 6858000"/>
              <a:gd name="connsiteX1438" fmla="*/ 10996186 w 12188651"/>
              <a:gd name="connsiteY1438" fmla="*/ 4439078 h 6858000"/>
              <a:gd name="connsiteX1439" fmla="*/ 10996186 w 12188651"/>
              <a:gd name="connsiteY1439" fmla="*/ 4517690 h 6858000"/>
              <a:gd name="connsiteX1440" fmla="*/ 11217744 w 12188651"/>
              <a:gd name="connsiteY1440" fmla="*/ 4739774 h 6858000"/>
              <a:gd name="connsiteX1441" fmla="*/ 11439301 w 12188651"/>
              <a:gd name="connsiteY1441" fmla="*/ 4517690 h 6858000"/>
              <a:gd name="connsiteX1442" fmla="*/ 11439301 w 12188651"/>
              <a:gd name="connsiteY1442" fmla="*/ 4439078 h 6858000"/>
              <a:gd name="connsiteX1443" fmla="*/ 11360822 w 12188651"/>
              <a:gd name="connsiteY1443" fmla="*/ 4360467 h 6858000"/>
              <a:gd name="connsiteX1444" fmla="*/ 11321647 w 12188651"/>
              <a:gd name="connsiteY1444" fmla="*/ 4344121 h 6858000"/>
              <a:gd name="connsiteX1445" fmla="*/ 11321517 w 12188651"/>
              <a:gd name="connsiteY1445" fmla="*/ 4343992 h 6858000"/>
              <a:gd name="connsiteX1446" fmla="*/ 11282213 w 12188651"/>
              <a:gd name="connsiteY1446" fmla="*/ 4360467 h 6858000"/>
              <a:gd name="connsiteX1447" fmla="*/ 11217744 w 12188651"/>
              <a:gd name="connsiteY1447" fmla="*/ 4425069 h 6858000"/>
              <a:gd name="connsiteX1448" fmla="*/ 11153145 w 12188651"/>
              <a:gd name="connsiteY1448" fmla="*/ 4360336 h 6858000"/>
              <a:gd name="connsiteX1449" fmla="*/ 11113840 w 12188651"/>
              <a:gd name="connsiteY1449" fmla="*/ 4343992 h 6858000"/>
              <a:gd name="connsiteX1450" fmla="*/ 9059892 w 12188651"/>
              <a:gd name="connsiteY1450" fmla="*/ 4343992 h 6858000"/>
              <a:gd name="connsiteX1451" fmla="*/ 9020717 w 12188651"/>
              <a:gd name="connsiteY1451" fmla="*/ 4360336 h 6858000"/>
              <a:gd name="connsiteX1452" fmla="*/ 8942238 w 12188651"/>
              <a:gd name="connsiteY1452" fmla="*/ 4439078 h 6858000"/>
              <a:gd name="connsiteX1453" fmla="*/ 8942238 w 12188651"/>
              <a:gd name="connsiteY1453" fmla="*/ 4517690 h 6858000"/>
              <a:gd name="connsiteX1454" fmla="*/ 9163796 w 12188651"/>
              <a:gd name="connsiteY1454" fmla="*/ 4739774 h 6858000"/>
              <a:gd name="connsiteX1455" fmla="*/ 9163797 w 12188651"/>
              <a:gd name="connsiteY1455" fmla="*/ 4739774 h 6858000"/>
              <a:gd name="connsiteX1456" fmla="*/ 9385354 w 12188651"/>
              <a:gd name="connsiteY1456" fmla="*/ 4517690 h 6858000"/>
              <a:gd name="connsiteX1457" fmla="*/ 9385354 w 12188651"/>
              <a:gd name="connsiteY1457" fmla="*/ 4439078 h 6858000"/>
              <a:gd name="connsiteX1458" fmla="*/ 9306876 w 12188651"/>
              <a:gd name="connsiteY1458" fmla="*/ 4360467 h 6858000"/>
              <a:gd name="connsiteX1459" fmla="*/ 9267701 w 12188651"/>
              <a:gd name="connsiteY1459" fmla="*/ 4344121 h 6858000"/>
              <a:gd name="connsiteX1460" fmla="*/ 9267571 w 12188651"/>
              <a:gd name="connsiteY1460" fmla="*/ 4343992 h 6858000"/>
              <a:gd name="connsiteX1461" fmla="*/ 9267570 w 12188651"/>
              <a:gd name="connsiteY1461" fmla="*/ 4343992 h 6858000"/>
              <a:gd name="connsiteX1462" fmla="*/ 9228265 w 12188651"/>
              <a:gd name="connsiteY1462" fmla="*/ 4360467 h 6858000"/>
              <a:gd name="connsiteX1463" fmla="*/ 9163796 w 12188651"/>
              <a:gd name="connsiteY1463" fmla="*/ 4425069 h 6858000"/>
              <a:gd name="connsiteX1464" fmla="*/ 9099198 w 12188651"/>
              <a:gd name="connsiteY1464" fmla="*/ 4360336 h 6858000"/>
              <a:gd name="connsiteX1465" fmla="*/ 9059893 w 12188651"/>
              <a:gd name="connsiteY1465" fmla="*/ 4343992 h 6858000"/>
              <a:gd name="connsiteX1466" fmla="*/ 7006076 w 12188651"/>
              <a:gd name="connsiteY1466" fmla="*/ 4343992 h 6858000"/>
              <a:gd name="connsiteX1467" fmla="*/ 6966901 w 12188651"/>
              <a:gd name="connsiteY1467" fmla="*/ 4360336 h 6858000"/>
              <a:gd name="connsiteX1468" fmla="*/ 6888421 w 12188651"/>
              <a:gd name="connsiteY1468" fmla="*/ 4439078 h 6858000"/>
              <a:gd name="connsiteX1469" fmla="*/ 6888421 w 12188651"/>
              <a:gd name="connsiteY1469" fmla="*/ 4517690 h 6858000"/>
              <a:gd name="connsiteX1470" fmla="*/ 7109978 w 12188651"/>
              <a:gd name="connsiteY1470" fmla="*/ 4739774 h 6858000"/>
              <a:gd name="connsiteX1471" fmla="*/ 7331537 w 12188651"/>
              <a:gd name="connsiteY1471" fmla="*/ 4517690 h 6858000"/>
              <a:gd name="connsiteX1472" fmla="*/ 7331537 w 12188651"/>
              <a:gd name="connsiteY1472" fmla="*/ 4439078 h 6858000"/>
              <a:gd name="connsiteX1473" fmla="*/ 7253057 w 12188651"/>
              <a:gd name="connsiteY1473" fmla="*/ 4360467 h 6858000"/>
              <a:gd name="connsiteX1474" fmla="*/ 7213882 w 12188651"/>
              <a:gd name="connsiteY1474" fmla="*/ 4344121 h 6858000"/>
              <a:gd name="connsiteX1475" fmla="*/ 7213751 w 12188651"/>
              <a:gd name="connsiteY1475" fmla="*/ 4343992 h 6858000"/>
              <a:gd name="connsiteX1476" fmla="*/ 7174449 w 12188651"/>
              <a:gd name="connsiteY1476" fmla="*/ 4360467 h 6858000"/>
              <a:gd name="connsiteX1477" fmla="*/ 7109978 w 12188651"/>
              <a:gd name="connsiteY1477" fmla="*/ 4425069 h 6858000"/>
              <a:gd name="connsiteX1478" fmla="*/ 7045379 w 12188651"/>
              <a:gd name="connsiteY1478" fmla="*/ 4360336 h 6858000"/>
              <a:gd name="connsiteX1479" fmla="*/ 7006076 w 12188651"/>
              <a:gd name="connsiteY1479" fmla="*/ 4343992 h 6858000"/>
              <a:gd name="connsiteX1480" fmla="*/ 4952148 w 12188651"/>
              <a:gd name="connsiteY1480" fmla="*/ 4343992 h 6858000"/>
              <a:gd name="connsiteX1481" fmla="*/ 4912971 w 12188651"/>
              <a:gd name="connsiteY1481" fmla="*/ 4360336 h 6858000"/>
              <a:gd name="connsiteX1482" fmla="*/ 4834495 w 12188651"/>
              <a:gd name="connsiteY1482" fmla="*/ 4439078 h 6858000"/>
              <a:gd name="connsiteX1483" fmla="*/ 4834495 w 12188651"/>
              <a:gd name="connsiteY1483" fmla="*/ 4517690 h 6858000"/>
              <a:gd name="connsiteX1484" fmla="*/ 5056064 w 12188651"/>
              <a:gd name="connsiteY1484" fmla="*/ 4739774 h 6858000"/>
              <a:gd name="connsiteX1485" fmla="*/ 5056083 w 12188651"/>
              <a:gd name="connsiteY1485" fmla="*/ 4739764 h 6858000"/>
              <a:gd name="connsiteX1486" fmla="*/ 5056087 w 12188651"/>
              <a:gd name="connsiteY1486" fmla="*/ 4739774 h 6858000"/>
              <a:gd name="connsiteX1487" fmla="*/ 5277615 w 12188651"/>
              <a:gd name="connsiteY1487" fmla="*/ 4517690 h 6858000"/>
              <a:gd name="connsiteX1488" fmla="*/ 5277615 w 12188651"/>
              <a:gd name="connsiteY1488" fmla="*/ 4439078 h 6858000"/>
              <a:gd name="connsiteX1489" fmla="*/ 5199142 w 12188651"/>
              <a:gd name="connsiteY1489" fmla="*/ 4360467 h 6858000"/>
              <a:gd name="connsiteX1490" fmla="*/ 5159966 w 12188651"/>
              <a:gd name="connsiteY1490" fmla="*/ 4344121 h 6858000"/>
              <a:gd name="connsiteX1491" fmla="*/ 5159837 w 12188651"/>
              <a:gd name="connsiteY1491" fmla="*/ 4343992 h 6858000"/>
              <a:gd name="connsiteX1492" fmla="*/ 5159834 w 12188651"/>
              <a:gd name="connsiteY1492" fmla="*/ 4343994 h 6858000"/>
              <a:gd name="connsiteX1493" fmla="*/ 5159824 w 12188651"/>
              <a:gd name="connsiteY1493" fmla="*/ 4343992 h 6858000"/>
              <a:gd name="connsiteX1494" fmla="*/ 5120536 w 12188651"/>
              <a:gd name="connsiteY1494" fmla="*/ 4360467 h 6858000"/>
              <a:gd name="connsiteX1495" fmla="*/ 5056083 w 12188651"/>
              <a:gd name="connsiteY1495" fmla="*/ 4425059 h 6858000"/>
              <a:gd name="connsiteX1496" fmla="*/ 4991467 w 12188651"/>
              <a:gd name="connsiteY1496" fmla="*/ 4360336 h 6858000"/>
              <a:gd name="connsiteX1497" fmla="*/ 4952157 w 12188651"/>
              <a:gd name="connsiteY1497" fmla="*/ 4343992 h 6858000"/>
              <a:gd name="connsiteX1498" fmla="*/ 4952155 w 12188651"/>
              <a:gd name="connsiteY1498" fmla="*/ 4343993 h 6858000"/>
              <a:gd name="connsiteX1499" fmla="*/ 2898351 w 12188651"/>
              <a:gd name="connsiteY1499" fmla="*/ 4343992 h 6858000"/>
              <a:gd name="connsiteX1500" fmla="*/ 2859173 w 12188651"/>
              <a:gd name="connsiteY1500" fmla="*/ 4360336 h 6858000"/>
              <a:gd name="connsiteX1501" fmla="*/ 2780695 w 12188651"/>
              <a:gd name="connsiteY1501" fmla="*/ 4439078 h 6858000"/>
              <a:gd name="connsiteX1502" fmla="*/ 2780695 w 12188651"/>
              <a:gd name="connsiteY1502" fmla="*/ 4517690 h 6858000"/>
              <a:gd name="connsiteX1503" fmla="*/ 3002253 w 12188651"/>
              <a:gd name="connsiteY1503" fmla="*/ 4739774 h 6858000"/>
              <a:gd name="connsiteX1504" fmla="*/ 3002263 w 12188651"/>
              <a:gd name="connsiteY1504" fmla="*/ 4739762 h 6858000"/>
              <a:gd name="connsiteX1505" fmla="*/ 3002276 w 12188651"/>
              <a:gd name="connsiteY1505" fmla="*/ 4739774 h 6858000"/>
              <a:gd name="connsiteX1506" fmla="*/ 3223832 w 12188651"/>
              <a:gd name="connsiteY1506" fmla="*/ 4517690 h 6858000"/>
              <a:gd name="connsiteX1507" fmla="*/ 3223832 w 12188651"/>
              <a:gd name="connsiteY1507" fmla="*/ 4439078 h 6858000"/>
              <a:gd name="connsiteX1508" fmla="*/ 3145353 w 12188651"/>
              <a:gd name="connsiteY1508" fmla="*/ 4360467 h 6858000"/>
              <a:gd name="connsiteX1509" fmla="*/ 3106179 w 12188651"/>
              <a:gd name="connsiteY1509" fmla="*/ 4344121 h 6858000"/>
              <a:gd name="connsiteX1510" fmla="*/ 3106051 w 12188651"/>
              <a:gd name="connsiteY1510" fmla="*/ 4343992 h 6858000"/>
              <a:gd name="connsiteX1511" fmla="*/ 3106030 w 12188651"/>
              <a:gd name="connsiteY1511" fmla="*/ 4343996 h 6858000"/>
              <a:gd name="connsiteX1512" fmla="*/ 3106024 w 12188651"/>
              <a:gd name="connsiteY1512" fmla="*/ 4343992 h 6858000"/>
              <a:gd name="connsiteX1513" fmla="*/ 3066723 w 12188651"/>
              <a:gd name="connsiteY1513" fmla="*/ 4360467 h 6858000"/>
              <a:gd name="connsiteX1514" fmla="*/ 3002263 w 12188651"/>
              <a:gd name="connsiteY1514" fmla="*/ 4425057 h 6858000"/>
              <a:gd name="connsiteX1515" fmla="*/ 2937678 w 12188651"/>
              <a:gd name="connsiteY1515" fmla="*/ 4360336 h 6858000"/>
              <a:gd name="connsiteX1516" fmla="*/ 2898373 w 12188651"/>
              <a:gd name="connsiteY1516" fmla="*/ 4343992 h 6858000"/>
              <a:gd name="connsiteX1517" fmla="*/ 2898361 w 12188651"/>
              <a:gd name="connsiteY1517" fmla="*/ 4343995 h 6858000"/>
              <a:gd name="connsiteX1518" fmla="*/ 844371 w 12188651"/>
              <a:gd name="connsiteY1518" fmla="*/ 4343992 h 6858000"/>
              <a:gd name="connsiteX1519" fmla="*/ 805197 w 12188651"/>
              <a:gd name="connsiteY1519" fmla="*/ 4360336 h 6858000"/>
              <a:gd name="connsiteX1520" fmla="*/ 726717 w 12188651"/>
              <a:gd name="connsiteY1520" fmla="*/ 4439078 h 6858000"/>
              <a:gd name="connsiteX1521" fmla="*/ 726717 w 12188651"/>
              <a:gd name="connsiteY1521" fmla="*/ 4517690 h 6858000"/>
              <a:gd name="connsiteX1522" fmla="*/ 948275 w 12188651"/>
              <a:gd name="connsiteY1522" fmla="*/ 4739774 h 6858000"/>
              <a:gd name="connsiteX1523" fmla="*/ 948287 w 12188651"/>
              <a:gd name="connsiteY1523" fmla="*/ 4739763 h 6858000"/>
              <a:gd name="connsiteX1524" fmla="*/ 948298 w 12188651"/>
              <a:gd name="connsiteY1524" fmla="*/ 4739774 h 6858000"/>
              <a:gd name="connsiteX1525" fmla="*/ 1169855 w 12188651"/>
              <a:gd name="connsiteY1525" fmla="*/ 4517690 h 6858000"/>
              <a:gd name="connsiteX1526" fmla="*/ 1169855 w 12188651"/>
              <a:gd name="connsiteY1526" fmla="*/ 4439078 h 6858000"/>
              <a:gd name="connsiteX1527" fmla="*/ 1091377 w 12188651"/>
              <a:gd name="connsiteY1527" fmla="*/ 4360467 h 6858000"/>
              <a:gd name="connsiteX1528" fmla="*/ 1052202 w 12188651"/>
              <a:gd name="connsiteY1528" fmla="*/ 4344121 h 6858000"/>
              <a:gd name="connsiteX1529" fmla="*/ 1052072 w 12188651"/>
              <a:gd name="connsiteY1529" fmla="*/ 4343992 h 6858000"/>
              <a:gd name="connsiteX1530" fmla="*/ 1052054 w 12188651"/>
              <a:gd name="connsiteY1530" fmla="*/ 4343996 h 6858000"/>
              <a:gd name="connsiteX1531" fmla="*/ 1052050 w 12188651"/>
              <a:gd name="connsiteY1531" fmla="*/ 4343992 h 6858000"/>
              <a:gd name="connsiteX1532" fmla="*/ 1012746 w 12188651"/>
              <a:gd name="connsiteY1532" fmla="*/ 4360467 h 6858000"/>
              <a:gd name="connsiteX1533" fmla="*/ 948287 w 12188651"/>
              <a:gd name="connsiteY1533" fmla="*/ 4425058 h 6858000"/>
              <a:gd name="connsiteX1534" fmla="*/ 883699 w 12188651"/>
              <a:gd name="connsiteY1534" fmla="*/ 4360336 h 6858000"/>
              <a:gd name="connsiteX1535" fmla="*/ 844395 w 12188651"/>
              <a:gd name="connsiteY1535" fmla="*/ 4343992 h 6858000"/>
              <a:gd name="connsiteX1536" fmla="*/ 844383 w 12188651"/>
              <a:gd name="connsiteY1536" fmla="*/ 4343995 h 6858000"/>
              <a:gd name="connsiteX1537" fmla="*/ 11910826 w 12188651"/>
              <a:gd name="connsiteY1537" fmla="*/ 4133337 h 6858000"/>
              <a:gd name="connsiteX1538" fmla="*/ 12188651 w 12188651"/>
              <a:gd name="connsiteY1538" fmla="*/ 4294111 h 6858000"/>
              <a:gd name="connsiteX1539" fmla="*/ 12188651 w 12188651"/>
              <a:gd name="connsiteY1539" fmla="*/ 4670953 h 6858000"/>
              <a:gd name="connsiteX1540" fmla="*/ 11910826 w 12188651"/>
              <a:gd name="connsiteY1540" fmla="*/ 4510166 h 6858000"/>
              <a:gd name="connsiteX1541" fmla="*/ 11894481 w 12188651"/>
              <a:gd name="connsiteY1541" fmla="*/ 4133337 h 6858000"/>
              <a:gd name="connsiteX1542" fmla="*/ 11894481 w 12188651"/>
              <a:gd name="connsiteY1542" fmla="*/ 4510166 h 6858000"/>
              <a:gd name="connsiteX1543" fmla="*/ 11568890 w 12188651"/>
              <a:gd name="connsiteY1543" fmla="*/ 4698522 h 6858000"/>
              <a:gd name="connsiteX1544" fmla="*/ 11568890 w 12188651"/>
              <a:gd name="connsiteY1544" fmla="*/ 4321680 h 6858000"/>
              <a:gd name="connsiteX1545" fmla="*/ 9857006 w 12188651"/>
              <a:gd name="connsiteY1545" fmla="*/ 4133335 h 6858000"/>
              <a:gd name="connsiteX1546" fmla="*/ 10182468 w 12188651"/>
              <a:gd name="connsiteY1546" fmla="*/ 4321680 h 6858000"/>
              <a:gd name="connsiteX1547" fmla="*/ 10182468 w 12188651"/>
              <a:gd name="connsiteY1547" fmla="*/ 4698522 h 6858000"/>
              <a:gd name="connsiteX1548" fmla="*/ 9857006 w 12188651"/>
              <a:gd name="connsiteY1548" fmla="*/ 4510166 h 6858000"/>
              <a:gd name="connsiteX1549" fmla="*/ 9840661 w 12188651"/>
              <a:gd name="connsiteY1549" fmla="*/ 4133335 h 6858000"/>
              <a:gd name="connsiteX1550" fmla="*/ 9840661 w 12188651"/>
              <a:gd name="connsiteY1550" fmla="*/ 4510166 h 6858000"/>
              <a:gd name="connsiteX1551" fmla="*/ 9515070 w 12188651"/>
              <a:gd name="connsiteY1551" fmla="*/ 4698522 h 6858000"/>
              <a:gd name="connsiteX1552" fmla="*/ 9515070 w 12188651"/>
              <a:gd name="connsiteY1552" fmla="*/ 4321680 h 6858000"/>
              <a:gd name="connsiteX1553" fmla="*/ 7803060 w 12188651"/>
              <a:gd name="connsiteY1553" fmla="*/ 4133332 h 6858000"/>
              <a:gd name="connsiteX1554" fmla="*/ 8128521 w 12188651"/>
              <a:gd name="connsiteY1554" fmla="*/ 4321680 h 6858000"/>
              <a:gd name="connsiteX1555" fmla="*/ 8128521 w 12188651"/>
              <a:gd name="connsiteY1555" fmla="*/ 4698522 h 6858000"/>
              <a:gd name="connsiteX1556" fmla="*/ 7803060 w 12188651"/>
              <a:gd name="connsiteY1556" fmla="*/ 4510166 h 6858000"/>
              <a:gd name="connsiteX1557" fmla="*/ 7786715 w 12188651"/>
              <a:gd name="connsiteY1557" fmla="*/ 4133332 h 6858000"/>
              <a:gd name="connsiteX1558" fmla="*/ 7786715 w 12188651"/>
              <a:gd name="connsiteY1558" fmla="*/ 4510166 h 6858000"/>
              <a:gd name="connsiteX1559" fmla="*/ 7461125 w 12188651"/>
              <a:gd name="connsiteY1559" fmla="*/ 4698522 h 6858000"/>
              <a:gd name="connsiteX1560" fmla="*/ 7461125 w 12188651"/>
              <a:gd name="connsiteY1560" fmla="*/ 4321680 h 6858000"/>
              <a:gd name="connsiteX1561" fmla="*/ 5749264 w 12188651"/>
              <a:gd name="connsiteY1561" fmla="*/ 4133332 h 6858000"/>
              <a:gd name="connsiteX1562" fmla="*/ 6074705 w 12188651"/>
              <a:gd name="connsiteY1562" fmla="*/ 4321680 h 6858000"/>
              <a:gd name="connsiteX1563" fmla="*/ 6074705 w 12188651"/>
              <a:gd name="connsiteY1563" fmla="*/ 4698521 h 6858000"/>
              <a:gd name="connsiteX1564" fmla="*/ 5749264 w 12188651"/>
              <a:gd name="connsiteY1564" fmla="*/ 4510166 h 6858000"/>
              <a:gd name="connsiteX1565" fmla="*/ 3695486 w 12188651"/>
              <a:gd name="connsiteY1565" fmla="*/ 4133332 h 6858000"/>
              <a:gd name="connsiteX1566" fmla="*/ 4020939 w 12188651"/>
              <a:gd name="connsiteY1566" fmla="*/ 4321680 h 6858000"/>
              <a:gd name="connsiteX1567" fmla="*/ 4020939 w 12188651"/>
              <a:gd name="connsiteY1567" fmla="*/ 4698518 h 6858000"/>
              <a:gd name="connsiteX1568" fmla="*/ 3695486 w 12188651"/>
              <a:gd name="connsiteY1568" fmla="*/ 4510166 h 6858000"/>
              <a:gd name="connsiteX1569" fmla="*/ 3679138 w 12188651"/>
              <a:gd name="connsiteY1569" fmla="*/ 4133332 h 6858000"/>
              <a:gd name="connsiteX1570" fmla="*/ 3679138 w 12188651"/>
              <a:gd name="connsiteY1570" fmla="*/ 4510167 h 6858000"/>
              <a:gd name="connsiteX1571" fmla="*/ 3353557 w 12188651"/>
              <a:gd name="connsiteY1571" fmla="*/ 4698518 h 6858000"/>
              <a:gd name="connsiteX1572" fmla="*/ 3353557 w 12188651"/>
              <a:gd name="connsiteY1572" fmla="*/ 4321679 h 6858000"/>
              <a:gd name="connsiteX1573" fmla="*/ 5732921 w 12188651"/>
              <a:gd name="connsiteY1573" fmla="*/ 4133331 h 6858000"/>
              <a:gd name="connsiteX1574" fmla="*/ 5732921 w 12188651"/>
              <a:gd name="connsiteY1574" fmla="*/ 4510166 h 6858000"/>
              <a:gd name="connsiteX1575" fmla="*/ 5486388 w 12188651"/>
              <a:gd name="connsiteY1575" fmla="*/ 4652797 h 6858000"/>
              <a:gd name="connsiteX1576" fmla="*/ 5407352 w 12188651"/>
              <a:gd name="connsiteY1576" fmla="*/ 4698520 h 6858000"/>
              <a:gd name="connsiteX1577" fmla="*/ 5407352 w 12188651"/>
              <a:gd name="connsiteY1577" fmla="*/ 4321679 h 6858000"/>
              <a:gd name="connsiteX1578" fmla="*/ 1641509 w 12188651"/>
              <a:gd name="connsiteY1578" fmla="*/ 4133330 h 6858000"/>
              <a:gd name="connsiteX1579" fmla="*/ 1966966 w 12188651"/>
              <a:gd name="connsiteY1579" fmla="*/ 4321680 h 6858000"/>
              <a:gd name="connsiteX1580" fmla="*/ 1966966 w 12188651"/>
              <a:gd name="connsiteY1580" fmla="*/ 4698518 h 6858000"/>
              <a:gd name="connsiteX1581" fmla="*/ 1641509 w 12188651"/>
              <a:gd name="connsiteY1581" fmla="*/ 4510166 h 6858000"/>
              <a:gd name="connsiteX1582" fmla="*/ 1625160 w 12188651"/>
              <a:gd name="connsiteY1582" fmla="*/ 4133330 h 6858000"/>
              <a:gd name="connsiteX1583" fmla="*/ 1625160 w 12188651"/>
              <a:gd name="connsiteY1583" fmla="*/ 4510167 h 6858000"/>
              <a:gd name="connsiteX1584" fmla="*/ 1299576 w 12188651"/>
              <a:gd name="connsiteY1584" fmla="*/ 4698519 h 6858000"/>
              <a:gd name="connsiteX1585" fmla="*/ 1299576 w 12188651"/>
              <a:gd name="connsiteY1585" fmla="*/ 4321679 h 6858000"/>
              <a:gd name="connsiteX1586" fmla="*/ 10532576 w 12188651"/>
              <a:gd name="connsiteY1586" fmla="*/ 4128536 h 6858000"/>
              <a:gd name="connsiteX1587" fmla="*/ 10866339 w 12188651"/>
              <a:gd name="connsiteY1587" fmla="*/ 4321680 h 6858000"/>
              <a:gd name="connsiteX1588" fmla="*/ 10866339 w 12188651"/>
              <a:gd name="connsiteY1588" fmla="*/ 4707993 h 6858000"/>
              <a:gd name="connsiteX1589" fmla="*/ 10532706 w 12188651"/>
              <a:gd name="connsiteY1589" fmla="*/ 4901148 h 6858000"/>
              <a:gd name="connsiteX1590" fmla="*/ 10198941 w 12188651"/>
              <a:gd name="connsiteY1590" fmla="*/ 4707993 h 6858000"/>
              <a:gd name="connsiteX1591" fmla="*/ 10198941 w 12188651"/>
              <a:gd name="connsiteY1591" fmla="*/ 4321680 h 6858000"/>
              <a:gd name="connsiteX1592" fmla="*/ 8478628 w 12188651"/>
              <a:gd name="connsiteY1592" fmla="*/ 4128533 h 6858000"/>
              <a:gd name="connsiteX1593" fmla="*/ 8812392 w 12188651"/>
              <a:gd name="connsiteY1593" fmla="*/ 4321680 h 6858000"/>
              <a:gd name="connsiteX1594" fmla="*/ 8812392 w 12188651"/>
              <a:gd name="connsiteY1594" fmla="*/ 4707993 h 6858000"/>
              <a:gd name="connsiteX1595" fmla="*/ 8478758 w 12188651"/>
              <a:gd name="connsiteY1595" fmla="*/ 4901148 h 6858000"/>
              <a:gd name="connsiteX1596" fmla="*/ 8144995 w 12188651"/>
              <a:gd name="connsiteY1596" fmla="*/ 4707993 h 6858000"/>
              <a:gd name="connsiteX1597" fmla="*/ 8144995 w 12188651"/>
              <a:gd name="connsiteY1597" fmla="*/ 4321680 h 6858000"/>
              <a:gd name="connsiteX1598" fmla="*/ 6424810 w 12188651"/>
              <a:gd name="connsiteY1598" fmla="*/ 4128533 h 6858000"/>
              <a:gd name="connsiteX1599" fmla="*/ 6758573 w 12188651"/>
              <a:gd name="connsiteY1599" fmla="*/ 4321680 h 6858000"/>
              <a:gd name="connsiteX1600" fmla="*/ 6758573 w 12188651"/>
              <a:gd name="connsiteY1600" fmla="*/ 4707993 h 6858000"/>
              <a:gd name="connsiteX1601" fmla="*/ 6424940 w 12188651"/>
              <a:gd name="connsiteY1601" fmla="*/ 4901148 h 6858000"/>
              <a:gd name="connsiteX1602" fmla="*/ 6091179 w 12188651"/>
              <a:gd name="connsiteY1602" fmla="*/ 4707993 h 6858000"/>
              <a:gd name="connsiteX1603" fmla="*/ 6091179 w 12188651"/>
              <a:gd name="connsiteY1603" fmla="*/ 4321680 h 6858000"/>
              <a:gd name="connsiteX1604" fmla="*/ 4371009 w 12188651"/>
              <a:gd name="connsiteY1604" fmla="*/ 4128531 h 6858000"/>
              <a:gd name="connsiteX1605" fmla="*/ 4704773 w 12188651"/>
              <a:gd name="connsiteY1605" fmla="*/ 4321680 h 6858000"/>
              <a:gd name="connsiteX1606" fmla="*/ 4704773 w 12188651"/>
              <a:gd name="connsiteY1606" fmla="*/ 4707993 h 6858000"/>
              <a:gd name="connsiteX1607" fmla="*/ 4371146 w 12188651"/>
              <a:gd name="connsiteY1607" fmla="*/ 4901148 h 6858000"/>
              <a:gd name="connsiteX1608" fmla="*/ 4037423 w 12188651"/>
              <a:gd name="connsiteY1608" fmla="*/ 4707993 h 6858000"/>
              <a:gd name="connsiteX1609" fmla="*/ 4037423 w 12188651"/>
              <a:gd name="connsiteY1609" fmla="*/ 4321679 h 6858000"/>
              <a:gd name="connsiteX1610" fmla="*/ 4350583 w 12188651"/>
              <a:gd name="connsiteY1610" fmla="*/ 4140356 h 6858000"/>
              <a:gd name="connsiteX1611" fmla="*/ 2317082 w 12188651"/>
              <a:gd name="connsiteY1611" fmla="*/ 4128531 h 6858000"/>
              <a:gd name="connsiteX1612" fmla="*/ 2650840 w 12188651"/>
              <a:gd name="connsiteY1612" fmla="*/ 4321680 h 6858000"/>
              <a:gd name="connsiteX1613" fmla="*/ 2650840 w 12188651"/>
              <a:gd name="connsiteY1613" fmla="*/ 4707994 h 6858000"/>
              <a:gd name="connsiteX1614" fmla="*/ 2317213 w 12188651"/>
              <a:gd name="connsiteY1614" fmla="*/ 4901146 h 6858000"/>
              <a:gd name="connsiteX1615" fmla="*/ 1983445 w 12188651"/>
              <a:gd name="connsiteY1615" fmla="*/ 4707993 h 6858000"/>
              <a:gd name="connsiteX1616" fmla="*/ 1983445 w 12188651"/>
              <a:gd name="connsiteY1616" fmla="*/ 4321679 h 6858000"/>
              <a:gd name="connsiteX1617" fmla="*/ 263235 w 12188651"/>
              <a:gd name="connsiteY1617" fmla="*/ 4128527 h 6858000"/>
              <a:gd name="connsiteX1618" fmla="*/ 596995 w 12188651"/>
              <a:gd name="connsiteY1618" fmla="*/ 4321680 h 6858000"/>
              <a:gd name="connsiteX1619" fmla="*/ 596995 w 12188651"/>
              <a:gd name="connsiteY1619" fmla="*/ 4707994 h 6858000"/>
              <a:gd name="connsiteX1620" fmla="*/ 263366 w 12188651"/>
              <a:gd name="connsiteY1620" fmla="*/ 4901147 h 6858000"/>
              <a:gd name="connsiteX1621" fmla="*/ 0 w 12188651"/>
              <a:gd name="connsiteY1621" fmla="*/ 4748731 h 6858000"/>
              <a:gd name="connsiteX1622" fmla="*/ 0 w 12188651"/>
              <a:gd name="connsiteY1622" fmla="*/ 4280925 h 6858000"/>
              <a:gd name="connsiteX1623" fmla="*/ 11217614 w 12188651"/>
              <a:gd name="connsiteY1623" fmla="*/ 4128280 h 6858000"/>
              <a:gd name="connsiteX1624" fmla="*/ 11551377 w 12188651"/>
              <a:gd name="connsiteY1624" fmla="*/ 4321420 h 6858000"/>
              <a:gd name="connsiteX1625" fmla="*/ 11551377 w 12188651"/>
              <a:gd name="connsiteY1625" fmla="*/ 4707602 h 6858000"/>
              <a:gd name="connsiteX1626" fmla="*/ 11217614 w 12188651"/>
              <a:gd name="connsiteY1626" fmla="*/ 4900759 h 6858000"/>
              <a:gd name="connsiteX1627" fmla="*/ 10883851 w 12188651"/>
              <a:gd name="connsiteY1627" fmla="*/ 4707602 h 6858000"/>
              <a:gd name="connsiteX1628" fmla="*/ 10883851 w 12188651"/>
              <a:gd name="connsiteY1628" fmla="*/ 4321420 h 6858000"/>
              <a:gd name="connsiteX1629" fmla="*/ 5055955 w 12188651"/>
              <a:gd name="connsiteY1629" fmla="*/ 4128279 h 6858000"/>
              <a:gd name="connsiteX1630" fmla="*/ 5389688 w 12188651"/>
              <a:gd name="connsiteY1630" fmla="*/ 4321420 h 6858000"/>
              <a:gd name="connsiteX1631" fmla="*/ 5389688 w 12188651"/>
              <a:gd name="connsiteY1631" fmla="*/ 4707603 h 6858000"/>
              <a:gd name="connsiteX1632" fmla="*/ 5252155 w 12188651"/>
              <a:gd name="connsiteY1632" fmla="*/ 4787202 h 6858000"/>
              <a:gd name="connsiteX1633" fmla="*/ 5055955 w 12188651"/>
              <a:gd name="connsiteY1633" fmla="*/ 4900753 h 6858000"/>
              <a:gd name="connsiteX1634" fmla="*/ 4722175 w 12188651"/>
              <a:gd name="connsiteY1634" fmla="*/ 4707602 h 6858000"/>
              <a:gd name="connsiteX1635" fmla="*/ 4722175 w 12188651"/>
              <a:gd name="connsiteY1635" fmla="*/ 4321419 h 6858000"/>
              <a:gd name="connsiteX1636" fmla="*/ 9163666 w 12188651"/>
              <a:gd name="connsiteY1636" fmla="*/ 4128278 h 6858000"/>
              <a:gd name="connsiteX1637" fmla="*/ 9497429 w 12188651"/>
              <a:gd name="connsiteY1637" fmla="*/ 4321420 h 6858000"/>
              <a:gd name="connsiteX1638" fmla="*/ 9497429 w 12188651"/>
              <a:gd name="connsiteY1638" fmla="*/ 4707602 h 6858000"/>
              <a:gd name="connsiteX1639" fmla="*/ 9163666 w 12188651"/>
              <a:gd name="connsiteY1639" fmla="*/ 4900759 h 6858000"/>
              <a:gd name="connsiteX1640" fmla="*/ 8829903 w 12188651"/>
              <a:gd name="connsiteY1640" fmla="*/ 4707602 h 6858000"/>
              <a:gd name="connsiteX1641" fmla="*/ 8829903 w 12188651"/>
              <a:gd name="connsiteY1641" fmla="*/ 4321420 h 6858000"/>
              <a:gd name="connsiteX1642" fmla="*/ 8882054 w 12188651"/>
              <a:gd name="connsiteY1642" fmla="*/ 4291239 h 6858000"/>
              <a:gd name="connsiteX1643" fmla="*/ 7109850 w 12188651"/>
              <a:gd name="connsiteY1643" fmla="*/ 4128277 h 6858000"/>
              <a:gd name="connsiteX1644" fmla="*/ 7443613 w 12188651"/>
              <a:gd name="connsiteY1644" fmla="*/ 4321420 h 6858000"/>
              <a:gd name="connsiteX1645" fmla="*/ 7443613 w 12188651"/>
              <a:gd name="connsiteY1645" fmla="*/ 4707602 h 6858000"/>
              <a:gd name="connsiteX1646" fmla="*/ 7109850 w 12188651"/>
              <a:gd name="connsiteY1646" fmla="*/ 4900759 h 6858000"/>
              <a:gd name="connsiteX1647" fmla="*/ 6776085 w 12188651"/>
              <a:gd name="connsiteY1647" fmla="*/ 4707602 h 6858000"/>
              <a:gd name="connsiteX1648" fmla="*/ 6776085 w 12188651"/>
              <a:gd name="connsiteY1648" fmla="*/ 4321420 h 6858000"/>
              <a:gd name="connsiteX1649" fmla="*/ 3002137 w 12188651"/>
              <a:gd name="connsiteY1649" fmla="*/ 4128277 h 6858000"/>
              <a:gd name="connsiteX1650" fmla="*/ 3335888 w 12188651"/>
              <a:gd name="connsiteY1650" fmla="*/ 4321420 h 6858000"/>
              <a:gd name="connsiteX1651" fmla="*/ 3335888 w 12188651"/>
              <a:gd name="connsiteY1651" fmla="*/ 4707603 h 6858000"/>
              <a:gd name="connsiteX1652" fmla="*/ 3002137 w 12188651"/>
              <a:gd name="connsiteY1652" fmla="*/ 4900751 h 6858000"/>
              <a:gd name="connsiteX1653" fmla="*/ 2668385 w 12188651"/>
              <a:gd name="connsiteY1653" fmla="*/ 4707602 h 6858000"/>
              <a:gd name="connsiteX1654" fmla="*/ 2668385 w 12188651"/>
              <a:gd name="connsiteY1654" fmla="*/ 4321419 h 6858000"/>
              <a:gd name="connsiteX1655" fmla="*/ 948159 w 12188651"/>
              <a:gd name="connsiteY1655" fmla="*/ 4128274 h 6858000"/>
              <a:gd name="connsiteX1656" fmla="*/ 1281908 w 12188651"/>
              <a:gd name="connsiteY1656" fmla="*/ 4321420 h 6858000"/>
              <a:gd name="connsiteX1657" fmla="*/ 1281908 w 12188651"/>
              <a:gd name="connsiteY1657" fmla="*/ 4707603 h 6858000"/>
              <a:gd name="connsiteX1658" fmla="*/ 948159 w 12188651"/>
              <a:gd name="connsiteY1658" fmla="*/ 4900752 h 6858000"/>
              <a:gd name="connsiteX1659" fmla="*/ 614410 w 12188651"/>
              <a:gd name="connsiteY1659" fmla="*/ 4707602 h 6858000"/>
              <a:gd name="connsiteX1660" fmla="*/ 614410 w 12188651"/>
              <a:gd name="connsiteY1660" fmla="*/ 4321419 h 6858000"/>
              <a:gd name="connsiteX1661" fmla="*/ 10875809 w 12188651"/>
              <a:gd name="connsiteY1661" fmla="*/ 3930457 h 6858000"/>
              <a:gd name="connsiteX1662" fmla="*/ 11201267 w 12188651"/>
              <a:gd name="connsiteY1662" fmla="*/ 4118806 h 6858000"/>
              <a:gd name="connsiteX1663" fmla="*/ 10875678 w 12188651"/>
              <a:gd name="connsiteY1663" fmla="*/ 4307149 h 6858000"/>
              <a:gd name="connsiteX1664" fmla="*/ 10809085 w 12188651"/>
              <a:gd name="connsiteY1664" fmla="*/ 4268609 h 6858000"/>
              <a:gd name="connsiteX1665" fmla="*/ 10550220 w 12188651"/>
              <a:gd name="connsiteY1665" fmla="*/ 4118806 h 6858000"/>
              <a:gd name="connsiteX1666" fmla="*/ 8821860 w 12188651"/>
              <a:gd name="connsiteY1666" fmla="*/ 3930452 h 6858000"/>
              <a:gd name="connsiteX1667" fmla="*/ 9147319 w 12188651"/>
              <a:gd name="connsiteY1667" fmla="*/ 4118806 h 6858000"/>
              <a:gd name="connsiteX1668" fmla="*/ 8913010 w 12188651"/>
              <a:gd name="connsiteY1668" fmla="*/ 4254344 h 6858000"/>
              <a:gd name="connsiteX1669" fmla="*/ 8821731 w 12188651"/>
              <a:gd name="connsiteY1669" fmla="*/ 4307149 h 6858000"/>
              <a:gd name="connsiteX1670" fmla="*/ 8496271 w 12188651"/>
              <a:gd name="connsiteY1670" fmla="*/ 4118806 h 6858000"/>
              <a:gd name="connsiteX1671" fmla="*/ 6768043 w 12188651"/>
              <a:gd name="connsiteY1671" fmla="*/ 3930449 h 6858000"/>
              <a:gd name="connsiteX1672" fmla="*/ 7093503 w 12188651"/>
              <a:gd name="connsiteY1672" fmla="*/ 4118805 h 6858000"/>
              <a:gd name="connsiteX1673" fmla="*/ 6767913 w 12188651"/>
              <a:gd name="connsiteY1673" fmla="*/ 4307149 h 6858000"/>
              <a:gd name="connsiteX1674" fmla="*/ 6442454 w 12188651"/>
              <a:gd name="connsiteY1674" fmla="*/ 4118805 h 6858000"/>
              <a:gd name="connsiteX1675" fmla="*/ 4714120 w 12188651"/>
              <a:gd name="connsiteY1675" fmla="*/ 3930449 h 6858000"/>
              <a:gd name="connsiteX1676" fmla="*/ 5039593 w 12188651"/>
              <a:gd name="connsiteY1676" fmla="*/ 4118798 h 6858000"/>
              <a:gd name="connsiteX1677" fmla="*/ 5020751 w 12188651"/>
              <a:gd name="connsiteY1677" fmla="*/ 4129700 h 6858000"/>
              <a:gd name="connsiteX1678" fmla="*/ 4713993 w 12188651"/>
              <a:gd name="connsiteY1678" fmla="*/ 4307147 h 6858000"/>
              <a:gd name="connsiteX1679" fmla="*/ 4388541 w 12188651"/>
              <a:gd name="connsiteY1679" fmla="*/ 4118803 h 6858000"/>
              <a:gd name="connsiteX1680" fmla="*/ 2660333 w 12188651"/>
              <a:gd name="connsiteY1680" fmla="*/ 3930449 h 6858000"/>
              <a:gd name="connsiteX1681" fmla="*/ 2985780 w 12188651"/>
              <a:gd name="connsiteY1681" fmla="*/ 4118798 h 6858000"/>
              <a:gd name="connsiteX1682" fmla="*/ 2660203 w 12188651"/>
              <a:gd name="connsiteY1682" fmla="*/ 4307142 h 6858000"/>
              <a:gd name="connsiteX1683" fmla="*/ 2334757 w 12188651"/>
              <a:gd name="connsiteY1683" fmla="*/ 4118798 h 6858000"/>
              <a:gd name="connsiteX1684" fmla="*/ 606356 w 12188651"/>
              <a:gd name="connsiteY1684" fmla="*/ 3930447 h 6858000"/>
              <a:gd name="connsiteX1685" fmla="*/ 931801 w 12188651"/>
              <a:gd name="connsiteY1685" fmla="*/ 4118795 h 6858000"/>
              <a:gd name="connsiteX1686" fmla="*/ 606223 w 12188651"/>
              <a:gd name="connsiteY1686" fmla="*/ 4307142 h 6858000"/>
              <a:gd name="connsiteX1687" fmla="*/ 280775 w 12188651"/>
              <a:gd name="connsiteY1687" fmla="*/ 4118796 h 6858000"/>
              <a:gd name="connsiteX1688" fmla="*/ 12140685 w 12188651"/>
              <a:gd name="connsiteY1688" fmla="*/ 3766489 h 6858000"/>
              <a:gd name="connsiteX1689" fmla="*/ 12168445 w 12188651"/>
              <a:gd name="connsiteY1689" fmla="*/ 3778033 h 6858000"/>
              <a:gd name="connsiteX1690" fmla="*/ 12188651 w 12188651"/>
              <a:gd name="connsiteY1690" fmla="*/ 3798281 h 6858000"/>
              <a:gd name="connsiteX1691" fmla="*/ 12188651 w 12188651"/>
              <a:gd name="connsiteY1691" fmla="*/ 4066527 h 6858000"/>
              <a:gd name="connsiteX1692" fmla="*/ 12034576 w 12188651"/>
              <a:gd name="connsiteY1692" fmla="*/ 3912164 h 6858000"/>
              <a:gd name="connsiteX1693" fmla="*/ 12034576 w 12188651"/>
              <a:gd name="connsiteY1693" fmla="*/ 3856776 h 6858000"/>
              <a:gd name="connsiteX1694" fmla="*/ 12113056 w 12188651"/>
              <a:gd name="connsiteY1694" fmla="*/ 3778033 h 6858000"/>
              <a:gd name="connsiteX1695" fmla="*/ 12140685 w 12188651"/>
              <a:gd name="connsiteY1695" fmla="*/ 3766489 h 6858000"/>
              <a:gd name="connsiteX1696" fmla="*/ 10086867 w 12188651"/>
              <a:gd name="connsiteY1696" fmla="*/ 3766487 h 6858000"/>
              <a:gd name="connsiteX1697" fmla="*/ 10114626 w 12188651"/>
              <a:gd name="connsiteY1697" fmla="*/ 3778031 h 6858000"/>
              <a:gd name="connsiteX1698" fmla="*/ 10179226 w 12188651"/>
              <a:gd name="connsiteY1698" fmla="*/ 3842759 h 6858000"/>
              <a:gd name="connsiteX1699" fmla="*/ 10190770 w 12188651"/>
              <a:gd name="connsiteY1699" fmla="*/ 3854435 h 6858000"/>
              <a:gd name="connsiteX1700" fmla="*/ 10202315 w 12188651"/>
              <a:gd name="connsiteY1700" fmla="*/ 3842759 h 6858000"/>
              <a:gd name="connsiteX1701" fmla="*/ 10266786 w 12188651"/>
              <a:gd name="connsiteY1701" fmla="*/ 3778031 h 6858000"/>
              <a:gd name="connsiteX1702" fmla="*/ 10294543 w 12188651"/>
              <a:gd name="connsiteY1702" fmla="*/ 3766487 h 6858000"/>
              <a:gd name="connsiteX1703" fmla="*/ 10322173 w 12188651"/>
              <a:gd name="connsiteY1703" fmla="*/ 3778031 h 6858000"/>
              <a:gd name="connsiteX1704" fmla="*/ 10400653 w 12188651"/>
              <a:gd name="connsiteY1704" fmla="*/ 3856639 h 6858000"/>
              <a:gd name="connsiteX1705" fmla="*/ 10412198 w 12188651"/>
              <a:gd name="connsiteY1705" fmla="*/ 3884401 h 6858000"/>
              <a:gd name="connsiteX1706" fmla="*/ 10400783 w 12188651"/>
              <a:gd name="connsiteY1706" fmla="*/ 3912160 h 6858000"/>
              <a:gd name="connsiteX1707" fmla="*/ 10190770 w 12188651"/>
              <a:gd name="connsiteY1707" fmla="*/ 4122570 h 6858000"/>
              <a:gd name="connsiteX1708" fmla="*/ 9980757 w 12188651"/>
              <a:gd name="connsiteY1708" fmla="*/ 3912160 h 6858000"/>
              <a:gd name="connsiteX1709" fmla="*/ 9980757 w 12188651"/>
              <a:gd name="connsiteY1709" fmla="*/ 3856768 h 6858000"/>
              <a:gd name="connsiteX1710" fmla="*/ 10059237 w 12188651"/>
              <a:gd name="connsiteY1710" fmla="*/ 3778031 h 6858000"/>
              <a:gd name="connsiteX1711" fmla="*/ 10086867 w 12188651"/>
              <a:gd name="connsiteY1711" fmla="*/ 3766487 h 6858000"/>
              <a:gd name="connsiteX1712" fmla="*/ 8032919 w 12188651"/>
              <a:gd name="connsiteY1712" fmla="*/ 3766483 h 6858000"/>
              <a:gd name="connsiteX1713" fmla="*/ 8060679 w 12188651"/>
              <a:gd name="connsiteY1713" fmla="*/ 3778026 h 6858000"/>
              <a:gd name="connsiteX1714" fmla="*/ 8125278 w 12188651"/>
              <a:gd name="connsiteY1714" fmla="*/ 3842759 h 6858000"/>
              <a:gd name="connsiteX1715" fmla="*/ 8136823 w 12188651"/>
              <a:gd name="connsiteY1715" fmla="*/ 3854433 h 6858000"/>
              <a:gd name="connsiteX1716" fmla="*/ 8148368 w 12188651"/>
              <a:gd name="connsiteY1716" fmla="*/ 3842759 h 6858000"/>
              <a:gd name="connsiteX1717" fmla="*/ 8212837 w 12188651"/>
              <a:gd name="connsiteY1717" fmla="*/ 3778026 h 6858000"/>
              <a:gd name="connsiteX1718" fmla="*/ 8240596 w 12188651"/>
              <a:gd name="connsiteY1718" fmla="*/ 3766483 h 6858000"/>
              <a:gd name="connsiteX1719" fmla="*/ 8268226 w 12188651"/>
              <a:gd name="connsiteY1719" fmla="*/ 3778026 h 6858000"/>
              <a:gd name="connsiteX1720" fmla="*/ 8346707 w 12188651"/>
              <a:gd name="connsiteY1720" fmla="*/ 3856636 h 6858000"/>
              <a:gd name="connsiteX1721" fmla="*/ 8358252 w 12188651"/>
              <a:gd name="connsiteY1721" fmla="*/ 3884401 h 6858000"/>
              <a:gd name="connsiteX1722" fmla="*/ 8346837 w 12188651"/>
              <a:gd name="connsiteY1722" fmla="*/ 3912157 h 6858000"/>
              <a:gd name="connsiteX1723" fmla="*/ 8136823 w 12188651"/>
              <a:gd name="connsiteY1723" fmla="*/ 4122566 h 6858000"/>
              <a:gd name="connsiteX1724" fmla="*/ 7926811 w 12188651"/>
              <a:gd name="connsiteY1724" fmla="*/ 3912157 h 6858000"/>
              <a:gd name="connsiteX1725" fmla="*/ 7926811 w 12188651"/>
              <a:gd name="connsiteY1725" fmla="*/ 3856768 h 6858000"/>
              <a:gd name="connsiteX1726" fmla="*/ 8005289 w 12188651"/>
              <a:gd name="connsiteY1726" fmla="*/ 3778026 h 6858000"/>
              <a:gd name="connsiteX1727" fmla="*/ 8032919 w 12188651"/>
              <a:gd name="connsiteY1727" fmla="*/ 3766483 h 6858000"/>
              <a:gd name="connsiteX1728" fmla="*/ 5979110 w 12188651"/>
              <a:gd name="connsiteY1728" fmla="*/ 3766481 h 6858000"/>
              <a:gd name="connsiteX1729" fmla="*/ 6006867 w 12188651"/>
              <a:gd name="connsiteY1729" fmla="*/ 3778024 h 6858000"/>
              <a:gd name="connsiteX1730" fmla="*/ 6071463 w 12188651"/>
              <a:gd name="connsiteY1730" fmla="*/ 3842755 h 6858000"/>
              <a:gd name="connsiteX1731" fmla="*/ 6083006 w 12188651"/>
              <a:gd name="connsiteY1731" fmla="*/ 3854430 h 6858000"/>
              <a:gd name="connsiteX1732" fmla="*/ 6094550 w 12188651"/>
              <a:gd name="connsiteY1732" fmla="*/ 3842755 h 6858000"/>
              <a:gd name="connsiteX1733" fmla="*/ 6159019 w 12188651"/>
              <a:gd name="connsiteY1733" fmla="*/ 3778024 h 6858000"/>
              <a:gd name="connsiteX1734" fmla="*/ 6186779 w 12188651"/>
              <a:gd name="connsiteY1734" fmla="*/ 3766481 h 6858000"/>
              <a:gd name="connsiteX1735" fmla="*/ 6214409 w 12188651"/>
              <a:gd name="connsiteY1735" fmla="*/ 3778024 h 6858000"/>
              <a:gd name="connsiteX1736" fmla="*/ 6292888 w 12188651"/>
              <a:gd name="connsiteY1736" fmla="*/ 3856635 h 6858000"/>
              <a:gd name="connsiteX1737" fmla="*/ 6304433 w 12188651"/>
              <a:gd name="connsiteY1737" fmla="*/ 3884398 h 6858000"/>
              <a:gd name="connsiteX1738" fmla="*/ 6293017 w 12188651"/>
              <a:gd name="connsiteY1738" fmla="*/ 3912155 h 6858000"/>
              <a:gd name="connsiteX1739" fmla="*/ 6083006 w 12188651"/>
              <a:gd name="connsiteY1739" fmla="*/ 4122564 h 6858000"/>
              <a:gd name="connsiteX1740" fmla="*/ 5873007 w 12188651"/>
              <a:gd name="connsiteY1740" fmla="*/ 3912155 h 6858000"/>
              <a:gd name="connsiteX1741" fmla="*/ 5873007 w 12188651"/>
              <a:gd name="connsiteY1741" fmla="*/ 3856767 h 6858000"/>
              <a:gd name="connsiteX1742" fmla="*/ 5951483 w 12188651"/>
              <a:gd name="connsiteY1742" fmla="*/ 3778024 h 6858000"/>
              <a:gd name="connsiteX1743" fmla="*/ 5979110 w 12188651"/>
              <a:gd name="connsiteY1743" fmla="*/ 3766481 h 6858000"/>
              <a:gd name="connsiteX1744" fmla="*/ 3925342 w 12188651"/>
              <a:gd name="connsiteY1744" fmla="*/ 3766475 h 6858000"/>
              <a:gd name="connsiteX1745" fmla="*/ 3953102 w 12188651"/>
              <a:gd name="connsiteY1745" fmla="*/ 3778022 h 6858000"/>
              <a:gd name="connsiteX1746" fmla="*/ 4017703 w 12188651"/>
              <a:gd name="connsiteY1746" fmla="*/ 3842751 h 6858000"/>
              <a:gd name="connsiteX1747" fmla="*/ 4029246 w 12188651"/>
              <a:gd name="connsiteY1747" fmla="*/ 3854427 h 6858000"/>
              <a:gd name="connsiteX1748" fmla="*/ 4040794 w 12188651"/>
              <a:gd name="connsiteY1748" fmla="*/ 3842751 h 6858000"/>
              <a:gd name="connsiteX1749" fmla="*/ 4105264 w 12188651"/>
              <a:gd name="connsiteY1749" fmla="*/ 3778022 h 6858000"/>
              <a:gd name="connsiteX1750" fmla="*/ 4133025 w 12188651"/>
              <a:gd name="connsiteY1750" fmla="*/ 3766475 h 6858000"/>
              <a:gd name="connsiteX1751" fmla="*/ 4160655 w 12188651"/>
              <a:gd name="connsiteY1751" fmla="*/ 3778022 h 6858000"/>
              <a:gd name="connsiteX1752" fmla="*/ 4239088 w 12188651"/>
              <a:gd name="connsiteY1752" fmla="*/ 3856634 h 6858000"/>
              <a:gd name="connsiteX1753" fmla="*/ 4250643 w 12188651"/>
              <a:gd name="connsiteY1753" fmla="*/ 3884393 h 6858000"/>
              <a:gd name="connsiteX1754" fmla="*/ 4239218 w 12188651"/>
              <a:gd name="connsiteY1754" fmla="*/ 3912154 h 6858000"/>
              <a:gd name="connsiteX1755" fmla="*/ 4029246 w 12188651"/>
              <a:gd name="connsiteY1755" fmla="*/ 4122561 h 6858000"/>
              <a:gd name="connsiteX1756" fmla="*/ 3819228 w 12188651"/>
              <a:gd name="connsiteY1756" fmla="*/ 3912154 h 6858000"/>
              <a:gd name="connsiteX1757" fmla="*/ 3819228 w 12188651"/>
              <a:gd name="connsiteY1757" fmla="*/ 3856761 h 6858000"/>
              <a:gd name="connsiteX1758" fmla="*/ 3897713 w 12188651"/>
              <a:gd name="connsiteY1758" fmla="*/ 3778022 h 6858000"/>
              <a:gd name="connsiteX1759" fmla="*/ 3925342 w 12188651"/>
              <a:gd name="connsiteY1759" fmla="*/ 3766475 h 6858000"/>
              <a:gd name="connsiteX1760" fmla="*/ 1871369 w 12188651"/>
              <a:gd name="connsiteY1760" fmla="*/ 3766474 h 6858000"/>
              <a:gd name="connsiteX1761" fmla="*/ 1899129 w 12188651"/>
              <a:gd name="connsiteY1761" fmla="*/ 3778019 h 6858000"/>
              <a:gd name="connsiteX1762" fmla="*/ 1963729 w 12188651"/>
              <a:gd name="connsiteY1762" fmla="*/ 3842750 h 6858000"/>
              <a:gd name="connsiteX1763" fmla="*/ 1975274 w 12188651"/>
              <a:gd name="connsiteY1763" fmla="*/ 3854424 h 6858000"/>
              <a:gd name="connsiteX1764" fmla="*/ 1986819 w 12188651"/>
              <a:gd name="connsiteY1764" fmla="*/ 3842750 h 6858000"/>
              <a:gd name="connsiteX1765" fmla="*/ 2051289 w 12188651"/>
              <a:gd name="connsiteY1765" fmla="*/ 3778019 h 6858000"/>
              <a:gd name="connsiteX1766" fmla="*/ 2079047 w 12188651"/>
              <a:gd name="connsiteY1766" fmla="*/ 3766474 h 6858000"/>
              <a:gd name="connsiteX1767" fmla="*/ 2106684 w 12188651"/>
              <a:gd name="connsiteY1767" fmla="*/ 3778019 h 6858000"/>
              <a:gd name="connsiteX1768" fmla="*/ 2185165 w 12188651"/>
              <a:gd name="connsiteY1768" fmla="*/ 3856630 h 6858000"/>
              <a:gd name="connsiteX1769" fmla="*/ 2196710 w 12188651"/>
              <a:gd name="connsiteY1769" fmla="*/ 3884389 h 6858000"/>
              <a:gd name="connsiteX1770" fmla="*/ 2185293 w 12188651"/>
              <a:gd name="connsiteY1770" fmla="*/ 3912150 h 6858000"/>
              <a:gd name="connsiteX1771" fmla="*/ 1975274 w 12188651"/>
              <a:gd name="connsiteY1771" fmla="*/ 4122560 h 6858000"/>
              <a:gd name="connsiteX1772" fmla="*/ 1765261 w 12188651"/>
              <a:gd name="connsiteY1772" fmla="*/ 3912150 h 6858000"/>
              <a:gd name="connsiteX1773" fmla="*/ 1765261 w 12188651"/>
              <a:gd name="connsiteY1773" fmla="*/ 3856760 h 6858000"/>
              <a:gd name="connsiteX1774" fmla="*/ 1843740 w 12188651"/>
              <a:gd name="connsiteY1774" fmla="*/ 3778019 h 6858000"/>
              <a:gd name="connsiteX1775" fmla="*/ 1871369 w 12188651"/>
              <a:gd name="connsiteY1775" fmla="*/ 3766474 h 6858000"/>
              <a:gd name="connsiteX1776" fmla="*/ 25207 w 12188651"/>
              <a:gd name="connsiteY1776" fmla="*/ 3766470 h 6858000"/>
              <a:gd name="connsiteX1777" fmla="*/ 52837 w 12188651"/>
              <a:gd name="connsiteY1777" fmla="*/ 3778016 h 6858000"/>
              <a:gd name="connsiteX1778" fmla="*/ 131316 w 12188651"/>
              <a:gd name="connsiteY1778" fmla="*/ 3856627 h 6858000"/>
              <a:gd name="connsiteX1779" fmla="*/ 142860 w 12188651"/>
              <a:gd name="connsiteY1779" fmla="*/ 3884387 h 6858000"/>
              <a:gd name="connsiteX1780" fmla="*/ 131446 w 12188651"/>
              <a:gd name="connsiteY1780" fmla="*/ 3912147 h 6858000"/>
              <a:gd name="connsiteX1781" fmla="*/ 0 w 12188651"/>
              <a:gd name="connsiteY1781" fmla="*/ 4043841 h 6858000"/>
              <a:gd name="connsiteX1782" fmla="*/ 0 w 12188651"/>
              <a:gd name="connsiteY1782" fmla="*/ 3776953 h 6858000"/>
              <a:gd name="connsiteX1783" fmla="*/ 10086867 w 12188651"/>
              <a:gd name="connsiteY1783" fmla="*/ 3750008 h 6858000"/>
              <a:gd name="connsiteX1784" fmla="*/ 10047692 w 12188651"/>
              <a:gd name="connsiteY1784" fmla="*/ 3766357 h 6858000"/>
              <a:gd name="connsiteX1785" fmla="*/ 9969212 w 12188651"/>
              <a:gd name="connsiteY1785" fmla="*/ 3845095 h 6858000"/>
              <a:gd name="connsiteX1786" fmla="*/ 9969212 w 12188651"/>
              <a:gd name="connsiteY1786" fmla="*/ 3923707 h 6858000"/>
              <a:gd name="connsiteX1787" fmla="*/ 10190770 w 12188651"/>
              <a:gd name="connsiteY1787" fmla="*/ 4145787 h 6858000"/>
              <a:gd name="connsiteX1788" fmla="*/ 10412328 w 12188651"/>
              <a:gd name="connsiteY1788" fmla="*/ 3923707 h 6858000"/>
              <a:gd name="connsiteX1789" fmla="*/ 10412328 w 12188651"/>
              <a:gd name="connsiteY1789" fmla="*/ 3845095 h 6858000"/>
              <a:gd name="connsiteX1790" fmla="*/ 10333848 w 12188651"/>
              <a:gd name="connsiteY1790" fmla="*/ 3766487 h 6858000"/>
              <a:gd name="connsiteX1791" fmla="*/ 10294673 w 12188651"/>
              <a:gd name="connsiteY1791" fmla="*/ 3750141 h 6858000"/>
              <a:gd name="connsiteX1792" fmla="*/ 10294543 w 12188651"/>
              <a:gd name="connsiteY1792" fmla="*/ 3750008 h 6858000"/>
              <a:gd name="connsiteX1793" fmla="*/ 10255241 w 12188651"/>
              <a:gd name="connsiteY1793" fmla="*/ 3766487 h 6858000"/>
              <a:gd name="connsiteX1794" fmla="*/ 10190770 w 12188651"/>
              <a:gd name="connsiteY1794" fmla="*/ 3831087 h 6858000"/>
              <a:gd name="connsiteX1795" fmla="*/ 10126171 w 12188651"/>
              <a:gd name="connsiteY1795" fmla="*/ 3766357 h 6858000"/>
              <a:gd name="connsiteX1796" fmla="*/ 10086867 w 12188651"/>
              <a:gd name="connsiteY1796" fmla="*/ 3750008 h 6858000"/>
              <a:gd name="connsiteX1797" fmla="*/ 8032919 w 12188651"/>
              <a:gd name="connsiteY1797" fmla="*/ 3750008 h 6858000"/>
              <a:gd name="connsiteX1798" fmla="*/ 7993744 w 12188651"/>
              <a:gd name="connsiteY1798" fmla="*/ 3766352 h 6858000"/>
              <a:gd name="connsiteX1799" fmla="*/ 7915266 w 12188651"/>
              <a:gd name="connsiteY1799" fmla="*/ 3845089 h 6858000"/>
              <a:gd name="connsiteX1800" fmla="*/ 7915266 w 12188651"/>
              <a:gd name="connsiteY1800" fmla="*/ 3923705 h 6858000"/>
              <a:gd name="connsiteX1801" fmla="*/ 8136823 w 12188651"/>
              <a:gd name="connsiteY1801" fmla="*/ 4145784 h 6858000"/>
              <a:gd name="connsiteX1802" fmla="*/ 8358382 w 12188651"/>
              <a:gd name="connsiteY1802" fmla="*/ 3923705 h 6858000"/>
              <a:gd name="connsiteX1803" fmla="*/ 8358382 w 12188651"/>
              <a:gd name="connsiteY1803" fmla="*/ 3845089 h 6858000"/>
              <a:gd name="connsiteX1804" fmla="*/ 8279902 w 12188651"/>
              <a:gd name="connsiteY1804" fmla="*/ 3766483 h 6858000"/>
              <a:gd name="connsiteX1805" fmla="*/ 8240727 w 12188651"/>
              <a:gd name="connsiteY1805" fmla="*/ 3750137 h 6858000"/>
              <a:gd name="connsiteX1806" fmla="*/ 8240596 w 12188651"/>
              <a:gd name="connsiteY1806" fmla="*/ 3750008 h 6858000"/>
              <a:gd name="connsiteX1807" fmla="*/ 8201292 w 12188651"/>
              <a:gd name="connsiteY1807" fmla="*/ 3766483 h 6858000"/>
              <a:gd name="connsiteX1808" fmla="*/ 8136823 w 12188651"/>
              <a:gd name="connsiteY1808" fmla="*/ 3831082 h 6858000"/>
              <a:gd name="connsiteX1809" fmla="*/ 8072224 w 12188651"/>
              <a:gd name="connsiteY1809" fmla="*/ 3766352 h 6858000"/>
              <a:gd name="connsiteX1810" fmla="*/ 8032919 w 12188651"/>
              <a:gd name="connsiteY1810" fmla="*/ 3750008 h 6858000"/>
              <a:gd name="connsiteX1811" fmla="*/ 5979110 w 12188651"/>
              <a:gd name="connsiteY1811" fmla="*/ 3750004 h 6858000"/>
              <a:gd name="connsiteX1812" fmla="*/ 5939938 w 12188651"/>
              <a:gd name="connsiteY1812" fmla="*/ 3766349 h 6858000"/>
              <a:gd name="connsiteX1813" fmla="*/ 5861462 w 12188651"/>
              <a:gd name="connsiteY1813" fmla="*/ 3845089 h 6858000"/>
              <a:gd name="connsiteX1814" fmla="*/ 5861462 w 12188651"/>
              <a:gd name="connsiteY1814" fmla="*/ 3923701 h 6858000"/>
              <a:gd name="connsiteX1815" fmla="*/ 6083006 w 12188651"/>
              <a:gd name="connsiteY1815" fmla="*/ 4145783 h 6858000"/>
              <a:gd name="connsiteX1816" fmla="*/ 6304562 w 12188651"/>
              <a:gd name="connsiteY1816" fmla="*/ 3923701 h 6858000"/>
              <a:gd name="connsiteX1817" fmla="*/ 6304562 w 12188651"/>
              <a:gd name="connsiteY1817" fmla="*/ 3845089 h 6858000"/>
              <a:gd name="connsiteX1818" fmla="*/ 6226084 w 12188651"/>
              <a:gd name="connsiteY1818" fmla="*/ 3766481 h 6858000"/>
              <a:gd name="connsiteX1819" fmla="*/ 6186909 w 12188651"/>
              <a:gd name="connsiteY1819" fmla="*/ 3750135 h 6858000"/>
              <a:gd name="connsiteX1820" fmla="*/ 6186779 w 12188651"/>
              <a:gd name="connsiteY1820" fmla="*/ 3750004 h 6858000"/>
              <a:gd name="connsiteX1821" fmla="*/ 6147474 w 12188651"/>
              <a:gd name="connsiteY1821" fmla="*/ 3766481 h 6858000"/>
              <a:gd name="connsiteX1822" fmla="*/ 6083006 w 12188651"/>
              <a:gd name="connsiteY1822" fmla="*/ 3831082 h 6858000"/>
              <a:gd name="connsiteX1823" fmla="*/ 6018412 w 12188651"/>
              <a:gd name="connsiteY1823" fmla="*/ 3766349 h 6858000"/>
              <a:gd name="connsiteX1824" fmla="*/ 5979110 w 12188651"/>
              <a:gd name="connsiteY1824" fmla="*/ 3750004 h 6858000"/>
              <a:gd name="connsiteX1825" fmla="*/ 3925342 w 12188651"/>
              <a:gd name="connsiteY1825" fmla="*/ 3750002 h 6858000"/>
              <a:gd name="connsiteX1826" fmla="*/ 3886165 w 12188651"/>
              <a:gd name="connsiteY1826" fmla="*/ 3766347 h 6858000"/>
              <a:gd name="connsiteX1827" fmla="*/ 3807684 w 12188651"/>
              <a:gd name="connsiteY1827" fmla="*/ 3845087 h 6858000"/>
              <a:gd name="connsiteX1828" fmla="*/ 3807684 w 12188651"/>
              <a:gd name="connsiteY1828" fmla="*/ 3923699 h 6858000"/>
              <a:gd name="connsiteX1829" fmla="*/ 4029246 w 12188651"/>
              <a:gd name="connsiteY1829" fmla="*/ 4145781 h 6858000"/>
              <a:gd name="connsiteX1830" fmla="*/ 4250768 w 12188651"/>
              <a:gd name="connsiteY1830" fmla="*/ 3923699 h 6858000"/>
              <a:gd name="connsiteX1831" fmla="*/ 4250768 w 12188651"/>
              <a:gd name="connsiteY1831" fmla="*/ 3845087 h 6858000"/>
              <a:gd name="connsiteX1832" fmla="*/ 4172330 w 12188651"/>
              <a:gd name="connsiteY1832" fmla="*/ 3766475 h 6858000"/>
              <a:gd name="connsiteX1833" fmla="*/ 4133156 w 12188651"/>
              <a:gd name="connsiteY1833" fmla="*/ 3750131 h 6858000"/>
              <a:gd name="connsiteX1834" fmla="*/ 4133025 w 12188651"/>
              <a:gd name="connsiteY1834" fmla="*/ 3750002 h 6858000"/>
              <a:gd name="connsiteX1835" fmla="*/ 4093719 w 12188651"/>
              <a:gd name="connsiteY1835" fmla="*/ 3766475 h 6858000"/>
              <a:gd name="connsiteX1836" fmla="*/ 4029246 w 12188651"/>
              <a:gd name="connsiteY1836" fmla="*/ 3831078 h 6858000"/>
              <a:gd name="connsiteX1837" fmla="*/ 3964648 w 12188651"/>
              <a:gd name="connsiteY1837" fmla="*/ 3766347 h 6858000"/>
              <a:gd name="connsiteX1838" fmla="*/ 3925342 w 12188651"/>
              <a:gd name="connsiteY1838" fmla="*/ 3750002 h 6858000"/>
              <a:gd name="connsiteX1839" fmla="*/ 1871369 w 12188651"/>
              <a:gd name="connsiteY1839" fmla="*/ 3749999 h 6858000"/>
              <a:gd name="connsiteX1840" fmla="*/ 1832195 w 12188651"/>
              <a:gd name="connsiteY1840" fmla="*/ 3766344 h 6858000"/>
              <a:gd name="connsiteX1841" fmla="*/ 1753717 w 12188651"/>
              <a:gd name="connsiteY1841" fmla="*/ 3845084 h 6858000"/>
              <a:gd name="connsiteX1842" fmla="*/ 1753717 w 12188651"/>
              <a:gd name="connsiteY1842" fmla="*/ 3923696 h 6858000"/>
              <a:gd name="connsiteX1843" fmla="*/ 1975274 w 12188651"/>
              <a:gd name="connsiteY1843" fmla="*/ 4145780 h 6858000"/>
              <a:gd name="connsiteX1844" fmla="*/ 2196839 w 12188651"/>
              <a:gd name="connsiteY1844" fmla="*/ 3923696 h 6858000"/>
              <a:gd name="connsiteX1845" fmla="*/ 2196839 w 12188651"/>
              <a:gd name="connsiteY1845" fmla="*/ 3845084 h 6858000"/>
              <a:gd name="connsiteX1846" fmla="*/ 2118360 w 12188651"/>
              <a:gd name="connsiteY1846" fmla="*/ 3766474 h 6858000"/>
              <a:gd name="connsiteX1847" fmla="*/ 2079177 w 12188651"/>
              <a:gd name="connsiteY1847" fmla="*/ 3750128 h 6858000"/>
              <a:gd name="connsiteX1848" fmla="*/ 2079047 w 12188651"/>
              <a:gd name="connsiteY1848" fmla="*/ 3749999 h 6858000"/>
              <a:gd name="connsiteX1849" fmla="*/ 2039743 w 12188651"/>
              <a:gd name="connsiteY1849" fmla="*/ 3766474 h 6858000"/>
              <a:gd name="connsiteX1850" fmla="*/ 1975274 w 12188651"/>
              <a:gd name="connsiteY1850" fmla="*/ 3831075 h 6858000"/>
              <a:gd name="connsiteX1851" fmla="*/ 1910674 w 12188651"/>
              <a:gd name="connsiteY1851" fmla="*/ 3766344 h 6858000"/>
              <a:gd name="connsiteX1852" fmla="*/ 1871369 w 12188651"/>
              <a:gd name="connsiteY1852" fmla="*/ 3749999 h 6858000"/>
              <a:gd name="connsiteX1853" fmla="*/ 0 w 12188651"/>
              <a:gd name="connsiteY1853" fmla="*/ 3579814 h 6858000"/>
              <a:gd name="connsiteX1854" fmla="*/ 255063 w 12188651"/>
              <a:gd name="connsiteY1854" fmla="*/ 3727423 h 6858000"/>
              <a:gd name="connsiteX1855" fmla="*/ 255063 w 12188651"/>
              <a:gd name="connsiteY1855" fmla="*/ 4113605 h 6858000"/>
              <a:gd name="connsiteX1856" fmla="*/ 0 w 12188651"/>
              <a:gd name="connsiteY1856" fmla="*/ 4261215 h 6858000"/>
              <a:gd name="connsiteX1857" fmla="*/ 0 w 12188651"/>
              <a:gd name="connsiteY1857" fmla="*/ 4067025 h 6858000"/>
              <a:gd name="connsiteX1858" fmla="*/ 142991 w 12188651"/>
              <a:gd name="connsiteY1858" fmla="*/ 3923694 h 6858000"/>
              <a:gd name="connsiteX1859" fmla="*/ 142991 w 12188651"/>
              <a:gd name="connsiteY1859" fmla="*/ 3845081 h 6858000"/>
              <a:gd name="connsiteX1860" fmla="*/ 64510 w 12188651"/>
              <a:gd name="connsiteY1860" fmla="*/ 3766470 h 6858000"/>
              <a:gd name="connsiteX1861" fmla="*/ 25335 w 12188651"/>
              <a:gd name="connsiteY1861" fmla="*/ 3750125 h 6858000"/>
              <a:gd name="connsiteX1862" fmla="*/ 25207 w 12188651"/>
              <a:gd name="connsiteY1862" fmla="*/ 3749995 h 6858000"/>
              <a:gd name="connsiteX1863" fmla="*/ 4290 w 12188651"/>
              <a:gd name="connsiteY1863" fmla="*/ 3754099 h 6858000"/>
              <a:gd name="connsiteX1864" fmla="*/ 0 w 12188651"/>
              <a:gd name="connsiteY1864" fmla="*/ 3756985 h 6858000"/>
              <a:gd name="connsiteX1865" fmla="*/ 12188651 w 12188651"/>
              <a:gd name="connsiteY1865" fmla="*/ 3566587 h 6858000"/>
              <a:gd name="connsiteX1866" fmla="*/ 12188651 w 12188651"/>
              <a:gd name="connsiteY1866" fmla="*/ 3775035 h 6858000"/>
              <a:gd name="connsiteX1867" fmla="*/ 12179990 w 12188651"/>
              <a:gd name="connsiteY1867" fmla="*/ 3766359 h 6858000"/>
              <a:gd name="connsiteX1868" fmla="*/ 12140685 w 12188651"/>
              <a:gd name="connsiteY1868" fmla="*/ 3750016 h 6858000"/>
              <a:gd name="connsiteX1869" fmla="*/ 12101510 w 12188651"/>
              <a:gd name="connsiteY1869" fmla="*/ 3766359 h 6858000"/>
              <a:gd name="connsiteX1870" fmla="*/ 12023031 w 12188651"/>
              <a:gd name="connsiteY1870" fmla="*/ 3845097 h 6858000"/>
              <a:gd name="connsiteX1871" fmla="*/ 12023031 w 12188651"/>
              <a:gd name="connsiteY1871" fmla="*/ 3923710 h 6858000"/>
              <a:gd name="connsiteX1872" fmla="*/ 12188651 w 12188651"/>
              <a:gd name="connsiteY1872" fmla="*/ 4089721 h 6858000"/>
              <a:gd name="connsiteX1873" fmla="*/ 12188651 w 12188651"/>
              <a:gd name="connsiteY1873" fmla="*/ 4274463 h 6858000"/>
              <a:gd name="connsiteX1874" fmla="*/ 11910696 w 12188651"/>
              <a:gd name="connsiteY1874" fmla="*/ 4113620 h 6858000"/>
              <a:gd name="connsiteX1875" fmla="*/ 11910696 w 12188651"/>
              <a:gd name="connsiteY1875" fmla="*/ 3727442 h 6858000"/>
              <a:gd name="connsiteX1876" fmla="*/ 10883981 w 12188651"/>
              <a:gd name="connsiteY1876" fmla="*/ 3539477 h 6858000"/>
              <a:gd name="connsiteX1877" fmla="*/ 11209441 w 12188651"/>
              <a:gd name="connsiteY1877" fmla="*/ 3727831 h 6858000"/>
              <a:gd name="connsiteX1878" fmla="*/ 11209441 w 12188651"/>
              <a:gd name="connsiteY1878" fmla="*/ 4104668 h 6858000"/>
              <a:gd name="connsiteX1879" fmla="*/ 10883981 w 12188651"/>
              <a:gd name="connsiteY1879" fmla="*/ 3916314 h 6858000"/>
              <a:gd name="connsiteX1880" fmla="*/ 10867636 w 12188651"/>
              <a:gd name="connsiteY1880" fmla="*/ 3539477 h 6858000"/>
              <a:gd name="connsiteX1881" fmla="*/ 10867636 w 12188651"/>
              <a:gd name="connsiteY1881" fmla="*/ 3916314 h 6858000"/>
              <a:gd name="connsiteX1882" fmla="*/ 10542045 w 12188651"/>
              <a:gd name="connsiteY1882" fmla="*/ 4104668 h 6858000"/>
              <a:gd name="connsiteX1883" fmla="*/ 10542045 w 12188651"/>
              <a:gd name="connsiteY1883" fmla="*/ 3727833 h 6858000"/>
              <a:gd name="connsiteX1884" fmla="*/ 8830033 w 12188651"/>
              <a:gd name="connsiteY1884" fmla="*/ 3539477 h 6858000"/>
              <a:gd name="connsiteX1885" fmla="*/ 9155493 w 12188651"/>
              <a:gd name="connsiteY1885" fmla="*/ 3727828 h 6858000"/>
              <a:gd name="connsiteX1886" fmla="*/ 9155493 w 12188651"/>
              <a:gd name="connsiteY1886" fmla="*/ 4104664 h 6858000"/>
              <a:gd name="connsiteX1887" fmla="*/ 8830033 w 12188651"/>
              <a:gd name="connsiteY1887" fmla="*/ 3916306 h 6858000"/>
              <a:gd name="connsiteX1888" fmla="*/ 8813688 w 12188651"/>
              <a:gd name="connsiteY1888" fmla="*/ 3539477 h 6858000"/>
              <a:gd name="connsiteX1889" fmla="*/ 8813688 w 12188651"/>
              <a:gd name="connsiteY1889" fmla="*/ 3916308 h 6858000"/>
              <a:gd name="connsiteX1890" fmla="*/ 8488098 w 12188651"/>
              <a:gd name="connsiteY1890" fmla="*/ 4104664 h 6858000"/>
              <a:gd name="connsiteX1891" fmla="*/ 8488098 w 12188651"/>
              <a:gd name="connsiteY1891" fmla="*/ 3727827 h 6858000"/>
              <a:gd name="connsiteX1892" fmla="*/ 2652143 w 12188651"/>
              <a:gd name="connsiteY1892" fmla="*/ 3539477 h 6858000"/>
              <a:gd name="connsiteX1893" fmla="*/ 2652143 w 12188651"/>
              <a:gd name="connsiteY1893" fmla="*/ 3916302 h 6858000"/>
              <a:gd name="connsiteX1894" fmla="*/ 2326584 w 12188651"/>
              <a:gd name="connsiteY1894" fmla="*/ 4104641 h 6858000"/>
              <a:gd name="connsiteX1895" fmla="*/ 2326584 w 12188651"/>
              <a:gd name="connsiteY1895" fmla="*/ 3727818 h 6858000"/>
              <a:gd name="connsiteX1896" fmla="*/ 2668516 w 12188651"/>
              <a:gd name="connsiteY1896" fmla="*/ 3539475 h 6858000"/>
              <a:gd name="connsiteX1897" fmla="*/ 2993952 w 12188651"/>
              <a:gd name="connsiteY1897" fmla="*/ 3727816 h 6858000"/>
              <a:gd name="connsiteX1898" fmla="*/ 2993952 w 12188651"/>
              <a:gd name="connsiteY1898" fmla="*/ 4104644 h 6858000"/>
              <a:gd name="connsiteX1899" fmla="*/ 2668516 w 12188651"/>
              <a:gd name="connsiteY1899" fmla="*/ 3916304 h 6858000"/>
              <a:gd name="connsiteX1900" fmla="*/ 598168 w 12188651"/>
              <a:gd name="connsiteY1900" fmla="*/ 3539475 h 6858000"/>
              <a:gd name="connsiteX1901" fmla="*/ 598168 w 12188651"/>
              <a:gd name="connsiteY1901" fmla="*/ 3916299 h 6858000"/>
              <a:gd name="connsiteX1902" fmla="*/ 272605 w 12188651"/>
              <a:gd name="connsiteY1902" fmla="*/ 4104641 h 6858000"/>
              <a:gd name="connsiteX1903" fmla="*/ 272605 w 12188651"/>
              <a:gd name="connsiteY1903" fmla="*/ 3727815 h 6858000"/>
              <a:gd name="connsiteX1904" fmla="*/ 614540 w 12188651"/>
              <a:gd name="connsiteY1904" fmla="*/ 3539473 h 6858000"/>
              <a:gd name="connsiteX1905" fmla="*/ 939973 w 12188651"/>
              <a:gd name="connsiteY1905" fmla="*/ 3727812 h 6858000"/>
              <a:gd name="connsiteX1906" fmla="*/ 939973 w 12188651"/>
              <a:gd name="connsiteY1906" fmla="*/ 4104643 h 6858000"/>
              <a:gd name="connsiteX1907" fmla="*/ 614540 w 12188651"/>
              <a:gd name="connsiteY1907" fmla="*/ 3916301 h 6858000"/>
              <a:gd name="connsiteX1908" fmla="*/ 6776215 w 12188651"/>
              <a:gd name="connsiteY1908" fmla="*/ 3539471 h 6858000"/>
              <a:gd name="connsiteX1909" fmla="*/ 7101677 w 12188651"/>
              <a:gd name="connsiteY1909" fmla="*/ 3727826 h 6858000"/>
              <a:gd name="connsiteX1910" fmla="*/ 7101677 w 12188651"/>
              <a:gd name="connsiteY1910" fmla="*/ 4104661 h 6858000"/>
              <a:gd name="connsiteX1911" fmla="*/ 6776215 w 12188651"/>
              <a:gd name="connsiteY1911" fmla="*/ 3916305 h 6858000"/>
              <a:gd name="connsiteX1912" fmla="*/ 6759871 w 12188651"/>
              <a:gd name="connsiteY1912" fmla="*/ 3539471 h 6858000"/>
              <a:gd name="connsiteX1913" fmla="*/ 6759871 w 12188651"/>
              <a:gd name="connsiteY1913" fmla="*/ 3916305 h 6858000"/>
              <a:gd name="connsiteX1914" fmla="*/ 6434280 w 12188651"/>
              <a:gd name="connsiteY1914" fmla="*/ 4104661 h 6858000"/>
              <a:gd name="connsiteX1915" fmla="*/ 6434280 w 12188651"/>
              <a:gd name="connsiteY1915" fmla="*/ 3727826 h 6858000"/>
              <a:gd name="connsiteX1916" fmla="*/ 4722303 w 12188651"/>
              <a:gd name="connsiteY1916" fmla="*/ 3539471 h 6858000"/>
              <a:gd name="connsiteX1917" fmla="*/ 5047768 w 12188651"/>
              <a:gd name="connsiteY1917" fmla="*/ 3727818 h 6858000"/>
              <a:gd name="connsiteX1918" fmla="*/ 5047768 w 12188651"/>
              <a:gd name="connsiteY1918" fmla="*/ 4104649 h 6858000"/>
              <a:gd name="connsiteX1919" fmla="*/ 4722303 w 12188651"/>
              <a:gd name="connsiteY1919" fmla="*/ 3916305 h 6858000"/>
              <a:gd name="connsiteX1920" fmla="*/ 4705942 w 12188651"/>
              <a:gd name="connsiteY1920" fmla="*/ 3539471 h 6858000"/>
              <a:gd name="connsiteX1921" fmla="*/ 4705942 w 12188651"/>
              <a:gd name="connsiteY1921" fmla="*/ 3916304 h 6858000"/>
              <a:gd name="connsiteX1922" fmla="*/ 4380369 w 12188651"/>
              <a:gd name="connsiteY1922" fmla="*/ 4104654 h 6858000"/>
              <a:gd name="connsiteX1923" fmla="*/ 4380369 w 12188651"/>
              <a:gd name="connsiteY1923" fmla="*/ 3727821 h 6858000"/>
              <a:gd name="connsiteX1924" fmla="*/ 11559549 w 12188651"/>
              <a:gd name="connsiteY1924" fmla="*/ 3534681 h 6858000"/>
              <a:gd name="connsiteX1925" fmla="*/ 11893312 w 12188651"/>
              <a:gd name="connsiteY1925" fmla="*/ 3727831 h 6858000"/>
              <a:gd name="connsiteX1926" fmla="*/ 11893312 w 12188651"/>
              <a:gd name="connsiteY1926" fmla="*/ 4114138 h 6858000"/>
              <a:gd name="connsiteX1927" fmla="*/ 11559679 w 12188651"/>
              <a:gd name="connsiteY1927" fmla="*/ 4307278 h 6858000"/>
              <a:gd name="connsiteX1928" fmla="*/ 11486870 w 12188651"/>
              <a:gd name="connsiteY1928" fmla="*/ 4265143 h 6858000"/>
              <a:gd name="connsiteX1929" fmla="*/ 11225916 w 12188651"/>
              <a:gd name="connsiteY1929" fmla="*/ 4114138 h 6858000"/>
              <a:gd name="connsiteX1930" fmla="*/ 11225916 w 12188651"/>
              <a:gd name="connsiteY1930" fmla="*/ 3727833 h 6858000"/>
              <a:gd name="connsiteX1931" fmla="*/ 9505601 w 12188651"/>
              <a:gd name="connsiteY1931" fmla="*/ 3534677 h 6858000"/>
              <a:gd name="connsiteX1932" fmla="*/ 9839364 w 12188651"/>
              <a:gd name="connsiteY1932" fmla="*/ 3727828 h 6858000"/>
              <a:gd name="connsiteX1933" fmla="*/ 9839364 w 12188651"/>
              <a:gd name="connsiteY1933" fmla="*/ 4114135 h 6858000"/>
              <a:gd name="connsiteX1934" fmla="*/ 9578839 w 12188651"/>
              <a:gd name="connsiteY1934" fmla="*/ 4264954 h 6858000"/>
              <a:gd name="connsiteX1935" fmla="*/ 9505732 w 12188651"/>
              <a:gd name="connsiteY1935" fmla="*/ 4307278 h 6858000"/>
              <a:gd name="connsiteX1936" fmla="*/ 9171969 w 12188651"/>
              <a:gd name="connsiteY1936" fmla="*/ 4114135 h 6858000"/>
              <a:gd name="connsiteX1937" fmla="*/ 9171969 w 12188651"/>
              <a:gd name="connsiteY1937" fmla="*/ 3727827 h 6858000"/>
              <a:gd name="connsiteX1938" fmla="*/ 7451785 w 12188651"/>
              <a:gd name="connsiteY1938" fmla="*/ 3534670 h 6858000"/>
              <a:gd name="connsiteX1939" fmla="*/ 7785548 w 12188651"/>
              <a:gd name="connsiteY1939" fmla="*/ 3727826 h 6858000"/>
              <a:gd name="connsiteX1940" fmla="*/ 7785548 w 12188651"/>
              <a:gd name="connsiteY1940" fmla="*/ 4114131 h 6858000"/>
              <a:gd name="connsiteX1941" fmla="*/ 7451915 w 12188651"/>
              <a:gd name="connsiteY1941" fmla="*/ 4307279 h 6858000"/>
              <a:gd name="connsiteX1942" fmla="*/ 7118150 w 12188651"/>
              <a:gd name="connsiteY1942" fmla="*/ 4114131 h 6858000"/>
              <a:gd name="connsiteX1943" fmla="*/ 7118150 w 12188651"/>
              <a:gd name="connsiteY1943" fmla="*/ 3727826 h 6858000"/>
              <a:gd name="connsiteX1944" fmla="*/ 5397881 w 12188651"/>
              <a:gd name="connsiteY1944" fmla="*/ 3534670 h 6858000"/>
              <a:gd name="connsiteX1945" fmla="*/ 5731616 w 12188651"/>
              <a:gd name="connsiteY1945" fmla="*/ 3727818 h 6858000"/>
              <a:gd name="connsiteX1946" fmla="*/ 5731616 w 12188651"/>
              <a:gd name="connsiteY1946" fmla="*/ 4114128 h 6858000"/>
              <a:gd name="connsiteX1947" fmla="*/ 5597792 w 12188651"/>
              <a:gd name="connsiteY1947" fmla="*/ 4191609 h 6858000"/>
              <a:gd name="connsiteX1948" fmla="*/ 5398006 w 12188651"/>
              <a:gd name="connsiteY1948" fmla="*/ 4307274 h 6858000"/>
              <a:gd name="connsiteX1949" fmla="*/ 5064269 w 12188651"/>
              <a:gd name="connsiteY1949" fmla="*/ 4114131 h 6858000"/>
              <a:gd name="connsiteX1950" fmla="*/ 5064269 w 12188651"/>
              <a:gd name="connsiteY1950" fmla="*/ 3727821 h 6858000"/>
              <a:gd name="connsiteX1951" fmla="*/ 3344073 w 12188651"/>
              <a:gd name="connsiteY1951" fmla="*/ 3534670 h 6858000"/>
              <a:gd name="connsiteX1952" fmla="*/ 3677818 w 12188651"/>
              <a:gd name="connsiteY1952" fmla="*/ 3727816 h 6858000"/>
              <a:gd name="connsiteX1953" fmla="*/ 3677818 w 12188651"/>
              <a:gd name="connsiteY1953" fmla="*/ 4114128 h 6858000"/>
              <a:gd name="connsiteX1954" fmla="*/ 3344203 w 12188651"/>
              <a:gd name="connsiteY1954" fmla="*/ 4307271 h 6858000"/>
              <a:gd name="connsiteX1955" fmla="*/ 3010455 w 12188651"/>
              <a:gd name="connsiteY1955" fmla="*/ 4114128 h 6858000"/>
              <a:gd name="connsiteX1956" fmla="*/ 3010455 w 12188651"/>
              <a:gd name="connsiteY1956" fmla="*/ 3727818 h 6858000"/>
              <a:gd name="connsiteX1957" fmla="*/ 1290097 w 12188651"/>
              <a:gd name="connsiteY1957" fmla="*/ 3534667 h 6858000"/>
              <a:gd name="connsiteX1958" fmla="*/ 1623844 w 12188651"/>
              <a:gd name="connsiteY1958" fmla="*/ 3727812 h 6858000"/>
              <a:gd name="connsiteX1959" fmla="*/ 1623844 w 12188651"/>
              <a:gd name="connsiteY1959" fmla="*/ 4114126 h 6858000"/>
              <a:gd name="connsiteX1960" fmla="*/ 1290224 w 12188651"/>
              <a:gd name="connsiteY1960" fmla="*/ 4307272 h 6858000"/>
              <a:gd name="connsiteX1961" fmla="*/ 956474 w 12188651"/>
              <a:gd name="connsiteY1961" fmla="*/ 4114128 h 6858000"/>
              <a:gd name="connsiteX1962" fmla="*/ 956474 w 12188651"/>
              <a:gd name="connsiteY1962" fmla="*/ 3727815 h 6858000"/>
              <a:gd name="connsiteX1963" fmla="*/ 10190640 w 12188651"/>
              <a:gd name="connsiteY1963" fmla="*/ 3534287 h 6858000"/>
              <a:gd name="connsiteX1964" fmla="*/ 10524404 w 12188651"/>
              <a:gd name="connsiteY1964" fmla="*/ 3727441 h 6858000"/>
              <a:gd name="connsiteX1965" fmla="*/ 10524404 w 12188651"/>
              <a:gd name="connsiteY1965" fmla="*/ 4113620 h 6858000"/>
              <a:gd name="connsiteX1966" fmla="*/ 10190640 w 12188651"/>
              <a:gd name="connsiteY1966" fmla="*/ 4306761 h 6858000"/>
              <a:gd name="connsiteX1967" fmla="*/ 9856876 w 12188651"/>
              <a:gd name="connsiteY1967" fmla="*/ 4113620 h 6858000"/>
              <a:gd name="connsiteX1968" fmla="*/ 9856876 w 12188651"/>
              <a:gd name="connsiteY1968" fmla="*/ 3727441 h 6858000"/>
              <a:gd name="connsiteX1969" fmla="*/ 8136693 w 12188651"/>
              <a:gd name="connsiteY1969" fmla="*/ 3534283 h 6858000"/>
              <a:gd name="connsiteX1970" fmla="*/ 8470456 w 12188651"/>
              <a:gd name="connsiteY1970" fmla="*/ 3727435 h 6858000"/>
              <a:gd name="connsiteX1971" fmla="*/ 8470456 w 12188651"/>
              <a:gd name="connsiteY1971" fmla="*/ 4113615 h 6858000"/>
              <a:gd name="connsiteX1972" fmla="*/ 8136693 w 12188651"/>
              <a:gd name="connsiteY1972" fmla="*/ 4306761 h 6858000"/>
              <a:gd name="connsiteX1973" fmla="*/ 7802930 w 12188651"/>
              <a:gd name="connsiteY1973" fmla="*/ 4113615 h 6858000"/>
              <a:gd name="connsiteX1974" fmla="*/ 7802930 w 12188651"/>
              <a:gd name="connsiteY1974" fmla="*/ 3727435 h 6858000"/>
              <a:gd name="connsiteX1975" fmla="*/ 6082876 w 12188651"/>
              <a:gd name="connsiteY1975" fmla="*/ 3534281 h 6858000"/>
              <a:gd name="connsiteX1976" fmla="*/ 6416638 w 12188651"/>
              <a:gd name="connsiteY1976" fmla="*/ 3727432 h 6858000"/>
              <a:gd name="connsiteX1977" fmla="*/ 6416638 w 12188651"/>
              <a:gd name="connsiteY1977" fmla="*/ 4113613 h 6858000"/>
              <a:gd name="connsiteX1978" fmla="*/ 6082876 w 12188651"/>
              <a:gd name="connsiteY1978" fmla="*/ 4306761 h 6858000"/>
              <a:gd name="connsiteX1979" fmla="*/ 5749138 w 12188651"/>
              <a:gd name="connsiteY1979" fmla="*/ 4113613 h 6858000"/>
              <a:gd name="connsiteX1980" fmla="*/ 5749138 w 12188651"/>
              <a:gd name="connsiteY1980" fmla="*/ 3727432 h 6858000"/>
              <a:gd name="connsiteX1981" fmla="*/ 4029115 w 12188651"/>
              <a:gd name="connsiteY1981" fmla="*/ 3534279 h 6858000"/>
              <a:gd name="connsiteX1982" fmla="*/ 4362838 w 12188651"/>
              <a:gd name="connsiteY1982" fmla="*/ 3727431 h 6858000"/>
              <a:gd name="connsiteX1983" fmla="*/ 4362838 w 12188651"/>
              <a:gd name="connsiteY1983" fmla="*/ 4113612 h 6858000"/>
              <a:gd name="connsiteX1984" fmla="*/ 4029115 w 12188651"/>
              <a:gd name="connsiteY1984" fmla="*/ 4306759 h 6858000"/>
              <a:gd name="connsiteX1985" fmla="*/ 3695360 w 12188651"/>
              <a:gd name="connsiteY1985" fmla="*/ 4113612 h 6858000"/>
              <a:gd name="connsiteX1986" fmla="*/ 3695360 w 12188651"/>
              <a:gd name="connsiteY1986" fmla="*/ 3727431 h 6858000"/>
              <a:gd name="connsiteX1987" fmla="*/ 1975142 w 12188651"/>
              <a:gd name="connsiteY1987" fmla="*/ 3534274 h 6858000"/>
              <a:gd name="connsiteX1988" fmla="*/ 2308909 w 12188651"/>
              <a:gd name="connsiteY1988" fmla="*/ 3727426 h 6858000"/>
              <a:gd name="connsiteX1989" fmla="*/ 2308909 w 12188651"/>
              <a:gd name="connsiteY1989" fmla="*/ 4113608 h 6858000"/>
              <a:gd name="connsiteX1990" fmla="*/ 1975142 w 12188651"/>
              <a:gd name="connsiteY1990" fmla="*/ 4306759 h 6858000"/>
              <a:gd name="connsiteX1991" fmla="*/ 1641383 w 12188651"/>
              <a:gd name="connsiteY1991" fmla="*/ 4113608 h 6858000"/>
              <a:gd name="connsiteX1992" fmla="*/ 1641383 w 12188651"/>
              <a:gd name="connsiteY1992" fmla="*/ 3727426 h 6858000"/>
              <a:gd name="connsiteX1993" fmla="*/ 11902654 w 12188651"/>
              <a:gd name="connsiteY1993" fmla="*/ 3336497 h 6858000"/>
              <a:gd name="connsiteX1994" fmla="*/ 12182429 w 12188651"/>
              <a:gd name="connsiteY1994" fmla="*/ 3498382 h 6858000"/>
              <a:gd name="connsiteX1995" fmla="*/ 12188651 w 12188651"/>
              <a:gd name="connsiteY1995" fmla="*/ 3501984 h 6858000"/>
              <a:gd name="connsiteX1996" fmla="*/ 12188651 w 12188651"/>
              <a:gd name="connsiteY1996" fmla="*/ 3547650 h 6858000"/>
              <a:gd name="connsiteX1997" fmla="*/ 11902524 w 12188651"/>
              <a:gd name="connsiteY1997" fmla="*/ 3713173 h 6858000"/>
              <a:gd name="connsiteX1998" fmla="*/ 11577061 w 12188651"/>
              <a:gd name="connsiteY1998" fmla="*/ 3524820 h 6858000"/>
              <a:gd name="connsiteX1999" fmla="*/ 9848833 w 12188651"/>
              <a:gd name="connsiteY1999" fmla="*/ 3336489 h 6858000"/>
              <a:gd name="connsiteX2000" fmla="*/ 10174296 w 12188651"/>
              <a:gd name="connsiteY2000" fmla="*/ 3524818 h 6858000"/>
              <a:gd name="connsiteX2001" fmla="*/ 9848703 w 12188651"/>
              <a:gd name="connsiteY2001" fmla="*/ 3713171 h 6858000"/>
              <a:gd name="connsiteX2002" fmla="*/ 9523242 w 12188651"/>
              <a:gd name="connsiteY2002" fmla="*/ 3524818 h 6858000"/>
              <a:gd name="connsiteX2003" fmla="*/ 7794888 w 12188651"/>
              <a:gd name="connsiteY2003" fmla="*/ 3336477 h 6858000"/>
              <a:gd name="connsiteX2004" fmla="*/ 8120348 w 12188651"/>
              <a:gd name="connsiteY2004" fmla="*/ 3524813 h 6858000"/>
              <a:gd name="connsiteX2005" fmla="*/ 7794758 w 12188651"/>
              <a:gd name="connsiteY2005" fmla="*/ 3713167 h 6858000"/>
              <a:gd name="connsiteX2006" fmla="*/ 7469297 w 12188651"/>
              <a:gd name="connsiteY2006" fmla="*/ 3524813 h 6858000"/>
              <a:gd name="connsiteX2007" fmla="*/ 5741092 w 12188651"/>
              <a:gd name="connsiteY2007" fmla="*/ 3336470 h 6858000"/>
              <a:gd name="connsiteX2008" fmla="*/ 6066533 w 12188651"/>
              <a:gd name="connsiteY2008" fmla="*/ 3524807 h 6858000"/>
              <a:gd name="connsiteX2009" fmla="*/ 5740963 w 12188651"/>
              <a:gd name="connsiteY2009" fmla="*/ 3713162 h 6858000"/>
              <a:gd name="connsiteX2010" fmla="*/ 5415520 w 12188651"/>
              <a:gd name="connsiteY2010" fmla="*/ 3524807 h 6858000"/>
              <a:gd name="connsiteX2011" fmla="*/ 3687317 w 12188651"/>
              <a:gd name="connsiteY2011" fmla="*/ 3336464 h 6858000"/>
              <a:gd name="connsiteX2012" fmla="*/ 4012771 w 12188651"/>
              <a:gd name="connsiteY2012" fmla="*/ 3524805 h 6858000"/>
              <a:gd name="connsiteX2013" fmla="*/ 3687184 w 12188651"/>
              <a:gd name="connsiteY2013" fmla="*/ 3713158 h 6858000"/>
              <a:gd name="connsiteX2014" fmla="*/ 3361732 w 12188651"/>
              <a:gd name="connsiteY2014" fmla="*/ 3524805 h 6858000"/>
              <a:gd name="connsiteX2015" fmla="*/ 1633340 w 12188651"/>
              <a:gd name="connsiteY2015" fmla="*/ 3336454 h 6858000"/>
              <a:gd name="connsiteX2016" fmla="*/ 1958796 w 12188651"/>
              <a:gd name="connsiteY2016" fmla="*/ 3524804 h 6858000"/>
              <a:gd name="connsiteX2017" fmla="*/ 1633208 w 12188651"/>
              <a:gd name="connsiteY2017" fmla="*/ 3713156 h 6858000"/>
              <a:gd name="connsiteX2018" fmla="*/ 1307751 w 12188651"/>
              <a:gd name="connsiteY2018" fmla="*/ 3524804 h 6858000"/>
              <a:gd name="connsiteX2019" fmla="*/ 11113840 w 12188651"/>
              <a:gd name="connsiteY2019" fmla="*/ 3172539 h 6858000"/>
              <a:gd name="connsiteX2020" fmla="*/ 11141600 w 12188651"/>
              <a:gd name="connsiteY2020" fmla="*/ 3184087 h 6858000"/>
              <a:gd name="connsiteX2021" fmla="*/ 11206199 w 12188651"/>
              <a:gd name="connsiteY2021" fmla="*/ 3248805 h 6858000"/>
              <a:gd name="connsiteX2022" fmla="*/ 11217744 w 12188651"/>
              <a:gd name="connsiteY2022" fmla="*/ 3260492 h 6858000"/>
              <a:gd name="connsiteX2023" fmla="*/ 11229289 w 12188651"/>
              <a:gd name="connsiteY2023" fmla="*/ 3248805 h 6858000"/>
              <a:gd name="connsiteX2024" fmla="*/ 11293758 w 12188651"/>
              <a:gd name="connsiteY2024" fmla="*/ 3184087 h 6858000"/>
              <a:gd name="connsiteX2025" fmla="*/ 11321517 w 12188651"/>
              <a:gd name="connsiteY2025" fmla="*/ 3172539 h 6858000"/>
              <a:gd name="connsiteX2026" fmla="*/ 11349147 w 12188651"/>
              <a:gd name="connsiteY2026" fmla="*/ 3184087 h 6858000"/>
              <a:gd name="connsiteX2027" fmla="*/ 11427627 w 12188651"/>
              <a:gd name="connsiteY2027" fmla="*/ 3262689 h 6858000"/>
              <a:gd name="connsiteX2028" fmla="*/ 11439170 w 12188651"/>
              <a:gd name="connsiteY2028" fmla="*/ 3290444 h 6858000"/>
              <a:gd name="connsiteX2029" fmla="*/ 11427757 w 12188651"/>
              <a:gd name="connsiteY2029" fmla="*/ 3318199 h 6858000"/>
              <a:gd name="connsiteX2030" fmla="*/ 11217744 w 12188651"/>
              <a:gd name="connsiteY2030" fmla="*/ 3528579 h 6858000"/>
              <a:gd name="connsiteX2031" fmla="*/ 11007731 w 12188651"/>
              <a:gd name="connsiteY2031" fmla="*/ 3318199 h 6858000"/>
              <a:gd name="connsiteX2032" fmla="*/ 10996253 w 12188651"/>
              <a:gd name="connsiteY2032" fmla="*/ 3290463 h 6858000"/>
              <a:gd name="connsiteX2033" fmla="*/ 11007731 w 12188651"/>
              <a:gd name="connsiteY2033" fmla="*/ 3262819 h 6858000"/>
              <a:gd name="connsiteX2034" fmla="*/ 11086210 w 12188651"/>
              <a:gd name="connsiteY2034" fmla="*/ 3184087 h 6858000"/>
              <a:gd name="connsiteX2035" fmla="*/ 11113840 w 12188651"/>
              <a:gd name="connsiteY2035" fmla="*/ 3172539 h 6858000"/>
              <a:gd name="connsiteX2036" fmla="*/ 9059892 w 12188651"/>
              <a:gd name="connsiteY2036" fmla="*/ 3172530 h 6858000"/>
              <a:gd name="connsiteX2037" fmla="*/ 9087652 w 12188651"/>
              <a:gd name="connsiteY2037" fmla="*/ 3184077 h 6858000"/>
              <a:gd name="connsiteX2038" fmla="*/ 9152251 w 12188651"/>
              <a:gd name="connsiteY2038" fmla="*/ 3248800 h 6858000"/>
              <a:gd name="connsiteX2039" fmla="*/ 9163796 w 12188651"/>
              <a:gd name="connsiteY2039" fmla="*/ 3260473 h 6858000"/>
              <a:gd name="connsiteX2040" fmla="*/ 9175341 w 12188651"/>
              <a:gd name="connsiteY2040" fmla="*/ 3248800 h 6858000"/>
              <a:gd name="connsiteX2041" fmla="*/ 9239810 w 12188651"/>
              <a:gd name="connsiteY2041" fmla="*/ 3184077 h 6858000"/>
              <a:gd name="connsiteX2042" fmla="*/ 9267570 w 12188651"/>
              <a:gd name="connsiteY2042" fmla="*/ 3172530 h 6858000"/>
              <a:gd name="connsiteX2043" fmla="*/ 9295200 w 12188651"/>
              <a:gd name="connsiteY2043" fmla="*/ 3184077 h 6858000"/>
              <a:gd name="connsiteX2044" fmla="*/ 9373678 w 12188651"/>
              <a:gd name="connsiteY2044" fmla="*/ 3262679 h 6858000"/>
              <a:gd name="connsiteX2045" fmla="*/ 9385222 w 12188651"/>
              <a:gd name="connsiteY2045" fmla="*/ 3290436 h 6858000"/>
              <a:gd name="connsiteX2046" fmla="*/ 9373809 w 12188651"/>
              <a:gd name="connsiteY2046" fmla="*/ 3318189 h 6858000"/>
              <a:gd name="connsiteX2047" fmla="*/ 9163797 w 12188651"/>
              <a:gd name="connsiteY2047" fmla="*/ 3528578 h 6858000"/>
              <a:gd name="connsiteX2048" fmla="*/ 8953784 w 12188651"/>
              <a:gd name="connsiteY2048" fmla="*/ 3318189 h 6858000"/>
              <a:gd name="connsiteX2049" fmla="*/ 8942306 w 12188651"/>
              <a:gd name="connsiteY2049" fmla="*/ 3290451 h 6858000"/>
              <a:gd name="connsiteX2050" fmla="*/ 8953783 w 12188651"/>
              <a:gd name="connsiteY2050" fmla="*/ 3262809 h 6858000"/>
              <a:gd name="connsiteX2051" fmla="*/ 9032263 w 12188651"/>
              <a:gd name="connsiteY2051" fmla="*/ 3184077 h 6858000"/>
              <a:gd name="connsiteX2052" fmla="*/ 9059892 w 12188651"/>
              <a:gd name="connsiteY2052" fmla="*/ 3172530 h 6858000"/>
              <a:gd name="connsiteX2053" fmla="*/ 7006076 w 12188651"/>
              <a:gd name="connsiteY2053" fmla="*/ 3172517 h 6858000"/>
              <a:gd name="connsiteX2054" fmla="*/ 7033834 w 12188651"/>
              <a:gd name="connsiteY2054" fmla="*/ 3184064 h 6858000"/>
              <a:gd name="connsiteX2055" fmla="*/ 7098434 w 12188651"/>
              <a:gd name="connsiteY2055" fmla="*/ 3248792 h 6858000"/>
              <a:gd name="connsiteX2056" fmla="*/ 7109978 w 12188651"/>
              <a:gd name="connsiteY2056" fmla="*/ 3260467 h 6858000"/>
              <a:gd name="connsiteX2057" fmla="*/ 7121523 w 12188651"/>
              <a:gd name="connsiteY2057" fmla="*/ 3248792 h 6858000"/>
              <a:gd name="connsiteX2058" fmla="*/ 7185994 w 12188651"/>
              <a:gd name="connsiteY2058" fmla="*/ 3184064 h 6858000"/>
              <a:gd name="connsiteX2059" fmla="*/ 7213751 w 12188651"/>
              <a:gd name="connsiteY2059" fmla="*/ 3172517 h 6858000"/>
              <a:gd name="connsiteX2060" fmla="*/ 7241381 w 12188651"/>
              <a:gd name="connsiteY2060" fmla="*/ 3184064 h 6858000"/>
              <a:gd name="connsiteX2061" fmla="*/ 7319862 w 12188651"/>
              <a:gd name="connsiteY2061" fmla="*/ 3262673 h 6858000"/>
              <a:gd name="connsiteX2062" fmla="*/ 7331405 w 12188651"/>
              <a:gd name="connsiteY2062" fmla="*/ 3290428 h 6858000"/>
              <a:gd name="connsiteX2063" fmla="*/ 7319992 w 12188651"/>
              <a:gd name="connsiteY2063" fmla="*/ 3318178 h 6858000"/>
              <a:gd name="connsiteX2064" fmla="*/ 7109978 w 12188651"/>
              <a:gd name="connsiteY2064" fmla="*/ 3528572 h 6858000"/>
              <a:gd name="connsiteX2065" fmla="*/ 6899966 w 12188651"/>
              <a:gd name="connsiteY2065" fmla="*/ 3318178 h 6858000"/>
              <a:gd name="connsiteX2066" fmla="*/ 6888487 w 12188651"/>
              <a:gd name="connsiteY2066" fmla="*/ 3290444 h 6858000"/>
              <a:gd name="connsiteX2067" fmla="*/ 6899966 w 12188651"/>
              <a:gd name="connsiteY2067" fmla="*/ 3262798 h 6858000"/>
              <a:gd name="connsiteX2068" fmla="*/ 6978446 w 12188651"/>
              <a:gd name="connsiteY2068" fmla="*/ 3184064 h 6858000"/>
              <a:gd name="connsiteX2069" fmla="*/ 7006076 w 12188651"/>
              <a:gd name="connsiteY2069" fmla="*/ 3172517 h 6858000"/>
              <a:gd name="connsiteX2070" fmla="*/ 4952157 w 12188651"/>
              <a:gd name="connsiteY2070" fmla="*/ 3172509 h 6858000"/>
              <a:gd name="connsiteX2071" fmla="*/ 4979924 w 12188651"/>
              <a:gd name="connsiteY2071" fmla="*/ 3184048 h 6858000"/>
              <a:gd name="connsiteX2072" fmla="*/ 5044521 w 12188651"/>
              <a:gd name="connsiteY2072" fmla="*/ 3248772 h 6858000"/>
              <a:gd name="connsiteX2073" fmla="*/ 5056083 w 12188651"/>
              <a:gd name="connsiteY2073" fmla="*/ 3260446 h 6858000"/>
              <a:gd name="connsiteX2074" fmla="*/ 5056083 w 12188651"/>
              <a:gd name="connsiteY2074" fmla="*/ 3260442 h 6858000"/>
              <a:gd name="connsiteX2075" fmla="*/ 5056087 w 12188651"/>
              <a:gd name="connsiteY2075" fmla="*/ 3260455 h 6858000"/>
              <a:gd name="connsiteX2076" fmla="*/ 5067642 w 12188651"/>
              <a:gd name="connsiteY2076" fmla="*/ 3248781 h 6858000"/>
              <a:gd name="connsiteX2077" fmla="*/ 5132091 w 12188651"/>
              <a:gd name="connsiteY2077" fmla="*/ 3184051 h 6858000"/>
              <a:gd name="connsiteX2078" fmla="*/ 5159840 w 12188651"/>
              <a:gd name="connsiteY2078" fmla="*/ 3172509 h 6858000"/>
              <a:gd name="connsiteX2079" fmla="*/ 5187473 w 12188651"/>
              <a:gd name="connsiteY2079" fmla="*/ 3184048 h 6858000"/>
              <a:gd name="connsiteX2080" fmla="*/ 5265932 w 12188651"/>
              <a:gd name="connsiteY2080" fmla="*/ 3262652 h 6858000"/>
              <a:gd name="connsiteX2081" fmla="*/ 5277479 w 12188651"/>
              <a:gd name="connsiteY2081" fmla="*/ 3290410 h 6858000"/>
              <a:gd name="connsiteX2082" fmla="*/ 5266071 w 12188651"/>
              <a:gd name="connsiteY2082" fmla="*/ 3318172 h 6858000"/>
              <a:gd name="connsiteX2083" fmla="*/ 5056083 w 12188651"/>
              <a:gd name="connsiteY2083" fmla="*/ 3528560 h 6858000"/>
              <a:gd name="connsiteX2084" fmla="*/ 4855197 w 12188651"/>
              <a:gd name="connsiteY2084" fmla="*/ 3327353 h 6858000"/>
              <a:gd name="connsiteX2085" fmla="*/ 4846044 w 12188651"/>
              <a:gd name="connsiteY2085" fmla="*/ 3318176 h 6858000"/>
              <a:gd name="connsiteX2086" fmla="*/ 4834566 w 12188651"/>
              <a:gd name="connsiteY2086" fmla="*/ 3290436 h 6858000"/>
              <a:gd name="connsiteX2087" fmla="*/ 4846044 w 12188651"/>
              <a:gd name="connsiteY2087" fmla="*/ 3262790 h 6858000"/>
              <a:gd name="connsiteX2088" fmla="*/ 4924518 w 12188651"/>
              <a:gd name="connsiteY2088" fmla="*/ 3184051 h 6858000"/>
              <a:gd name="connsiteX2089" fmla="*/ 4952157 w 12188651"/>
              <a:gd name="connsiteY2089" fmla="*/ 3172509 h 6858000"/>
              <a:gd name="connsiteX2090" fmla="*/ 2898373 w 12188651"/>
              <a:gd name="connsiteY2090" fmla="*/ 3172493 h 6858000"/>
              <a:gd name="connsiteX2091" fmla="*/ 2914891 w 12188651"/>
              <a:gd name="connsiteY2091" fmla="*/ 3179366 h 6858000"/>
              <a:gd name="connsiteX2092" fmla="*/ 2926113 w 12188651"/>
              <a:gd name="connsiteY2092" fmla="*/ 3184033 h 6858000"/>
              <a:gd name="connsiteX2093" fmla="*/ 2990711 w 12188651"/>
              <a:gd name="connsiteY2093" fmla="*/ 3248759 h 6858000"/>
              <a:gd name="connsiteX2094" fmla="*/ 3002256 w 12188651"/>
              <a:gd name="connsiteY2094" fmla="*/ 3260436 h 6858000"/>
              <a:gd name="connsiteX2095" fmla="*/ 3002263 w 12188651"/>
              <a:gd name="connsiteY2095" fmla="*/ 3260428 h 6858000"/>
              <a:gd name="connsiteX2096" fmla="*/ 3002278 w 12188651"/>
              <a:gd name="connsiteY2096" fmla="*/ 3260446 h 6858000"/>
              <a:gd name="connsiteX2097" fmla="*/ 3013824 w 12188651"/>
              <a:gd name="connsiteY2097" fmla="*/ 3248772 h 6858000"/>
              <a:gd name="connsiteX2098" fmla="*/ 3078289 w 12188651"/>
              <a:gd name="connsiteY2098" fmla="*/ 3184044 h 6858000"/>
              <a:gd name="connsiteX2099" fmla="*/ 3106051 w 12188651"/>
              <a:gd name="connsiteY2099" fmla="*/ 3172493 h 6858000"/>
              <a:gd name="connsiteX2100" fmla="*/ 3119341 w 12188651"/>
              <a:gd name="connsiteY2100" fmla="*/ 3178052 h 6858000"/>
              <a:gd name="connsiteX2101" fmla="*/ 3133663 w 12188651"/>
              <a:gd name="connsiteY2101" fmla="*/ 3184033 h 6858000"/>
              <a:gd name="connsiteX2102" fmla="*/ 3212138 w 12188651"/>
              <a:gd name="connsiteY2102" fmla="*/ 3262641 h 6858000"/>
              <a:gd name="connsiteX2103" fmla="*/ 3223683 w 12188651"/>
              <a:gd name="connsiteY2103" fmla="*/ 3290403 h 6858000"/>
              <a:gd name="connsiteX2104" fmla="*/ 3212269 w 12188651"/>
              <a:gd name="connsiteY2104" fmla="*/ 3318161 h 6858000"/>
              <a:gd name="connsiteX2105" fmla="*/ 3002266 w 12188651"/>
              <a:gd name="connsiteY2105" fmla="*/ 3528555 h 6858000"/>
              <a:gd name="connsiteX2106" fmla="*/ 2792268 w 12188651"/>
              <a:gd name="connsiteY2106" fmla="*/ 3318172 h 6858000"/>
              <a:gd name="connsiteX2107" fmla="*/ 2792268 w 12188651"/>
              <a:gd name="connsiteY2107" fmla="*/ 3262780 h 6858000"/>
              <a:gd name="connsiteX2108" fmla="*/ 2870745 w 12188651"/>
              <a:gd name="connsiteY2108" fmla="*/ 3184044 h 6858000"/>
              <a:gd name="connsiteX2109" fmla="*/ 844397 w 12188651"/>
              <a:gd name="connsiteY2109" fmla="*/ 3172485 h 6858000"/>
              <a:gd name="connsiteX2110" fmla="*/ 872137 w 12188651"/>
              <a:gd name="connsiteY2110" fmla="*/ 3184024 h 6858000"/>
              <a:gd name="connsiteX2111" fmla="*/ 936732 w 12188651"/>
              <a:gd name="connsiteY2111" fmla="*/ 3248751 h 6858000"/>
              <a:gd name="connsiteX2112" fmla="*/ 948278 w 12188651"/>
              <a:gd name="connsiteY2112" fmla="*/ 3260428 h 6858000"/>
              <a:gd name="connsiteX2113" fmla="*/ 948285 w 12188651"/>
              <a:gd name="connsiteY2113" fmla="*/ 3260419 h 6858000"/>
              <a:gd name="connsiteX2114" fmla="*/ 948301 w 12188651"/>
              <a:gd name="connsiteY2114" fmla="*/ 3260436 h 6858000"/>
              <a:gd name="connsiteX2115" fmla="*/ 959846 w 12188651"/>
              <a:gd name="connsiteY2115" fmla="*/ 3248759 h 6858000"/>
              <a:gd name="connsiteX2116" fmla="*/ 1024315 w 12188651"/>
              <a:gd name="connsiteY2116" fmla="*/ 3184033 h 6858000"/>
              <a:gd name="connsiteX2117" fmla="*/ 1052075 w 12188651"/>
              <a:gd name="connsiteY2117" fmla="*/ 3172485 h 6858000"/>
              <a:gd name="connsiteX2118" fmla="*/ 1079685 w 12188651"/>
              <a:gd name="connsiteY2118" fmla="*/ 3184025 h 6858000"/>
              <a:gd name="connsiteX2119" fmla="*/ 1158160 w 12188651"/>
              <a:gd name="connsiteY2119" fmla="*/ 3262631 h 6858000"/>
              <a:gd name="connsiteX2120" fmla="*/ 1169705 w 12188651"/>
              <a:gd name="connsiteY2120" fmla="*/ 3290391 h 6858000"/>
              <a:gd name="connsiteX2121" fmla="*/ 1158290 w 12188651"/>
              <a:gd name="connsiteY2121" fmla="*/ 3318153 h 6858000"/>
              <a:gd name="connsiteX2122" fmla="*/ 948288 w 12188651"/>
              <a:gd name="connsiteY2122" fmla="*/ 3528552 h 6858000"/>
              <a:gd name="connsiteX2123" fmla="*/ 738289 w 12188651"/>
              <a:gd name="connsiteY2123" fmla="*/ 3318161 h 6858000"/>
              <a:gd name="connsiteX2124" fmla="*/ 738289 w 12188651"/>
              <a:gd name="connsiteY2124" fmla="*/ 3262772 h 6858000"/>
              <a:gd name="connsiteX2125" fmla="*/ 816766 w 12188651"/>
              <a:gd name="connsiteY2125" fmla="*/ 3184033 h 6858000"/>
              <a:gd name="connsiteX2126" fmla="*/ 844397 w 12188651"/>
              <a:gd name="connsiteY2126" fmla="*/ 3172485 h 6858000"/>
              <a:gd name="connsiteX2127" fmla="*/ 11113840 w 12188651"/>
              <a:gd name="connsiteY2127" fmla="*/ 3156060 h 6858000"/>
              <a:gd name="connsiteX2128" fmla="*/ 11074665 w 12188651"/>
              <a:gd name="connsiteY2128" fmla="*/ 3172394 h 6858000"/>
              <a:gd name="connsiteX2129" fmla="*/ 10996186 w 12188651"/>
              <a:gd name="connsiteY2129" fmla="*/ 3251138 h 6858000"/>
              <a:gd name="connsiteX2130" fmla="*/ 10979939 w 12188651"/>
              <a:gd name="connsiteY2130" fmla="*/ 3290444 h 6858000"/>
              <a:gd name="connsiteX2131" fmla="*/ 10979941 w 12188651"/>
              <a:gd name="connsiteY2131" fmla="*/ 3290444 h 6858000"/>
              <a:gd name="connsiteX2132" fmla="*/ 10979939 w 12188651"/>
              <a:gd name="connsiteY2132" fmla="*/ 3290449 h 6858000"/>
              <a:gd name="connsiteX2133" fmla="*/ 10996186 w 12188651"/>
              <a:gd name="connsiteY2133" fmla="*/ 3329751 h 6858000"/>
              <a:gd name="connsiteX2134" fmla="*/ 11217744 w 12188651"/>
              <a:gd name="connsiteY2134" fmla="*/ 3551803 h 6858000"/>
              <a:gd name="connsiteX2135" fmla="*/ 11439301 w 12188651"/>
              <a:gd name="connsiteY2135" fmla="*/ 3329751 h 6858000"/>
              <a:gd name="connsiteX2136" fmla="*/ 11455548 w 12188651"/>
              <a:gd name="connsiteY2136" fmla="*/ 3290449 h 6858000"/>
              <a:gd name="connsiteX2137" fmla="*/ 11455546 w 12188651"/>
              <a:gd name="connsiteY2137" fmla="*/ 3290444 h 6858000"/>
              <a:gd name="connsiteX2138" fmla="*/ 11455548 w 12188651"/>
              <a:gd name="connsiteY2138" fmla="*/ 3290444 h 6858000"/>
              <a:gd name="connsiteX2139" fmla="*/ 11439301 w 12188651"/>
              <a:gd name="connsiteY2139" fmla="*/ 3251138 h 6858000"/>
              <a:gd name="connsiteX2140" fmla="*/ 11360822 w 12188651"/>
              <a:gd name="connsiteY2140" fmla="*/ 3172530 h 6858000"/>
              <a:gd name="connsiteX2141" fmla="*/ 11321647 w 12188651"/>
              <a:gd name="connsiteY2141" fmla="*/ 3156189 h 6858000"/>
              <a:gd name="connsiteX2142" fmla="*/ 11321517 w 12188651"/>
              <a:gd name="connsiteY2142" fmla="*/ 3156060 h 6858000"/>
              <a:gd name="connsiteX2143" fmla="*/ 11282213 w 12188651"/>
              <a:gd name="connsiteY2143" fmla="*/ 3172530 h 6858000"/>
              <a:gd name="connsiteX2144" fmla="*/ 11217744 w 12188651"/>
              <a:gd name="connsiteY2144" fmla="*/ 3237128 h 6858000"/>
              <a:gd name="connsiteX2145" fmla="*/ 11153145 w 12188651"/>
              <a:gd name="connsiteY2145" fmla="*/ 3172394 h 6858000"/>
              <a:gd name="connsiteX2146" fmla="*/ 11113840 w 12188651"/>
              <a:gd name="connsiteY2146" fmla="*/ 3156060 h 6858000"/>
              <a:gd name="connsiteX2147" fmla="*/ 9059893 w 12188651"/>
              <a:gd name="connsiteY2147" fmla="*/ 3156047 h 6858000"/>
              <a:gd name="connsiteX2148" fmla="*/ 9020718 w 12188651"/>
              <a:gd name="connsiteY2148" fmla="*/ 3172391 h 6858000"/>
              <a:gd name="connsiteX2149" fmla="*/ 8942239 w 12188651"/>
              <a:gd name="connsiteY2149" fmla="*/ 3251125 h 6858000"/>
              <a:gd name="connsiteX2150" fmla="*/ 8925992 w 12188651"/>
              <a:gd name="connsiteY2150" fmla="*/ 3290430 h 6858000"/>
              <a:gd name="connsiteX2151" fmla="*/ 8925993 w 12188651"/>
              <a:gd name="connsiteY2151" fmla="*/ 3290435 h 6858000"/>
              <a:gd name="connsiteX2152" fmla="*/ 8925991 w 12188651"/>
              <a:gd name="connsiteY2152" fmla="*/ 3290444 h 6858000"/>
              <a:gd name="connsiteX2153" fmla="*/ 8942238 w 12188651"/>
              <a:gd name="connsiteY2153" fmla="*/ 3329746 h 6858000"/>
              <a:gd name="connsiteX2154" fmla="*/ 9163796 w 12188651"/>
              <a:gd name="connsiteY2154" fmla="*/ 3551798 h 6858000"/>
              <a:gd name="connsiteX2155" fmla="*/ 9385353 w 12188651"/>
              <a:gd name="connsiteY2155" fmla="*/ 3329746 h 6858000"/>
              <a:gd name="connsiteX2156" fmla="*/ 9401600 w 12188651"/>
              <a:gd name="connsiteY2156" fmla="*/ 3290444 h 6858000"/>
              <a:gd name="connsiteX2157" fmla="*/ 9401599 w 12188651"/>
              <a:gd name="connsiteY2157" fmla="*/ 3290436 h 6858000"/>
              <a:gd name="connsiteX2158" fmla="*/ 9401601 w 12188651"/>
              <a:gd name="connsiteY2158" fmla="*/ 3290430 h 6858000"/>
              <a:gd name="connsiteX2159" fmla="*/ 9385354 w 12188651"/>
              <a:gd name="connsiteY2159" fmla="*/ 3251125 h 6858000"/>
              <a:gd name="connsiteX2160" fmla="*/ 9306876 w 12188651"/>
              <a:gd name="connsiteY2160" fmla="*/ 3172523 h 6858000"/>
              <a:gd name="connsiteX2161" fmla="*/ 9267701 w 12188651"/>
              <a:gd name="connsiteY2161" fmla="*/ 3156175 h 6858000"/>
              <a:gd name="connsiteX2162" fmla="*/ 9267571 w 12188651"/>
              <a:gd name="connsiteY2162" fmla="*/ 3156047 h 6858000"/>
              <a:gd name="connsiteX2163" fmla="*/ 9228266 w 12188651"/>
              <a:gd name="connsiteY2163" fmla="*/ 3172523 h 6858000"/>
              <a:gd name="connsiteX2164" fmla="*/ 9163797 w 12188651"/>
              <a:gd name="connsiteY2164" fmla="*/ 3237116 h 6858000"/>
              <a:gd name="connsiteX2165" fmla="*/ 9099198 w 12188651"/>
              <a:gd name="connsiteY2165" fmla="*/ 3172391 h 6858000"/>
              <a:gd name="connsiteX2166" fmla="*/ 9059893 w 12188651"/>
              <a:gd name="connsiteY2166" fmla="*/ 3156047 h 6858000"/>
              <a:gd name="connsiteX2167" fmla="*/ 7006076 w 12188651"/>
              <a:gd name="connsiteY2167" fmla="*/ 3156035 h 6858000"/>
              <a:gd name="connsiteX2168" fmla="*/ 6966901 w 12188651"/>
              <a:gd name="connsiteY2168" fmla="*/ 3172384 h 6858000"/>
              <a:gd name="connsiteX2169" fmla="*/ 6888421 w 12188651"/>
              <a:gd name="connsiteY2169" fmla="*/ 3251119 h 6858000"/>
              <a:gd name="connsiteX2170" fmla="*/ 6872174 w 12188651"/>
              <a:gd name="connsiteY2170" fmla="*/ 3290423 h 6858000"/>
              <a:gd name="connsiteX2171" fmla="*/ 6872175 w 12188651"/>
              <a:gd name="connsiteY2171" fmla="*/ 3290428 h 6858000"/>
              <a:gd name="connsiteX2172" fmla="*/ 6872174 w 12188651"/>
              <a:gd name="connsiteY2172" fmla="*/ 3290430 h 6858000"/>
              <a:gd name="connsiteX2173" fmla="*/ 6888421 w 12188651"/>
              <a:gd name="connsiteY2173" fmla="*/ 3329734 h 6858000"/>
              <a:gd name="connsiteX2174" fmla="*/ 7109978 w 12188651"/>
              <a:gd name="connsiteY2174" fmla="*/ 3551795 h 6858000"/>
              <a:gd name="connsiteX2175" fmla="*/ 7331537 w 12188651"/>
              <a:gd name="connsiteY2175" fmla="*/ 3329734 h 6858000"/>
              <a:gd name="connsiteX2176" fmla="*/ 7347783 w 12188651"/>
              <a:gd name="connsiteY2176" fmla="*/ 3290430 h 6858000"/>
              <a:gd name="connsiteX2177" fmla="*/ 7347782 w 12188651"/>
              <a:gd name="connsiteY2177" fmla="*/ 3290428 h 6858000"/>
              <a:gd name="connsiteX2178" fmla="*/ 7347783 w 12188651"/>
              <a:gd name="connsiteY2178" fmla="*/ 3290423 h 6858000"/>
              <a:gd name="connsiteX2179" fmla="*/ 7331537 w 12188651"/>
              <a:gd name="connsiteY2179" fmla="*/ 3251119 h 6858000"/>
              <a:gd name="connsiteX2180" fmla="*/ 7253057 w 12188651"/>
              <a:gd name="connsiteY2180" fmla="*/ 3172509 h 6858000"/>
              <a:gd name="connsiteX2181" fmla="*/ 7213882 w 12188651"/>
              <a:gd name="connsiteY2181" fmla="*/ 3156164 h 6858000"/>
              <a:gd name="connsiteX2182" fmla="*/ 7213751 w 12188651"/>
              <a:gd name="connsiteY2182" fmla="*/ 3156035 h 6858000"/>
              <a:gd name="connsiteX2183" fmla="*/ 7174449 w 12188651"/>
              <a:gd name="connsiteY2183" fmla="*/ 3172509 h 6858000"/>
              <a:gd name="connsiteX2184" fmla="*/ 7109978 w 12188651"/>
              <a:gd name="connsiteY2184" fmla="*/ 3237109 h 6858000"/>
              <a:gd name="connsiteX2185" fmla="*/ 7045379 w 12188651"/>
              <a:gd name="connsiteY2185" fmla="*/ 3172384 h 6858000"/>
              <a:gd name="connsiteX2186" fmla="*/ 7006076 w 12188651"/>
              <a:gd name="connsiteY2186" fmla="*/ 3156035 h 6858000"/>
              <a:gd name="connsiteX2187" fmla="*/ 4952148 w 12188651"/>
              <a:gd name="connsiteY2187" fmla="*/ 3156022 h 6858000"/>
              <a:gd name="connsiteX2188" fmla="*/ 4912971 w 12188651"/>
              <a:gd name="connsiteY2188" fmla="*/ 3172369 h 6858000"/>
              <a:gd name="connsiteX2189" fmla="*/ 4834497 w 12188651"/>
              <a:gd name="connsiteY2189" fmla="*/ 3251103 h 6858000"/>
              <a:gd name="connsiteX2190" fmla="*/ 4834497 w 12188651"/>
              <a:gd name="connsiteY2190" fmla="*/ 3329715 h 6858000"/>
              <a:gd name="connsiteX2191" fmla="*/ 4834505 w 12188651"/>
              <a:gd name="connsiteY2191" fmla="*/ 3329725 h 6858000"/>
              <a:gd name="connsiteX2192" fmla="*/ 4843779 w 12188651"/>
              <a:gd name="connsiteY2192" fmla="*/ 3339026 h 6858000"/>
              <a:gd name="connsiteX2193" fmla="*/ 5056083 w 12188651"/>
              <a:gd name="connsiteY2193" fmla="*/ 3551786 h 6858000"/>
              <a:gd name="connsiteX2194" fmla="*/ 5056083 w 12188651"/>
              <a:gd name="connsiteY2194" fmla="*/ 3551781 h 6858000"/>
              <a:gd name="connsiteX2195" fmla="*/ 5056087 w 12188651"/>
              <a:gd name="connsiteY2195" fmla="*/ 3551792 h 6858000"/>
              <a:gd name="connsiteX2196" fmla="*/ 5277615 w 12188651"/>
              <a:gd name="connsiteY2196" fmla="*/ 3329725 h 6858000"/>
              <a:gd name="connsiteX2197" fmla="*/ 5277615 w 12188651"/>
              <a:gd name="connsiteY2197" fmla="*/ 3251119 h 6858000"/>
              <a:gd name="connsiteX2198" fmla="*/ 5277613 w 12188651"/>
              <a:gd name="connsiteY2198" fmla="*/ 3251108 h 6858000"/>
              <a:gd name="connsiteX2199" fmla="*/ 5277613 w 12188651"/>
              <a:gd name="connsiteY2199" fmla="*/ 3251103 h 6858000"/>
              <a:gd name="connsiteX2200" fmla="*/ 5199129 w 12188651"/>
              <a:gd name="connsiteY2200" fmla="*/ 3172495 h 6858000"/>
              <a:gd name="connsiteX2201" fmla="*/ 5159958 w 12188651"/>
              <a:gd name="connsiteY2201" fmla="*/ 3156152 h 6858000"/>
              <a:gd name="connsiteX2202" fmla="*/ 5159824 w 12188651"/>
              <a:gd name="connsiteY2202" fmla="*/ 3156022 h 6858000"/>
              <a:gd name="connsiteX2203" fmla="*/ 5120536 w 12188651"/>
              <a:gd name="connsiteY2203" fmla="*/ 3172495 h 6858000"/>
              <a:gd name="connsiteX2204" fmla="*/ 5056083 w 12188651"/>
              <a:gd name="connsiteY2204" fmla="*/ 3237093 h 6858000"/>
              <a:gd name="connsiteX2205" fmla="*/ 4991467 w 12188651"/>
              <a:gd name="connsiteY2205" fmla="*/ 3172384 h 6858000"/>
              <a:gd name="connsiteX2206" fmla="*/ 4991467 w 12188651"/>
              <a:gd name="connsiteY2206" fmla="*/ 3172377 h 6858000"/>
              <a:gd name="connsiteX2207" fmla="*/ 4991465 w 12188651"/>
              <a:gd name="connsiteY2207" fmla="*/ 3172369 h 6858000"/>
              <a:gd name="connsiteX2208" fmla="*/ 4952148 w 12188651"/>
              <a:gd name="connsiteY2208" fmla="*/ 3156022 h 6858000"/>
              <a:gd name="connsiteX2209" fmla="*/ 2898351 w 12188651"/>
              <a:gd name="connsiteY2209" fmla="*/ 3156014 h 6858000"/>
              <a:gd name="connsiteX2210" fmla="*/ 2859177 w 12188651"/>
              <a:gd name="connsiteY2210" fmla="*/ 3172357 h 6858000"/>
              <a:gd name="connsiteX2211" fmla="*/ 2780697 w 12188651"/>
              <a:gd name="connsiteY2211" fmla="*/ 3251097 h 6858000"/>
              <a:gd name="connsiteX2212" fmla="*/ 2780697 w 12188651"/>
              <a:gd name="connsiteY2212" fmla="*/ 3329707 h 6858000"/>
              <a:gd name="connsiteX2213" fmla="*/ 3002256 w 12188651"/>
              <a:gd name="connsiteY2213" fmla="*/ 3551785 h 6858000"/>
              <a:gd name="connsiteX2214" fmla="*/ 3002266 w 12188651"/>
              <a:gd name="connsiteY2214" fmla="*/ 3551776 h 6858000"/>
              <a:gd name="connsiteX2215" fmla="*/ 3002278 w 12188651"/>
              <a:gd name="connsiteY2215" fmla="*/ 3551786 h 6858000"/>
              <a:gd name="connsiteX2216" fmla="*/ 3223834 w 12188651"/>
              <a:gd name="connsiteY2216" fmla="*/ 3329715 h 6858000"/>
              <a:gd name="connsiteX2217" fmla="*/ 3223834 w 12188651"/>
              <a:gd name="connsiteY2217" fmla="*/ 3251103 h 6858000"/>
              <a:gd name="connsiteX2218" fmla="*/ 3145357 w 12188651"/>
              <a:gd name="connsiteY2218" fmla="*/ 3172493 h 6858000"/>
              <a:gd name="connsiteX2219" fmla="*/ 3126986 w 12188651"/>
              <a:gd name="connsiteY2219" fmla="*/ 3160235 h 6858000"/>
              <a:gd name="connsiteX2220" fmla="*/ 3126973 w 12188651"/>
              <a:gd name="connsiteY2220" fmla="*/ 3160230 h 6858000"/>
              <a:gd name="connsiteX2221" fmla="*/ 3126963 w 12188651"/>
              <a:gd name="connsiteY2221" fmla="*/ 3160226 h 6858000"/>
              <a:gd name="connsiteX2222" fmla="*/ 3106177 w 12188651"/>
              <a:gd name="connsiteY2222" fmla="*/ 3156144 h 6858000"/>
              <a:gd name="connsiteX2223" fmla="*/ 3106053 w 12188651"/>
              <a:gd name="connsiteY2223" fmla="*/ 3156022 h 6858000"/>
              <a:gd name="connsiteX2224" fmla="*/ 3106044 w 12188651"/>
              <a:gd name="connsiteY2224" fmla="*/ 3156025 h 6858000"/>
              <a:gd name="connsiteX2225" fmla="*/ 3106028 w 12188651"/>
              <a:gd name="connsiteY2225" fmla="*/ 3156014 h 6858000"/>
              <a:gd name="connsiteX2226" fmla="*/ 3066725 w 12188651"/>
              <a:gd name="connsiteY2226" fmla="*/ 3172485 h 6858000"/>
              <a:gd name="connsiteX2227" fmla="*/ 3002263 w 12188651"/>
              <a:gd name="connsiteY2227" fmla="*/ 3237081 h 6858000"/>
              <a:gd name="connsiteX2228" fmla="*/ 2937680 w 12188651"/>
              <a:gd name="connsiteY2228" fmla="*/ 3172367 h 6858000"/>
              <a:gd name="connsiteX2229" fmla="*/ 2919293 w 12188651"/>
              <a:gd name="connsiteY2229" fmla="*/ 3160108 h 6858000"/>
              <a:gd name="connsiteX2230" fmla="*/ 2919279 w 12188651"/>
              <a:gd name="connsiteY2230" fmla="*/ 3160106 h 6858000"/>
              <a:gd name="connsiteX2231" fmla="*/ 2919268 w 12188651"/>
              <a:gd name="connsiteY2231" fmla="*/ 3160101 h 6858000"/>
              <a:gd name="connsiteX2232" fmla="*/ 2898351 w 12188651"/>
              <a:gd name="connsiteY2232" fmla="*/ 3156014 h 6858000"/>
              <a:gd name="connsiteX2233" fmla="*/ 844374 w 12188651"/>
              <a:gd name="connsiteY2233" fmla="*/ 3156001 h 6858000"/>
              <a:gd name="connsiteX2234" fmla="*/ 805200 w 12188651"/>
              <a:gd name="connsiteY2234" fmla="*/ 3172347 h 6858000"/>
              <a:gd name="connsiteX2235" fmla="*/ 726720 w 12188651"/>
              <a:gd name="connsiteY2235" fmla="*/ 3251087 h 6858000"/>
              <a:gd name="connsiteX2236" fmla="*/ 726720 w 12188651"/>
              <a:gd name="connsiteY2236" fmla="*/ 3329699 h 6858000"/>
              <a:gd name="connsiteX2237" fmla="*/ 948278 w 12188651"/>
              <a:gd name="connsiteY2237" fmla="*/ 3551781 h 6858000"/>
              <a:gd name="connsiteX2238" fmla="*/ 948288 w 12188651"/>
              <a:gd name="connsiteY2238" fmla="*/ 3551770 h 6858000"/>
              <a:gd name="connsiteX2239" fmla="*/ 948301 w 12188651"/>
              <a:gd name="connsiteY2239" fmla="*/ 3551785 h 6858000"/>
              <a:gd name="connsiteX2240" fmla="*/ 1169858 w 12188651"/>
              <a:gd name="connsiteY2240" fmla="*/ 3329707 h 6858000"/>
              <a:gd name="connsiteX2241" fmla="*/ 1169858 w 12188651"/>
              <a:gd name="connsiteY2241" fmla="*/ 3251093 h 6858000"/>
              <a:gd name="connsiteX2242" fmla="*/ 1091378 w 12188651"/>
              <a:gd name="connsiteY2242" fmla="*/ 3172485 h 6858000"/>
              <a:gd name="connsiteX2243" fmla="*/ 1073007 w 12188651"/>
              <a:gd name="connsiteY2243" fmla="*/ 3160226 h 6858000"/>
              <a:gd name="connsiteX2244" fmla="*/ 1072995 w 12188651"/>
              <a:gd name="connsiteY2244" fmla="*/ 3160222 h 6858000"/>
              <a:gd name="connsiteX2245" fmla="*/ 1072985 w 12188651"/>
              <a:gd name="connsiteY2245" fmla="*/ 3160218 h 6858000"/>
              <a:gd name="connsiteX2246" fmla="*/ 1052200 w 12188651"/>
              <a:gd name="connsiteY2246" fmla="*/ 3156135 h 6858000"/>
              <a:gd name="connsiteX2247" fmla="*/ 1052075 w 12188651"/>
              <a:gd name="connsiteY2247" fmla="*/ 3156010 h 6858000"/>
              <a:gd name="connsiteX2248" fmla="*/ 1052063 w 12188651"/>
              <a:gd name="connsiteY2248" fmla="*/ 3156012 h 6858000"/>
              <a:gd name="connsiteX2249" fmla="*/ 1052052 w 12188651"/>
              <a:gd name="connsiteY2249" fmla="*/ 3156001 h 6858000"/>
              <a:gd name="connsiteX2250" fmla="*/ 1012749 w 12188651"/>
              <a:gd name="connsiteY2250" fmla="*/ 3172476 h 6858000"/>
              <a:gd name="connsiteX2251" fmla="*/ 948285 w 12188651"/>
              <a:gd name="connsiteY2251" fmla="*/ 3237070 h 6858000"/>
              <a:gd name="connsiteX2252" fmla="*/ 883702 w 12188651"/>
              <a:gd name="connsiteY2252" fmla="*/ 3172357 h 6858000"/>
              <a:gd name="connsiteX2253" fmla="*/ 865315 w 12188651"/>
              <a:gd name="connsiteY2253" fmla="*/ 3160097 h 6858000"/>
              <a:gd name="connsiteX2254" fmla="*/ 865301 w 12188651"/>
              <a:gd name="connsiteY2254" fmla="*/ 3160093 h 6858000"/>
              <a:gd name="connsiteX2255" fmla="*/ 865290 w 12188651"/>
              <a:gd name="connsiteY2255" fmla="*/ 3160088 h 6858000"/>
              <a:gd name="connsiteX2256" fmla="*/ 844374 w 12188651"/>
              <a:gd name="connsiteY2256" fmla="*/ 3156001 h 6858000"/>
              <a:gd name="connsiteX2257" fmla="*/ 11910826 w 12188651"/>
              <a:gd name="connsiteY2257" fmla="*/ 2945539 h 6858000"/>
              <a:gd name="connsiteX2258" fmla="*/ 12188651 w 12188651"/>
              <a:gd name="connsiteY2258" fmla="*/ 3106326 h 6858000"/>
              <a:gd name="connsiteX2259" fmla="*/ 12188651 w 12188651"/>
              <a:gd name="connsiteY2259" fmla="*/ 3483113 h 6858000"/>
              <a:gd name="connsiteX2260" fmla="*/ 12179669 w 12188651"/>
              <a:gd name="connsiteY2260" fmla="*/ 3477916 h 6858000"/>
              <a:gd name="connsiteX2261" fmla="*/ 11910826 w 12188651"/>
              <a:gd name="connsiteY2261" fmla="*/ 3322357 h 6858000"/>
              <a:gd name="connsiteX2262" fmla="*/ 11894481 w 12188651"/>
              <a:gd name="connsiteY2262" fmla="*/ 2945539 h 6858000"/>
              <a:gd name="connsiteX2263" fmla="*/ 11894481 w 12188651"/>
              <a:gd name="connsiteY2263" fmla="*/ 3322357 h 6858000"/>
              <a:gd name="connsiteX2264" fmla="*/ 11568890 w 12188651"/>
              <a:gd name="connsiteY2264" fmla="*/ 3510681 h 6858000"/>
              <a:gd name="connsiteX2265" fmla="*/ 11568890 w 12188651"/>
              <a:gd name="connsiteY2265" fmla="*/ 3133883 h 6858000"/>
              <a:gd name="connsiteX2266" fmla="*/ 9857006 w 12188651"/>
              <a:gd name="connsiteY2266" fmla="*/ 2945522 h 6858000"/>
              <a:gd name="connsiteX2267" fmla="*/ 10182468 w 12188651"/>
              <a:gd name="connsiteY2267" fmla="*/ 3133880 h 6858000"/>
              <a:gd name="connsiteX2268" fmla="*/ 10182468 w 12188651"/>
              <a:gd name="connsiteY2268" fmla="*/ 3510676 h 6858000"/>
              <a:gd name="connsiteX2269" fmla="*/ 9857006 w 12188651"/>
              <a:gd name="connsiteY2269" fmla="*/ 3322348 h 6858000"/>
              <a:gd name="connsiteX2270" fmla="*/ 9840661 w 12188651"/>
              <a:gd name="connsiteY2270" fmla="*/ 2945522 h 6858000"/>
              <a:gd name="connsiteX2271" fmla="*/ 9840661 w 12188651"/>
              <a:gd name="connsiteY2271" fmla="*/ 3322348 h 6858000"/>
              <a:gd name="connsiteX2272" fmla="*/ 9515070 w 12188651"/>
              <a:gd name="connsiteY2272" fmla="*/ 3510676 h 6858000"/>
              <a:gd name="connsiteX2273" fmla="*/ 9515070 w 12188651"/>
              <a:gd name="connsiteY2273" fmla="*/ 3133880 h 6858000"/>
              <a:gd name="connsiteX2274" fmla="*/ 7803060 w 12188651"/>
              <a:gd name="connsiteY2274" fmla="*/ 2945507 h 6858000"/>
              <a:gd name="connsiteX2275" fmla="*/ 8128521 w 12188651"/>
              <a:gd name="connsiteY2275" fmla="*/ 3133865 h 6858000"/>
              <a:gd name="connsiteX2276" fmla="*/ 8128521 w 12188651"/>
              <a:gd name="connsiteY2276" fmla="*/ 3510673 h 6858000"/>
              <a:gd name="connsiteX2277" fmla="*/ 7803060 w 12188651"/>
              <a:gd name="connsiteY2277" fmla="*/ 3322337 h 6858000"/>
              <a:gd name="connsiteX2278" fmla="*/ 7786715 w 12188651"/>
              <a:gd name="connsiteY2278" fmla="*/ 2945507 h 6858000"/>
              <a:gd name="connsiteX2279" fmla="*/ 7786715 w 12188651"/>
              <a:gd name="connsiteY2279" fmla="*/ 3322337 h 6858000"/>
              <a:gd name="connsiteX2280" fmla="*/ 7461125 w 12188651"/>
              <a:gd name="connsiteY2280" fmla="*/ 3510673 h 6858000"/>
              <a:gd name="connsiteX2281" fmla="*/ 7461125 w 12188651"/>
              <a:gd name="connsiteY2281" fmla="*/ 3133865 h 6858000"/>
              <a:gd name="connsiteX2282" fmla="*/ 5732923 w 12188651"/>
              <a:gd name="connsiteY2282" fmla="*/ 2945499 h 6858000"/>
              <a:gd name="connsiteX2283" fmla="*/ 5732923 w 12188651"/>
              <a:gd name="connsiteY2283" fmla="*/ 3322330 h 6858000"/>
              <a:gd name="connsiteX2284" fmla="*/ 5407352 w 12188651"/>
              <a:gd name="connsiteY2284" fmla="*/ 3510667 h 6858000"/>
              <a:gd name="connsiteX2285" fmla="*/ 5407352 w 12188651"/>
              <a:gd name="connsiteY2285" fmla="*/ 3133857 h 6858000"/>
              <a:gd name="connsiteX2286" fmla="*/ 5749264 w 12188651"/>
              <a:gd name="connsiteY2286" fmla="*/ 2945497 h 6858000"/>
              <a:gd name="connsiteX2287" fmla="*/ 6074705 w 12188651"/>
              <a:gd name="connsiteY2287" fmla="*/ 3133857 h 6858000"/>
              <a:gd name="connsiteX2288" fmla="*/ 6074705 w 12188651"/>
              <a:gd name="connsiteY2288" fmla="*/ 3510669 h 6858000"/>
              <a:gd name="connsiteX2289" fmla="*/ 6000145 w 12188651"/>
              <a:gd name="connsiteY2289" fmla="*/ 3467515 h 6858000"/>
              <a:gd name="connsiteX2290" fmla="*/ 5878454 w 12188651"/>
              <a:gd name="connsiteY2290" fmla="*/ 3397098 h 6858000"/>
              <a:gd name="connsiteX2291" fmla="*/ 5749264 w 12188651"/>
              <a:gd name="connsiteY2291" fmla="*/ 3322330 h 6858000"/>
              <a:gd name="connsiteX2292" fmla="*/ 3679140 w 12188651"/>
              <a:gd name="connsiteY2292" fmla="*/ 2945490 h 6858000"/>
              <a:gd name="connsiteX2293" fmla="*/ 3679140 w 12188651"/>
              <a:gd name="connsiteY2293" fmla="*/ 3322322 h 6858000"/>
              <a:gd name="connsiteX2294" fmla="*/ 3353560 w 12188651"/>
              <a:gd name="connsiteY2294" fmla="*/ 3510663 h 6858000"/>
              <a:gd name="connsiteX2295" fmla="*/ 3353560 w 12188651"/>
              <a:gd name="connsiteY2295" fmla="*/ 3133842 h 6858000"/>
              <a:gd name="connsiteX2296" fmla="*/ 3695488 w 12188651"/>
              <a:gd name="connsiteY2296" fmla="*/ 2945487 h 6858000"/>
              <a:gd name="connsiteX2297" fmla="*/ 3801286 w 12188651"/>
              <a:gd name="connsiteY2297" fmla="*/ 3006724 h 6858000"/>
              <a:gd name="connsiteX2298" fmla="*/ 4009955 w 12188651"/>
              <a:gd name="connsiteY2298" fmla="*/ 3127481 h 6858000"/>
              <a:gd name="connsiteX2299" fmla="*/ 4020941 w 12188651"/>
              <a:gd name="connsiteY2299" fmla="*/ 3133840 h 6858000"/>
              <a:gd name="connsiteX2300" fmla="*/ 4020941 w 12188651"/>
              <a:gd name="connsiteY2300" fmla="*/ 3510665 h 6858000"/>
              <a:gd name="connsiteX2301" fmla="*/ 3719511 w 12188651"/>
              <a:gd name="connsiteY2301" fmla="*/ 3336225 h 6858000"/>
              <a:gd name="connsiteX2302" fmla="*/ 3695488 w 12188651"/>
              <a:gd name="connsiteY2302" fmla="*/ 3322325 h 6858000"/>
              <a:gd name="connsiteX2303" fmla="*/ 1625162 w 12188651"/>
              <a:gd name="connsiteY2303" fmla="*/ 2945478 h 6858000"/>
              <a:gd name="connsiteX2304" fmla="*/ 1625162 w 12188651"/>
              <a:gd name="connsiteY2304" fmla="*/ 3322313 h 6858000"/>
              <a:gd name="connsiteX2305" fmla="*/ 1299579 w 12188651"/>
              <a:gd name="connsiteY2305" fmla="*/ 3510659 h 6858000"/>
              <a:gd name="connsiteX2306" fmla="*/ 1299579 w 12188651"/>
              <a:gd name="connsiteY2306" fmla="*/ 3133831 h 6858000"/>
              <a:gd name="connsiteX2307" fmla="*/ 1641512 w 12188651"/>
              <a:gd name="connsiteY2307" fmla="*/ 2945475 h 6858000"/>
              <a:gd name="connsiteX2308" fmla="*/ 1828330 w 12188651"/>
              <a:gd name="connsiteY2308" fmla="*/ 3053589 h 6858000"/>
              <a:gd name="connsiteX2309" fmla="*/ 1966968 w 12188651"/>
              <a:gd name="connsiteY2309" fmla="*/ 3133829 h 6858000"/>
              <a:gd name="connsiteX2310" fmla="*/ 1966968 w 12188651"/>
              <a:gd name="connsiteY2310" fmla="*/ 3510659 h 6858000"/>
              <a:gd name="connsiteX2311" fmla="*/ 1641512 w 12188651"/>
              <a:gd name="connsiteY2311" fmla="*/ 3322313 h 6858000"/>
              <a:gd name="connsiteX2312" fmla="*/ 10532576 w 12188651"/>
              <a:gd name="connsiteY2312" fmla="*/ 2940723 h 6858000"/>
              <a:gd name="connsiteX2313" fmla="*/ 10866339 w 12188651"/>
              <a:gd name="connsiteY2313" fmla="*/ 3133880 h 6858000"/>
              <a:gd name="connsiteX2314" fmla="*/ 10866339 w 12188651"/>
              <a:gd name="connsiteY2314" fmla="*/ 3520144 h 6858000"/>
              <a:gd name="connsiteX2315" fmla="*/ 10532706 w 12188651"/>
              <a:gd name="connsiteY2315" fmla="*/ 3713300 h 6858000"/>
              <a:gd name="connsiteX2316" fmla="*/ 10198941 w 12188651"/>
              <a:gd name="connsiteY2316" fmla="*/ 3520144 h 6858000"/>
              <a:gd name="connsiteX2317" fmla="*/ 10198941 w 12188651"/>
              <a:gd name="connsiteY2317" fmla="*/ 3133880 h 6858000"/>
              <a:gd name="connsiteX2318" fmla="*/ 8478628 w 12188651"/>
              <a:gd name="connsiteY2318" fmla="*/ 2940707 h 6858000"/>
              <a:gd name="connsiteX2319" fmla="*/ 8812392 w 12188651"/>
              <a:gd name="connsiteY2319" fmla="*/ 3133865 h 6858000"/>
              <a:gd name="connsiteX2320" fmla="*/ 8812392 w 12188651"/>
              <a:gd name="connsiteY2320" fmla="*/ 3520144 h 6858000"/>
              <a:gd name="connsiteX2321" fmla="*/ 8478758 w 12188651"/>
              <a:gd name="connsiteY2321" fmla="*/ 3713296 h 6858000"/>
              <a:gd name="connsiteX2322" fmla="*/ 8144995 w 12188651"/>
              <a:gd name="connsiteY2322" fmla="*/ 3520144 h 6858000"/>
              <a:gd name="connsiteX2323" fmla="*/ 8144995 w 12188651"/>
              <a:gd name="connsiteY2323" fmla="*/ 3133865 h 6858000"/>
              <a:gd name="connsiteX2324" fmla="*/ 6424810 w 12188651"/>
              <a:gd name="connsiteY2324" fmla="*/ 2940696 h 6858000"/>
              <a:gd name="connsiteX2325" fmla="*/ 6758573 w 12188651"/>
              <a:gd name="connsiteY2325" fmla="*/ 3133857 h 6858000"/>
              <a:gd name="connsiteX2326" fmla="*/ 6758573 w 12188651"/>
              <a:gd name="connsiteY2326" fmla="*/ 3520138 h 6858000"/>
              <a:gd name="connsiteX2327" fmla="*/ 6424940 w 12188651"/>
              <a:gd name="connsiteY2327" fmla="*/ 3713294 h 6858000"/>
              <a:gd name="connsiteX2328" fmla="*/ 6091179 w 12188651"/>
              <a:gd name="connsiteY2328" fmla="*/ 3520138 h 6858000"/>
              <a:gd name="connsiteX2329" fmla="*/ 6091179 w 12188651"/>
              <a:gd name="connsiteY2329" fmla="*/ 3133857 h 6858000"/>
              <a:gd name="connsiteX2330" fmla="*/ 4371020 w 12188651"/>
              <a:gd name="connsiteY2330" fmla="*/ 2940688 h 6858000"/>
              <a:gd name="connsiteX2331" fmla="*/ 4704773 w 12188651"/>
              <a:gd name="connsiteY2331" fmla="*/ 3133840 h 6858000"/>
              <a:gd name="connsiteX2332" fmla="*/ 4704773 w 12188651"/>
              <a:gd name="connsiteY2332" fmla="*/ 3520136 h 6858000"/>
              <a:gd name="connsiteX2333" fmla="*/ 4371146 w 12188651"/>
              <a:gd name="connsiteY2333" fmla="*/ 3713289 h 6858000"/>
              <a:gd name="connsiteX2334" fmla="*/ 4037424 w 12188651"/>
              <a:gd name="connsiteY2334" fmla="*/ 3520136 h 6858000"/>
              <a:gd name="connsiteX2335" fmla="*/ 4037424 w 12188651"/>
              <a:gd name="connsiteY2335" fmla="*/ 3133842 h 6858000"/>
              <a:gd name="connsiteX2336" fmla="*/ 2317088 w 12188651"/>
              <a:gd name="connsiteY2336" fmla="*/ 2940676 h 6858000"/>
              <a:gd name="connsiteX2337" fmla="*/ 2650840 w 12188651"/>
              <a:gd name="connsiteY2337" fmla="*/ 3133829 h 6858000"/>
              <a:gd name="connsiteX2338" fmla="*/ 2650840 w 12188651"/>
              <a:gd name="connsiteY2338" fmla="*/ 3520133 h 6858000"/>
              <a:gd name="connsiteX2339" fmla="*/ 2317216 w 12188651"/>
              <a:gd name="connsiteY2339" fmla="*/ 3713283 h 6858000"/>
              <a:gd name="connsiteX2340" fmla="*/ 1983450 w 12188651"/>
              <a:gd name="connsiteY2340" fmla="*/ 3520133 h 6858000"/>
              <a:gd name="connsiteX2341" fmla="*/ 1983450 w 12188651"/>
              <a:gd name="connsiteY2341" fmla="*/ 3133831 h 6858000"/>
              <a:gd name="connsiteX2342" fmla="*/ 263242 w 12188651"/>
              <a:gd name="connsiteY2342" fmla="*/ 2940664 h 6858000"/>
              <a:gd name="connsiteX2343" fmla="*/ 596998 w 12188651"/>
              <a:gd name="connsiteY2343" fmla="*/ 3133814 h 6858000"/>
              <a:gd name="connsiteX2344" fmla="*/ 596998 w 12188651"/>
              <a:gd name="connsiteY2344" fmla="*/ 3520129 h 6858000"/>
              <a:gd name="connsiteX2345" fmla="*/ 263368 w 12188651"/>
              <a:gd name="connsiteY2345" fmla="*/ 3713281 h 6858000"/>
              <a:gd name="connsiteX2346" fmla="*/ 0 w 12188651"/>
              <a:gd name="connsiteY2346" fmla="*/ 3560866 h 6858000"/>
              <a:gd name="connsiteX2347" fmla="*/ 0 w 12188651"/>
              <a:gd name="connsiteY2347" fmla="*/ 3093067 h 6858000"/>
              <a:gd name="connsiteX2348" fmla="*/ 11217614 w 12188651"/>
              <a:gd name="connsiteY2348" fmla="*/ 2940473 h 6858000"/>
              <a:gd name="connsiteX2349" fmla="*/ 11551377 w 12188651"/>
              <a:gd name="connsiteY2349" fmla="*/ 3133625 h 6858000"/>
              <a:gd name="connsiteX2350" fmla="*/ 11551377 w 12188651"/>
              <a:gd name="connsiteY2350" fmla="*/ 3519758 h 6858000"/>
              <a:gd name="connsiteX2351" fmla="*/ 11217614 w 12188651"/>
              <a:gd name="connsiteY2351" fmla="*/ 3712908 h 6858000"/>
              <a:gd name="connsiteX2352" fmla="*/ 10883851 w 12188651"/>
              <a:gd name="connsiteY2352" fmla="*/ 3519758 h 6858000"/>
              <a:gd name="connsiteX2353" fmla="*/ 10883851 w 12188651"/>
              <a:gd name="connsiteY2353" fmla="*/ 3133625 h 6858000"/>
              <a:gd name="connsiteX2354" fmla="*/ 9163666 w 12188651"/>
              <a:gd name="connsiteY2354" fmla="*/ 2940462 h 6858000"/>
              <a:gd name="connsiteX2355" fmla="*/ 9497429 w 12188651"/>
              <a:gd name="connsiteY2355" fmla="*/ 3133615 h 6858000"/>
              <a:gd name="connsiteX2356" fmla="*/ 9497429 w 12188651"/>
              <a:gd name="connsiteY2356" fmla="*/ 3519754 h 6858000"/>
              <a:gd name="connsiteX2357" fmla="*/ 9163666 w 12188651"/>
              <a:gd name="connsiteY2357" fmla="*/ 3712908 h 6858000"/>
              <a:gd name="connsiteX2358" fmla="*/ 8829903 w 12188651"/>
              <a:gd name="connsiteY2358" fmla="*/ 3519753 h 6858000"/>
              <a:gd name="connsiteX2359" fmla="*/ 8829903 w 12188651"/>
              <a:gd name="connsiteY2359" fmla="*/ 3133615 h 6858000"/>
              <a:gd name="connsiteX2360" fmla="*/ 7109850 w 12188651"/>
              <a:gd name="connsiteY2360" fmla="*/ 2940450 h 6858000"/>
              <a:gd name="connsiteX2361" fmla="*/ 7443613 w 12188651"/>
              <a:gd name="connsiteY2361" fmla="*/ 3133605 h 6858000"/>
              <a:gd name="connsiteX2362" fmla="*/ 7443613 w 12188651"/>
              <a:gd name="connsiteY2362" fmla="*/ 3519749 h 6858000"/>
              <a:gd name="connsiteX2363" fmla="*/ 7109850 w 12188651"/>
              <a:gd name="connsiteY2363" fmla="*/ 3712903 h 6858000"/>
              <a:gd name="connsiteX2364" fmla="*/ 6776085 w 12188651"/>
              <a:gd name="connsiteY2364" fmla="*/ 3519749 h 6858000"/>
              <a:gd name="connsiteX2365" fmla="*/ 6776085 w 12188651"/>
              <a:gd name="connsiteY2365" fmla="*/ 3133605 h 6858000"/>
              <a:gd name="connsiteX2366" fmla="*/ 5055965 w 12188651"/>
              <a:gd name="connsiteY2366" fmla="*/ 2940439 h 6858000"/>
              <a:gd name="connsiteX2367" fmla="*/ 5389690 w 12188651"/>
              <a:gd name="connsiteY2367" fmla="*/ 3133585 h 6858000"/>
              <a:gd name="connsiteX2368" fmla="*/ 5389690 w 12188651"/>
              <a:gd name="connsiteY2368" fmla="*/ 3519747 h 6858000"/>
              <a:gd name="connsiteX2369" fmla="*/ 5055955 w 12188651"/>
              <a:gd name="connsiteY2369" fmla="*/ 3712897 h 6858000"/>
              <a:gd name="connsiteX2370" fmla="*/ 4722175 w 12188651"/>
              <a:gd name="connsiteY2370" fmla="*/ 3519749 h 6858000"/>
              <a:gd name="connsiteX2371" fmla="*/ 4722175 w 12188651"/>
              <a:gd name="connsiteY2371" fmla="*/ 3133594 h 6858000"/>
              <a:gd name="connsiteX2372" fmla="*/ 3002150 w 12188651"/>
              <a:gd name="connsiteY2372" fmla="*/ 2940429 h 6858000"/>
              <a:gd name="connsiteX2373" fmla="*/ 3335888 w 12188651"/>
              <a:gd name="connsiteY2373" fmla="*/ 3133567 h 6858000"/>
              <a:gd name="connsiteX2374" fmla="*/ 3335888 w 12188651"/>
              <a:gd name="connsiteY2374" fmla="*/ 3519745 h 6858000"/>
              <a:gd name="connsiteX2375" fmla="*/ 3002137 w 12188651"/>
              <a:gd name="connsiteY2375" fmla="*/ 3712891 h 6858000"/>
              <a:gd name="connsiteX2376" fmla="*/ 2668389 w 12188651"/>
              <a:gd name="connsiteY2376" fmla="*/ 3519747 h 6858000"/>
              <a:gd name="connsiteX2377" fmla="*/ 2668389 w 12188651"/>
              <a:gd name="connsiteY2377" fmla="*/ 3133585 h 6858000"/>
              <a:gd name="connsiteX2378" fmla="*/ 948172 w 12188651"/>
              <a:gd name="connsiteY2378" fmla="*/ 2940415 h 6858000"/>
              <a:gd name="connsiteX2379" fmla="*/ 1281911 w 12188651"/>
              <a:gd name="connsiteY2379" fmla="*/ 3133560 h 6858000"/>
              <a:gd name="connsiteX2380" fmla="*/ 1281911 w 12188651"/>
              <a:gd name="connsiteY2380" fmla="*/ 3519738 h 6858000"/>
              <a:gd name="connsiteX2381" fmla="*/ 948159 w 12188651"/>
              <a:gd name="connsiteY2381" fmla="*/ 3712889 h 6858000"/>
              <a:gd name="connsiteX2382" fmla="*/ 614412 w 12188651"/>
              <a:gd name="connsiteY2382" fmla="*/ 3519745 h 6858000"/>
              <a:gd name="connsiteX2383" fmla="*/ 614412 w 12188651"/>
              <a:gd name="connsiteY2383" fmla="*/ 3133570 h 6858000"/>
              <a:gd name="connsiteX2384" fmla="*/ 10875809 w 12188651"/>
              <a:gd name="connsiteY2384" fmla="*/ 2742645 h 6858000"/>
              <a:gd name="connsiteX2385" fmla="*/ 11201258 w 12188651"/>
              <a:gd name="connsiteY2385" fmla="*/ 2930995 h 6858000"/>
              <a:gd name="connsiteX2386" fmla="*/ 10875678 w 12188651"/>
              <a:gd name="connsiteY2386" fmla="*/ 3119343 h 6858000"/>
              <a:gd name="connsiteX2387" fmla="*/ 10550229 w 12188651"/>
              <a:gd name="connsiteY2387" fmla="*/ 2930995 h 6858000"/>
              <a:gd name="connsiteX2388" fmla="*/ 8821860 w 12188651"/>
              <a:gd name="connsiteY2388" fmla="*/ 2742638 h 6858000"/>
              <a:gd name="connsiteX2389" fmla="*/ 9147310 w 12188651"/>
              <a:gd name="connsiteY2389" fmla="*/ 2930991 h 6858000"/>
              <a:gd name="connsiteX2390" fmla="*/ 8821731 w 12188651"/>
              <a:gd name="connsiteY2390" fmla="*/ 3119333 h 6858000"/>
              <a:gd name="connsiteX2391" fmla="*/ 8496280 w 12188651"/>
              <a:gd name="connsiteY2391" fmla="*/ 2930985 h 6858000"/>
              <a:gd name="connsiteX2392" fmla="*/ 6768043 w 12188651"/>
              <a:gd name="connsiteY2392" fmla="*/ 2742623 h 6858000"/>
              <a:gd name="connsiteX2393" fmla="*/ 7093493 w 12188651"/>
              <a:gd name="connsiteY2393" fmla="*/ 2930975 h 6858000"/>
              <a:gd name="connsiteX2394" fmla="*/ 6767913 w 12188651"/>
              <a:gd name="connsiteY2394" fmla="*/ 3119325 h 6858000"/>
              <a:gd name="connsiteX2395" fmla="*/ 6442464 w 12188651"/>
              <a:gd name="connsiteY2395" fmla="*/ 2930975 h 6858000"/>
              <a:gd name="connsiteX2396" fmla="*/ 4714128 w 12188651"/>
              <a:gd name="connsiteY2396" fmla="*/ 2742613 h 6858000"/>
              <a:gd name="connsiteX2397" fmla="*/ 5016384 w 12188651"/>
              <a:gd name="connsiteY2397" fmla="*/ 2917526 h 6858000"/>
              <a:gd name="connsiteX2398" fmla="*/ 5039593 w 12188651"/>
              <a:gd name="connsiteY2398" fmla="*/ 2930956 h 6858000"/>
              <a:gd name="connsiteX2399" fmla="*/ 4713985 w 12188651"/>
              <a:gd name="connsiteY2399" fmla="*/ 3119313 h 6858000"/>
              <a:gd name="connsiteX2400" fmla="*/ 4388545 w 12188651"/>
              <a:gd name="connsiteY2400" fmla="*/ 2930963 h 6858000"/>
              <a:gd name="connsiteX2401" fmla="*/ 2660343 w 12188651"/>
              <a:gd name="connsiteY2401" fmla="*/ 2742602 h 6858000"/>
              <a:gd name="connsiteX2402" fmla="*/ 2985782 w 12188651"/>
              <a:gd name="connsiteY2402" fmla="*/ 2930946 h 6858000"/>
              <a:gd name="connsiteX2403" fmla="*/ 2660193 w 12188651"/>
              <a:gd name="connsiteY2403" fmla="*/ 3119300 h 6858000"/>
              <a:gd name="connsiteX2404" fmla="*/ 2617605 w 12188651"/>
              <a:gd name="connsiteY2404" fmla="*/ 3094653 h 6858000"/>
              <a:gd name="connsiteX2405" fmla="*/ 2334759 w 12188651"/>
              <a:gd name="connsiteY2405" fmla="*/ 2930956 h 6858000"/>
              <a:gd name="connsiteX2406" fmla="*/ 606366 w 12188651"/>
              <a:gd name="connsiteY2406" fmla="*/ 2742589 h 6858000"/>
              <a:gd name="connsiteX2407" fmla="*/ 931803 w 12188651"/>
              <a:gd name="connsiteY2407" fmla="*/ 2930932 h 6858000"/>
              <a:gd name="connsiteX2408" fmla="*/ 606216 w 12188651"/>
              <a:gd name="connsiteY2408" fmla="*/ 3119286 h 6858000"/>
              <a:gd name="connsiteX2409" fmla="*/ 280778 w 12188651"/>
              <a:gd name="connsiteY2409" fmla="*/ 2930946 h 6858000"/>
              <a:gd name="connsiteX2410" fmla="*/ 12140685 w 12188651"/>
              <a:gd name="connsiteY2410" fmla="*/ 2578699 h 6858000"/>
              <a:gd name="connsiteX2411" fmla="*/ 12168445 w 12188651"/>
              <a:gd name="connsiteY2411" fmla="*/ 2590244 h 6858000"/>
              <a:gd name="connsiteX2412" fmla="*/ 12188651 w 12188651"/>
              <a:gd name="connsiteY2412" fmla="*/ 2610493 h 6858000"/>
              <a:gd name="connsiteX2413" fmla="*/ 12188651 w 12188651"/>
              <a:gd name="connsiteY2413" fmla="*/ 2878728 h 6858000"/>
              <a:gd name="connsiteX2414" fmla="*/ 12034576 w 12188651"/>
              <a:gd name="connsiteY2414" fmla="*/ 2724359 h 6858000"/>
              <a:gd name="connsiteX2415" fmla="*/ 12034576 w 12188651"/>
              <a:gd name="connsiteY2415" fmla="*/ 2668969 h 6858000"/>
              <a:gd name="connsiteX2416" fmla="*/ 12113056 w 12188651"/>
              <a:gd name="connsiteY2416" fmla="*/ 2590244 h 6858000"/>
              <a:gd name="connsiteX2417" fmla="*/ 12140685 w 12188651"/>
              <a:gd name="connsiteY2417" fmla="*/ 2578699 h 6858000"/>
              <a:gd name="connsiteX2418" fmla="*/ 10086867 w 12188651"/>
              <a:gd name="connsiteY2418" fmla="*/ 2578676 h 6858000"/>
              <a:gd name="connsiteX2419" fmla="*/ 10114626 w 12188651"/>
              <a:gd name="connsiteY2419" fmla="*/ 2590227 h 6858000"/>
              <a:gd name="connsiteX2420" fmla="*/ 10179226 w 12188651"/>
              <a:gd name="connsiteY2420" fmla="*/ 2654952 h 6858000"/>
              <a:gd name="connsiteX2421" fmla="*/ 10190770 w 12188651"/>
              <a:gd name="connsiteY2421" fmla="*/ 2666628 h 6858000"/>
              <a:gd name="connsiteX2422" fmla="*/ 10202315 w 12188651"/>
              <a:gd name="connsiteY2422" fmla="*/ 2654952 h 6858000"/>
              <a:gd name="connsiteX2423" fmla="*/ 10266786 w 12188651"/>
              <a:gd name="connsiteY2423" fmla="*/ 2590227 h 6858000"/>
              <a:gd name="connsiteX2424" fmla="*/ 10294543 w 12188651"/>
              <a:gd name="connsiteY2424" fmla="*/ 2578676 h 6858000"/>
              <a:gd name="connsiteX2425" fmla="*/ 10322173 w 12188651"/>
              <a:gd name="connsiteY2425" fmla="*/ 2590227 h 6858000"/>
              <a:gd name="connsiteX2426" fmla="*/ 10400653 w 12188651"/>
              <a:gd name="connsiteY2426" fmla="*/ 2668833 h 6858000"/>
              <a:gd name="connsiteX2427" fmla="*/ 10412198 w 12188651"/>
              <a:gd name="connsiteY2427" fmla="*/ 2696581 h 6858000"/>
              <a:gd name="connsiteX2428" fmla="*/ 10400783 w 12188651"/>
              <a:gd name="connsiteY2428" fmla="*/ 2724349 h 6858000"/>
              <a:gd name="connsiteX2429" fmla="*/ 10190770 w 12188651"/>
              <a:gd name="connsiteY2429" fmla="*/ 2934758 h 6858000"/>
              <a:gd name="connsiteX2430" fmla="*/ 9980757 w 12188651"/>
              <a:gd name="connsiteY2430" fmla="*/ 2724349 h 6858000"/>
              <a:gd name="connsiteX2431" fmla="*/ 9980757 w 12188651"/>
              <a:gd name="connsiteY2431" fmla="*/ 2668961 h 6858000"/>
              <a:gd name="connsiteX2432" fmla="*/ 10059237 w 12188651"/>
              <a:gd name="connsiteY2432" fmla="*/ 2590227 h 6858000"/>
              <a:gd name="connsiteX2433" fmla="*/ 10086867 w 12188651"/>
              <a:gd name="connsiteY2433" fmla="*/ 2578676 h 6858000"/>
              <a:gd name="connsiteX2434" fmla="*/ 8032919 w 12188651"/>
              <a:gd name="connsiteY2434" fmla="*/ 2578668 h 6858000"/>
              <a:gd name="connsiteX2435" fmla="*/ 8060679 w 12188651"/>
              <a:gd name="connsiteY2435" fmla="*/ 2590216 h 6858000"/>
              <a:gd name="connsiteX2436" fmla="*/ 8125278 w 12188651"/>
              <a:gd name="connsiteY2436" fmla="*/ 2654936 h 6858000"/>
              <a:gd name="connsiteX2437" fmla="*/ 8136823 w 12188651"/>
              <a:gd name="connsiteY2437" fmla="*/ 2666615 h 6858000"/>
              <a:gd name="connsiteX2438" fmla="*/ 8148368 w 12188651"/>
              <a:gd name="connsiteY2438" fmla="*/ 2654936 h 6858000"/>
              <a:gd name="connsiteX2439" fmla="*/ 8212837 w 12188651"/>
              <a:gd name="connsiteY2439" fmla="*/ 2590216 h 6858000"/>
              <a:gd name="connsiteX2440" fmla="*/ 8240596 w 12188651"/>
              <a:gd name="connsiteY2440" fmla="*/ 2578668 h 6858000"/>
              <a:gd name="connsiteX2441" fmla="*/ 8268226 w 12188651"/>
              <a:gd name="connsiteY2441" fmla="*/ 2590216 h 6858000"/>
              <a:gd name="connsiteX2442" fmla="*/ 8346707 w 12188651"/>
              <a:gd name="connsiteY2442" fmla="*/ 2668813 h 6858000"/>
              <a:gd name="connsiteX2443" fmla="*/ 8358252 w 12188651"/>
              <a:gd name="connsiteY2443" fmla="*/ 2696569 h 6858000"/>
              <a:gd name="connsiteX2444" fmla="*/ 8346837 w 12188651"/>
              <a:gd name="connsiteY2444" fmla="*/ 2724335 h 6858000"/>
              <a:gd name="connsiteX2445" fmla="*/ 8136823 w 12188651"/>
              <a:gd name="connsiteY2445" fmla="*/ 2934740 h 6858000"/>
              <a:gd name="connsiteX2446" fmla="*/ 7926811 w 12188651"/>
              <a:gd name="connsiteY2446" fmla="*/ 2724335 h 6858000"/>
              <a:gd name="connsiteX2447" fmla="*/ 7926811 w 12188651"/>
              <a:gd name="connsiteY2447" fmla="*/ 2668949 h 6858000"/>
              <a:gd name="connsiteX2448" fmla="*/ 8005289 w 12188651"/>
              <a:gd name="connsiteY2448" fmla="*/ 2590216 h 6858000"/>
              <a:gd name="connsiteX2449" fmla="*/ 8032919 w 12188651"/>
              <a:gd name="connsiteY2449" fmla="*/ 2578668 h 6858000"/>
              <a:gd name="connsiteX2450" fmla="*/ 5979110 w 12188651"/>
              <a:gd name="connsiteY2450" fmla="*/ 2578647 h 6858000"/>
              <a:gd name="connsiteX2451" fmla="*/ 6006867 w 12188651"/>
              <a:gd name="connsiteY2451" fmla="*/ 2590201 h 6858000"/>
              <a:gd name="connsiteX2452" fmla="*/ 6071463 w 12188651"/>
              <a:gd name="connsiteY2452" fmla="*/ 2654925 h 6858000"/>
              <a:gd name="connsiteX2453" fmla="*/ 6083008 w 12188651"/>
              <a:gd name="connsiteY2453" fmla="*/ 2666599 h 6858000"/>
              <a:gd name="connsiteX2454" fmla="*/ 6094550 w 12188651"/>
              <a:gd name="connsiteY2454" fmla="*/ 2654925 h 6858000"/>
              <a:gd name="connsiteX2455" fmla="*/ 6159019 w 12188651"/>
              <a:gd name="connsiteY2455" fmla="*/ 2590201 h 6858000"/>
              <a:gd name="connsiteX2456" fmla="*/ 6186779 w 12188651"/>
              <a:gd name="connsiteY2456" fmla="*/ 2578647 h 6858000"/>
              <a:gd name="connsiteX2457" fmla="*/ 6214409 w 12188651"/>
              <a:gd name="connsiteY2457" fmla="*/ 2590201 h 6858000"/>
              <a:gd name="connsiteX2458" fmla="*/ 6292888 w 12188651"/>
              <a:gd name="connsiteY2458" fmla="*/ 2668806 h 6858000"/>
              <a:gd name="connsiteX2459" fmla="*/ 6304433 w 12188651"/>
              <a:gd name="connsiteY2459" fmla="*/ 2696558 h 6858000"/>
              <a:gd name="connsiteX2460" fmla="*/ 6293017 w 12188651"/>
              <a:gd name="connsiteY2460" fmla="*/ 2724322 h 6858000"/>
              <a:gd name="connsiteX2461" fmla="*/ 6083008 w 12188651"/>
              <a:gd name="connsiteY2461" fmla="*/ 2934732 h 6858000"/>
              <a:gd name="connsiteX2462" fmla="*/ 5873007 w 12188651"/>
              <a:gd name="connsiteY2462" fmla="*/ 2724322 h 6858000"/>
              <a:gd name="connsiteX2463" fmla="*/ 5873007 w 12188651"/>
              <a:gd name="connsiteY2463" fmla="*/ 2668929 h 6858000"/>
              <a:gd name="connsiteX2464" fmla="*/ 5951483 w 12188651"/>
              <a:gd name="connsiteY2464" fmla="*/ 2590201 h 6858000"/>
              <a:gd name="connsiteX2465" fmla="*/ 5979110 w 12188651"/>
              <a:gd name="connsiteY2465" fmla="*/ 2578647 h 6858000"/>
              <a:gd name="connsiteX2466" fmla="*/ 3925347 w 12188651"/>
              <a:gd name="connsiteY2466" fmla="*/ 2578637 h 6858000"/>
              <a:gd name="connsiteX2467" fmla="*/ 3953105 w 12188651"/>
              <a:gd name="connsiteY2467" fmla="*/ 2590185 h 6858000"/>
              <a:gd name="connsiteX2468" fmla="*/ 4017704 w 12188651"/>
              <a:gd name="connsiteY2468" fmla="*/ 2654916 h 6858000"/>
              <a:gd name="connsiteX2469" fmla="*/ 4029249 w 12188651"/>
              <a:gd name="connsiteY2469" fmla="*/ 2666587 h 6858000"/>
              <a:gd name="connsiteX2470" fmla="*/ 4040796 w 12188651"/>
              <a:gd name="connsiteY2470" fmla="*/ 2654916 h 6858000"/>
              <a:gd name="connsiteX2471" fmla="*/ 4105266 w 12188651"/>
              <a:gd name="connsiteY2471" fmla="*/ 2590185 h 6858000"/>
              <a:gd name="connsiteX2472" fmla="*/ 4133029 w 12188651"/>
              <a:gd name="connsiteY2472" fmla="*/ 2578637 h 6858000"/>
              <a:gd name="connsiteX2473" fmla="*/ 4160658 w 12188651"/>
              <a:gd name="connsiteY2473" fmla="*/ 2590185 h 6858000"/>
              <a:gd name="connsiteX2474" fmla="*/ 4239088 w 12188651"/>
              <a:gd name="connsiteY2474" fmla="*/ 2668790 h 6858000"/>
              <a:gd name="connsiteX2475" fmla="*/ 4250643 w 12188651"/>
              <a:gd name="connsiteY2475" fmla="*/ 2696546 h 6858000"/>
              <a:gd name="connsiteX2476" fmla="*/ 4239218 w 12188651"/>
              <a:gd name="connsiteY2476" fmla="*/ 2724312 h 6858000"/>
              <a:gd name="connsiteX2477" fmla="*/ 4029249 w 12188651"/>
              <a:gd name="connsiteY2477" fmla="*/ 2934721 h 6858000"/>
              <a:gd name="connsiteX2478" fmla="*/ 3819228 w 12188651"/>
              <a:gd name="connsiteY2478" fmla="*/ 2724312 h 6858000"/>
              <a:gd name="connsiteX2479" fmla="*/ 3819228 w 12188651"/>
              <a:gd name="connsiteY2479" fmla="*/ 2668922 h 6858000"/>
              <a:gd name="connsiteX2480" fmla="*/ 3897713 w 12188651"/>
              <a:gd name="connsiteY2480" fmla="*/ 2590185 h 6858000"/>
              <a:gd name="connsiteX2481" fmla="*/ 3925347 w 12188651"/>
              <a:gd name="connsiteY2481" fmla="*/ 2578637 h 6858000"/>
              <a:gd name="connsiteX2482" fmla="*/ 1871372 w 12188651"/>
              <a:gd name="connsiteY2482" fmla="*/ 2578623 h 6858000"/>
              <a:gd name="connsiteX2483" fmla="*/ 1899133 w 12188651"/>
              <a:gd name="connsiteY2483" fmla="*/ 2590172 h 6858000"/>
              <a:gd name="connsiteX2484" fmla="*/ 1963731 w 12188651"/>
              <a:gd name="connsiteY2484" fmla="*/ 2654901 h 6858000"/>
              <a:gd name="connsiteX2485" fmla="*/ 1975277 w 12188651"/>
              <a:gd name="connsiteY2485" fmla="*/ 2666574 h 6858000"/>
              <a:gd name="connsiteX2486" fmla="*/ 1986820 w 12188651"/>
              <a:gd name="connsiteY2486" fmla="*/ 2654901 h 6858000"/>
              <a:gd name="connsiteX2487" fmla="*/ 2051290 w 12188651"/>
              <a:gd name="connsiteY2487" fmla="*/ 2590172 h 6858000"/>
              <a:gd name="connsiteX2488" fmla="*/ 2079050 w 12188651"/>
              <a:gd name="connsiteY2488" fmla="*/ 2578623 h 6858000"/>
              <a:gd name="connsiteX2489" fmla="*/ 2106688 w 12188651"/>
              <a:gd name="connsiteY2489" fmla="*/ 2590172 h 6858000"/>
              <a:gd name="connsiteX2490" fmla="*/ 2185169 w 12188651"/>
              <a:gd name="connsiteY2490" fmla="*/ 2668781 h 6858000"/>
              <a:gd name="connsiteX2491" fmla="*/ 2196712 w 12188651"/>
              <a:gd name="connsiteY2491" fmla="*/ 2696534 h 6858000"/>
              <a:gd name="connsiteX2492" fmla="*/ 2185297 w 12188651"/>
              <a:gd name="connsiteY2492" fmla="*/ 2724297 h 6858000"/>
              <a:gd name="connsiteX2493" fmla="*/ 1975277 w 12188651"/>
              <a:gd name="connsiteY2493" fmla="*/ 2934709 h 6858000"/>
              <a:gd name="connsiteX2494" fmla="*/ 1765263 w 12188651"/>
              <a:gd name="connsiteY2494" fmla="*/ 2724297 h 6858000"/>
              <a:gd name="connsiteX2495" fmla="*/ 1765263 w 12188651"/>
              <a:gd name="connsiteY2495" fmla="*/ 2668910 h 6858000"/>
              <a:gd name="connsiteX2496" fmla="*/ 1843742 w 12188651"/>
              <a:gd name="connsiteY2496" fmla="*/ 2590172 h 6858000"/>
              <a:gd name="connsiteX2497" fmla="*/ 1871372 w 12188651"/>
              <a:gd name="connsiteY2497" fmla="*/ 2578623 h 6858000"/>
              <a:gd name="connsiteX2498" fmla="*/ 25211 w 12188651"/>
              <a:gd name="connsiteY2498" fmla="*/ 2578608 h 6858000"/>
              <a:gd name="connsiteX2499" fmla="*/ 52840 w 12188651"/>
              <a:gd name="connsiteY2499" fmla="*/ 2590156 h 6858000"/>
              <a:gd name="connsiteX2500" fmla="*/ 131319 w 12188651"/>
              <a:gd name="connsiteY2500" fmla="*/ 2668766 h 6858000"/>
              <a:gd name="connsiteX2501" fmla="*/ 142863 w 12188651"/>
              <a:gd name="connsiteY2501" fmla="*/ 2696524 h 6858000"/>
              <a:gd name="connsiteX2502" fmla="*/ 131448 w 12188651"/>
              <a:gd name="connsiteY2502" fmla="*/ 2724284 h 6858000"/>
              <a:gd name="connsiteX2503" fmla="*/ 0 w 12188651"/>
              <a:gd name="connsiteY2503" fmla="*/ 2855984 h 6858000"/>
              <a:gd name="connsiteX2504" fmla="*/ 0 w 12188651"/>
              <a:gd name="connsiteY2504" fmla="*/ 2589096 h 6858000"/>
              <a:gd name="connsiteX2505" fmla="*/ 10086867 w 12188651"/>
              <a:gd name="connsiteY2505" fmla="*/ 2562208 h 6858000"/>
              <a:gd name="connsiteX2506" fmla="*/ 10047692 w 12188651"/>
              <a:gd name="connsiteY2506" fmla="*/ 2578552 h 6858000"/>
              <a:gd name="connsiteX2507" fmla="*/ 9969212 w 12188651"/>
              <a:gd name="connsiteY2507" fmla="*/ 2657287 h 6858000"/>
              <a:gd name="connsiteX2508" fmla="*/ 9969212 w 12188651"/>
              <a:gd name="connsiteY2508" fmla="*/ 2735892 h 6858000"/>
              <a:gd name="connsiteX2509" fmla="*/ 10190770 w 12188651"/>
              <a:gd name="connsiteY2509" fmla="*/ 2957977 h 6858000"/>
              <a:gd name="connsiteX2510" fmla="*/ 10412328 w 12188651"/>
              <a:gd name="connsiteY2510" fmla="*/ 2735892 h 6858000"/>
              <a:gd name="connsiteX2511" fmla="*/ 10412328 w 12188651"/>
              <a:gd name="connsiteY2511" fmla="*/ 2657287 h 6858000"/>
              <a:gd name="connsiteX2512" fmla="*/ 10333848 w 12188651"/>
              <a:gd name="connsiteY2512" fmla="*/ 2578676 h 6858000"/>
              <a:gd name="connsiteX2513" fmla="*/ 10294673 w 12188651"/>
              <a:gd name="connsiteY2513" fmla="*/ 2562337 h 6858000"/>
              <a:gd name="connsiteX2514" fmla="*/ 10294543 w 12188651"/>
              <a:gd name="connsiteY2514" fmla="*/ 2562208 h 6858000"/>
              <a:gd name="connsiteX2515" fmla="*/ 10255241 w 12188651"/>
              <a:gd name="connsiteY2515" fmla="*/ 2578676 h 6858000"/>
              <a:gd name="connsiteX2516" fmla="*/ 10190770 w 12188651"/>
              <a:gd name="connsiteY2516" fmla="*/ 2643284 h 6858000"/>
              <a:gd name="connsiteX2517" fmla="*/ 10126171 w 12188651"/>
              <a:gd name="connsiteY2517" fmla="*/ 2578552 h 6858000"/>
              <a:gd name="connsiteX2518" fmla="*/ 10086867 w 12188651"/>
              <a:gd name="connsiteY2518" fmla="*/ 2562208 h 6858000"/>
              <a:gd name="connsiteX2519" fmla="*/ 8032919 w 12188651"/>
              <a:gd name="connsiteY2519" fmla="*/ 2562187 h 6858000"/>
              <a:gd name="connsiteX2520" fmla="*/ 7993744 w 12188651"/>
              <a:gd name="connsiteY2520" fmla="*/ 2578533 h 6858000"/>
              <a:gd name="connsiteX2521" fmla="*/ 7915266 w 12188651"/>
              <a:gd name="connsiteY2521" fmla="*/ 2657273 h 6858000"/>
              <a:gd name="connsiteX2522" fmla="*/ 7915266 w 12188651"/>
              <a:gd name="connsiteY2522" fmla="*/ 2735878 h 6858000"/>
              <a:gd name="connsiteX2523" fmla="*/ 8136823 w 12188651"/>
              <a:gd name="connsiteY2523" fmla="*/ 2957963 h 6858000"/>
              <a:gd name="connsiteX2524" fmla="*/ 8358382 w 12188651"/>
              <a:gd name="connsiteY2524" fmla="*/ 2735878 h 6858000"/>
              <a:gd name="connsiteX2525" fmla="*/ 8358382 w 12188651"/>
              <a:gd name="connsiteY2525" fmla="*/ 2657273 h 6858000"/>
              <a:gd name="connsiteX2526" fmla="*/ 8279902 w 12188651"/>
              <a:gd name="connsiteY2526" fmla="*/ 2578668 h 6858000"/>
              <a:gd name="connsiteX2527" fmla="*/ 8240727 w 12188651"/>
              <a:gd name="connsiteY2527" fmla="*/ 2562324 h 6858000"/>
              <a:gd name="connsiteX2528" fmla="*/ 8240596 w 12188651"/>
              <a:gd name="connsiteY2528" fmla="*/ 2562187 h 6858000"/>
              <a:gd name="connsiteX2529" fmla="*/ 8201292 w 12188651"/>
              <a:gd name="connsiteY2529" fmla="*/ 2578668 h 6858000"/>
              <a:gd name="connsiteX2530" fmla="*/ 8136823 w 12188651"/>
              <a:gd name="connsiteY2530" fmla="*/ 2643266 h 6858000"/>
              <a:gd name="connsiteX2531" fmla="*/ 8072224 w 12188651"/>
              <a:gd name="connsiteY2531" fmla="*/ 2578533 h 6858000"/>
              <a:gd name="connsiteX2532" fmla="*/ 8032919 w 12188651"/>
              <a:gd name="connsiteY2532" fmla="*/ 2562187 h 6858000"/>
              <a:gd name="connsiteX2533" fmla="*/ 5979110 w 12188651"/>
              <a:gd name="connsiteY2533" fmla="*/ 2562181 h 6858000"/>
              <a:gd name="connsiteX2534" fmla="*/ 5939938 w 12188651"/>
              <a:gd name="connsiteY2534" fmla="*/ 2578524 h 6858000"/>
              <a:gd name="connsiteX2535" fmla="*/ 5861462 w 12188651"/>
              <a:gd name="connsiteY2535" fmla="*/ 2657262 h 6858000"/>
              <a:gd name="connsiteX2536" fmla="*/ 5861462 w 12188651"/>
              <a:gd name="connsiteY2536" fmla="*/ 2735865 h 6858000"/>
              <a:gd name="connsiteX2537" fmla="*/ 6083008 w 12188651"/>
              <a:gd name="connsiteY2537" fmla="*/ 2957948 h 6858000"/>
              <a:gd name="connsiteX2538" fmla="*/ 6304562 w 12188651"/>
              <a:gd name="connsiteY2538" fmla="*/ 2735865 h 6858000"/>
              <a:gd name="connsiteX2539" fmla="*/ 6304562 w 12188651"/>
              <a:gd name="connsiteY2539" fmla="*/ 2657262 h 6858000"/>
              <a:gd name="connsiteX2540" fmla="*/ 6226084 w 12188651"/>
              <a:gd name="connsiteY2540" fmla="*/ 2578647 h 6858000"/>
              <a:gd name="connsiteX2541" fmla="*/ 6186909 w 12188651"/>
              <a:gd name="connsiteY2541" fmla="*/ 2562308 h 6858000"/>
              <a:gd name="connsiteX2542" fmla="*/ 6186779 w 12188651"/>
              <a:gd name="connsiteY2542" fmla="*/ 2562181 h 6858000"/>
              <a:gd name="connsiteX2543" fmla="*/ 6147474 w 12188651"/>
              <a:gd name="connsiteY2543" fmla="*/ 2578647 h 6858000"/>
              <a:gd name="connsiteX2544" fmla="*/ 6083008 w 12188651"/>
              <a:gd name="connsiteY2544" fmla="*/ 2643253 h 6858000"/>
              <a:gd name="connsiteX2545" fmla="*/ 6018412 w 12188651"/>
              <a:gd name="connsiteY2545" fmla="*/ 2578524 h 6858000"/>
              <a:gd name="connsiteX2546" fmla="*/ 5979110 w 12188651"/>
              <a:gd name="connsiteY2546" fmla="*/ 2562181 h 6858000"/>
              <a:gd name="connsiteX2547" fmla="*/ 3925347 w 12188651"/>
              <a:gd name="connsiteY2547" fmla="*/ 2562165 h 6858000"/>
              <a:gd name="connsiteX2548" fmla="*/ 3886170 w 12188651"/>
              <a:gd name="connsiteY2548" fmla="*/ 2578508 h 6858000"/>
              <a:gd name="connsiteX2549" fmla="*/ 3807684 w 12188651"/>
              <a:gd name="connsiteY2549" fmla="*/ 2657243 h 6858000"/>
              <a:gd name="connsiteX2550" fmla="*/ 3807684 w 12188651"/>
              <a:gd name="connsiteY2550" fmla="*/ 2735855 h 6858000"/>
              <a:gd name="connsiteX2551" fmla="*/ 4029249 w 12188651"/>
              <a:gd name="connsiteY2551" fmla="*/ 2957936 h 6858000"/>
              <a:gd name="connsiteX2552" fmla="*/ 4250768 w 12188651"/>
              <a:gd name="connsiteY2552" fmla="*/ 2735855 h 6858000"/>
              <a:gd name="connsiteX2553" fmla="*/ 4250768 w 12188651"/>
              <a:gd name="connsiteY2553" fmla="*/ 2657243 h 6858000"/>
              <a:gd name="connsiteX2554" fmla="*/ 4172332 w 12188651"/>
              <a:gd name="connsiteY2554" fmla="*/ 2578637 h 6858000"/>
              <a:gd name="connsiteX2555" fmla="*/ 4133157 w 12188651"/>
              <a:gd name="connsiteY2555" fmla="*/ 2562295 h 6858000"/>
              <a:gd name="connsiteX2556" fmla="*/ 4133029 w 12188651"/>
              <a:gd name="connsiteY2556" fmla="*/ 2562165 h 6858000"/>
              <a:gd name="connsiteX2557" fmla="*/ 4093722 w 12188651"/>
              <a:gd name="connsiteY2557" fmla="*/ 2578637 h 6858000"/>
              <a:gd name="connsiteX2558" fmla="*/ 4029249 w 12188651"/>
              <a:gd name="connsiteY2558" fmla="*/ 2643240 h 6858000"/>
              <a:gd name="connsiteX2559" fmla="*/ 3964652 w 12188651"/>
              <a:gd name="connsiteY2559" fmla="*/ 2578508 h 6858000"/>
              <a:gd name="connsiteX2560" fmla="*/ 3925347 w 12188651"/>
              <a:gd name="connsiteY2560" fmla="*/ 2562165 h 6858000"/>
              <a:gd name="connsiteX2561" fmla="*/ 1871372 w 12188651"/>
              <a:gd name="connsiteY2561" fmla="*/ 2562148 h 6858000"/>
              <a:gd name="connsiteX2562" fmla="*/ 1832197 w 12188651"/>
              <a:gd name="connsiteY2562" fmla="*/ 2578496 h 6858000"/>
              <a:gd name="connsiteX2563" fmla="*/ 1753719 w 12188651"/>
              <a:gd name="connsiteY2563" fmla="*/ 2657236 h 6858000"/>
              <a:gd name="connsiteX2564" fmla="*/ 1753719 w 12188651"/>
              <a:gd name="connsiteY2564" fmla="*/ 2735841 h 6858000"/>
              <a:gd name="connsiteX2565" fmla="*/ 1975277 w 12188651"/>
              <a:gd name="connsiteY2565" fmla="*/ 2957928 h 6858000"/>
              <a:gd name="connsiteX2566" fmla="*/ 2196842 w 12188651"/>
              <a:gd name="connsiteY2566" fmla="*/ 2735841 h 6858000"/>
              <a:gd name="connsiteX2567" fmla="*/ 2196842 w 12188651"/>
              <a:gd name="connsiteY2567" fmla="*/ 2657236 h 6858000"/>
              <a:gd name="connsiteX2568" fmla="*/ 2118362 w 12188651"/>
              <a:gd name="connsiteY2568" fmla="*/ 2578623 h 6858000"/>
              <a:gd name="connsiteX2569" fmla="*/ 2079180 w 12188651"/>
              <a:gd name="connsiteY2569" fmla="*/ 2562279 h 6858000"/>
              <a:gd name="connsiteX2570" fmla="*/ 2079050 w 12188651"/>
              <a:gd name="connsiteY2570" fmla="*/ 2562148 h 6858000"/>
              <a:gd name="connsiteX2571" fmla="*/ 2039746 w 12188651"/>
              <a:gd name="connsiteY2571" fmla="*/ 2578623 h 6858000"/>
              <a:gd name="connsiteX2572" fmla="*/ 1975277 w 12188651"/>
              <a:gd name="connsiteY2572" fmla="*/ 2643223 h 6858000"/>
              <a:gd name="connsiteX2573" fmla="*/ 1910677 w 12188651"/>
              <a:gd name="connsiteY2573" fmla="*/ 2578496 h 6858000"/>
              <a:gd name="connsiteX2574" fmla="*/ 1871372 w 12188651"/>
              <a:gd name="connsiteY2574" fmla="*/ 2562148 h 6858000"/>
              <a:gd name="connsiteX2575" fmla="*/ 0 w 12188651"/>
              <a:gd name="connsiteY2575" fmla="*/ 2391946 h 6858000"/>
              <a:gd name="connsiteX2576" fmla="*/ 255065 w 12188651"/>
              <a:gd name="connsiteY2576" fmla="*/ 2539561 h 6858000"/>
              <a:gd name="connsiteX2577" fmla="*/ 255065 w 12188651"/>
              <a:gd name="connsiteY2577" fmla="*/ 2925743 h 6858000"/>
              <a:gd name="connsiteX2578" fmla="*/ 0 w 12188651"/>
              <a:gd name="connsiteY2578" fmla="*/ 3073355 h 6858000"/>
              <a:gd name="connsiteX2579" fmla="*/ 0 w 12188651"/>
              <a:gd name="connsiteY2579" fmla="*/ 2879166 h 6858000"/>
              <a:gd name="connsiteX2580" fmla="*/ 142993 w 12188651"/>
              <a:gd name="connsiteY2580" fmla="*/ 2735832 h 6858000"/>
              <a:gd name="connsiteX2581" fmla="*/ 142993 w 12188651"/>
              <a:gd name="connsiteY2581" fmla="*/ 2657222 h 6858000"/>
              <a:gd name="connsiteX2582" fmla="*/ 64513 w 12188651"/>
              <a:gd name="connsiteY2582" fmla="*/ 2578608 h 6858000"/>
              <a:gd name="connsiteX2583" fmla="*/ 25338 w 12188651"/>
              <a:gd name="connsiteY2583" fmla="*/ 2562265 h 6858000"/>
              <a:gd name="connsiteX2584" fmla="*/ 25211 w 12188651"/>
              <a:gd name="connsiteY2584" fmla="*/ 2562134 h 6858000"/>
              <a:gd name="connsiteX2585" fmla="*/ 4293 w 12188651"/>
              <a:gd name="connsiteY2585" fmla="*/ 2566237 h 6858000"/>
              <a:gd name="connsiteX2586" fmla="*/ 0 w 12188651"/>
              <a:gd name="connsiteY2586" fmla="*/ 2569125 h 6858000"/>
              <a:gd name="connsiteX2587" fmla="*/ 12188651 w 12188651"/>
              <a:gd name="connsiteY2587" fmla="*/ 2378785 h 6858000"/>
              <a:gd name="connsiteX2588" fmla="*/ 12188651 w 12188651"/>
              <a:gd name="connsiteY2588" fmla="*/ 2587244 h 6858000"/>
              <a:gd name="connsiteX2589" fmla="*/ 12179990 w 12188651"/>
              <a:gd name="connsiteY2589" fmla="*/ 2578566 h 6858000"/>
              <a:gd name="connsiteX2590" fmla="*/ 12140685 w 12188651"/>
              <a:gd name="connsiteY2590" fmla="*/ 2562222 h 6858000"/>
              <a:gd name="connsiteX2591" fmla="*/ 12101510 w 12188651"/>
              <a:gd name="connsiteY2591" fmla="*/ 2578566 h 6858000"/>
              <a:gd name="connsiteX2592" fmla="*/ 12023031 w 12188651"/>
              <a:gd name="connsiteY2592" fmla="*/ 2657304 h 6858000"/>
              <a:gd name="connsiteX2593" fmla="*/ 12023031 w 12188651"/>
              <a:gd name="connsiteY2593" fmla="*/ 2735902 h 6858000"/>
              <a:gd name="connsiteX2594" fmla="*/ 12188651 w 12188651"/>
              <a:gd name="connsiteY2594" fmla="*/ 2901917 h 6858000"/>
              <a:gd name="connsiteX2595" fmla="*/ 12188651 w 12188651"/>
              <a:gd name="connsiteY2595" fmla="*/ 3086666 h 6858000"/>
              <a:gd name="connsiteX2596" fmla="*/ 11910696 w 12188651"/>
              <a:gd name="connsiteY2596" fmla="*/ 2925817 h 6858000"/>
              <a:gd name="connsiteX2597" fmla="*/ 11910696 w 12188651"/>
              <a:gd name="connsiteY2597" fmla="*/ 2539653 h 6858000"/>
              <a:gd name="connsiteX2598" fmla="*/ 10883981 w 12188651"/>
              <a:gd name="connsiteY2598" fmla="*/ 2351688 h 6858000"/>
              <a:gd name="connsiteX2599" fmla="*/ 11209441 w 12188651"/>
              <a:gd name="connsiteY2599" fmla="*/ 2540032 h 6858000"/>
              <a:gd name="connsiteX2600" fmla="*/ 11209441 w 12188651"/>
              <a:gd name="connsiteY2600" fmla="*/ 2916853 h 6858000"/>
              <a:gd name="connsiteX2601" fmla="*/ 10883981 w 12188651"/>
              <a:gd name="connsiteY2601" fmla="*/ 2728491 h 6858000"/>
              <a:gd name="connsiteX2602" fmla="*/ 10867636 w 12188651"/>
              <a:gd name="connsiteY2602" fmla="*/ 2351688 h 6858000"/>
              <a:gd name="connsiteX2603" fmla="*/ 10867636 w 12188651"/>
              <a:gd name="connsiteY2603" fmla="*/ 2728491 h 6858000"/>
              <a:gd name="connsiteX2604" fmla="*/ 10542045 w 12188651"/>
              <a:gd name="connsiteY2604" fmla="*/ 2916853 h 6858000"/>
              <a:gd name="connsiteX2605" fmla="*/ 10542045 w 12188651"/>
              <a:gd name="connsiteY2605" fmla="*/ 2540032 h 6858000"/>
              <a:gd name="connsiteX2606" fmla="*/ 8830033 w 12188651"/>
              <a:gd name="connsiteY2606" fmla="*/ 2351669 h 6858000"/>
              <a:gd name="connsiteX2607" fmla="*/ 9155493 w 12188651"/>
              <a:gd name="connsiteY2607" fmla="*/ 2540021 h 6858000"/>
              <a:gd name="connsiteX2608" fmla="*/ 9155493 w 12188651"/>
              <a:gd name="connsiteY2608" fmla="*/ 2916842 h 6858000"/>
              <a:gd name="connsiteX2609" fmla="*/ 8830033 w 12188651"/>
              <a:gd name="connsiteY2609" fmla="*/ 2728478 h 6858000"/>
              <a:gd name="connsiteX2610" fmla="*/ 8813688 w 12188651"/>
              <a:gd name="connsiteY2610" fmla="*/ 2351669 h 6858000"/>
              <a:gd name="connsiteX2611" fmla="*/ 8813688 w 12188651"/>
              <a:gd name="connsiteY2611" fmla="*/ 2728481 h 6858000"/>
              <a:gd name="connsiteX2612" fmla="*/ 8488098 w 12188651"/>
              <a:gd name="connsiteY2612" fmla="*/ 2916842 h 6858000"/>
              <a:gd name="connsiteX2613" fmla="*/ 8488098 w 12188651"/>
              <a:gd name="connsiteY2613" fmla="*/ 2540021 h 6858000"/>
              <a:gd name="connsiteX2614" fmla="*/ 6776215 w 12188651"/>
              <a:gd name="connsiteY2614" fmla="*/ 2351657 h 6858000"/>
              <a:gd name="connsiteX2615" fmla="*/ 7101677 w 12188651"/>
              <a:gd name="connsiteY2615" fmla="*/ 2540012 h 6858000"/>
              <a:gd name="connsiteX2616" fmla="*/ 7101677 w 12188651"/>
              <a:gd name="connsiteY2616" fmla="*/ 2916827 h 6858000"/>
              <a:gd name="connsiteX2617" fmla="*/ 6776215 w 12188651"/>
              <a:gd name="connsiteY2617" fmla="*/ 2728471 h 6858000"/>
              <a:gd name="connsiteX2618" fmla="*/ 6759871 w 12188651"/>
              <a:gd name="connsiteY2618" fmla="*/ 2351657 h 6858000"/>
              <a:gd name="connsiteX2619" fmla="*/ 6759871 w 12188651"/>
              <a:gd name="connsiteY2619" fmla="*/ 2728471 h 6858000"/>
              <a:gd name="connsiteX2620" fmla="*/ 6434280 w 12188651"/>
              <a:gd name="connsiteY2620" fmla="*/ 2916827 h 6858000"/>
              <a:gd name="connsiteX2621" fmla="*/ 6434280 w 12188651"/>
              <a:gd name="connsiteY2621" fmla="*/ 2540012 h 6858000"/>
              <a:gd name="connsiteX2622" fmla="*/ 4705942 w 12188651"/>
              <a:gd name="connsiteY2622" fmla="*/ 2351645 h 6858000"/>
              <a:gd name="connsiteX2623" fmla="*/ 4705942 w 12188651"/>
              <a:gd name="connsiteY2623" fmla="*/ 2728455 h 6858000"/>
              <a:gd name="connsiteX2624" fmla="*/ 4380369 w 12188651"/>
              <a:gd name="connsiteY2624" fmla="*/ 2916811 h 6858000"/>
              <a:gd name="connsiteX2625" fmla="*/ 4380369 w 12188651"/>
              <a:gd name="connsiteY2625" fmla="*/ 2539997 h 6858000"/>
              <a:gd name="connsiteX2626" fmla="*/ 2652144 w 12188651"/>
              <a:gd name="connsiteY2626" fmla="*/ 2351640 h 6858000"/>
              <a:gd name="connsiteX2627" fmla="*/ 2652144 w 12188651"/>
              <a:gd name="connsiteY2627" fmla="*/ 2728447 h 6858000"/>
              <a:gd name="connsiteX2628" fmla="*/ 2326587 w 12188651"/>
              <a:gd name="connsiteY2628" fmla="*/ 2916788 h 6858000"/>
              <a:gd name="connsiteX2629" fmla="*/ 2326587 w 12188651"/>
              <a:gd name="connsiteY2629" fmla="*/ 2539980 h 6858000"/>
              <a:gd name="connsiteX2630" fmla="*/ 4722303 w 12188651"/>
              <a:gd name="connsiteY2630" fmla="*/ 2351638 h 6858000"/>
              <a:gd name="connsiteX2631" fmla="*/ 5047773 w 12188651"/>
              <a:gd name="connsiteY2631" fmla="*/ 2539983 h 6858000"/>
              <a:gd name="connsiteX2632" fmla="*/ 5047773 w 12188651"/>
              <a:gd name="connsiteY2632" fmla="*/ 2916816 h 6858000"/>
              <a:gd name="connsiteX2633" fmla="*/ 4722303 w 12188651"/>
              <a:gd name="connsiteY2633" fmla="*/ 2728468 h 6858000"/>
              <a:gd name="connsiteX2634" fmla="*/ 2668516 w 12188651"/>
              <a:gd name="connsiteY2634" fmla="*/ 2351626 h 6858000"/>
              <a:gd name="connsiteX2635" fmla="*/ 2748692 w 12188651"/>
              <a:gd name="connsiteY2635" fmla="*/ 2398022 h 6858000"/>
              <a:gd name="connsiteX2636" fmla="*/ 2939844 w 12188651"/>
              <a:gd name="connsiteY2636" fmla="*/ 2508648 h 6858000"/>
              <a:gd name="connsiteX2637" fmla="*/ 2993954 w 12188651"/>
              <a:gd name="connsiteY2637" fmla="*/ 2539966 h 6858000"/>
              <a:gd name="connsiteX2638" fmla="*/ 2993954 w 12188651"/>
              <a:gd name="connsiteY2638" fmla="*/ 2916805 h 6858000"/>
              <a:gd name="connsiteX2639" fmla="*/ 2938907 w 12188651"/>
              <a:gd name="connsiteY2639" fmla="*/ 2884945 h 6858000"/>
              <a:gd name="connsiteX2640" fmla="*/ 2668516 w 12188651"/>
              <a:gd name="connsiteY2640" fmla="*/ 2728456 h 6858000"/>
              <a:gd name="connsiteX2641" fmla="*/ 598171 w 12188651"/>
              <a:gd name="connsiteY2641" fmla="*/ 2351626 h 6858000"/>
              <a:gd name="connsiteX2642" fmla="*/ 598171 w 12188651"/>
              <a:gd name="connsiteY2642" fmla="*/ 2728434 h 6858000"/>
              <a:gd name="connsiteX2643" fmla="*/ 272607 w 12188651"/>
              <a:gd name="connsiteY2643" fmla="*/ 2916778 h 6858000"/>
              <a:gd name="connsiteX2644" fmla="*/ 272607 w 12188651"/>
              <a:gd name="connsiteY2644" fmla="*/ 2539968 h 6858000"/>
              <a:gd name="connsiteX2645" fmla="*/ 614543 w 12188651"/>
              <a:gd name="connsiteY2645" fmla="*/ 2351612 h 6858000"/>
              <a:gd name="connsiteX2646" fmla="*/ 939976 w 12188651"/>
              <a:gd name="connsiteY2646" fmla="*/ 2539953 h 6858000"/>
              <a:gd name="connsiteX2647" fmla="*/ 939976 w 12188651"/>
              <a:gd name="connsiteY2647" fmla="*/ 2916793 h 6858000"/>
              <a:gd name="connsiteX2648" fmla="*/ 614543 w 12188651"/>
              <a:gd name="connsiteY2648" fmla="*/ 2728448 h 6858000"/>
              <a:gd name="connsiteX2649" fmla="*/ 11559549 w 12188651"/>
              <a:gd name="connsiteY2649" fmla="*/ 2346879 h 6858000"/>
              <a:gd name="connsiteX2650" fmla="*/ 11893312 w 12188651"/>
              <a:gd name="connsiteY2650" fmla="*/ 2540032 h 6858000"/>
              <a:gd name="connsiteX2651" fmla="*/ 11893312 w 12188651"/>
              <a:gd name="connsiteY2651" fmla="*/ 2926321 h 6858000"/>
              <a:gd name="connsiteX2652" fmla="*/ 11559679 w 12188651"/>
              <a:gd name="connsiteY2652" fmla="*/ 3119473 h 6858000"/>
              <a:gd name="connsiteX2653" fmla="*/ 11225916 w 12188651"/>
              <a:gd name="connsiteY2653" fmla="*/ 2926321 h 6858000"/>
              <a:gd name="connsiteX2654" fmla="*/ 11225916 w 12188651"/>
              <a:gd name="connsiteY2654" fmla="*/ 2540032 h 6858000"/>
              <a:gd name="connsiteX2655" fmla="*/ 9505601 w 12188651"/>
              <a:gd name="connsiteY2655" fmla="*/ 2346870 h 6858000"/>
              <a:gd name="connsiteX2656" fmla="*/ 9839364 w 12188651"/>
              <a:gd name="connsiteY2656" fmla="*/ 2540021 h 6858000"/>
              <a:gd name="connsiteX2657" fmla="*/ 9839364 w 12188651"/>
              <a:gd name="connsiteY2657" fmla="*/ 2926315 h 6858000"/>
              <a:gd name="connsiteX2658" fmla="*/ 9505732 w 12188651"/>
              <a:gd name="connsiteY2658" fmla="*/ 3119464 h 6858000"/>
              <a:gd name="connsiteX2659" fmla="*/ 9171969 w 12188651"/>
              <a:gd name="connsiteY2659" fmla="*/ 2926315 h 6858000"/>
              <a:gd name="connsiteX2660" fmla="*/ 9171969 w 12188651"/>
              <a:gd name="connsiteY2660" fmla="*/ 2540021 h 6858000"/>
              <a:gd name="connsiteX2661" fmla="*/ 7451785 w 12188651"/>
              <a:gd name="connsiteY2661" fmla="*/ 2346860 h 6858000"/>
              <a:gd name="connsiteX2662" fmla="*/ 7785548 w 12188651"/>
              <a:gd name="connsiteY2662" fmla="*/ 2540012 h 6858000"/>
              <a:gd name="connsiteX2663" fmla="*/ 7785548 w 12188651"/>
              <a:gd name="connsiteY2663" fmla="*/ 2926298 h 6858000"/>
              <a:gd name="connsiteX2664" fmla="*/ 7451915 w 12188651"/>
              <a:gd name="connsiteY2664" fmla="*/ 3119455 h 6858000"/>
              <a:gd name="connsiteX2665" fmla="*/ 7118150 w 12188651"/>
              <a:gd name="connsiteY2665" fmla="*/ 2926298 h 6858000"/>
              <a:gd name="connsiteX2666" fmla="*/ 7118150 w 12188651"/>
              <a:gd name="connsiteY2666" fmla="*/ 2540012 h 6858000"/>
              <a:gd name="connsiteX2667" fmla="*/ 5397883 w 12188651"/>
              <a:gd name="connsiteY2667" fmla="*/ 2346843 h 6858000"/>
              <a:gd name="connsiteX2668" fmla="*/ 5731616 w 12188651"/>
              <a:gd name="connsiteY2668" fmla="*/ 2539987 h 6858000"/>
              <a:gd name="connsiteX2669" fmla="*/ 5731616 w 12188651"/>
              <a:gd name="connsiteY2669" fmla="*/ 2926288 h 6858000"/>
              <a:gd name="connsiteX2670" fmla="*/ 5397992 w 12188651"/>
              <a:gd name="connsiteY2670" fmla="*/ 3119437 h 6858000"/>
              <a:gd name="connsiteX2671" fmla="*/ 5293503 w 12188651"/>
              <a:gd name="connsiteY2671" fmla="*/ 3058968 h 6858000"/>
              <a:gd name="connsiteX2672" fmla="*/ 5064269 w 12188651"/>
              <a:gd name="connsiteY2672" fmla="*/ 2926298 h 6858000"/>
              <a:gd name="connsiteX2673" fmla="*/ 5064269 w 12188651"/>
              <a:gd name="connsiteY2673" fmla="*/ 2539997 h 6858000"/>
              <a:gd name="connsiteX2674" fmla="*/ 3344089 w 12188651"/>
              <a:gd name="connsiteY2674" fmla="*/ 2346826 h 6858000"/>
              <a:gd name="connsiteX2675" fmla="*/ 3412199 w 12188651"/>
              <a:gd name="connsiteY2675" fmla="*/ 2386238 h 6858000"/>
              <a:gd name="connsiteX2676" fmla="*/ 3665295 w 12188651"/>
              <a:gd name="connsiteY2676" fmla="*/ 2532714 h 6858000"/>
              <a:gd name="connsiteX2677" fmla="*/ 3677820 w 12188651"/>
              <a:gd name="connsiteY2677" fmla="*/ 2539966 h 6858000"/>
              <a:gd name="connsiteX2678" fmla="*/ 3677820 w 12188651"/>
              <a:gd name="connsiteY2678" fmla="*/ 2926275 h 6858000"/>
              <a:gd name="connsiteX2679" fmla="*/ 3344194 w 12188651"/>
              <a:gd name="connsiteY2679" fmla="*/ 3119426 h 6858000"/>
              <a:gd name="connsiteX2680" fmla="*/ 3184341 w 12188651"/>
              <a:gd name="connsiteY2680" fmla="*/ 3026916 h 6858000"/>
              <a:gd name="connsiteX2681" fmla="*/ 3010455 w 12188651"/>
              <a:gd name="connsiteY2681" fmla="*/ 2926288 h 6858000"/>
              <a:gd name="connsiteX2682" fmla="*/ 3010455 w 12188651"/>
              <a:gd name="connsiteY2682" fmla="*/ 2539980 h 6858000"/>
              <a:gd name="connsiteX2683" fmla="*/ 1290108 w 12188651"/>
              <a:gd name="connsiteY2683" fmla="*/ 2346810 h 6858000"/>
              <a:gd name="connsiteX2684" fmla="*/ 1351079 w 12188651"/>
              <a:gd name="connsiteY2684" fmla="*/ 2382092 h 6858000"/>
              <a:gd name="connsiteX2685" fmla="*/ 1535796 w 12188651"/>
              <a:gd name="connsiteY2685" fmla="*/ 2488993 h 6858000"/>
              <a:gd name="connsiteX2686" fmla="*/ 1623847 w 12188651"/>
              <a:gd name="connsiteY2686" fmla="*/ 2539954 h 6858000"/>
              <a:gd name="connsiteX2687" fmla="*/ 1623847 w 12188651"/>
              <a:gd name="connsiteY2687" fmla="*/ 2926261 h 6858000"/>
              <a:gd name="connsiteX2688" fmla="*/ 1290218 w 12188651"/>
              <a:gd name="connsiteY2688" fmla="*/ 3119416 h 6858000"/>
              <a:gd name="connsiteX2689" fmla="*/ 1213315 w 12188651"/>
              <a:gd name="connsiteY2689" fmla="*/ 3074912 h 6858000"/>
              <a:gd name="connsiteX2690" fmla="*/ 963641 w 12188651"/>
              <a:gd name="connsiteY2690" fmla="*/ 2930424 h 6858000"/>
              <a:gd name="connsiteX2691" fmla="*/ 956477 w 12188651"/>
              <a:gd name="connsiteY2691" fmla="*/ 2926279 h 6858000"/>
              <a:gd name="connsiteX2692" fmla="*/ 956477 w 12188651"/>
              <a:gd name="connsiteY2692" fmla="*/ 2539968 h 6858000"/>
              <a:gd name="connsiteX2693" fmla="*/ 10190640 w 12188651"/>
              <a:gd name="connsiteY2693" fmla="*/ 2346481 h 6858000"/>
              <a:gd name="connsiteX2694" fmla="*/ 10524404 w 12188651"/>
              <a:gd name="connsiteY2694" fmla="*/ 2539629 h 6858000"/>
              <a:gd name="connsiteX2695" fmla="*/ 10524404 w 12188651"/>
              <a:gd name="connsiteY2695" fmla="*/ 2925801 h 6858000"/>
              <a:gd name="connsiteX2696" fmla="*/ 10190640 w 12188651"/>
              <a:gd name="connsiteY2696" fmla="*/ 3118955 h 6858000"/>
              <a:gd name="connsiteX2697" fmla="*/ 9856876 w 12188651"/>
              <a:gd name="connsiteY2697" fmla="*/ 2925801 h 6858000"/>
              <a:gd name="connsiteX2698" fmla="*/ 9856876 w 12188651"/>
              <a:gd name="connsiteY2698" fmla="*/ 2539629 h 6858000"/>
              <a:gd name="connsiteX2699" fmla="*/ 8136693 w 12188651"/>
              <a:gd name="connsiteY2699" fmla="*/ 2346470 h 6858000"/>
              <a:gd name="connsiteX2700" fmla="*/ 8470456 w 12188651"/>
              <a:gd name="connsiteY2700" fmla="*/ 2539621 h 6858000"/>
              <a:gd name="connsiteX2701" fmla="*/ 8470456 w 12188651"/>
              <a:gd name="connsiteY2701" fmla="*/ 2925792 h 6858000"/>
              <a:gd name="connsiteX2702" fmla="*/ 8136693 w 12188651"/>
              <a:gd name="connsiteY2702" fmla="*/ 3118942 h 6858000"/>
              <a:gd name="connsiteX2703" fmla="*/ 7802930 w 12188651"/>
              <a:gd name="connsiteY2703" fmla="*/ 2925792 h 6858000"/>
              <a:gd name="connsiteX2704" fmla="*/ 7802930 w 12188651"/>
              <a:gd name="connsiteY2704" fmla="*/ 2539621 h 6858000"/>
              <a:gd name="connsiteX2705" fmla="*/ 6082876 w 12188651"/>
              <a:gd name="connsiteY2705" fmla="*/ 2346447 h 6858000"/>
              <a:gd name="connsiteX2706" fmla="*/ 6416638 w 12188651"/>
              <a:gd name="connsiteY2706" fmla="*/ 2539608 h 6858000"/>
              <a:gd name="connsiteX2707" fmla="*/ 6416638 w 12188651"/>
              <a:gd name="connsiteY2707" fmla="*/ 2925780 h 6858000"/>
              <a:gd name="connsiteX2708" fmla="*/ 6082876 w 12188651"/>
              <a:gd name="connsiteY2708" fmla="*/ 3118929 h 6858000"/>
              <a:gd name="connsiteX2709" fmla="*/ 5749138 w 12188651"/>
              <a:gd name="connsiteY2709" fmla="*/ 2925780 h 6858000"/>
              <a:gd name="connsiteX2710" fmla="*/ 5749138 w 12188651"/>
              <a:gd name="connsiteY2710" fmla="*/ 2539608 h 6858000"/>
              <a:gd name="connsiteX2711" fmla="*/ 4029122 w 12188651"/>
              <a:gd name="connsiteY2711" fmla="*/ 2346439 h 6858000"/>
              <a:gd name="connsiteX2712" fmla="*/ 4326678 w 12188651"/>
              <a:gd name="connsiteY2712" fmla="*/ 2518660 h 6858000"/>
              <a:gd name="connsiteX2713" fmla="*/ 4362838 w 12188651"/>
              <a:gd name="connsiteY2713" fmla="*/ 2539591 h 6858000"/>
              <a:gd name="connsiteX2714" fmla="*/ 4362838 w 12188651"/>
              <a:gd name="connsiteY2714" fmla="*/ 2925766 h 6858000"/>
              <a:gd name="connsiteX2715" fmla="*/ 4029115 w 12188651"/>
              <a:gd name="connsiteY2715" fmla="*/ 3118919 h 6858000"/>
              <a:gd name="connsiteX2716" fmla="*/ 3695364 w 12188651"/>
              <a:gd name="connsiteY2716" fmla="*/ 2925772 h 6858000"/>
              <a:gd name="connsiteX2717" fmla="*/ 3695364 w 12188651"/>
              <a:gd name="connsiteY2717" fmla="*/ 2539591 h 6858000"/>
              <a:gd name="connsiteX2718" fmla="*/ 1975147 w 12188651"/>
              <a:gd name="connsiteY2718" fmla="*/ 2346423 h 6858000"/>
              <a:gd name="connsiteX2719" fmla="*/ 2308913 w 12188651"/>
              <a:gd name="connsiteY2719" fmla="*/ 2539575 h 6858000"/>
              <a:gd name="connsiteX2720" fmla="*/ 2308913 w 12188651"/>
              <a:gd name="connsiteY2720" fmla="*/ 2925753 h 6858000"/>
              <a:gd name="connsiteX2721" fmla="*/ 1975142 w 12188651"/>
              <a:gd name="connsiteY2721" fmla="*/ 3118908 h 6858000"/>
              <a:gd name="connsiteX2722" fmla="*/ 1641385 w 12188651"/>
              <a:gd name="connsiteY2722" fmla="*/ 2925755 h 6858000"/>
              <a:gd name="connsiteX2723" fmla="*/ 1641385 w 12188651"/>
              <a:gd name="connsiteY2723" fmla="*/ 2539579 h 6858000"/>
              <a:gd name="connsiteX2724" fmla="*/ 11902654 w 12188651"/>
              <a:gd name="connsiteY2724" fmla="*/ 2148664 h 6858000"/>
              <a:gd name="connsiteX2725" fmla="*/ 12188651 w 12188651"/>
              <a:gd name="connsiteY2725" fmla="*/ 2314149 h 6858000"/>
              <a:gd name="connsiteX2726" fmla="*/ 12188651 w 12188651"/>
              <a:gd name="connsiteY2726" fmla="*/ 2359849 h 6858000"/>
              <a:gd name="connsiteX2727" fmla="*/ 11902524 w 12188651"/>
              <a:gd name="connsiteY2727" fmla="*/ 2525372 h 6858000"/>
              <a:gd name="connsiteX2728" fmla="*/ 11577065 w 12188651"/>
              <a:gd name="connsiteY2728" fmla="*/ 2337021 h 6858000"/>
              <a:gd name="connsiteX2729" fmla="*/ 9848833 w 12188651"/>
              <a:gd name="connsiteY2729" fmla="*/ 2148651 h 6858000"/>
              <a:gd name="connsiteX2730" fmla="*/ 10174292 w 12188651"/>
              <a:gd name="connsiteY2730" fmla="*/ 2337004 h 6858000"/>
              <a:gd name="connsiteX2731" fmla="*/ 9848703 w 12188651"/>
              <a:gd name="connsiteY2731" fmla="*/ 2525360 h 6858000"/>
              <a:gd name="connsiteX2732" fmla="*/ 9523246 w 12188651"/>
              <a:gd name="connsiteY2732" fmla="*/ 2337004 h 6858000"/>
              <a:gd name="connsiteX2733" fmla="*/ 7794888 w 12188651"/>
              <a:gd name="connsiteY2733" fmla="*/ 2148635 h 6858000"/>
              <a:gd name="connsiteX2734" fmla="*/ 8120344 w 12188651"/>
              <a:gd name="connsiteY2734" fmla="*/ 2336987 h 6858000"/>
              <a:gd name="connsiteX2735" fmla="*/ 7794758 w 12188651"/>
              <a:gd name="connsiteY2735" fmla="*/ 2525343 h 6858000"/>
              <a:gd name="connsiteX2736" fmla="*/ 7469301 w 12188651"/>
              <a:gd name="connsiteY2736" fmla="*/ 2336987 h 6858000"/>
              <a:gd name="connsiteX2737" fmla="*/ 5741092 w 12188651"/>
              <a:gd name="connsiteY2737" fmla="*/ 2148623 h 6858000"/>
              <a:gd name="connsiteX2738" fmla="*/ 6066529 w 12188651"/>
              <a:gd name="connsiteY2738" fmla="*/ 2336977 h 6858000"/>
              <a:gd name="connsiteX2739" fmla="*/ 5740963 w 12188651"/>
              <a:gd name="connsiteY2739" fmla="*/ 2525334 h 6858000"/>
              <a:gd name="connsiteX2740" fmla="*/ 5415529 w 12188651"/>
              <a:gd name="connsiteY2740" fmla="*/ 2336977 h 6858000"/>
              <a:gd name="connsiteX2741" fmla="*/ 3687323 w 12188651"/>
              <a:gd name="connsiteY2741" fmla="*/ 2148612 h 6858000"/>
              <a:gd name="connsiteX2742" fmla="*/ 4012773 w 12188651"/>
              <a:gd name="connsiteY2742" fmla="*/ 2336961 h 6858000"/>
              <a:gd name="connsiteX2743" fmla="*/ 3687187 w 12188651"/>
              <a:gd name="connsiteY2743" fmla="*/ 2525317 h 6858000"/>
              <a:gd name="connsiteX2744" fmla="*/ 3465770 w 12188651"/>
              <a:gd name="connsiteY2744" fmla="*/ 2397169 h 6858000"/>
              <a:gd name="connsiteX2745" fmla="*/ 3361734 w 12188651"/>
              <a:gd name="connsiteY2745" fmla="*/ 2336966 h 6858000"/>
              <a:gd name="connsiteX2746" fmla="*/ 1633341 w 12188651"/>
              <a:gd name="connsiteY2746" fmla="*/ 2148592 h 6858000"/>
              <a:gd name="connsiteX2747" fmla="*/ 1958797 w 12188651"/>
              <a:gd name="connsiteY2747" fmla="*/ 2336948 h 6858000"/>
              <a:gd name="connsiteX2748" fmla="*/ 1633208 w 12188651"/>
              <a:gd name="connsiteY2748" fmla="*/ 2525303 h 6858000"/>
              <a:gd name="connsiteX2749" fmla="*/ 1561718 w 12188651"/>
              <a:gd name="connsiteY2749" fmla="*/ 2483930 h 6858000"/>
              <a:gd name="connsiteX2750" fmla="*/ 1307753 w 12188651"/>
              <a:gd name="connsiteY2750" fmla="*/ 2336948 h 6858000"/>
              <a:gd name="connsiteX2751" fmla="*/ 11113840 w 12188651"/>
              <a:gd name="connsiteY2751" fmla="*/ 1984709 h 6858000"/>
              <a:gd name="connsiteX2752" fmla="*/ 11141600 w 12188651"/>
              <a:gd name="connsiteY2752" fmla="*/ 1996254 h 6858000"/>
              <a:gd name="connsiteX2753" fmla="*/ 11206199 w 12188651"/>
              <a:gd name="connsiteY2753" fmla="*/ 2060984 h 6858000"/>
              <a:gd name="connsiteX2754" fmla="*/ 11217744 w 12188651"/>
              <a:gd name="connsiteY2754" fmla="*/ 2072657 h 6858000"/>
              <a:gd name="connsiteX2755" fmla="*/ 11229289 w 12188651"/>
              <a:gd name="connsiteY2755" fmla="*/ 2060984 h 6858000"/>
              <a:gd name="connsiteX2756" fmla="*/ 11293758 w 12188651"/>
              <a:gd name="connsiteY2756" fmla="*/ 1996254 h 6858000"/>
              <a:gd name="connsiteX2757" fmla="*/ 11321517 w 12188651"/>
              <a:gd name="connsiteY2757" fmla="*/ 1984709 h 6858000"/>
              <a:gd name="connsiteX2758" fmla="*/ 11349147 w 12188651"/>
              <a:gd name="connsiteY2758" fmla="*/ 1996254 h 6858000"/>
              <a:gd name="connsiteX2759" fmla="*/ 11427627 w 12188651"/>
              <a:gd name="connsiteY2759" fmla="*/ 2074862 h 6858000"/>
              <a:gd name="connsiteX2760" fmla="*/ 11439169 w 12188651"/>
              <a:gd name="connsiteY2760" fmla="*/ 2102615 h 6858000"/>
              <a:gd name="connsiteX2761" fmla="*/ 11427757 w 12188651"/>
              <a:gd name="connsiteY2761" fmla="*/ 2130362 h 6858000"/>
              <a:gd name="connsiteX2762" fmla="*/ 11217744 w 12188651"/>
              <a:gd name="connsiteY2762" fmla="*/ 2340772 h 6858000"/>
              <a:gd name="connsiteX2763" fmla="*/ 11007731 w 12188651"/>
              <a:gd name="connsiteY2763" fmla="*/ 2130362 h 6858000"/>
              <a:gd name="connsiteX2764" fmla="*/ 10996254 w 12188651"/>
              <a:gd name="connsiteY2764" fmla="*/ 2102632 h 6858000"/>
              <a:gd name="connsiteX2765" fmla="*/ 11007731 w 12188651"/>
              <a:gd name="connsiteY2765" fmla="*/ 2074992 h 6858000"/>
              <a:gd name="connsiteX2766" fmla="*/ 11086210 w 12188651"/>
              <a:gd name="connsiteY2766" fmla="*/ 1996254 h 6858000"/>
              <a:gd name="connsiteX2767" fmla="*/ 11113840 w 12188651"/>
              <a:gd name="connsiteY2767" fmla="*/ 1984709 h 6858000"/>
              <a:gd name="connsiteX2768" fmla="*/ 9059892 w 12188651"/>
              <a:gd name="connsiteY2768" fmla="*/ 1984692 h 6858000"/>
              <a:gd name="connsiteX2769" fmla="*/ 9087652 w 12188651"/>
              <a:gd name="connsiteY2769" fmla="*/ 1996238 h 6858000"/>
              <a:gd name="connsiteX2770" fmla="*/ 9152251 w 12188651"/>
              <a:gd name="connsiteY2770" fmla="*/ 2060967 h 6858000"/>
              <a:gd name="connsiteX2771" fmla="*/ 9163796 w 12188651"/>
              <a:gd name="connsiteY2771" fmla="*/ 2072641 h 6858000"/>
              <a:gd name="connsiteX2772" fmla="*/ 9175341 w 12188651"/>
              <a:gd name="connsiteY2772" fmla="*/ 2060967 h 6858000"/>
              <a:gd name="connsiteX2773" fmla="*/ 9239810 w 12188651"/>
              <a:gd name="connsiteY2773" fmla="*/ 1996238 h 6858000"/>
              <a:gd name="connsiteX2774" fmla="*/ 9267570 w 12188651"/>
              <a:gd name="connsiteY2774" fmla="*/ 1984692 h 6858000"/>
              <a:gd name="connsiteX2775" fmla="*/ 9295200 w 12188651"/>
              <a:gd name="connsiteY2775" fmla="*/ 1996238 h 6858000"/>
              <a:gd name="connsiteX2776" fmla="*/ 9373678 w 12188651"/>
              <a:gd name="connsiteY2776" fmla="*/ 2074846 h 6858000"/>
              <a:gd name="connsiteX2777" fmla="*/ 9385220 w 12188651"/>
              <a:gd name="connsiteY2777" fmla="*/ 2102601 h 6858000"/>
              <a:gd name="connsiteX2778" fmla="*/ 9373809 w 12188651"/>
              <a:gd name="connsiteY2778" fmla="*/ 2130340 h 6858000"/>
              <a:gd name="connsiteX2779" fmla="*/ 9163797 w 12188651"/>
              <a:gd name="connsiteY2779" fmla="*/ 2340755 h 6858000"/>
              <a:gd name="connsiteX2780" fmla="*/ 8953784 w 12188651"/>
              <a:gd name="connsiteY2780" fmla="*/ 2130340 h 6858000"/>
              <a:gd name="connsiteX2781" fmla="*/ 8942307 w 12188651"/>
              <a:gd name="connsiteY2781" fmla="*/ 2102615 h 6858000"/>
              <a:gd name="connsiteX2782" fmla="*/ 8953783 w 12188651"/>
              <a:gd name="connsiteY2782" fmla="*/ 2074978 h 6858000"/>
              <a:gd name="connsiteX2783" fmla="*/ 9032263 w 12188651"/>
              <a:gd name="connsiteY2783" fmla="*/ 1996238 h 6858000"/>
              <a:gd name="connsiteX2784" fmla="*/ 9059892 w 12188651"/>
              <a:gd name="connsiteY2784" fmla="*/ 1984692 h 6858000"/>
              <a:gd name="connsiteX2785" fmla="*/ 7006076 w 12188651"/>
              <a:gd name="connsiteY2785" fmla="*/ 1984677 h 6858000"/>
              <a:gd name="connsiteX2786" fmla="*/ 7033834 w 12188651"/>
              <a:gd name="connsiteY2786" fmla="*/ 1996221 h 6858000"/>
              <a:gd name="connsiteX2787" fmla="*/ 7098434 w 12188651"/>
              <a:gd name="connsiteY2787" fmla="*/ 2060951 h 6858000"/>
              <a:gd name="connsiteX2788" fmla="*/ 7109978 w 12188651"/>
              <a:gd name="connsiteY2788" fmla="*/ 2072625 h 6858000"/>
              <a:gd name="connsiteX2789" fmla="*/ 7121523 w 12188651"/>
              <a:gd name="connsiteY2789" fmla="*/ 2060951 h 6858000"/>
              <a:gd name="connsiteX2790" fmla="*/ 7185994 w 12188651"/>
              <a:gd name="connsiteY2790" fmla="*/ 1996221 h 6858000"/>
              <a:gd name="connsiteX2791" fmla="*/ 7213751 w 12188651"/>
              <a:gd name="connsiteY2791" fmla="*/ 1984677 h 6858000"/>
              <a:gd name="connsiteX2792" fmla="*/ 7241381 w 12188651"/>
              <a:gd name="connsiteY2792" fmla="*/ 1996221 h 6858000"/>
              <a:gd name="connsiteX2793" fmla="*/ 7319862 w 12188651"/>
              <a:gd name="connsiteY2793" fmla="*/ 2074831 h 6858000"/>
              <a:gd name="connsiteX2794" fmla="*/ 7331403 w 12188651"/>
              <a:gd name="connsiteY2794" fmla="*/ 2102583 h 6858000"/>
              <a:gd name="connsiteX2795" fmla="*/ 7319992 w 12188651"/>
              <a:gd name="connsiteY2795" fmla="*/ 2130329 h 6858000"/>
              <a:gd name="connsiteX2796" fmla="*/ 7109978 w 12188651"/>
              <a:gd name="connsiteY2796" fmla="*/ 2340739 h 6858000"/>
              <a:gd name="connsiteX2797" fmla="*/ 6899966 w 12188651"/>
              <a:gd name="connsiteY2797" fmla="*/ 2130329 h 6858000"/>
              <a:gd name="connsiteX2798" fmla="*/ 6888488 w 12188651"/>
              <a:gd name="connsiteY2798" fmla="*/ 2102601 h 6858000"/>
              <a:gd name="connsiteX2799" fmla="*/ 6899966 w 12188651"/>
              <a:gd name="connsiteY2799" fmla="*/ 2074961 h 6858000"/>
              <a:gd name="connsiteX2800" fmla="*/ 6978446 w 12188651"/>
              <a:gd name="connsiteY2800" fmla="*/ 1996221 h 6858000"/>
              <a:gd name="connsiteX2801" fmla="*/ 7006076 w 12188651"/>
              <a:gd name="connsiteY2801" fmla="*/ 1984677 h 6858000"/>
              <a:gd name="connsiteX2802" fmla="*/ 4952163 w 12188651"/>
              <a:gd name="connsiteY2802" fmla="*/ 1984659 h 6858000"/>
              <a:gd name="connsiteX2803" fmla="*/ 4979931 w 12188651"/>
              <a:gd name="connsiteY2803" fmla="*/ 1996205 h 6858000"/>
              <a:gd name="connsiteX2804" fmla="*/ 5021209 w 12188651"/>
              <a:gd name="connsiteY2804" fmla="*/ 2037554 h 6858000"/>
              <a:gd name="connsiteX2805" fmla="*/ 5044521 w 12188651"/>
              <a:gd name="connsiteY2805" fmla="*/ 2060919 h 6858000"/>
              <a:gd name="connsiteX2806" fmla="*/ 5056083 w 12188651"/>
              <a:gd name="connsiteY2806" fmla="*/ 2072595 h 6858000"/>
              <a:gd name="connsiteX2807" fmla="*/ 5056083 w 12188651"/>
              <a:gd name="connsiteY2807" fmla="*/ 2072592 h 6858000"/>
              <a:gd name="connsiteX2808" fmla="*/ 5056095 w 12188651"/>
              <a:gd name="connsiteY2808" fmla="*/ 2072609 h 6858000"/>
              <a:gd name="connsiteX2809" fmla="*/ 5067642 w 12188651"/>
              <a:gd name="connsiteY2809" fmla="*/ 2060935 h 6858000"/>
              <a:gd name="connsiteX2810" fmla="*/ 5132091 w 12188651"/>
              <a:gd name="connsiteY2810" fmla="*/ 1996205 h 6858000"/>
              <a:gd name="connsiteX2811" fmla="*/ 5159840 w 12188651"/>
              <a:gd name="connsiteY2811" fmla="*/ 1984659 h 6858000"/>
              <a:gd name="connsiteX2812" fmla="*/ 5187487 w 12188651"/>
              <a:gd name="connsiteY2812" fmla="*/ 1996203 h 6858000"/>
              <a:gd name="connsiteX2813" fmla="*/ 5234645 w 12188651"/>
              <a:gd name="connsiteY2813" fmla="*/ 2043461 h 6858000"/>
              <a:gd name="connsiteX2814" fmla="*/ 5265946 w 12188651"/>
              <a:gd name="connsiteY2814" fmla="*/ 2074804 h 6858000"/>
              <a:gd name="connsiteX2815" fmla="*/ 5277479 w 12188651"/>
              <a:gd name="connsiteY2815" fmla="*/ 2102560 h 6858000"/>
              <a:gd name="connsiteX2816" fmla="*/ 5266071 w 12188651"/>
              <a:gd name="connsiteY2816" fmla="*/ 2130322 h 6858000"/>
              <a:gd name="connsiteX2817" fmla="*/ 5056083 w 12188651"/>
              <a:gd name="connsiteY2817" fmla="*/ 2340720 h 6858000"/>
              <a:gd name="connsiteX2818" fmla="*/ 4969669 w 12188651"/>
              <a:gd name="connsiteY2818" fmla="*/ 2254172 h 6858000"/>
              <a:gd name="connsiteX2819" fmla="*/ 4846040 w 12188651"/>
              <a:gd name="connsiteY2819" fmla="*/ 2130322 h 6858000"/>
              <a:gd name="connsiteX2820" fmla="*/ 4834566 w 12188651"/>
              <a:gd name="connsiteY2820" fmla="*/ 2102591 h 6858000"/>
              <a:gd name="connsiteX2821" fmla="*/ 4846044 w 12188651"/>
              <a:gd name="connsiteY2821" fmla="*/ 2074945 h 6858000"/>
              <a:gd name="connsiteX2822" fmla="*/ 4924518 w 12188651"/>
              <a:gd name="connsiteY2822" fmla="*/ 1996205 h 6858000"/>
              <a:gd name="connsiteX2823" fmla="*/ 4952163 w 12188651"/>
              <a:gd name="connsiteY2823" fmla="*/ 1984659 h 6858000"/>
              <a:gd name="connsiteX2824" fmla="*/ 2898379 w 12188651"/>
              <a:gd name="connsiteY2824" fmla="*/ 1984642 h 6858000"/>
              <a:gd name="connsiteX2825" fmla="*/ 2926124 w 12188651"/>
              <a:gd name="connsiteY2825" fmla="*/ 1996183 h 6858000"/>
              <a:gd name="connsiteX2826" fmla="*/ 2990712 w 12188651"/>
              <a:gd name="connsiteY2826" fmla="*/ 2060903 h 6858000"/>
              <a:gd name="connsiteX2827" fmla="*/ 3002260 w 12188651"/>
              <a:gd name="connsiteY2827" fmla="*/ 2072579 h 6858000"/>
              <a:gd name="connsiteX2828" fmla="*/ 3002262 w 12188651"/>
              <a:gd name="connsiteY2828" fmla="*/ 2072574 h 6858000"/>
              <a:gd name="connsiteX2829" fmla="*/ 3002282 w 12188651"/>
              <a:gd name="connsiteY2829" fmla="*/ 2072593 h 6858000"/>
              <a:gd name="connsiteX2830" fmla="*/ 3013824 w 12188651"/>
              <a:gd name="connsiteY2830" fmla="*/ 2060919 h 6858000"/>
              <a:gd name="connsiteX2831" fmla="*/ 3078292 w 12188651"/>
              <a:gd name="connsiteY2831" fmla="*/ 1996188 h 6858000"/>
              <a:gd name="connsiteX2832" fmla="*/ 3106058 w 12188651"/>
              <a:gd name="connsiteY2832" fmla="*/ 1984642 h 6858000"/>
              <a:gd name="connsiteX2833" fmla="*/ 3133671 w 12188651"/>
              <a:gd name="connsiteY2833" fmla="*/ 1996183 h 6858000"/>
              <a:gd name="connsiteX2834" fmla="*/ 3212141 w 12188651"/>
              <a:gd name="connsiteY2834" fmla="*/ 2074784 h 6858000"/>
              <a:gd name="connsiteX2835" fmla="*/ 3223687 w 12188651"/>
              <a:gd name="connsiteY2835" fmla="*/ 2102544 h 6858000"/>
              <a:gd name="connsiteX2836" fmla="*/ 3212272 w 12188651"/>
              <a:gd name="connsiteY2836" fmla="*/ 2130304 h 6858000"/>
              <a:gd name="connsiteX2837" fmla="*/ 3002263 w 12188651"/>
              <a:gd name="connsiteY2837" fmla="*/ 2340706 h 6858000"/>
              <a:gd name="connsiteX2838" fmla="*/ 2792272 w 12188651"/>
              <a:gd name="connsiteY2838" fmla="*/ 2130322 h 6858000"/>
              <a:gd name="connsiteX2839" fmla="*/ 2792272 w 12188651"/>
              <a:gd name="connsiteY2839" fmla="*/ 2074929 h 6858000"/>
              <a:gd name="connsiteX2840" fmla="*/ 2870746 w 12188651"/>
              <a:gd name="connsiteY2840" fmla="*/ 1996188 h 6858000"/>
              <a:gd name="connsiteX2841" fmla="*/ 2898379 w 12188651"/>
              <a:gd name="connsiteY2841" fmla="*/ 1984642 h 6858000"/>
              <a:gd name="connsiteX2842" fmla="*/ 844398 w 12188651"/>
              <a:gd name="connsiteY2842" fmla="*/ 1984626 h 6858000"/>
              <a:gd name="connsiteX2843" fmla="*/ 872148 w 12188651"/>
              <a:gd name="connsiteY2843" fmla="*/ 1996168 h 6858000"/>
              <a:gd name="connsiteX2844" fmla="*/ 936736 w 12188651"/>
              <a:gd name="connsiteY2844" fmla="*/ 2060888 h 6858000"/>
              <a:gd name="connsiteX2845" fmla="*/ 948281 w 12188651"/>
              <a:gd name="connsiteY2845" fmla="*/ 2072562 h 6858000"/>
              <a:gd name="connsiteX2846" fmla="*/ 948285 w 12188651"/>
              <a:gd name="connsiteY2846" fmla="*/ 2072558 h 6858000"/>
              <a:gd name="connsiteX2847" fmla="*/ 948304 w 12188651"/>
              <a:gd name="connsiteY2847" fmla="*/ 2072577 h 6858000"/>
              <a:gd name="connsiteX2848" fmla="*/ 959848 w 12188651"/>
              <a:gd name="connsiteY2848" fmla="*/ 2060903 h 6858000"/>
              <a:gd name="connsiteX2849" fmla="*/ 1024318 w 12188651"/>
              <a:gd name="connsiteY2849" fmla="*/ 1996172 h 6858000"/>
              <a:gd name="connsiteX2850" fmla="*/ 1052077 w 12188651"/>
              <a:gd name="connsiteY2850" fmla="*/ 1984626 h 6858000"/>
              <a:gd name="connsiteX2851" fmla="*/ 1079695 w 12188651"/>
              <a:gd name="connsiteY2851" fmla="*/ 1996168 h 6858000"/>
              <a:gd name="connsiteX2852" fmla="*/ 1158163 w 12188651"/>
              <a:gd name="connsiteY2852" fmla="*/ 2074768 h 6858000"/>
              <a:gd name="connsiteX2853" fmla="*/ 1169708 w 12188651"/>
              <a:gd name="connsiteY2853" fmla="*/ 2102528 h 6858000"/>
              <a:gd name="connsiteX2854" fmla="*/ 1158294 w 12188651"/>
              <a:gd name="connsiteY2854" fmla="*/ 2130289 h 6858000"/>
              <a:gd name="connsiteX2855" fmla="*/ 948285 w 12188651"/>
              <a:gd name="connsiteY2855" fmla="*/ 2340695 h 6858000"/>
              <a:gd name="connsiteX2856" fmla="*/ 738292 w 12188651"/>
              <a:gd name="connsiteY2856" fmla="*/ 2130304 h 6858000"/>
              <a:gd name="connsiteX2857" fmla="*/ 738292 w 12188651"/>
              <a:gd name="connsiteY2857" fmla="*/ 2074914 h 6858000"/>
              <a:gd name="connsiteX2858" fmla="*/ 816770 w 12188651"/>
              <a:gd name="connsiteY2858" fmla="*/ 1996172 h 6858000"/>
              <a:gd name="connsiteX2859" fmla="*/ 844398 w 12188651"/>
              <a:gd name="connsiteY2859" fmla="*/ 1984626 h 6858000"/>
              <a:gd name="connsiteX2860" fmla="*/ 11113840 w 12188651"/>
              <a:gd name="connsiteY2860" fmla="*/ 1968219 h 6858000"/>
              <a:gd name="connsiteX2861" fmla="*/ 11074665 w 12188651"/>
              <a:gd name="connsiteY2861" fmla="*/ 1984563 h 6858000"/>
              <a:gd name="connsiteX2862" fmla="*/ 10996186 w 12188651"/>
              <a:gd name="connsiteY2862" fmla="*/ 2063301 h 6858000"/>
              <a:gd name="connsiteX2863" fmla="*/ 10979939 w 12188651"/>
              <a:gd name="connsiteY2863" fmla="*/ 2102607 h 6858000"/>
              <a:gd name="connsiteX2864" fmla="*/ 10979942 w 12188651"/>
              <a:gd name="connsiteY2864" fmla="*/ 2102615 h 6858000"/>
              <a:gd name="connsiteX2865" fmla="*/ 10979939 w 12188651"/>
              <a:gd name="connsiteY2865" fmla="*/ 2102624 h 6858000"/>
              <a:gd name="connsiteX2866" fmla="*/ 10996186 w 12188651"/>
              <a:gd name="connsiteY2866" fmla="*/ 2141922 h 6858000"/>
              <a:gd name="connsiteX2867" fmla="*/ 11217744 w 12188651"/>
              <a:gd name="connsiteY2867" fmla="*/ 2364005 h 6858000"/>
              <a:gd name="connsiteX2868" fmla="*/ 11439301 w 12188651"/>
              <a:gd name="connsiteY2868" fmla="*/ 2141922 h 6858000"/>
              <a:gd name="connsiteX2869" fmla="*/ 11455548 w 12188651"/>
              <a:gd name="connsiteY2869" fmla="*/ 2102624 h 6858000"/>
              <a:gd name="connsiteX2870" fmla="*/ 11455545 w 12188651"/>
              <a:gd name="connsiteY2870" fmla="*/ 2102615 h 6858000"/>
              <a:gd name="connsiteX2871" fmla="*/ 11455548 w 12188651"/>
              <a:gd name="connsiteY2871" fmla="*/ 2102607 h 6858000"/>
              <a:gd name="connsiteX2872" fmla="*/ 11439301 w 12188651"/>
              <a:gd name="connsiteY2872" fmla="*/ 2063301 h 6858000"/>
              <a:gd name="connsiteX2873" fmla="*/ 11360822 w 12188651"/>
              <a:gd name="connsiteY2873" fmla="*/ 1984693 h 6858000"/>
              <a:gd name="connsiteX2874" fmla="*/ 11321647 w 12188651"/>
              <a:gd name="connsiteY2874" fmla="*/ 1968348 h 6858000"/>
              <a:gd name="connsiteX2875" fmla="*/ 11321517 w 12188651"/>
              <a:gd name="connsiteY2875" fmla="*/ 1968219 h 6858000"/>
              <a:gd name="connsiteX2876" fmla="*/ 11282213 w 12188651"/>
              <a:gd name="connsiteY2876" fmla="*/ 1984693 h 6858000"/>
              <a:gd name="connsiteX2877" fmla="*/ 11217744 w 12188651"/>
              <a:gd name="connsiteY2877" fmla="*/ 2049294 h 6858000"/>
              <a:gd name="connsiteX2878" fmla="*/ 11153145 w 12188651"/>
              <a:gd name="connsiteY2878" fmla="*/ 1984563 h 6858000"/>
              <a:gd name="connsiteX2879" fmla="*/ 11113840 w 12188651"/>
              <a:gd name="connsiteY2879" fmla="*/ 1968219 h 6858000"/>
              <a:gd name="connsiteX2880" fmla="*/ 9059893 w 12188651"/>
              <a:gd name="connsiteY2880" fmla="*/ 1968203 h 6858000"/>
              <a:gd name="connsiteX2881" fmla="*/ 9020718 w 12188651"/>
              <a:gd name="connsiteY2881" fmla="*/ 1984547 h 6858000"/>
              <a:gd name="connsiteX2882" fmla="*/ 8942239 w 12188651"/>
              <a:gd name="connsiteY2882" fmla="*/ 2063287 h 6858000"/>
              <a:gd name="connsiteX2883" fmla="*/ 8925992 w 12188651"/>
              <a:gd name="connsiteY2883" fmla="*/ 2102593 h 6858000"/>
              <a:gd name="connsiteX2884" fmla="*/ 8925994 w 12188651"/>
              <a:gd name="connsiteY2884" fmla="*/ 2102598 h 6858000"/>
              <a:gd name="connsiteX2885" fmla="*/ 8925991 w 12188651"/>
              <a:gd name="connsiteY2885" fmla="*/ 2102606 h 6858000"/>
              <a:gd name="connsiteX2886" fmla="*/ 8942238 w 12188651"/>
              <a:gd name="connsiteY2886" fmla="*/ 2141902 h 6858000"/>
              <a:gd name="connsiteX2887" fmla="*/ 9163796 w 12188651"/>
              <a:gd name="connsiteY2887" fmla="*/ 2363983 h 6858000"/>
              <a:gd name="connsiteX2888" fmla="*/ 9385353 w 12188651"/>
              <a:gd name="connsiteY2888" fmla="*/ 2141902 h 6858000"/>
              <a:gd name="connsiteX2889" fmla="*/ 9401600 w 12188651"/>
              <a:gd name="connsiteY2889" fmla="*/ 2102606 h 6858000"/>
              <a:gd name="connsiteX2890" fmla="*/ 9401598 w 12188651"/>
              <a:gd name="connsiteY2890" fmla="*/ 2102601 h 6858000"/>
              <a:gd name="connsiteX2891" fmla="*/ 9401601 w 12188651"/>
              <a:gd name="connsiteY2891" fmla="*/ 2102593 h 6858000"/>
              <a:gd name="connsiteX2892" fmla="*/ 9385354 w 12188651"/>
              <a:gd name="connsiteY2892" fmla="*/ 2063287 h 6858000"/>
              <a:gd name="connsiteX2893" fmla="*/ 9306876 w 12188651"/>
              <a:gd name="connsiteY2893" fmla="*/ 1984677 h 6858000"/>
              <a:gd name="connsiteX2894" fmla="*/ 9267701 w 12188651"/>
              <a:gd name="connsiteY2894" fmla="*/ 1968333 h 6858000"/>
              <a:gd name="connsiteX2895" fmla="*/ 9267571 w 12188651"/>
              <a:gd name="connsiteY2895" fmla="*/ 1968203 h 6858000"/>
              <a:gd name="connsiteX2896" fmla="*/ 9228266 w 12188651"/>
              <a:gd name="connsiteY2896" fmla="*/ 1984677 h 6858000"/>
              <a:gd name="connsiteX2897" fmla="*/ 9163797 w 12188651"/>
              <a:gd name="connsiteY2897" fmla="*/ 2049278 h 6858000"/>
              <a:gd name="connsiteX2898" fmla="*/ 9099198 w 12188651"/>
              <a:gd name="connsiteY2898" fmla="*/ 1984547 h 6858000"/>
              <a:gd name="connsiteX2899" fmla="*/ 9059893 w 12188651"/>
              <a:gd name="connsiteY2899" fmla="*/ 1968203 h 6858000"/>
              <a:gd name="connsiteX2900" fmla="*/ 7006076 w 12188651"/>
              <a:gd name="connsiteY2900" fmla="*/ 1968186 h 6858000"/>
              <a:gd name="connsiteX2901" fmla="*/ 6966901 w 12188651"/>
              <a:gd name="connsiteY2901" fmla="*/ 1984530 h 6858000"/>
              <a:gd name="connsiteX2902" fmla="*/ 6888421 w 12188651"/>
              <a:gd name="connsiteY2902" fmla="*/ 2063270 h 6858000"/>
              <a:gd name="connsiteX2903" fmla="*/ 6872173 w 12188651"/>
              <a:gd name="connsiteY2903" fmla="*/ 2102577 h 6858000"/>
              <a:gd name="connsiteX2904" fmla="*/ 6872176 w 12188651"/>
              <a:gd name="connsiteY2904" fmla="*/ 2102583 h 6858000"/>
              <a:gd name="connsiteX2905" fmla="*/ 6872173 w 12188651"/>
              <a:gd name="connsiteY2905" fmla="*/ 2102591 h 6858000"/>
              <a:gd name="connsiteX2906" fmla="*/ 6888421 w 12188651"/>
              <a:gd name="connsiteY2906" fmla="*/ 2141896 h 6858000"/>
              <a:gd name="connsiteX2907" fmla="*/ 7109978 w 12188651"/>
              <a:gd name="connsiteY2907" fmla="*/ 2363976 h 6858000"/>
              <a:gd name="connsiteX2908" fmla="*/ 7331537 w 12188651"/>
              <a:gd name="connsiteY2908" fmla="*/ 2141896 h 6858000"/>
              <a:gd name="connsiteX2909" fmla="*/ 7347783 w 12188651"/>
              <a:gd name="connsiteY2909" fmla="*/ 2102591 h 6858000"/>
              <a:gd name="connsiteX2910" fmla="*/ 7347780 w 12188651"/>
              <a:gd name="connsiteY2910" fmla="*/ 2102583 h 6858000"/>
              <a:gd name="connsiteX2911" fmla="*/ 7347783 w 12188651"/>
              <a:gd name="connsiteY2911" fmla="*/ 2102577 h 6858000"/>
              <a:gd name="connsiteX2912" fmla="*/ 7331537 w 12188651"/>
              <a:gd name="connsiteY2912" fmla="*/ 2063270 h 6858000"/>
              <a:gd name="connsiteX2913" fmla="*/ 7253057 w 12188651"/>
              <a:gd name="connsiteY2913" fmla="*/ 1984660 h 6858000"/>
              <a:gd name="connsiteX2914" fmla="*/ 7213882 w 12188651"/>
              <a:gd name="connsiteY2914" fmla="*/ 1968316 h 6858000"/>
              <a:gd name="connsiteX2915" fmla="*/ 7213751 w 12188651"/>
              <a:gd name="connsiteY2915" fmla="*/ 1968186 h 6858000"/>
              <a:gd name="connsiteX2916" fmla="*/ 7174449 w 12188651"/>
              <a:gd name="connsiteY2916" fmla="*/ 1984660 h 6858000"/>
              <a:gd name="connsiteX2917" fmla="*/ 7109978 w 12188651"/>
              <a:gd name="connsiteY2917" fmla="*/ 2049261 h 6858000"/>
              <a:gd name="connsiteX2918" fmla="*/ 7045379 w 12188651"/>
              <a:gd name="connsiteY2918" fmla="*/ 1984530 h 6858000"/>
              <a:gd name="connsiteX2919" fmla="*/ 7006076 w 12188651"/>
              <a:gd name="connsiteY2919" fmla="*/ 1968186 h 6858000"/>
              <a:gd name="connsiteX2920" fmla="*/ 4952154 w 12188651"/>
              <a:gd name="connsiteY2920" fmla="*/ 1968169 h 6858000"/>
              <a:gd name="connsiteX2921" fmla="*/ 4912971 w 12188651"/>
              <a:gd name="connsiteY2921" fmla="*/ 1984514 h 6858000"/>
              <a:gd name="connsiteX2922" fmla="*/ 4834497 w 12188651"/>
              <a:gd name="connsiteY2922" fmla="*/ 2063254 h 6858000"/>
              <a:gd name="connsiteX2923" fmla="*/ 4834497 w 12188651"/>
              <a:gd name="connsiteY2923" fmla="*/ 2141866 h 6858000"/>
              <a:gd name="connsiteX2924" fmla="*/ 4834505 w 12188651"/>
              <a:gd name="connsiteY2924" fmla="*/ 2141879 h 6858000"/>
              <a:gd name="connsiteX2925" fmla="*/ 4969761 w 12188651"/>
              <a:gd name="connsiteY2925" fmla="*/ 2277444 h 6858000"/>
              <a:gd name="connsiteX2926" fmla="*/ 5056083 w 12188651"/>
              <a:gd name="connsiteY2926" fmla="*/ 2363949 h 6858000"/>
              <a:gd name="connsiteX2927" fmla="*/ 5056083 w 12188651"/>
              <a:gd name="connsiteY2927" fmla="*/ 2363940 h 6858000"/>
              <a:gd name="connsiteX2928" fmla="*/ 5056095 w 12188651"/>
              <a:gd name="connsiteY2928" fmla="*/ 2363964 h 6858000"/>
              <a:gd name="connsiteX2929" fmla="*/ 5277619 w 12188651"/>
              <a:gd name="connsiteY2929" fmla="*/ 2141879 h 6858000"/>
              <a:gd name="connsiteX2930" fmla="*/ 5277619 w 12188651"/>
              <a:gd name="connsiteY2930" fmla="*/ 2063270 h 6858000"/>
              <a:gd name="connsiteX2931" fmla="*/ 5277615 w 12188651"/>
              <a:gd name="connsiteY2931" fmla="*/ 2063260 h 6858000"/>
              <a:gd name="connsiteX2932" fmla="*/ 5277613 w 12188651"/>
              <a:gd name="connsiteY2932" fmla="*/ 2063254 h 6858000"/>
              <a:gd name="connsiteX2933" fmla="*/ 5199129 w 12188651"/>
              <a:gd name="connsiteY2933" fmla="*/ 1984644 h 6858000"/>
              <a:gd name="connsiteX2934" fmla="*/ 5159958 w 12188651"/>
              <a:gd name="connsiteY2934" fmla="*/ 1968300 h 6858000"/>
              <a:gd name="connsiteX2935" fmla="*/ 5159834 w 12188651"/>
              <a:gd name="connsiteY2935" fmla="*/ 1968169 h 6858000"/>
              <a:gd name="connsiteX2936" fmla="*/ 5120536 w 12188651"/>
              <a:gd name="connsiteY2936" fmla="*/ 1984644 h 6858000"/>
              <a:gd name="connsiteX2937" fmla="*/ 5056083 w 12188651"/>
              <a:gd name="connsiteY2937" fmla="*/ 2049243 h 6858000"/>
              <a:gd name="connsiteX2938" fmla="*/ 5013371 w 12188651"/>
              <a:gd name="connsiteY2938" fmla="*/ 2006464 h 6858000"/>
              <a:gd name="connsiteX2939" fmla="*/ 4991465 w 12188651"/>
              <a:gd name="connsiteY2939" fmla="*/ 1984514 h 6858000"/>
              <a:gd name="connsiteX2940" fmla="*/ 4952154 w 12188651"/>
              <a:gd name="connsiteY2940" fmla="*/ 1968169 h 6858000"/>
              <a:gd name="connsiteX2941" fmla="*/ 2898356 w 12188651"/>
              <a:gd name="connsiteY2941" fmla="*/ 1968153 h 6858000"/>
              <a:gd name="connsiteX2942" fmla="*/ 2859181 w 12188651"/>
              <a:gd name="connsiteY2942" fmla="*/ 1984498 h 6858000"/>
              <a:gd name="connsiteX2943" fmla="*/ 2780699 w 12188651"/>
              <a:gd name="connsiteY2943" fmla="*/ 2063238 h 6858000"/>
              <a:gd name="connsiteX2944" fmla="*/ 2780699 w 12188651"/>
              <a:gd name="connsiteY2944" fmla="*/ 2141849 h 6858000"/>
              <a:gd name="connsiteX2945" fmla="*/ 3002260 w 12188651"/>
              <a:gd name="connsiteY2945" fmla="*/ 2363931 h 6858000"/>
              <a:gd name="connsiteX2946" fmla="*/ 3002263 w 12188651"/>
              <a:gd name="connsiteY2946" fmla="*/ 2363925 h 6858000"/>
              <a:gd name="connsiteX2947" fmla="*/ 3002282 w 12188651"/>
              <a:gd name="connsiteY2947" fmla="*/ 2363946 h 6858000"/>
              <a:gd name="connsiteX2948" fmla="*/ 3223840 w 12188651"/>
              <a:gd name="connsiteY2948" fmla="*/ 2141866 h 6858000"/>
              <a:gd name="connsiteX2949" fmla="*/ 3223840 w 12188651"/>
              <a:gd name="connsiteY2949" fmla="*/ 2063254 h 6858000"/>
              <a:gd name="connsiteX2950" fmla="*/ 3145359 w 12188651"/>
              <a:gd name="connsiteY2950" fmla="*/ 1984642 h 6858000"/>
              <a:gd name="connsiteX2951" fmla="*/ 3126988 w 12188651"/>
              <a:gd name="connsiteY2951" fmla="*/ 1972385 h 6858000"/>
              <a:gd name="connsiteX2952" fmla="*/ 3126965 w 12188651"/>
              <a:gd name="connsiteY2952" fmla="*/ 1972369 h 6858000"/>
              <a:gd name="connsiteX2953" fmla="*/ 3106173 w 12188651"/>
              <a:gd name="connsiteY2953" fmla="*/ 1968284 h 6858000"/>
              <a:gd name="connsiteX2954" fmla="*/ 3106058 w 12188651"/>
              <a:gd name="connsiteY2954" fmla="*/ 1968169 h 6858000"/>
              <a:gd name="connsiteX2955" fmla="*/ 3106050 w 12188651"/>
              <a:gd name="connsiteY2955" fmla="*/ 1968170 h 6858000"/>
              <a:gd name="connsiteX2956" fmla="*/ 3106032 w 12188651"/>
              <a:gd name="connsiteY2956" fmla="*/ 1968153 h 6858000"/>
              <a:gd name="connsiteX2957" fmla="*/ 3066728 w 12188651"/>
              <a:gd name="connsiteY2957" fmla="*/ 1984627 h 6858000"/>
              <a:gd name="connsiteX2958" fmla="*/ 3002263 w 12188651"/>
              <a:gd name="connsiteY2958" fmla="*/ 2049224 h 6858000"/>
              <a:gd name="connsiteX2959" fmla="*/ 2937683 w 12188651"/>
              <a:gd name="connsiteY2959" fmla="*/ 1984514 h 6858000"/>
              <a:gd name="connsiteX2960" fmla="*/ 2919295 w 12188651"/>
              <a:gd name="connsiteY2960" fmla="*/ 1972255 h 6858000"/>
              <a:gd name="connsiteX2961" fmla="*/ 2919269 w 12188651"/>
              <a:gd name="connsiteY2961" fmla="*/ 1972239 h 6858000"/>
              <a:gd name="connsiteX2962" fmla="*/ 2898356 w 12188651"/>
              <a:gd name="connsiteY2962" fmla="*/ 1968153 h 6858000"/>
              <a:gd name="connsiteX2963" fmla="*/ 844377 w 12188651"/>
              <a:gd name="connsiteY2963" fmla="*/ 1968136 h 6858000"/>
              <a:gd name="connsiteX2964" fmla="*/ 805203 w 12188651"/>
              <a:gd name="connsiteY2964" fmla="*/ 1984482 h 6858000"/>
              <a:gd name="connsiteX2965" fmla="*/ 726723 w 12188651"/>
              <a:gd name="connsiteY2965" fmla="*/ 2063222 h 6858000"/>
              <a:gd name="connsiteX2966" fmla="*/ 726723 w 12188651"/>
              <a:gd name="connsiteY2966" fmla="*/ 2141834 h 6858000"/>
              <a:gd name="connsiteX2967" fmla="*/ 948281 w 12188651"/>
              <a:gd name="connsiteY2967" fmla="*/ 2363918 h 6858000"/>
              <a:gd name="connsiteX2968" fmla="*/ 948286 w 12188651"/>
              <a:gd name="connsiteY2968" fmla="*/ 2363911 h 6858000"/>
              <a:gd name="connsiteX2969" fmla="*/ 948304 w 12188651"/>
              <a:gd name="connsiteY2969" fmla="*/ 2363931 h 6858000"/>
              <a:gd name="connsiteX2970" fmla="*/ 1169859 w 12188651"/>
              <a:gd name="connsiteY2970" fmla="*/ 2141849 h 6858000"/>
              <a:gd name="connsiteX2971" fmla="*/ 1169859 w 12188651"/>
              <a:gd name="connsiteY2971" fmla="*/ 2063237 h 6858000"/>
              <a:gd name="connsiteX2972" fmla="*/ 1091381 w 12188651"/>
              <a:gd name="connsiteY2972" fmla="*/ 1984626 h 6858000"/>
              <a:gd name="connsiteX2973" fmla="*/ 1087230 w 12188651"/>
              <a:gd name="connsiteY2973" fmla="*/ 1981855 h 6858000"/>
              <a:gd name="connsiteX2974" fmla="*/ 1072988 w 12188651"/>
              <a:gd name="connsiteY2974" fmla="*/ 1972352 h 6858000"/>
              <a:gd name="connsiteX2975" fmla="*/ 1052193 w 12188651"/>
              <a:gd name="connsiteY2975" fmla="*/ 1968268 h 6858000"/>
              <a:gd name="connsiteX2976" fmla="*/ 1052077 w 12188651"/>
              <a:gd name="connsiteY2976" fmla="*/ 1968152 h 6858000"/>
              <a:gd name="connsiteX2977" fmla="*/ 1052071 w 12188651"/>
              <a:gd name="connsiteY2977" fmla="*/ 1968153 h 6858000"/>
              <a:gd name="connsiteX2978" fmla="*/ 1052055 w 12188651"/>
              <a:gd name="connsiteY2978" fmla="*/ 1968136 h 6858000"/>
              <a:gd name="connsiteX2979" fmla="*/ 1012751 w 12188651"/>
              <a:gd name="connsiteY2979" fmla="*/ 1984611 h 6858000"/>
              <a:gd name="connsiteX2980" fmla="*/ 948285 w 12188651"/>
              <a:gd name="connsiteY2980" fmla="*/ 2049209 h 6858000"/>
              <a:gd name="connsiteX2981" fmla="*/ 883704 w 12188651"/>
              <a:gd name="connsiteY2981" fmla="*/ 1984497 h 6858000"/>
              <a:gd name="connsiteX2982" fmla="*/ 883682 w 12188651"/>
              <a:gd name="connsiteY2982" fmla="*/ 1984482 h 6858000"/>
              <a:gd name="connsiteX2983" fmla="*/ 883681 w 12188651"/>
              <a:gd name="connsiteY2983" fmla="*/ 1984482 h 6858000"/>
              <a:gd name="connsiteX2984" fmla="*/ 844377 w 12188651"/>
              <a:gd name="connsiteY2984" fmla="*/ 1968136 h 6858000"/>
              <a:gd name="connsiteX2985" fmla="*/ 11910826 w 12188651"/>
              <a:gd name="connsiteY2985" fmla="*/ 1757693 h 6858000"/>
              <a:gd name="connsiteX2986" fmla="*/ 12188651 w 12188651"/>
              <a:gd name="connsiteY2986" fmla="*/ 1918485 h 6858000"/>
              <a:gd name="connsiteX2987" fmla="*/ 12188651 w 12188651"/>
              <a:gd name="connsiteY2987" fmla="*/ 2295294 h 6858000"/>
              <a:gd name="connsiteX2988" fmla="*/ 11910826 w 12188651"/>
              <a:gd name="connsiteY2988" fmla="*/ 2134524 h 6858000"/>
              <a:gd name="connsiteX2989" fmla="*/ 11894481 w 12188651"/>
              <a:gd name="connsiteY2989" fmla="*/ 1757693 h 6858000"/>
              <a:gd name="connsiteX2990" fmla="*/ 11894481 w 12188651"/>
              <a:gd name="connsiteY2990" fmla="*/ 2134524 h 6858000"/>
              <a:gd name="connsiteX2991" fmla="*/ 11568890 w 12188651"/>
              <a:gd name="connsiteY2991" fmla="*/ 2322864 h 6858000"/>
              <a:gd name="connsiteX2992" fmla="*/ 11568890 w 12188651"/>
              <a:gd name="connsiteY2992" fmla="*/ 1946054 h 6858000"/>
              <a:gd name="connsiteX2993" fmla="*/ 9857006 w 12188651"/>
              <a:gd name="connsiteY2993" fmla="*/ 1757678 h 6858000"/>
              <a:gd name="connsiteX2994" fmla="*/ 10182468 w 12188651"/>
              <a:gd name="connsiteY2994" fmla="*/ 1946038 h 6858000"/>
              <a:gd name="connsiteX2995" fmla="*/ 10182468 w 12188651"/>
              <a:gd name="connsiteY2995" fmla="*/ 2322844 h 6858000"/>
              <a:gd name="connsiteX2996" fmla="*/ 9857006 w 12188651"/>
              <a:gd name="connsiteY2996" fmla="*/ 2134505 h 6858000"/>
              <a:gd name="connsiteX2997" fmla="*/ 9840661 w 12188651"/>
              <a:gd name="connsiteY2997" fmla="*/ 1757678 h 6858000"/>
              <a:gd name="connsiteX2998" fmla="*/ 9840661 w 12188651"/>
              <a:gd name="connsiteY2998" fmla="*/ 2134505 h 6858000"/>
              <a:gd name="connsiteX2999" fmla="*/ 9515070 w 12188651"/>
              <a:gd name="connsiteY2999" fmla="*/ 2322844 h 6858000"/>
              <a:gd name="connsiteX3000" fmla="*/ 9515070 w 12188651"/>
              <a:gd name="connsiteY3000" fmla="*/ 1946038 h 6858000"/>
              <a:gd name="connsiteX3001" fmla="*/ 7803060 w 12188651"/>
              <a:gd name="connsiteY3001" fmla="*/ 1757662 h 6858000"/>
              <a:gd name="connsiteX3002" fmla="*/ 8128521 w 12188651"/>
              <a:gd name="connsiteY3002" fmla="*/ 1946022 h 6858000"/>
              <a:gd name="connsiteX3003" fmla="*/ 8128521 w 12188651"/>
              <a:gd name="connsiteY3003" fmla="*/ 2322839 h 6858000"/>
              <a:gd name="connsiteX3004" fmla="*/ 7803060 w 12188651"/>
              <a:gd name="connsiteY3004" fmla="*/ 2134492 h 6858000"/>
              <a:gd name="connsiteX3005" fmla="*/ 7786715 w 12188651"/>
              <a:gd name="connsiteY3005" fmla="*/ 1757662 h 6858000"/>
              <a:gd name="connsiteX3006" fmla="*/ 7786715 w 12188651"/>
              <a:gd name="connsiteY3006" fmla="*/ 2134492 h 6858000"/>
              <a:gd name="connsiteX3007" fmla="*/ 7461125 w 12188651"/>
              <a:gd name="connsiteY3007" fmla="*/ 2322839 h 6858000"/>
              <a:gd name="connsiteX3008" fmla="*/ 7461125 w 12188651"/>
              <a:gd name="connsiteY3008" fmla="*/ 1946022 h 6858000"/>
              <a:gd name="connsiteX3009" fmla="*/ 5732923 w 12188651"/>
              <a:gd name="connsiteY3009" fmla="*/ 1757647 h 6858000"/>
              <a:gd name="connsiteX3010" fmla="*/ 5732923 w 12188651"/>
              <a:gd name="connsiteY3010" fmla="*/ 2134484 h 6858000"/>
              <a:gd name="connsiteX3011" fmla="*/ 5407352 w 12188651"/>
              <a:gd name="connsiteY3011" fmla="*/ 2322830 h 6858000"/>
              <a:gd name="connsiteX3012" fmla="*/ 5407352 w 12188651"/>
              <a:gd name="connsiteY3012" fmla="*/ 1946005 h 6858000"/>
              <a:gd name="connsiteX3013" fmla="*/ 5749266 w 12188651"/>
              <a:gd name="connsiteY3013" fmla="*/ 1757646 h 6858000"/>
              <a:gd name="connsiteX3014" fmla="*/ 6074705 w 12188651"/>
              <a:gd name="connsiteY3014" fmla="*/ 1946005 h 6858000"/>
              <a:gd name="connsiteX3015" fmla="*/ 6074705 w 12188651"/>
              <a:gd name="connsiteY3015" fmla="*/ 2322830 h 6858000"/>
              <a:gd name="connsiteX3016" fmla="*/ 5749266 w 12188651"/>
              <a:gd name="connsiteY3016" fmla="*/ 2134484 h 6858000"/>
              <a:gd name="connsiteX3017" fmla="*/ 3679144 w 12188651"/>
              <a:gd name="connsiteY3017" fmla="*/ 1757633 h 6858000"/>
              <a:gd name="connsiteX3018" fmla="*/ 3679144 w 12188651"/>
              <a:gd name="connsiteY3018" fmla="*/ 2134464 h 6858000"/>
              <a:gd name="connsiteX3019" fmla="*/ 3353563 w 12188651"/>
              <a:gd name="connsiteY3019" fmla="*/ 2322807 h 6858000"/>
              <a:gd name="connsiteX3020" fmla="*/ 3353563 w 12188651"/>
              <a:gd name="connsiteY3020" fmla="*/ 1945988 h 6858000"/>
              <a:gd name="connsiteX3021" fmla="*/ 3695494 w 12188651"/>
              <a:gd name="connsiteY3021" fmla="*/ 1757631 h 6858000"/>
              <a:gd name="connsiteX3022" fmla="*/ 4020945 w 12188651"/>
              <a:gd name="connsiteY3022" fmla="*/ 1945986 h 6858000"/>
              <a:gd name="connsiteX3023" fmla="*/ 4020945 w 12188651"/>
              <a:gd name="connsiteY3023" fmla="*/ 2322809 h 6858000"/>
              <a:gd name="connsiteX3024" fmla="*/ 3733755 w 12188651"/>
              <a:gd name="connsiteY3024" fmla="*/ 2156613 h 6858000"/>
              <a:gd name="connsiteX3025" fmla="*/ 3695494 w 12188651"/>
              <a:gd name="connsiteY3025" fmla="*/ 2134468 h 6858000"/>
              <a:gd name="connsiteX3026" fmla="*/ 1625166 w 12188651"/>
              <a:gd name="connsiteY3026" fmla="*/ 1757617 h 6858000"/>
              <a:gd name="connsiteX3027" fmla="*/ 1625166 w 12188651"/>
              <a:gd name="connsiteY3027" fmla="*/ 2134450 h 6858000"/>
              <a:gd name="connsiteX3028" fmla="*/ 1299581 w 12188651"/>
              <a:gd name="connsiteY3028" fmla="*/ 2322797 h 6858000"/>
              <a:gd name="connsiteX3029" fmla="*/ 1299581 w 12188651"/>
              <a:gd name="connsiteY3029" fmla="*/ 1945972 h 6858000"/>
              <a:gd name="connsiteX3030" fmla="*/ 1641515 w 12188651"/>
              <a:gd name="connsiteY3030" fmla="*/ 1757615 h 6858000"/>
              <a:gd name="connsiteX3031" fmla="*/ 1966969 w 12188651"/>
              <a:gd name="connsiteY3031" fmla="*/ 1945969 h 6858000"/>
              <a:gd name="connsiteX3032" fmla="*/ 1966969 w 12188651"/>
              <a:gd name="connsiteY3032" fmla="*/ 2322802 h 6858000"/>
              <a:gd name="connsiteX3033" fmla="*/ 1914926 w 12188651"/>
              <a:gd name="connsiteY3033" fmla="*/ 2292686 h 6858000"/>
              <a:gd name="connsiteX3034" fmla="*/ 1641515 w 12188651"/>
              <a:gd name="connsiteY3034" fmla="*/ 2134455 h 6858000"/>
              <a:gd name="connsiteX3035" fmla="*/ 10532576 w 12188651"/>
              <a:gd name="connsiteY3035" fmla="*/ 1752878 h 6858000"/>
              <a:gd name="connsiteX3036" fmla="*/ 10866339 w 12188651"/>
              <a:gd name="connsiteY3036" fmla="*/ 1946038 h 6858000"/>
              <a:gd name="connsiteX3037" fmla="*/ 10866339 w 12188651"/>
              <a:gd name="connsiteY3037" fmla="*/ 2332329 h 6858000"/>
              <a:gd name="connsiteX3038" fmla="*/ 10532706 w 12188651"/>
              <a:gd name="connsiteY3038" fmla="*/ 2525485 h 6858000"/>
              <a:gd name="connsiteX3039" fmla="*/ 10198941 w 12188651"/>
              <a:gd name="connsiteY3039" fmla="*/ 2332329 h 6858000"/>
              <a:gd name="connsiteX3040" fmla="*/ 10198941 w 12188651"/>
              <a:gd name="connsiteY3040" fmla="*/ 1946038 h 6858000"/>
              <a:gd name="connsiteX3041" fmla="*/ 8478628 w 12188651"/>
              <a:gd name="connsiteY3041" fmla="*/ 1752864 h 6858000"/>
              <a:gd name="connsiteX3042" fmla="*/ 8812392 w 12188651"/>
              <a:gd name="connsiteY3042" fmla="*/ 1946022 h 6858000"/>
              <a:gd name="connsiteX3043" fmla="*/ 8812392 w 12188651"/>
              <a:gd name="connsiteY3043" fmla="*/ 2332319 h 6858000"/>
              <a:gd name="connsiteX3044" fmla="*/ 8478758 w 12188651"/>
              <a:gd name="connsiteY3044" fmla="*/ 2525474 h 6858000"/>
              <a:gd name="connsiteX3045" fmla="*/ 8144995 w 12188651"/>
              <a:gd name="connsiteY3045" fmla="*/ 2332319 h 6858000"/>
              <a:gd name="connsiteX3046" fmla="*/ 8144995 w 12188651"/>
              <a:gd name="connsiteY3046" fmla="*/ 1946022 h 6858000"/>
              <a:gd name="connsiteX3047" fmla="*/ 6424810 w 12188651"/>
              <a:gd name="connsiteY3047" fmla="*/ 1752847 h 6858000"/>
              <a:gd name="connsiteX3048" fmla="*/ 6758573 w 12188651"/>
              <a:gd name="connsiteY3048" fmla="*/ 1946005 h 6858000"/>
              <a:gd name="connsiteX3049" fmla="*/ 6758573 w 12188651"/>
              <a:gd name="connsiteY3049" fmla="*/ 2332304 h 6858000"/>
              <a:gd name="connsiteX3050" fmla="*/ 6424940 w 12188651"/>
              <a:gd name="connsiteY3050" fmla="*/ 2525464 h 6858000"/>
              <a:gd name="connsiteX3051" fmla="*/ 6091179 w 12188651"/>
              <a:gd name="connsiteY3051" fmla="*/ 2332304 h 6858000"/>
              <a:gd name="connsiteX3052" fmla="*/ 6091179 w 12188651"/>
              <a:gd name="connsiteY3052" fmla="*/ 1946005 h 6858000"/>
              <a:gd name="connsiteX3053" fmla="*/ 4371020 w 12188651"/>
              <a:gd name="connsiteY3053" fmla="*/ 1752830 h 6858000"/>
              <a:gd name="connsiteX3054" fmla="*/ 4704777 w 12188651"/>
              <a:gd name="connsiteY3054" fmla="*/ 1945988 h 6858000"/>
              <a:gd name="connsiteX3055" fmla="*/ 4704777 w 12188651"/>
              <a:gd name="connsiteY3055" fmla="*/ 2332286 h 6858000"/>
              <a:gd name="connsiteX3056" fmla="*/ 4371146 w 12188651"/>
              <a:gd name="connsiteY3056" fmla="*/ 2525446 h 6858000"/>
              <a:gd name="connsiteX3057" fmla="*/ 4037427 w 12188651"/>
              <a:gd name="connsiteY3057" fmla="*/ 2332293 h 6858000"/>
              <a:gd name="connsiteX3058" fmla="*/ 4037427 w 12188651"/>
              <a:gd name="connsiteY3058" fmla="*/ 1945988 h 6858000"/>
              <a:gd name="connsiteX3059" fmla="*/ 2317092 w 12188651"/>
              <a:gd name="connsiteY3059" fmla="*/ 1752815 h 6858000"/>
              <a:gd name="connsiteX3060" fmla="*/ 2650846 w 12188651"/>
              <a:gd name="connsiteY3060" fmla="*/ 1945968 h 6858000"/>
              <a:gd name="connsiteX3061" fmla="*/ 2650846 w 12188651"/>
              <a:gd name="connsiteY3061" fmla="*/ 2332273 h 6858000"/>
              <a:gd name="connsiteX3062" fmla="*/ 2317216 w 12188651"/>
              <a:gd name="connsiteY3062" fmla="*/ 2525431 h 6858000"/>
              <a:gd name="connsiteX3063" fmla="*/ 2153844 w 12188651"/>
              <a:gd name="connsiteY3063" fmla="*/ 2430884 h 6858000"/>
              <a:gd name="connsiteX3064" fmla="*/ 1983452 w 12188651"/>
              <a:gd name="connsiteY3064" fmla="*/ 2332275 h 6858000"/>
              <a:gd name="connsiteX3065" fmla="*/ 1983452 w 12188651"/>
              <a:gd name="connsiteY3065" fmla="*/ 1945972 h 6858000"/>
              <a:gd name="connsiteX3066" fmla="*/ 263245 w 12188651"/>
              <a:gd name="connsiteY3066" fmla="*/ 1752799 h 6858000"/>
              <a:gd name="connsiteX3067" fmla="*/ 597001 w 12188651"/>
              <a:gd name="connsiteY3067" fmla="*/ 1945952 h 6858000"/>
              <a:gd name="connsiteX3068" fmla="*/ 597001 w 12188651"/>
              <a:gd name="connsiteY3068" fmla="*/ 2332264 h 6858000"/>
              <a:gd name="connsiteX3069" fmla="*/ 263368 w 12188651"/>
              <a:gd name="connsiteY3069" fmla="*/ 2525419 h 6858000"/>
              <a:gd name="connsiteX3070" fmla="*/ 83447 w 12188651"/>
              <a:gd name="connsiteY3070" fmla="*/ 2421295 h 6858000"/>
              <a:gd name="connsiteX3071" fmla="*/ 0 w 12188651"/>
              <a:gd name="connsiteY3071" fmla="*/ 2373002 h 6858000"/>
              <a:gd name="connsiteX3072" fmla="*/ 0 w 12188651"/>
              <a:gd name="connsiteY3072" fmla="*/ 1905204 h 6858000"/>
              <a:gd name="connsiteX3073" fmla="*/ 11217614 w 12188651"/>
              <a:gd name="connsiteY3073" fmla="*/ 1752635 h 6858000"/>
              <a:gd name="connsiteX3074" fmla="*/ 11551377 w 12188651"/>
              <a:gd name="connsiteY3074" fmla="*/ 1945795 h 6858000"/>
              <a:gd name="connsiteX3075" fmla="*/ 11551377 w 12188651"/>
              <a:gd name="connsiteY3075" fmla="*/ 2331944 h 6858000"/>
              <a:gd name="connsiteX3076" fmla="*/ 11217614 w 12188651"/>
              <a:gd name="connsiteY3076" fmla="*/ 2525105 h 6858000"/>
              <a:gd name="connsiteX3077" fmla="*/ 10883851 w 12188651"/>
              <a:gd name="connsiteY3077" fmla="*/ 2331944 h 6858000"/>
              <a:gd name="connsiteX3078" fmla="*/ 10883851 w 12188651"/>
              <a:gd name="connsiteY3078" fmla="*/ 1945795 h 6858000"/>
              <a:gd name="connsiteX3079" fmla="*/ 9163666 w 12188651"/>
              <a:gd name="connsiteY3079" fmla="*/ 1752617 h 6858000"/>
              <a:gd name="connsiteX3080" fmla="*/ 9497429 w 12188651"/>
              <a:gd name="connsiteY3080" fmla="*/ 1945779 h 6858000"/>
              <a:gd name="connsiteX3081" fmla="*/ 9497429 w 12188651"/>
              <a:gd name="connsiteY3081" fmla="*/ 2331929 h 6858000"/>
              <a:gd name="connsiteX3082" fmla="*/ 9163666 w 12188651"/>
              <a:gd name="connsiteY3082" fmla="*/ 2525089 h 6858000"/>
              <a:gd name="connsiteX3083" fmla="*/ 8829903 w 12188651"/>
              <a:gd name="connsiteY3083" fmla="*/ 2331929 h 6858000"/>
              <a:gd name="connsiteX3084" fmla="*/ 8829903 w 12188651"/>
              <a:gd name="connsiteY3084" fmla="*/ 1945778 h 6858000"/>
              <a:gd name="connsiteX3085" fmla="*/ 7109850 w 12188651"/>
              <a:gd name="connsiteY3085" fmla="*/ 1752603 h 6858000"/>
              <a:gd name="connsiteX3086" fmla="*/ 7443613 w 12188651"/>
              <a:gd name="connsiteY3086" fmla="*/ 1945761 h 6858000"/>
              <a:gd name="connsiteX3087" fmla="*/ 7443613 w 12188651"/>
              <a:gd name="connsiteY3087" fmla="*/ 2331916 h 6858000"/>
              <a:gd name="connsiteX3088" fmla="*/ 7109850 w 12188651"/>
              <a:gd name="connsiteY3088" fmla="*/ 2525078 h 6858000"/>
              <a:gd name="connsiteX3089" fmla="*/ 6776085 w 12188651"/>
              <a:gd name="connsiteY3089" fmla="*/ 2331916 h 6858000"/>
              <a:gd name="connsiteX3090" fmla="*/ 6776085 w 12188651"/>
              <a:gd name="connsiteY3090" fmla="*/ 1945761 h 6858000"/>
              <a:gd name="connsiteX3091" fmla="*/ 5055971 w 12188651"/>
              <a:gd name="connsiteY3091" fmla="*/ 1752586 h 6858000"/>
              <a:gd name="connsiteX3092" fmla="*/ 5262114 w 12188651"/>
              <a:gd name="connsiteY3092" fmla="*/ 1871903 h 6858000"/>
              <a:gd name="connsiteX3093" fmla="*/ 5389698 w 12188651"/>
              <a:gd name="connsiteY3093" fmla="*/ 1945736 h 6858000"/>
              <a:gd name="connsiteX3094" fmla="*/ 5389698 w 12188651"/>
              <a:gd name="connsiteY3094" fmla="*/ 2331901 h 6858000"/>
              <a:gd name="connsiteX3095" fmla="*/ 5055949 w 12188651"/>
              <a:gd name="connsiteY3095" fmla="*/ 2525062 h 6858000"/>
              <a:gd name="connsiteX3096" fmla="*/ 4722181 w 12188651"/>
              <a:gd name="connsiteY3096" fmla="*/ 2331905 h 6858000"/>
              <a:gd name="connsiteX3097" fmla="*/ 4722181 w 12188651"/>
              <a:gd name="connsiteY3097" fmla="*/ 1945745 h 6858000"/>
              <a:gd name="connsiteX3098" fmla="*/ 3002152 w 12188651"/>
              <a:gd name="connsiteY3098" fmla="*/ 1752570 h 6858000"/>
              <a:gd name="connsiteX3099" fmla="*/ 3335890 w 12188651"/>
              <a:gd name="connsiteY3099" fmla="*/ 1945712 h 6858000"/>
              <a:gd name="connsiteX3100" fmla="*/ 3335890 w 12188651"/>
              <a:gd name="connsiteY3100" fmla="*/ 2331889 h 6858000"/>
              <a:gd name="connsiteX3101" fmla="*/ 3002127 w 12188651"/>
              <a:gd name="connsiteY3101" fmla="*/ 2525047 h 6858000"/>
              <a:gd name="connsiteX3102" fmla="*/ 2731183 w 12188651"/>
              <a:gd name="connsiteY3102" fmla="*/ 2368243 h 6858000"/>
              <a:gd name="connsiteX3103" fmla="*/ 2668390 w 12188651"/>
              <a:gd name="connsiteY3103" fmla="*/ 2331903 h 6858000"/>
              <a:gd name="connsiteX3104" fmla="*/ 2668390 w 12188651"/>
              <a:gd name="connsiteY3104" fmla="*/ 1945729 h 6858000"/>
              <a:gd name="connsiteX3105" fmla="*/ 948175 w 12188651"/>
              <a:gd name="connsiteY3105" fmla="*/ 1752555 h 6858000"/>
              <a:gd name="connsiteX3106" fmla="*/ 1281914 w 12188651"/>
              <a:gd name="connsiteY3106" fmla="*/ 1945698 h 6858000"/>
              <a:gd name="connsiteX3107" fmla="*/ 1281914 w 12188651"/>
              <a:gd name="connsiteY3107" fmla="*/ 2331876 h 6858000"/>
              <a:gd name="connsiteX3108" fmla="*/ 948153 w 12188651"/>
              <a:gd name="connsiteY3108" fmla="*/ 2525032 h 6858000"/>
              <a:gd name="connsiteX3109" fmla="*/ 940570 w 12188651"/>
              <a:gd name="connsiteY3109" fmla="*/ 2520648 h 6858000"/>
              <a:gd name="connsiteX3110" fmla="*/ 614414 w 12188651"/>
              <a:gd name="connsiteY3110" fmla="*/ 2331889 h 6858000"/>
              <a:gd name="connsiteX3111" fmla="*/ 614414 w 12188651"/>
              <a:gd name="connsiteY3111" fmla="*/ 1945713 h 6858000"/>
              <a:gd name="connsiteX3112" fmla="*/ 10875809 w 12188651"/>
              <a:gd name="connsiteY3112" fmla="*/ 1554804 h 6858000"/>
              <a:gd name="connsiteX3113" fmla="*/ 11201255 w 12188651"/>
              <a:gd name="connsiteY3113" fmla="*/ 1743155 h 6858000"/>
              <a:gd name="connsiteX3114" fmla="*/ 10875678 w 12188651"/>
              <a:gd name="connsiteY3114" fmla="*/ 1931508 h 6858000"/>
              <a:gd name="connsiteX3115" fmla="*/ 10550231 w 12188651"/>
              <a:gd name="connsiteY3115" fmla="*/ 1743155 h 6858000"/>
              <a:gd name="connsiteX3116" fmla="*/ 8821860 w 12188651"/>
              <a:gd name="connsiteY3116" fmla="*/ 1554788 h 6858000"/>
              <a:gd name="connsiteX3117" fmla="*/ 9147308 w 12188651"/>
              <a:gd name="connsiteY3117" fmla="*/ 1743140 h 6858000"/>
              <a:gd name="connsiteX3118" fmla="*/ 8821731 w 12188651"/>
              <a:gd name="connsiteY3118" fmla="*/ 1931491 h 6858000"/>
              <a:gd name="connsiteX3119" fmla="*/ 8496282 w 12188651"/>
              <a:gd name="connsiteY3119" fmla="*/ 1743140 h 6858000"/>
              <a:gd name="connsiteX3120" fmla="*/ 6768043 w 12188651"/>
              <a:gd name="connsiteY3120" fmla="*/ 1554775 h 6858000"/>
              <a:gd name="connsiteX3121" fmla="*/ 7093491 w 12188651"/>
              <a:gd name="connsiteY3121" fmla="*/ 1743124 h 6858000"/>
              <a:gd name="connsiteX3122" fmla="*/ 6767913 w 12188651"/>
              <a:gd name="connsiteY3122" fmla="*/ 1931475 h 6858000"/>
              <a:gd name="connsiteX3123" fmla="*/ 6442466 w 12188651"/>
              <a:gd name="connsiteY3123" fmla="*/ 1743125 h 6858000"/>
              <a:gd name="connsiteX3124" fmla="*/ 4714128 w 12188651"/>
              <a:gd name="connsiteY3124" fmla="*/ 1554758 h 6858000"/>
              <a:gd name="connsiteX3125" fmla="*/ 4997319 w 12188651"/>
              <a:gd name="connsiteY3125" fmla="*/ 1718649 h 6858000"/>
              <a:gd name="connsiteX3126" fmla="*/ 5039593 w 12188651"/>
              <a:gd name="connsiteY3126" fmla="*/ 1743102 h 6858000"/>
              <a:gd name="connsiteX3127" fmla="*/ 4713993 w 12188651"/>
              <a:gd name="connsiteY3127" fmla="*/ 1931459 h 6858000"/>
              <a:gd name="connsiteX3128" fmla="*/ 4512543 w 12188651"/>
              <a:gd name="connsiteY3128" fmla="*/ 1814871 h 6858000"/>
              <a:gd name="connsiteX3129" fmla="*/ 4388549 w 12188651"/>
              <a:gd name="connsiteY3129" fmla="*/ 1743112 h 6858000"/>
              <a:gd name="connsiteX3130" fmla="*/ 2660349 w 12188651"/>
              <a:gd name="connsiteY3130" fmla="*/ 1554742 h 6858000"/>
              <a:gd name="connsiteX3131" fmla="*/ 2985784 w 12188651"/>
              <a:gd name="connsiteY3131" fmla="*/ 1743084 h 6858000"/>
              <a:gd name="connsiteX3132" fmla="*/ 2660193 w 12188651"/>
              <a:gd name="connsiteY3132" fmla="*/ 1931442 h 6858000"/>
              <a:gd name="connsiteX3133" fmla="*/ 2334764 w 12188651"/>
              <a:gd name="connsiteY3133" fmla="*/ 1743101 h 6858000"/>
              <a:gd name="connsiteX3134" fmla="*/ 606372 w 12188651"/>
              <a:gd name="connsiteY3134" fmla="*/ 1554728 h 6858000"/>
              <a:gd name="connsiteX3135" fmla="*/ 931804 w 12188651"/>
              <a:gd name="connsiteY3135" fmla="*/ 1743069 h 6858000"/>
              <a:gd name="connsiteX3136" fmla="*/ 606216 w 12188651"/>
              <a:gd name="connsiteY3136" fmla="*/ 1931425 h 6858000"/>
              <a:gd name="connsiteX3137" fmla="*/ 280783 w 12188651"/>
              <a:gd name="connsiteY3137" fmla="*/ 1743083 h 6858000"/>
              <a:gd name="connsiteX3138" fmla="*/ 12140685 w 12188651"/>
              <a:gd name="connsiteY3138" fmla="*/ 1390835 h 6858000"/>
              <a:gd name="connsiteX3139" fmla="*/ 12168445 w 12188651"/>
              <a:gd name="connsiteY3139" fmla="*/ 1402380 h 6858000"/>
              <a:gd name="connsiteX3140" fmla="*/ 12188651 w 12188651"/>
              <a:gd name="connsiteY3140" fmla="*/ 1422630 h 6858000"/>
              <a:gd name="connsiteX3141" fmla="*/ 12188651 w 12188651"/>
              <a:gd name="connsiteY3141" fmla="*/ 1690880 h 6858000"/>
              <a:gd name="connsiteX3142" fmla="*/ 12034576 w 12188651"/>
              <a:gd name="connsiteY3142" fmla="*/ 1536513 h 6858000"/>
              <a:gd name="connsiteX3143" fmla="*/ 12034576 w 12188651"/>
              <a:gd name="connsiteY3143" fmla="*/ 1481120 h 6858000"/>
              <a:gd name="connsiteX3144" fmla="*/ 12113056 w 12188651"/>
              <a:gd name="connsiteY3144" fmla="*/ 1402380 h 6858000"/>
              <a:gd name="connsiteX3145" fmla="*/ 12140685 w 12188651"/>
              <a:gd name="connsiteY3145" fmla="*/ 1390835 h 6858000"/>
              <a:gd name="connsiteX3146" fmla="*/ 10086867 w 12188651"/>
              <a:gd name="connsiteY3146" fmla="*/ 1390817 h 6858000"/>
              <a:gd name="connsiteX3147" fmla="*/ 10114626 w 12188651"/>
              <a:gd name="connsiteY3147" fmla="*/ 1402365 h 6858000"/>
              <a:gd name="connsiteX3148" fmla="*/ 10179226 w 12188651"/>
              <a:gd name="connsiteY3148" fmla="*/ 1467099 h 6858000"/>
              <a:gd name="connsiteX3149" fmla="*/ 10190770 w 12188651"/>
              <a:gd name="connsiteY3149" fmla="*/ 1478768 h 6858000"/>
              <a:gd name="connsiteX3150" fmla="*/ 10202315 w 12188651"/>
              <a:gd name="connsiteY3150" fmla="*/ 1467099 h 6858000"/>
              <a:gd name="connsiteX3151" fmla="*/ 10266786 w 12188651"/>
              <a:gd name="connsiteY3151" fmla="*/ 1402365 h 6858000"/>
              <a:gd name="connsiteX3152" fmla="*/ 10294543 w 12188651"/>
              <a:gd name="connsiteY3152" fmla="*/ 1390817 h 6858000"/>
              <a:gd name="connsiteX3153" fmla="*/ 10322173 w 12188651"/>
              <a:gd name="connsiteY3153" fmla="*/ 1402365 h 6858000"/>
              <a:gd name="connsiteX3154" fmla="*/ 10400653 w 12188651"/>
              <a:gd name="connsiteY3154" fmla="*/ 1480975 h 6858000"/>
              <a:gd name="connsiteX3155" fmla="*/ 10412198 w 12188651"/>
              <a:gd name="connsiteY3155" fmla="*/ 1508734 h 6858000"/>
              <a:gd name="connsiteX3156" fmla="*/ 10400783 w 12188651"/>
              <a:gd name="connsiteY3156" fmla="*/ 1536497 h 6858000"/>
              <a:gd name="connsiteX3157" fmla="*/ 10190770 w 12188651"/>
              <a:gd name="connsiteY3157" fmla="*/ 1746909 h 6858000"/>
              <a:gd name="connsiteX3158" fmla="*/ 9980757 w 12188651"/>
              <a:gd name="connsiteY3158" fmla="*/ 1536497 h 6858000"/>
              <a:gd name="connsiteX3159" fmla="*/ 9980757 w 12188651"/>
              <a:gd name="connsiteY3159" fmla="*/ 1481104 h 6858000"/>
              <a:gd name="connsiteX3160" fmla="*/ 10059237 w 12188651"/>
              <a:gd name="connsiteY3160" fmla="*/ 1402365 h 6858000"/>
              <a:gd name="connsiteX3161" fmla="*/ 10086867 w 12188651"/>
              <a:gd name="connsiteY3161" fmla="*/ 1390817 h 6858000"/>
              <a:gd name="connsiteX3162" fmla="*/ 8032919 w 12188651"/>
              <a:gd name="connsiteY3162" fmla="*/ 1390801 h 6858000"/>
              <a:gd name="connsiteX3163" fmla="*/ 8060679 w 12188651"/>
              <a:gd name="connsiteY3163" fmla="*/ 1402350 h 6858000"/>
              <a:gd name="connsiteX3164" fmla="*/ 8125278 w 12188651"/>
              <a:gd name="connsiteY3164" fmla="*/ 1467080 h 6858000"/>
              <a:gd name="connsiteX3165" fmla="*/ 8136823 w 12188651"/>
              <a:gd name="connsiteY3165" fmla="*/ 1478755 h 6858000"/>
              <a:gd name="connsiteX3166" fmla="*/ 8148368 w 12188651"/>
              <a:gd name="connsiteY3166" fmla="*/ 1467080 h 6858000"/>
              <a:gd name="connsiteX3167" fmla="*/ 8212837 w 12188651"/>
              <a:gd name="connsiteY3167" fmla="*/ 1402350 h 6858000"/>
              <a:gd name="connsiteX3168" fmla="*/ 8240596 w 12188651"/>
              <a:gd name="connsiteY3168" fmla="*/ 1390801 h 6858000"/>
              <a:gd name="connsiteX3169" fmla="*/ 8268226 w 12188651"/>
              <a:gd name="connsiteY3169" fmla="*/ 1402350 h 6858000"/>
              <a:gd name="connsiteX3170" fmla="*/ 8346707 w 12188651"/>
              <a:gd name="connsiteY3170" fmla="*/ 1480959 h 6858000"/>
              <a:gd name="connsiteX3171" fmla="*/ 8358252 w 12188651"/>
              <a:gd name="connsiteY3171" fmla="*/ 1508720 h 6858000"/>
              <a:gd name="connsiteX3172" fmla="*/ 8346837 w 12188651"/>
              <a:gd name="connsiteY3172" fmla="*/ 1536482 h 6858000"/>
              <a:gd name="connsiteX3173" fmla="*/ 8136823 w 12188651"/>
              <a:gd name="connsiteY3173" fmla="*/ 1746895 h 6858000"/>
              <a:gd name="connsiteX3174" fmla="*/ 7926811 w 12188651"/>
              <a:gd name="connsiteY3174" fmla="*/ 1536482 h 6858000"/>
              <a:gd name="connsiteX3175" fmla="*/ 7926811 w 12188651"/>
              <a:gd name="connsiteY3175" fmla="*/ 1481089 h 6858000"/>
              <a:gd name="connsiteX3176" fmla="*/ 8005289 w 12188651"/>
              <a:gd name="connsiteY3176" fmla="*/ 1402350 h 6858000"/>
              <a:gd name="connsiteX3177" fmla="*/ 8032919 w 12188651"/>
              <a:gd name="connsiteY3177" fmla="*/ 1390801 h 6858000"/>
              <a:gd name="connsiteX3178" fmla="*/ 5979110 w 12188651"/>
              <a:gd name="connsiteY3178" fmla="*/ 1390787 h 6858000"/>
              <a:gd name="connsiteX3179" fmla="*/ 6006869 w 12188651"/>
              <a:gd name="connsiteY3179" fmla="*/ 1402333 h 6858000"/>
              <a:gd name="connsiteX3180" fmla="*/ 6071463 w 12188651"/>
              <a:gd name="connsiteY3180" fmla="*/ 1467065 h 6858000"/>
              <a:gd name="connsiteX3181" fmla="*/ 6083008 w 12188651"/>
              <a:gd name="connsiteY3181" fmla="*/ 1478738 h 6858000"/>
              <a:gd name="connsiteX3182" fmla="*/ 6094550 w 12188651"/>
              <a:gd name="connsiteY3182" fmla="*/ 1467065 h 6858000"/>
              <a:gd name="connsiteX3183" fmla="*/ 6159019 w 12188651"/>
              <a:gd name="connsiteY3183" fmla="*/ 1402333 h 6858000"/>
              <a:gd name="connsiteX3184" fmla="*/ 6186779 w 12188651"/>
              <a:gd name="connsiteY3184" fmla="*/ 1390787 h 6858000"/>
              <a:gd name="connsiteX3185" fmla="*/ 6214409 w 12188651"/>
              <a:gd name="connsiteY3185" fmla="*/ 1402333 h 6858000"/>
              <a:gd name="connsiteX3186" fmla="*/ 6292888 w 12188651"/>
              <a:gd name="connsiteY3186" fmla="*/ 1480945 h 6858000"/>
              <a:gd name="connsiteX3187" fmla="*/ 6304433 w 12188651"/>
              <a:gd name="connsiteY3187" fmla="*/ 1508704 h 6858000"/>
              <a:gd name="connsiteX3188" fmla="*/ 6293017 w 12188651"/>
              <a:gd name="connsiteY3188" fmla="*/ 1536467 h 6858000"/>
              <a:gd name="connsiteX3189" fmla="*/ 6083008 w 12188651"/>
              <a:gd name="connsiteY3189" fmla="*/ 1746878 h 6858000"/>
              <a:gd name="connsiteX3190" fmla="*/ 5873007 w 12188651"/>
              <a:gd name="connsiteY3190" fmla="*/ 1536467 h 6858000"/>
              <a:gd name="connsiteX3191" fmla="*/ 5873007 w 12188651"/>
              <a:gd name="connsiteY3191" fmla="*/ 1481074 h 6858000"/>
              <a:gd name="connsiteX3192" fmla="*/ 5951483 w 12188651"/>
              <a:gd name="connsiteY3192" fmla="*/ 1402333 h 6858000"/>
              <a:gd name="connsiteX3193" fmla="*/ 5979110 w 12188651"/>
              <a:gd name="connsiteY3193" fmla="*/ 1390787 h 6858000"/>
              <a:gd name="connsiteX3194" fmla="*/ 3925347 w 12188651"/>
              <a:gd name="connsiteY3194" fmla="*/ 1390772 h 6858000"/>
              <a:gd name="connsiteX3195" fmla="*/ 3953107 w 12188651"/>
              <a:gd name="connsiteY3195" fmla="*/ 1402317 h 6858000"/>
              <a:gd name="connsiteX3196" fmla="*/ 4017707 w 12188651"/>
              <a:gd name="connsiteY3196" fmla="*/ 1467050 h 6858000"/>
              <a:gd name="connsiteX3197" fmla="*/ 4029252 w 12188651"/>
              <a:gd name="connsiteY3197" fmla="*/ 1478722 h 6858000"/>
              <a:gd name="connsiteX3198" fmla="*/ 4040800 w 12188651"/>
              <a:gd name="connsiteY3198" fmla="*/ 1467050 h 6858000"/>
              <a:gd name="connsiteX3199" fmla="*/ 4105268 w 12188651"/>
              <a:gd name="connsiteY3199" fmla="*/ 1402317 h 6858000"/>
              <a:gd name="connsiteX3200" fmla="*/ 4133031 w 12188651"/>
              <a:gd name="connsiteY3200" fmla="*/ 1390772 h 6858000"/>
              <a:gd name="connsiteX3201" fmla="*/ 4160659 w 12188651"/>
              <a:gd name="connsiteY3201" fmla="*/ 1402317 h 6858000"/>
              <a:gd name="connsiteX3202" fmla="*/ 4239088 w 12188651"/>
              <a:gd name="connsiteY3202" fmla="*/ 1480930 h 6858000"/>
              <a:gd name="connsiteX3203" fmla="*/ 4250643 w 12188651"/>
              <a:gd name="connsiteY3203" fmla="*/ 1508688 h 6858000"/>
              <a:gd name="connsiteX3204" fmla="*/ 4239218 w 12188651"/>
              <a:gd name="connsiteY3204" fmla="*/ 1536452 h 6858000"/>
              <a:gd name="connsiteX3205" fmla="*/ 4029252 w 12188651"/>
              <a:gd name="connsiteY3205" fmla="*/ 1746862 h 6858000"/>
              <a:gd name="connsiteX3206" fmla="*/ 3819232 w 12188651"/>
              <a:gd name="connsiteY3206" fmla="*/ 1536452 h 6858000"/>
              <a:gd name="connsiteX3207" fmla="*/ 3819232 w 12188651"/>
              <a:gd name="connsiteY3207" fmla="*/ 1481059 h 6858000"/>
              <a:gd name="connsiteX3208" fmla="*/ 3897719 w 12188651"/>
              <a:gd name="connsiteY3208" fmla="*/ 1402317 h 6858000"/>
              <a:gd name="connsiteX3209" fmla="*/ 3925347 w 12188651"/>
              <a:gd name="connsiteY3209" fmla="*/ 1390772 h 6858000"/>
              <a:gd name="connsiteX3210" fmla="*/ 1871374 w 12188651"/>
              <a:gd name="connsiteY3210" fmla="*/ 1390756 h 6858000"/>
              <a:gd name="connsiteX3211" fmla="*/ 1899135 w 12188651"/>
              <a:gd name="connsiteY3211" fmla="*/ 1402302 h 6858000"/>
              <a:gd name="connsiteX3212" fmla="*/ 1963733 w 12188651"/>
              <a:gd name="connsiteY3212" fmla="*/ 1467034 h 6858000"/>
              <a:gd name="connsiteX3213" fmla="*/ 1975278 w 12188651"/>
              <a:gd name="connsiteY3213" fmla="*/ 1478707 h 6858000"/>
              <a:gd name="connsiteX3214" fmla="*/ 1986823 w 12188651"/>
              <a:gd name="connsiteY3214" fmla="*/ 1467034 h 6858000"/>
              <a:gd name="connsiteX3215" fmla="*/ 2051293 w 12188651"/>
              <a:gd name="connsiteY3215" fmla="*/ 1402302 h 6858000"/>
              <a:gd name="connsiteX3216" fmla="*/ 2079052 w 12188651"/>
              <a:gd name="connsiteY3216" fmla="*/ 1390756 h 6858000"/>
              <a:gd name="connsiteX3217" fmla="*/ 2106690 w 12188651"/>
              <a:gd name="connsiteY3217" fmla="*/ 1402302 h 6858000"/>
              <a:gd name="connsiteX3218" fmla="*/ 2185169 w 12188651"/>
              <a:gd name="connsiteY3218" fmla="*/ 1480915 h 6858000"/>
              <a:gd name="connsiteX3219" fmla="*/ 2196714 w 12188651"/>
              <a:gd name="connsiteY3219" fmla="*/ 1508674 h 6858000"/>
              <a:gd name="connsiteX3220" fmla="*/ 2185300 w 12188651"/>
              <a:gd name="connsiteY3220" fmla="*/ 1536435 h 6858000"/>
              <a:gd name="connsiteX3221" fmla="*/ 1975278 w 12188651"/>
              <a:gd name="connsiteY3221" fmla="*/ 1746846 h 6858000"/>
              <a:gd name="connsiteX3222" fmla="*/ 1765266 w 12188651"/>
              <a:gd name="connsiteY3222" fmla="*/ 1536435 h 6858000"/>
              <a:gd name="connsiteX3223" fmla="*/ 1765266 w 12188651"/>
              <a:gd name="connsiteY3223" fmla="*/ 1481044 h 6858000"/>
              <a:gd name="connsiteX3224" fmla="*/ 1843744 w 12188651"/>
              <a:gd name="connsiteY3224" fmla="*/ 1402302 h 6858000"/>
              <a:gd name="connsiteX3225" fmla="*/ 1871374 w 12188651"/>
              <a:gd name="connsiteY3225" fmla="*/ 1390756 h 6858000"/>
              <a:gd name="connsiteX3226" fmla="*/ 25213 w 12188651"/>
              <a:gd name="connsiteY3226" fmla="*/ 1390741 h 6858000"/>
              <a:gd name="connsiteX3227" fmla="*/ 52843 w 12188651"/>
              <a:gd name="connsiteY3227" fmla="*/ 1402286 h 6858000"/>
              <a:gd name="connsiteX3228" fmla="*/ 131322 w 12188651"/>
              <a:gd name="connsiteY3228" fmla="*/ 1480899 h 6858000"/>
              <a:gd name="connsiteX3229" fmla="*/ 142866 w 12188651"/>
              <a:gd name="connsiteY3229" fmla="*/ 1508658 h 6858000"/>
              <a:gd name="connsiteX3230" fmla="*/ 131451 w 12188651"/>
              <a:gd name="connsiteY3230" fmla="*/ 1536419 h 6858000"/>
              <a:gd name="connsiteX3231" fmla="*/ 0 w 12188651"/>
              <a:gd name="connsiteY3231" fmla="*/ 1668120 h 6858000"/>
              <a:gd name="connsiteX3232" fmla="*/ 0 w 12188651"/>
              <a:gd name="connsiteY3232" fmla="*/ 1401227 h 6858000"/>
              <a:gd name="connsiteX3233" fmla="*/ 10086867 w 12188651"/>
              <a:gd name="connsiteY3233" fmla="*/ 1374341 h 6858000"/>
              <a:gd name="connsiteX3234" fmla="*/ 10047692 w 12188651"/>
              <a:gd name="connsiteY3234" fmla="*/ 1390688 h 6858000"/>
              <a:gd name="connsiteX3235" fmla="*/ 9969212 w 12188651"/>
              <a:gd name="connsiteY3235" fmla="*/ 1469432 h 6858000"/>
              <a:gd name="connsiteX3236" fmla="*/ 9969212 w 12188651"/>
              <a:gd name="connsiteY3236" fmla="*/ 1548042 h 6858000"/>
              <a:gd name="connsiteX3237" fmla="*/ 10190770 w 12188651"/>
              <a:gd name="connsiteY3237" fmla="*/ 1770130 h 6858000"/>
              <a:gd name="connsiteX3238" fmla="*/ 10412328 w 12188651"/>
              <a:gd name="connsiteY3238" fmla="*/ 1548042 h 6858000"/>
              <a:gd name="connsiteX3239" fmla="*/ 10412328 w 12188651"/>
              <a:gd name="connsiteY3239" fmla="*/ 1469432 h 6858000"/>
              <a:gd name="connsiteX3240" fmla="*/ 10333848 w 12188651"/>
              <a:gd name="connsiteY3240" fmla="*/ 1390817 h 6858000"/>
              <a:gd name="connsiteX3241" fmla="*/ 10294673 w 12188651"/>
              <a:gd name="connsiteY3241" fmla="*/ 1374473 h 6858000"/>
              <a:gd name="connsiteX3242" fmla="*/ 10294543 w 12188651"/>
              <a:gd name="connsiteY3242" fmla="*/ 1374341 h 6858000"/>
              <a:gd name="connsiteX3243" fmla="*/ 10255241 w 12188651"/>
              <a:gd name="connsiteY3243" fmla="*/ 1390817 h 6858000"/>
              <a:gd name="connsiteX3244" fmla="*/ 10190770 w 12188651"/>
              <a:gd name="connsiteY3244" fmla="*/ 1455423 h 6858000"/>
              <a:gd name="connsiteX3245" fmla="*/ 10126171 w 12188651"/>
              <a:gd name="connsiteY3245" fmla="*/ 1390688 h 6858000"/>
              <a:gd name="connsiteX3246" fmla="*/ 10086867 w 12188651"/>
              <a:gd name="connsiteY3246" fmla="*/ 1374341 h 6858000"/>
              <a:gd name="connsiteX3247" fmla="*/ 8032919 w 12188651"/>
              <a:gd name="connsiteY3247" fmla="*/ 1374327 h 6858000"/>
              <a:gd name="connsiteX3248" fmla="*/ 7993744 w 12188651"/>
              <a:gd name="connsiteY3248" fmla="*/ 1390674 h 6858000"/>
              <a:gd name="connsiteX3249" fmla="*/ 7915266 w 12188651"/>
              <a:gd name="connsiteY3249" fmla="*/ 1469418 h 6858000"/>
              <a:gd name="connsiteX3250" fmla="*/ 7915266 w 12188651"/>
              <a:gd name="connsiteY3250" fmla="*/ 1548027 h 6858000"/>
              <a:gd name="connsiteX3251" fmla="*/ 8136823 w 12188651"/>
              <a:gd name="connsiteY3251" fmla="*/ 1770114 h 6858000"/>
              <a:gd name="connsiteX3252" fmla="*/ 8358382 w 12188651"/>
              <a:gd name="connsiteY3252" fmla="*/ 1548027 h 6858000"/>
              <a:gd name="connsiteX3253" fmla="*/ 8358382 w 12188651"/>
              <a:gd name="connsiteY3253" fmla="*/ 1469418 h 6858000"/>
              <a:gd name="connsiteX3254" fmla="*/ 8279902 w 12188651"/>
              <a:gd name="connsiteY3254" fmla="*/ 1390801 h 6858000"/>
              <a:gd name="connsiteX3255" fmla="*/ 8240727 w 12188651"/>
              <a:gd name="connsiteY3255" fmla="*/ 1374457 h 6858000"/>
              <a:gd name="connsiteX3256" fmla="*/ 8240596 w 12188651"/>
              <a:gd name="connsiteY3256" fmla="*/ 1374327 h 6858000"/>
              <a:gd name="connsiteX3257" fmla="*/ 8201292 w 12188651"/>
              <a:gd name="connsiteY3257" fmla="*/ 1390801 h 6858000"/>
              <a:gd name="connsiteX3258" fmla="*/ 8136823 w 12188651"/>
              <a:gd name="connsiteY3258" fmla="*/ 1455407 h 6858000"/>
              <a:gd name="connsiteX3259" fmla="*/ 8072224 w 12188651"/>
              <a:gd name="connsiteY3259" fmla="*/ 1390674 h 6858000"/>
              <a:gd name="connsiteX3260" fmla="*/ 8032919 w 12188651"/>
              <a:gd name="connsiteY3260" fmla="*/ 1374327 h 6858000"/>
              <a:gd name="connsiteX3261" fmla="*/ 5979110 w 12188651"/>
              <a:gd name="connsiteY3261" fmla="*/ 1374312 h 6858000"/>
              <a:gd name="connsiteX3262" fmla="*/ 5939938 w 12188651"/>
              <a:gd name="connsiteY3262" fmla="*/ 1390658 h 6858000"/>
              <a:gd name="connsiteX3263" fmla="*/ 5861464 w 12188651"/>
              <a:gd name="connsiteY3263" fmla="*/ 1469401 h 6858000"/>
              <a:gd name="connsiteX3264" fmla="*/ 5861464 w 12188651"/>
              <a:gd name="connsiteY3264" fmla="*/ 1548011 h 6858000"/>
              <a:gd name="connsiteX3265" fmla="*/ 6083008 w 12188651"/>
              <a:gd name="connsiteY3265" fmla="*/ 1770098 h 6858000"/>
              <a:gd name="connsiteX3266" fmla="*/ 6304562 w 12188651"/>
              <a:gd name="connsiteY3266" fmla="*/ 1548011 h 6858000"/>
              <a:gd name="connsiteX3267" fmla="*/ 6304562 w 12188651"/>
              <a:gd name="connsiteY3267" fmla="*/ 1469401 h 6858000"/>
              <a:gd name="connsiteX3268" fmla="*/ 6226084 w 12188651"/>
              <a:gd name="connsiteY3268" fmla="*/ 1390787 h 6858000"/>
              <a:gd name="connsiteX3269" fmla="*/ 6186909 w 12188651"/>
              <a:gd name="connsiteY3269" fmla="*/ 1374443 h 6858000"/>
              <a:gd name="connsiteX3270" fmla="*/ 6186779 w 12188651"/>
              <a:gd name="connsiteY3270" fmla="*/ 1374312 h 6858000"/>
              <a:gd name="connsiteX3271" fmla="*/ 6147474 w 12188651"/>
              <a:gd name="connsiteY3271" fmla="*/ 1390787 h 6858000"/>
              <a:gd name="connsiteX3272" fmla="*/ 6083008 w 12188651"/>
              <a:gd name="connsiteY3272" fmla="*/ 1455390 h 6858000"/>
              <a:gd name="connsiteX3273" fmla="*/ 6018412 w 12188651"/>
              <a:gd name="connsiteY3273" fmla="*/ 1390658 h 6858000"/>
              <a:gd name="connsiteX3274" fmla="*/ 5979110 w 12188651"/>
              <a:gd name="connsiteY3274" fmla="*/ 1374312 h 6858000"/>
              <a:gd name="connsiteX3275" fmla="*/ 3925347 w 12188651"/>
              <a:gd name="connsiteY3275" fmla="*/ 1374297 h 6858000"/>
              <a:gd name="connsiteX3276" fmla="*/ 3886173 w 12188651"/>
              <a:gd name="connsiteY3276" fmla="*/ 1390643 h 6858000"/>
              <a:gd name="connsiteX3277" fmla="*/ 3807688 w 12188651"/>
              <a:gd name="connsiteY3277" fmla="*/ 1469387 h 6858000"/>
              <a:gd name="connsiteX3278" fmla="*/ 3807688 w 12188651"/>
              <a:gd name="connsiteY3278" fmla="*/ 1547996 h 6858000"/>
              <a:gd name="connsiteX3279" fmla="*/ 4029252 w 12188651"/>
              <a:gd name="connsiteY3279" fmla="*/ 1770082 h 6858000"/>
              <a:gd name="connsiteX3280" fmla="*/ 4250768 w 12188651"/>
              <a:gd name="connsiteY3280" fmla="*/ 1547996 h 6858000"/>
              <a:gd name="connsiteX3281" fmla="*/ 4250768 w 12188651"/>
              <a:gd name="connsiteY3281" fmla="*/ 1469387 h 6858000"/>
              <a:gd name="connsiteX3282" fmla="*/ 4172334 w 12188651"/>
              <a:gd name="connsiteY3282" fmla="*/ 1390772 h 6858000"/>
              <a:gd name="connsiteX3283" fmla="*/ 4133161 w 12188651"/>
              <a:gd name="connsiteY3283" fmla="*/ 1374426 h 6858000"/>
              <a:gd name="connsiteX3284" fmla="*/ 4133031 w 12188651"/>
              <a:gd name="connsiteY3284" fmla="*/ 1374297 h 6858000"/>
              <a:gd name="connsiteX3285" fmla="*/ 4093725 w 12188651"/>
              <a:gd name="connsiteY3285" fmla="*/ 1390772 h 6858000"/>
              <a:gd name="connsiteX3286" fmla="*/ 4029252 w 12188651"/>
              <a:gd name="connsiteY3286" fmla="*/ 1455376 h 6858000"/>
              <a:gd name="connsiteX3287" fmla="*/ 3964654 w 12188651"/>
              <a:gd name="connsiteY3287" fmla="*/ 1390643 h 6858000"/>
              <a:gd name="connsiteX3288" fmla="*/ 3925347 w 12188651"/>
              <a:gd name="connsiteY3288" fmla="*/ 1374297 h 6858000"/>
              <a:gd name="connsiteX3289" fmla="*/ 1871374 w 12188651"/>
              <a:gd name="connsiteY3289" fmla="*/ 1374282 h 6858000"/>
              <a:gd name="connsiteX3290" fmla="*/ 1832200 w 12188651"/>
              <a:gd name="connsiteY3290" fmla="*/ 1390627 h 6858000"/>
              <a:gd name="connsiteX3291" fmla="*/ 1753721 w 12188651"/>
              <a:gd name="connsiteY3291" fmla="*/ 1469369 h 6858000"/>
              <a:gd name="connsiteX3292" fmla="*/ 1753721 w 12188651"/>
              <a:gd name="connsiteY3292" fmla="*/ 1547980 h 6858000"/>
              <a:gd name="connsiteX3293" fmla="*/ 1975278 w 12188651"/>
              <a:gd name="connsiteY3293" fmla="*/ 1770066 h 6858000"/>
              <a:gd name="connsiteX3294" fmla="*/ 2196846 w 12188651"/>
              <a:gd name="connsiteY3294" fmla="*/ 1547980 h 6858000"/>
              <a:gd name="connsiteX3295" fmla="*/ 2196846 w 12188651"/>
              <a:gd name="connsiteY3295" fmla="*/ 1469369 h 6858000"/>
              <a:gd name="connsiteX3296" fmla="*/ 2118368 w 12188651"/>
              <a:gd name="connsiteY3296" fmla="*/ 1390756 h 6858000"/>
              <a:gd name="connsiteX3297" fmla="*/ 2079181 w 12188651"/>
              <a:gd name="connsiteY3297" fmla="*/ 1374411 h 6858000"/>
              <a:gd name="connsiteX3298" fmla="*/ 2079052 w 12188651"/>
              <a:gd name="connsiteY3298" fmla="*/ 1374282 h 6858000"/>
              <a:gd name="connsiteX3299" fmla="*/ 2039748 w 12188651"/>
              <a:gd name="connsiteY3299" fmla="*/ 1390756 h 6858000"/>
              <a:gd name="connsiteX3300" fmla="*/ 1975278 w 12188651"/>
              <a:gd name="connsiteY3300" fmla="*/ 1455359 h 6858000"/>
              <a:gd name="connsiteX3301" fmla="*/ 1910679 w 12188651"/>
              <a:gd name="connsiteY3301" fmla="*/ 1390627 h 6858000"/>
              <a:gd name="connsiteX3302" fmla="*/ 1871374 w 12188651"/>
              <a:gd name="connsiteY3302" fmla="*/ 1374282 h 6858000"/>
              <a:gd name="connsiteX3303" fmla="*/ 0 w 12188651"/>
              <a:gd name="connsiteY3303" fmla="*/ 1204081 h 6858000"/>
              <a:gd name="connsiteX3304" fmla="*/ 186352 w 12188651"/>
              <a:gd name="connsiteY3304" fmla="*/ 1311926 h 6858000"/>
              <a:gd name="connsiteX3305" fmla="*/ 255068 w 12188651"/>
              <a:gd name="connsiteY3305" fmla="*/ 1351694 h 6858000"/>
              <a:gd name="connsiteX3306" fmla="*/ 255068 w 12188651"/>
              <a:gd name="connsiteY3306" fmla="*/ 1737878 h 6858000"/>
              <a:gd name="connsiteX3307" fmla="*/ 0 w 12188651"/>
              <a:gd name="connsiteY3307" fmla="*/ 1885492 h 6858000"/>
              <a:gd name="connsiteX3308" fmla="*/ 0 w 12188651"/>
              <a:gd name="connsiteY3308" fmla="*/ 1691301 h 6858000"/>
              <a:gd name="connsiteX3309" fmla="*/ 142995 w 12188651"/>
              <a:gd name="connsiteY3309" fmla="*/ 1547965 h 6858000"/>
              <a:gd name="connsiteX3310" fmla="*/ 142995 w 12188651"/>
              <a:gd name="connsiteY3310" fmla="*/ 1469353 h 6858000"/>
              <a:gd name="connsiteX3311" fmla="*/ 64516 w 12188651"/>
              <a:gd name="connsiteY3311" fmla="*/ 1390741 h 6858000"/>
              <a:gd name="connsiteX3312" fmla="*/ 25341 w 12188651"/>
              <a:gd name="connsiteY3312" fmla="*/ 1374396 h 6858000"/>
              <a:gd name="connsiteX3313" fmla="*/ 25213 w 12188651"/>
              <a:gd name="connsiteY3313" fmla="*/ 1374267 h 6858000"/>
              <a:gd name="connsiteX3314" fmla="*/ 4296 w 12188651"/>
              <a:gd name="connsiteY3314" fmla="*/ 1378369 h 6858000"/>
              <a:gd name="connsiteX3315" fmla="*/ 0 w 12188651"/>
              <a:gd name="connsiteY3315" fmla="*/ 1381259 h 6858000"/>
              <a:gd name="connsiteX3316" fmla="*/ 12188651 w 12188651"/>
              <a:gd name="connsiteY3316" fmla="*/ 1190935 h 6858000"/>
              <a:gd name="connsiteX3317" fmla="*/ 12188651 w 12188651"/>
              <a:gd name="connsiteY3317" fmla="*/ 1399384 h 6858000"/>
              <a:gd name="connsiteX3318" fmla="*/ 12179990 w 12188651"/>
              <a:gd name="connsiteY3318" fmla="*/ 1390703 h 6858000"/>
              <a:gd name="connsiteX3319" fmla="*/ 12140685 w 12188651"/>
              <a:gd name="connsiteY3319" fmla="*/ 1374358 h 6858000"/>
              <a:gd name="connsiteX3320" fmla="*/ 12101510 w 12188651"/>
              <a:gd name="connsiteY3320" fmla="*/ 1390703 h 6858000"/>
              <a:gd name="connsiteX3321" fmla="*/ 12023031 w 12188651"/>
              <a:gd name="connsiteY3321" fmla="*/ 1469451 h 6858000"/>
              <a:gd name="connsiteX3322" fmla="*/ 12023031 w 12188651"/>
              <a:gd name="connsiteY3322" fmla="*/ 1548057 h 6858000"/>
              <a:gd name="connsiteX3323" fmla="*/ 12188651 w 12188651"/>
              <a:gd name="connsiteY3323" fmla="*/ 1714074 h 6858000"/>
              <a:gd name="connsiteX3324" fmla="*/ 12188651 w 12188651"/>
              <a:gd name="connsiteY3324" fmla="*/ 1898836 h 6858000"/>
              <a:gd name="connsiteX3325" fmla="*/ 11910696 w 12188651"/>
              <a:gd name="connsiteY3325" fmla="*/ 1737973 h 6858000"/>
              <a:gd name="connsiteX3326" fmla="*/ 11910696 w 12188651"/>
              <a:gd name="connsiteY3326" fmla="*/ 1351792 h 6858000"/>
              <a:gd name="connsiteX3327" fmla="*/ 10883981 w 12188651"/>
              <a:gd name="connsiteY3327" fmla="*/ 1163824 h 6858000"/>
              <a:gd name="connsiteX3328" fmla="*/ 11209441 w 12188651"/>
              <a:gd name="connsiteY3328" fmla="*/ 1352175 h 6858000"/>
              <a:gd name="connsiteX3329" fmla="*/ 11209441 w 12188651"/>
              <a:gd name="connsiteY3329" fmla="*/ 1729007 h 6858000"/>
              <a:gd name="connsiteX3330" fmla="*/ 10883981 w 12188651"/>
              <a:gd name="connsiteY3330" fmla="*/ 1540647 h 6858000"/>
              <a:gd name="connsiteX3331" fmla="*/ 10867636 w 12188651"/>
              <a:gd name="connsiteY3331" fmla="*/ 1163824 h 6858000"/>
              <a:gd name="connsiteX3332" fmla="*/ 10867636 w 12188651"/>
              <a:gd name="connsiteY3332" fmla="*/ 1540647 h 6858000"/>
              <a:gd name="connsiteX3333" fmla="*/ 10542045 w 12188651"/>
              <a:gd name="connsiteY3333" fmla="*/ 1729007 h 6858000"/>
              <a:gd name="connsiteX3334" fmla="*/ 10542045 w 12188651"/>
              <a:gd name="connsiteY3334" fmla="*/ 1352175 h 6858000"/>
              <a:gd name="connsiteX3335" fmla="*/ 8830033 w 12188651"/>
              <a:gd name="connsiteY3335" fmla="*/ 1163807 h 6858000"/>
              <a:gd name="connsiteX3336" fmla="*/ 9155493 w 12188651"/>
              <a:gd name="connsiteY3336" fmla="*/ 1352160 h 6858000"/>
              <a:gd name="connsiteX3337" fmla="*/ 9155493 w 12188651"/>
              <a:gd name="connsiteY3337" fmla="*/ 1728992 h 6858000"/>
              <a:gd name="connsiteX3338" fmla="*/ 8830033 w 12188651"/>
              <a:gd name="connsiteY3338" fmla="*/ 1540632 h 6858000"/>
              <a:gd name="connsiteX3339" fmla="*/ 8813688 w 12188651"/>
              <a:gd name="connsiteY3339" fmla="*/ 1163807 h 6858000"/>
              <a:gd name="connsiteX3340" fmla="*/ 8813688 w 12188651"/>
              <a:gd name="connsiteY3340" fmla="*/ 1540632 h 6858000"/>
              <a:gd name="connsiteX3341" fmla="*/ 8488098 w 12188651"/>
              <a:gd name="connsiteY3341" fmla="*/ 1728992 h 6858000"/>
              <a:gd name="connsiteX3342" fmla="*/ 8488098 w 12188651"/>
              <a:gd name="connsiteY3342" fmla="*/ 1352159 h 6858000"/>
              <a:gd name="connsiteX3343" fmla="*/ 6776215 w 12188651"/>
              <a:gd name="connsiteY3343" fmla="*/ 1163791 h 6858000"/>
              <a:gd name="connsiteX3344" fmla="*/ 7101677 w 12188651"/>
              <a:gd name="connsiteY3344" fmla="*/ 1352145 h 6858000"/>
              <a:gd name="connsiteX3345" fmla="*/ 7101677 w 12188651"/>
              <a:gd name="connsiteY3345" fmla="*/ 1728975 h 6858000"/>
              <a:gd name="connsiteX3346" fmla="*/ 6776215 w 12188651"/>
              <a:gd name="connsiteY3346" fmla="*/ 1540617 h 6858000"/>
              <a:gd name="connsiteX3347" fmla="*/ 6759871 w 12188651"/>
              <a:gd name="connsiteY3347" fmla="*/ 1163791 h 6858000"/>
              <a:gd name="connsiteX3348" fmla="*/ 6759871 w 12188651"/>
              <a:gd name="connsiteY3348" fmla="*/ 1540617 h 6858000"/>
              <a:gd name="connsiteX3349" fmla="*/ 6434280 w 12188651"/>
              <a:gd name="connsiteY3349" fmla="*/ 1728975 h 6858000"/>
              <a:gd name="connsiteX3350" fmla="*/ 6434280 w 12188651"/>
              <a:gd name="connsiteY3350" fmla="*/ 1352145 h 6858000"/>
              <a:gd name="connsiteX3351" fmla="*/ 4705942 w 12188651"/>
              <a:gd name="connsiteY3351" fmla="*/ 1163780 h 6858000"/>
              <a:gd name="connsiteX3352" fmla="*/ 4705942 w 12188651"/>
              <a:gd name="connsiteY3352" fmla="*/ 1540601 h 6858000"/>
              <a:gd name="connsiteX3353" fmla="*/ 4380369 w 12188651"/>
              <a:gd name="connsiteY3353" fmla="*/ 1728954 h 6858000"/>
              <a:gd name="connsiteX3354" fmla="*/ 4380369 w 12188651"/>
              <a:gd name="connsiteY3354" fmla="*/ 1352132 h 6858000"/>
              <a:gd name="connsiteX3355" fmla="*/ 4722303 w 12188651"/>
              <a:gd name="connsiteY3355" fmla="*/ 1163775 h 6858000"/>
              <a:gd name="connsiteX3356" fmla="*/ 5047773 w 12188651"/>
              <a:gd name="connsiteY3356" fmla="*/ 1352118 h 6858000"/>
              <a:gd name="connsiteX3357" fmla="*/ 5047773 w 12188651"/>
              <a:gd name="connsiteY3357" fmla="*/ 1728959 h 6858000"/>
              <a:gd name="connsiteX3358" fmla="*/ 5020104 w 12188651"/>
              <a:gd name="connsiteY3358" fmla="*/ 1712952 h 6858000"/>
              <a:gd name="connsiteX3359" fmla="*/ 4722303 w 12188651"/>
              <a:gd name="connsiteY3359" fmla="*/ 1540609 h 6858000"/>
              <a:gd name="connsiteX3360" fmla="*/ 2652150 w 12188651"/>
              <a:gd name="connsiteY3360" fmla="*/ 1163775 h 6858000"/>
              <a:gd name="connsiteX3361" fmla="*/ 2652150 w 12188651"/>
              <a:gd name="connsiteY3361" fmla="*/ 1540587 h 6858000"/>
              <a:gd name="connsiteX3362" fmla="*/ 2326589 w 12188651"/>
              <a:gd name="connsiteY3362" fmla="*/ 1728927 h 6858000"/>
              <a:gd name="connsiteX3363" fmla="*/ 2326589 w 12188651"/>
              <a:gd name="connsiteY3363" fmla="*/ 1352115 h 6858000"/>
              <a:gd name="connsiteX3364" fmla="*/ 2668521 w 12188651"/>
              <a:gd name="connsiteY3364" fmla="*/ 1163761 h 6858000"/>
              <a:gd name="connsiteX3365" fmla="*/ 2993956 w 12188651"/>
              <a:gd name="connsiteY3365" fmla="*/ 1352102 h 6858000"/>
              <a:gd name="connsiteX3366" fmla="*/ 2993956 w 12188651"/>
              <a:gd name="connsiteY3366" fmla="*/ 1728943 h 6858000"/>
              <a:gd name="connsiteX3367" fmla="*/ 2668521 w 12188651"/>
              <a:gd name="connsiteY3367" fmla="*/ 1540601 h 6858000"/>
              <a:gd name="connsiteX3368" fmla="*/ 598173 w 12188651"/>
              <a:gd name="connsiteY3368" fmla="*/ 1163759 h 6858000"/>
              <a:gd name="connsiteX3369" fmla="*/ 598173 w 12188651"/>
              <a:gd name="connsiteY3369" fmla="*/ 1540571 h 6858000"/>
              <a:gd name="connsiteX3370" fmla="*/ 272611 w 12188651"/>
              <a:gd name="connsiteY3370" fmla="*/ 1728912 h 6858000"/>
              <a:gd name="connsiteX3371" fmla="*/ 272611 w 12188651"/>
              <a:gd name="connsiteY3371" fmla="*/ 1352101 h 6858000"/>
              <a:gd name="connsiteX3372" fmla="*/ 614544 w 12188651"/>
              <a:gd name="connsiteY3372" fmla="*/ 1163745 h 6858000"/>
              <a:gd name="connsiteX3373" fmla="*/ 939978 w 12188651"/>
              <a:gd name="connsiteY3373" fmla="*/ 1352086 h 6858000"/>
              <a:gd name="connsiteX3374" fmla="*/ 939978 w 12188651"/>
              <a:gd name="connsiteY3374" fmla="*/ 1728928 h 6858000"/>
              <a:gd name="connsiteX3375" fmla="*/ 614544 w 12188651"/>
              <a:gd name="connsiteY3375" fmla="*/ 1540585 h 6858000"/>
              <a:gd name="connsiteX3376" fmla="*/ 11559549 w 12188651"/>
              <a:gd name="connsiteY3376" fmla="*/ 1159023 h 6858000"/>
              <a:gd name="connsiteX3377" fmla="*/ 11893312 w 12188651"/>
              <a:gd name="connsiteY3377" fmla="*/ 1352175 h 6858000"/>
              <a:gd name="connsiteX3378" fmla="*/ 11893312 w 12188651"/>
              <a:gd name="connsiteY3378" fmla="*/ 1738478 h 6858000"/>
              <a:gd name="connsiteX3379" fmla="*/ 11559679 w 12188651"/>
              <a:gd name="connsiteY3379" fmla="*/ 1931637 h 6858000"/>
              <a:gd name="connsiteX3380" fmla="*/ 11225916 w 12188651"/>
              <a:gd name="connsiteY3380" fmla="*/ 1738478 h 6858000"/>
              <a:gd name="connsiteX3381" fmla="*/ 11225916 w 12188651"/>
              <a:gd name="connsiteY3381" fmla="*/ 1352175 h 6858000"/>
              <a:gd name="connsiteX3382" fmla="*/ 9505601 w 12188651"/>
              <a:gd name="connsiteY3382" fmla="*/ 1159008 h 6858000"/>
              <a:gd name="connsiteX3383" fmla="*/ 9839364 w 12188651"/>
              <a:gd name="connsiteY3383" fmla="*/ 1352160 h 6858000"/>
              <a:gd name="connsiteX3384" fmla="*/ 9839364 w 12188651"/>
              <a:gd name="connsiteY3384" fmla="*/ 1738464 h 6858000"/>
              <a:gd name="connsiteX3385" fmla="*/ 9505732 w 12188651"/>
              <a:gd name="connsiteY3385" fmla="*/ 1931620 h 6858000"/>
              <a:gd name="connsiteX3386" fmla="*/ 9171969 w 12188651"/>
              <a:gd name="connsiteY3386" fmla="*/ 1738463 h 6858000"/>
              <a:gd name="connsiteX3387" fmla="*/ 9171969 w 12188651"/>
              <a:gd name="connsiteY3387" fmla="*/ 1352159 h 6858000"/>
              <a:gd name="connsiteX3388" fmla="*/ 7451785 w 12188651"/>
              <a:gd name="connsiteY3388" fmla="*/ 1158991 h 6858000"/>
              <a:gd name="connsiteX3389" fmla="*/ 7785548 w 12188651"/>
              <a:gd name="connsiteY3389" fmla="*/ 1352145 h 6858000"/>
              <a:gd name="connsiteX3390" fmla="*/ 7785548 w 12188651"/>
              <a:gd name="connsiteY3390" fmla="*/ 1738447 h 6858000"/>
              <a:gd name="connsiteX3391" fmla="*/ 7451915 w 12188651"/>
              <a:gd name="connsiteY3391" fmla="*/ 1931604 h 6858000"/>
              <a:gd name="connsiteX3392" fmla="*/ 7118150 w 12188651"/>
              <a:gd name="connsiteY3392" fmla="*/ 1738447 h 6858000"/>
              <a:gd name="connsiteX3393" fmla="*/ 7118150 w 12188651"/>
              <a:gd name="connsiteY3393" fmla="*/ 1352145 h 6858000"/>
              <a:gd name="connsiteX3394" fmla="*/ 5397886 w 12188651"/>
              <a:gd name="connsiteY3394" fmla="*/ 1158976 h 6858000"/>
              <a:gd name="connsiteX3395" fmla="*/ 5452129 w 12188651"/>
              <a:gd name="connsiteY3395" fmla="*/ 1190368 h 6858000"/>
              <a:gd name="connsiteX3396" fmla="*/ 5731616 w 12188651"/>
              <a:gd name="connsiteY3396" fmla="*/ 1352126 h 6858000"/>
              <a:gd name="connsiteX3397" fmla="*/ 5731616 w 12188651"/>
              <a:gd name="connsiteY3397" fmla="*/ 1738431 h 6858000"/>
              <a:gd name="connsiteX3398" fmla="*/ 5397992 w 12188651"/>
              <a:gd name="connsiteY3398" fmla="*/ 1931587 h 6858000"/>
              <a:gd name="connsiteX3399" fmla="*/ 5182218 w 12188651"/>
              <a:gd name="connsiteY3399" fmla="*/ 1806716 h 6858000"/>
              <a:gd name="connsiteX3400" fmla="*/ 5064275 w 12188651"/>
              <a:gd name="connsiteY3400" fmla="*/ 1738445 h 6858000"/>
              <a:gd name="connsiteX3401" fmla="*/ 5064275 w 12188651"/>
              <a:gd name="connsiteY3401" fmla="*/ 1352132 h 6858000"/>
              <a:gd name="connsiteX3402" fmla="*/ 3344093 w 12188651"/>
              <a:gd name="connsiteY3402" fmla="*/ 1158962 h 6858000"/>
              <a:gd name="connsiteX3403" fmla="*/ 3677824 w 12188651"/>
              <a:gd name="connsiteY3403" fmla="*/ 1352102 h 6858000"/>
              <a:gd name="connsiteX3404" fmla="*/ 3677824 w 12188651"/>
              <a:gd name="connsiteY3404" fmla="*/ 1738415 h 6858000"/>
              <a:gd name="connsiteX3405" fmla="*/ 3344194 w 12188651"/>
              <a:gd name="connsiteY3405" fmla="*/ 1931571 h 6858000"/>
              <a:gd name="connsiteX3406" fmla="*/ 3010459 w 12188651"/>
              <a:gd name="connsiteY3406" fmla="*/ 1738430 h 6858000"/>
              <a:gd name="connsiteX3407" fmla="*/ 3010459 w 12188651"/>
              <a:gd name="connsiteY3407" fmla="*/ 1352115 h 6858000"/>
              <a:gd name="connsiteX3408" fmla="*/ 1290110 w 12188651"/>
              <a:gd name="connsiteY3408" fmla="*/ 1158945 h 6858000"/>
              <a:gd name="connsiteX3409" fmla="*/ 1623849 w 12188651"/>
              <a:gd name="connsiteY3409" fmla="*/ 1352087 h 6858000"/>
              <a:gd name="connsiteX3410" fmla="*/ 1623849 w 12188651"/>
              <a:gd name="connsiteY3410" fmla="*/ 1738399 h 6858000"/>
              <a:gd name="connsiteX3411" fmla="*/ 1290217 w 12188651"/>
              <a:gd name="connsiteY3411" fmla="*/ 1931555 h 6858000"/>
              <a:gd name="connsiteX3412" fmla="*/ 956479 w 12188651"/>
              <a:gd name="connsiteY3412" fmla="*/ 1738413 h 6858000"/>
              <a:gd name="connsiteX3413" fmla="*/ 956479 w 12188651"/>
              <a:gd name="connsiteY3413" fmla="*/ 1352101 h 6858000"/>
              <a:gd name="connsiteX3414" fmla="*/ 10190640 w 12188651"/>
              <a:gd name="connsiteY3414" fmla="*/ 1158620 h 6858000"/>
              <a:gd name="connsiteX3415" fmla="*/ 10524404 w 12188651"/>
              <a:gd name="connsiteY3415" fmla="*/ 1351774 h 6858000"/>
              <a:gd name="connsiteX3416" fmla="*/ 10524404 w 12188651"/>
              <a:gd name="connsiteY3416" fmla="*/ 1737958 h 6858000"/>
              <a:gd name="connsiteX3417" fmla="*/ 10190640 w 12188651"/>
              <a:gd name="connsiteY3417" fmla="*/ 1931118 h 6858000"/>
              <a:gd name="connsiteX3418" fmla="*/ 9856876 w 12188651"/>
              <a:gd name="connsiteY3418" fmla="*/ 1737958 h 6858000"/>
              <a:gd name="connsiteX3419" fmla="*/ 9856876 w 12188651"/>
              <a:gd name="connsiteY3419" fmla="*/ 1351774 h 6858000"/>
              <a:gd name="connsiteX3420" fmla="*/ 8136693 w 12188651"/>
              <a:gd name="connsiteY3420" fmla="*/ 1158604 h 6858000"/>
              <a:gd name="connsiteX3421" fmla="*/ 8470456 w 12188651"/>
              <a:gd name="connsiteY3421" fmla="*/ 1351760 h 6858000"/>
              <a:gd name="connsiteX3422" fmla="*/ 8470456 w 12188651"/>
              <a:gd name="connsiteY3422" fmla="*/ 1737941 h 6858000"/>
              <a:gd name="connsiteX3423" fmla="*/ 8136693 w 12188651"/>
              <a:gd name="connsiteY3423" fmla="*/ 1931100 h 6858000"/>
              <a:gd name="connsiteX3424" fmla="*/ 7802930 w 12188651"/>
              <a:gd name="connsiteY3424" fmla="*/ 1737941 h 6858000"/>
              <a:gd name="connsiteX3425" fmla="*/ 7802930 w 12188651"/>
              <a:gd name="connsiteY3425" fmla="*/ 1351760 h 6858000"/>
              <a:gd name="connsiteX3426" fmla="*/ 6082876 w 12188651"/>
              <a:gd name="connsiteY3426" fmla="*/ 1158588 h 6858000"/>
              <a:gd name="connsiteX3427" fmla="*/ 6416638 w 12188651"/>
              <a:gd name="connsiteY3427" fmla="*/ 1351744 h 6858000"/>
              <a:gd name="connsiteX3428" fmla="*/ 6416638 w 12188651"/>
              <a:gd name="connsiteY3428" fmla="*/ 1737925 h 6858000"/>
              <a:gd name="connsiteX3429" fmla="*/ 6082876 w 12188651"/>
              <a:gd name="connsiteY3429" fmla="*/ 1931085 h 6858000"/>
              <a:gd name="connsiteX3430" fmla="*/ 5749138 w 12188651"/>
              <a:gd name="connsiteY3430" fmla="*/ 1737927 h 6858000"/>
              <a:gd name="connsiteX3431" fmla="*/ 5749138 w 12188651"/>
              <a:gd name="connsiteY3431" fmla="*/ 1351744 h 6858000"/>
              <a:gd name="connsiteX3432" fmla="*/ 4029124 w 12188651"/>
              <a:gd name="connsiteY3432" fmla="*/ 1158575 h 6858000"/>
              <a:gd name="connsiteX3433" fmla="*/ 4362838 w 12188651"/>
              <a:gd name="connsiteY3433" fmla="*/ 1351727 h 6858000"/>
              <a:gd name="connsiteX3434" fmla="*/ 4362838 w 12188651"/>
              <a:gd name="connsiteY3434" fmla="*/ 1737910 h 6858000"/>
              <a:gd name="connsiteX3435" fmla="*/ 4029120 w 12188651"/>
              <a:gd name="connsiteY3435" fmla="*/ 1931068 h 6858000"/>
              <a:gd name="connsiteX3436" fmla="*/ 3695368 w 12188651"/>
              <a:gd name="connsiteY3436" fmla="*/ 1737913 h 6858000"/>
              <a:gd name="connsiteX3437" fmla="*/ 3695368 w 12188651"/>
              <a:gd name="connsiteY3437" fmla="*/ 1351729 h 6858000"/>
              <a:gd name="connsiteX3438" fmla="*/ 1975151 w 12188651"/>
              <a:gd name="connsiteY3438" fmla="*/ 1158559 h 6858000"/>
              <a:gd name="connsiteX3439" fmla="*/ 2252090 w 12188651"/>
              <a:gd name="connsiteY3439" fmla="*/ 1318821 h 6858000"/>
              <a:gd name="connsiteX3440" fmla="*/ 2308917 w 12188651"/>
              <a:gd name="connsiteY3440" fmla="*/ 1351709 h 6858000"/>
              <a:gd name="connsiteX3441" fmla="*/ 2308917 w 12188651"/>
              <a:gd name="connsiteY3441" fmla="*/ 1737894 h 6858000"/>
              <a:gd name="connsiteX3442" fmla="*/ 1975144 w 12188651"/>
              <a:gd name="connsiteY3442" fmla="*/ 1931051 h 6858000"/>
              <a:gd name="connsiteX3443" fmla="*/ 1641388 w 12188651"/>
              <a:gd name="connsiteY3443" fmla="*/ 1737898 h 6858000"/>
              <a:gd name="connsiteX3444" fmla="*/ 1641388 w 12188651"/>
              <a:gd name="connsiteY3444" fmla="*/ 1351714 h 6858000"/>
              <a:gd name="connsiteX3445" fmla="*/ 11902654 w 12188651"/>
              <a:gd name="connsiteY3445" fmla="*/ 960799 h 6858000"/>
              <a:gd name="connsiteX3446" fmla="*/ 12188651 w 12188651"/>
              <a:gd name="connsiteY3446" fmla="*/ 1126327 h 6858000"/>
              <a:gd name="connsiteX3447" fmla="*/ 12188651 w 12188651"/>
              <a:gd name="connsiteY3447" fmla="*/ 1171992 h 6858000"/>
              <a:gd name="connsiteX3448" fmla="*/ 11902524 w 12188651"/>
              <a:gd name="connsiteY3448" fmla="*/ 1337516 h 6858000"/>
              <a:gd name="connsiteX3449" fmla="*/ 11577065 w 12188651"/>
              <a:gd name="connsiteY3449" fmla="*/ 1149161 h 6858000"/>
              <a:gd name="connsiteX3450" fmla="*/ 9848833 w 12188651"/>
              <a:gd name="connsiteY3450" fmla="*/ 960784 h 6858000"/>
              <a:gd name="connsiteX3451" fmla="*/ 10174292 w 12188651"/>
              <a:gd name="connsiteY3451" fmla="*/ 1149145 h 6858000"/>
              <a:gd name="connsiteX3452" fmla="*/ 9848703 w 12188651"/>
              <a:gd name="connsiteY3452" fmla="*/ 1337499 h 6858000"/>
              <a:gd name="connsiteX3453" fmla="*/ 9523246 w 12188651"/>
              <a:gd name="connsiteY3453" fmla="*/ 1149145 h 6858000"/>
              <a:gd name="connsiteX3454" fmla="*/ 7794888 w 12188651"/>
              <a:gd name="connsiteY3454" fmla="*/ 960771 h 6858000"/>
              <a:gd name="connsiteX3455" fmla="*/ 8120344 w 12188651"/>
              <a:gd name="connsiteY3455" fmla="*/ 1149132 h 6858000"/>
              <a:gd name="connsiteX3456" fmla="*/ 7794758 w 12188651"/>
              <a:gd name="connsiteY3456" fmla="*/ 1337484 h 6858000"/>
              <a:gd name="connsiteX3457" fmla="*/ 7469301 w 12188651"/>
              <a:gd name="connsiteY3457" fmla="*/ 1149132 h 6858000"/>
              <a:gd name="connsiteX3458" fmla="*/ 5741094 w 12188651"/>
              <a:gd name="connsiteY3458" fmla="*/ 960756 h 6858000"/>
              <a:gd name="connsiteX3459" fmla="*/ 6066529 w 12188651"/>
              <a:gd name="connsiteY3459" fmla="*/ 1149115 h 6858000"/>
              <a:gd name="connsiteX3460" fmla="*/ 5740963 w 12188651"/>
              <a:gd name="connsiteY3460" fmla="*/ 1337471 h 6858000"/>
              <a:gd name="connsiteX3461" fmla="*/ 5504553 w 12188651"/>
              <a:gd name="connsiteY3461" fmla="*/ 1200643 h 6858000"/>
              <a:gd name="connsiteX3462" fmla="*/ 5415532 w 12188651"/>
              <a:gd name="connsiteY3462" fmla="*/ 1149117 h 6858000"/>
              <a:gd name="connsiteX3463" fmla="*/ 3687323 w 12188651"/>
              <a:gd name="connsiteY3463" fmla="*/ 960742 h 6858000"/>
              <a:gd name="connsiteX3464" fmla="*/ 4012774 w 12188651"/>
              <a:gd name="connsiteY3464" fmla="*/ 1149098 h 6858000"/>
              <a:gd name="connsiteX3465" fmla="*/ 3687188 w 12188651"/>
              <a:gd name="connsiteY3465" fmla="*/ 1337454 h 6858000"/>
              <a:gd name="connsiteX3466" fmla="*/ 3361738 w 12188651"/>
              <a:gd name="connsiteY3466" fmla="*/ 1149102 h 6858000"/>
              <a:gd name="connsiteX3467" fmla="*/ 1633346 w 12188651"/>
              <a:gd name="connsiteY3467" fmla="*/ 960729 h 6858000"/>
              <a:gd name="connsiteX3468" fmla="*/ 1958798 w 12188651"/>
              <a:gd name="connsiteY3468" fmla="*/ 1149083 h 6858000"/>
              <a:gd name="connsiteX3469" fmla="*/ 1633210 w 12188651"/>
              <a:gd name="connsiteY3469" fmla="*/ 1337440 h 6858000"/>
              <a:gd name="connsiteX3470" fmla="*/ 1307756 w 12188651"/>
              <a:gd name="connsiteY3470" fmla="*/ 1149086 h 6858000"/>
              <a:gd name="connsiteX3471" fmla="*/ 11113840 w 12188651"/>
              <a:gd name="connsiteY3471" fmla="*/ 796828 h 6858000"/>
              <a:gd name="connsiteX3472" fmla="*/ 11141600 w 12188651"/>
              <a:gd name="connsiteY3472" fmla="*/ 808373 h 6858000"/>
              <a:gd name="connsiteX3473" fmla="*/ 11206199 w 12188651"/>
              <a:gd name="connsiteY3473" fmla="*/ 873104 h 6858000"/>
              <a:gd name="connsiteX3474" fmla="*/ 11217744 w 12188651"/>
              <a:gd name="connsiteY3474" fmla="*/ 884778 h 6858000"/>
              <a:gd name="connsiteX3475" fmla="*/ 11229289 w 12188651"/>
              <a:gd name="connsiteY3475" fmla="*/ 873104 h 6858000"/>
              <a:gd name="connsiteX3476" fmla="*/ 11293758 w 12188651"/>
              <a:gd name="connsiteY3476" fmla="*/ 808373 h 6858000"/>
              <a:gd name="connsiteX3477" fmla="*/ 11321517 w 12188651"/>
              <a:gd name="connsiteY3477" fmla="*/ 796828 h 6858000"/>
              <a:gd name="connsiteX3478" fmla="*/ 11349147 w 12188651"/>
              <a:gd name="connsiteY3478" fmla="*/ 808373 h 6858000"/>
              <a:gd name="connsiteX3479" fmla="*/ 11427627 w 12188651"/>
              <a:gd name="connsiteY3479" fmla="*/ 886983 h 6858000"/>
              <a:gd name="connsiteX3480" fmla="*/ 11439169 w 12188651"/>
              <a:gd name="connsiteY3480" fmla="*/ 914736 h 6858000"/>
              <a:gd name="connsiteX3481" fmla="*/ 11427757 w 12188651"/>
              <a:gd name="connsiteY3481" fmla="*/ 942490 h 6858000"/>
              <a:gd name="connsiteX3482" fmla="*/ 11217744 w 12188651"/>
              <a:gd name="connsiteY3482" fmla="*/ 1152909 h 6858000"/>
              <a:gd name="connsiteX3483" fmla="*/ 11007731 w 12188651"/>
              <a:gd name="connsiteY3483" fmla="*/ 942490 h 6858000"/>
              <a:gd name="connsiteX3484" fmla="*/ 10996253 w 12188651"/>
              <a:gd name="connsiteY3484" fmla="*/ 914754 h 6858000"/>
              <a:gd name="connsiteX3485" fmla="*/ 11007731 w 12188651"/>
              <a:gd name="connsiteY3485" fmla="*/ 887113 h 6858000"/>
              <a:gd name="connsiteX3486" fmla="*/ 11086210 w 12188651"/>
              <a:gd name="connsiteY3486" fmla="*/ 808373 h 6858000"/>
              <a:gd name="connsiteX3487" fmla="*/ 11113840 w 12188651"/>
              <a:gd name="connsiteY3487" fmla="*/ 796828 h 6858000"/>
              <a:gd name="connsiteX3488" fmla="*/ 9059892 w 12188651"/>
              <a:gd name="connsiteY3488" fmla="*/ 796812 h 6858000"/>
              <a:gd name="connsiteX3489" fmla="*/ 9087652 w 12188651"/>
              <a:gd name="connsiteY3489" fmla="*/ 808358 h 6858000"/>
              <a:gd name="connsiteX3490" fmla="*/ 9152251 w 12188651"/>
              <a:gd name="connsiteY3490" fmla="*/ 873089 h 6858000"/>
              <a:gd name="connsiteX3491" fmla="*/ 9163796 w 12188651"/>
              <a:gd name="connsiteY3491" fmla="*/ 884763 h 6858000"/>
              <a:gd name="connsiteX3492" fmla="*/ 9175341 w 12188651"/>
              <a:gd name="connsiteY3492" fmla="*/ 873089 h 6858000"/>
              <a:gd name="connsiteX3493" fmla="*/ 9239810 w 12188651"/>
              <a:gd name="connsiteY3493" fmla="*/ 808358 h 6858000"/>
              <a:gd name="connsiteX3494" fmla="*/ 9267570 w 12188651"/>
              <a:gd name="connsiteY3494" fmla="*/ 796812 h 6858000"/>
              <a:gd name="connsiteX3495" fmla="*/ 9295200 w 12188651"/>
              <a:gd name="connsiteY3495" fmla="*/ 808358 h 6858000"/>
              <a:gd name="connsiteX3496" fmla="*/ 9373678 w 12188651"/>
              <a:gd name="connsiteY3496" fmla="*/ 886967 h 6858000"/>
              <a:gd name="connsiteX3497" fmla="*/ 9385221 w 12188651"/>
              <a:gd name="connsiteY3497" fmla="*/ 914725 h 6858000"/>
              <a:gd name="connsiteX3498" fmla="*/ 9373809 w 12188651"/>
              <a:gd name="connsiteY3498" fmla="*/ 942476 h 6858000"/>
              <a:gd name="connsiteX3499" fmla="*/ 9163797 w 12188651"/>
              <a:gd name="connsiteY3499" fmla="*/ 1152894 h 6858000"/>
              <a:gd name="connsiteX3500" fmla="*/ 8953784 w 12188651"/>
              <a:gd name="connsiteY3500" fmla="*/ 942476 h 6858000"/>
              <a:gd name="connsiteX3501" fmla="*/ 8942307 w 12188651"/>
              <a:gd name="connsiteY3501" fmla="*/ 914737 h 6858000"/>
              <a:gd name="connsiteX3502" fmla="*/ 8953783 w 12188651"/>
              <a:gd name="connsiteY3502" fmla="*/ 887100 h 6858000"/>
              <a:gd name="connsiteX3503" fmla="*/ 9032263 w 12188651"/>
              <a:gd name="connsiteY3503" fmla="*/ 808358 h 6858000"/>
              <a:gd name="connsiteX3504" fmla="*/ 9059892 w 12188651"/>
              <a:gd name="connsiteY3504" fmla="*/ 796812 h 6858000"/>
              <a:gd name="connsiteX3505" fmla="*/ 7006076 w 12188651"/>
              <a:gd name="connsiteY3505" fmla="*/ 796800 h 6858000"/>
              <a:gd name="connsiteX3506" fmla="*/ 7033834 w 12188651"/>
              <a:gd name="connsiteY3506" fmla="*/ 808345 h 6858000"/>
              <a:gd name="connsiteX3507" fmla="*/ 7098434 w 12188651"/>
              <a:gd name="connsiteY3507" fmla="*/ 873075 h 6858000"/>
              <a:gd name="connsiteX3508" fmla="*/ 7109978 w 12188651"/>
              <a:gd name="connsiteY3508" fmla="*/ 884750 h 6858000"/>
              <a:gd name="connsiteX3509" fmla="*/ 7121523 w 12188651"/>
              <a:gd name="connsiteY3509" fmla="*/ 873075 h 6858000"/>
              <a:gd name="connsiteX3510" fmla="*/ 7185994 w 12188651"/>
              <a:gd name="connsiteY3510" fmla="*/ 808345 h 6858000"/>
              <a:gd name="connsiteX3511" fmla="*/ 7213751 w 12188651"/>
              <a:gd name="connsiteY3511" fmla="*/ 796800 h 6858000"/>
              <a:gd name="connsiteX3512" fmla="*/ 7241381 w 12188651"/>
              <a:gd name="connsiteY3512" fmla="*/ 808345 h 6858000"/>
              <a:gd name="connsiteX3513" fmla="*/ 7319862 w 12188651"/>
              <a:gd name="connsiteY3513" fmla="*/ 886956 h 6858000"/>
              <a:gd name="connsiteX3514" fmla="*/ 7331404 w 12188651"/>
              <a:gd name="connsiteY3514" fmla="*/ 914710 h 6858000"/>
              <a:gd name="connsiteX3515" fmla="*/ 7319992 w 12188651"/>
              <a:gd name="connsiteY3515" fmla="*/ 942463 h 6858000"/>
              <a:gd name="connsiteX3516" fmla="*/ 7109978 w 12188651"/>
              <a:gd name="connsiteY3516" fmla="*/ 1152879 h 6858000"/>
              <a:gd name="connsiteX3517" fmla="*/ 6899966 w 12188651"/>
              <a:gd name="connsiteY3517" fmla="*/ 942463 h 6858000"/>
              <a:gd name="connsiteX3518" fmla="*/ 6888488 w 12188651"/>
              <a:gd name="connsiteY3518" fmla="*/ 914725 h 6858000"/>
              <a:gd name="connsiteX3519" fmla="*/ 6899966 w 12188651"/>
              <a:gd name="connsiteY3519" fmla="*/ 887085 h 6858000"/>
              <a:gd name="connsiteX3520" fmla="*/ 6978446 w 12188651"/>
              <a:gd name="connsiteY3520" fmla="*/ 808345 h 6858000"/>
              <a:gd name="connsiteX3521" fmla="*/ 7006076 w 12188651"/>
              <a:gd name="connsiteY3521" fmla="*/ 796800 h 6858000"/>
              <a:gd name="connsiteX3522" fmla="*/ 4952163 w 12188651"/>
              <a:gd name="connsiteY3522" fmla="*/ 796785 h 6858000"/>
              <a:gd name="connsiteX3523" fmla="*/ 4979931 w 12188651"/>
              <a:gd name="connsiteY3523" fmla="*/ 808330 h 6858000"/>
              <a:gd name="connsiteX3524" fmla="*/ 4999601 w 12188651"/>
              <a:gd name="connsiteY3524" fmla="*/ 828037 h 6858000"/>
              <a:gd name="connsiteX3525" fmla="*/ 5044528 w 12188651"/>
              <a:gd name="connsiteY3525" fmla="*/ 873049 h 6858000"/>
              <a:gd name="connsiteX3526" fmla="*/ 5056083 w 12188651"/>
              <a:gd name="connsiteY3526" fmla="*/ 884723 h 6858000"/>
              <a:gd name="connsiteX3527" fmla="*/ 5056083 w 12188651"/>
              <a:gd name="connsiteY3527" fmla="*/ 884718 h 6858000"/>
              <a:gd name="connsiteX3528" fmla="*/ 5056096 w 12188651"/>
              <a:gd name="connsiteY3528" fmla="*/ 884737 h 6858000"/>
              <a:gd name="connsiteX3529" fmla="*/ 5067648 w 12188651"/>
              <a:gd name="connsiteY3529" fmla="*/ 873062 h 6858000"/>
              <a:gd name="connsiteX3530" fmla="*/ 5132091 w 12188651"/>
              <a:gd name="connsiteY3530" fmla="*/ 808330 h 6858000"/>
              <a:gd name="connsiteX3531" fmla="*/ 5159840 w 12188651"/>
              <a:gd name="connsiteY3531" fmla="*/ 796785 h 6858000"/>
              <a:gd name="connsiteX3532" fmla="*/ 5187487 w 12188651"/>
              <a:gd name="connsiteY3532" fmla="*/ 808327 h 6858000"/>
              <a:gd name="connsiteX3533" fmla="*/ 5260329 w 12188651"/>
              <a:gd name="connsiteY3533" fmla="*/ 881304 h 6858000"/>
              <a:gd name="connsiteX3534" fmla="*/ 5265946 w 12188651"/>
              <a:gd name="connsiteY3534" fmla="*/ 886927 h 6858000"/>
              <a:gd name="connsiteX3535" fmla="*/ 5277479 w 12188651"/>
              <a:gd name="connsiteY3535" fmla="*/ 914688 h 6858000"/>
              <a:gd name="connsiteX3536" fmla="*/ 5266075 w 12188651"/>
              <a:gd name="connsiteY3536" fmla="*/ 942448 h 6858000"/>
              <a:gd name="connsiteX3537" fmla="*/ 5056083 w 12188651"/>
              <a:gd name="connsiteY3537" fmla="*/ 1152860 h 6858000"/>
              <a:gd name="connsiteX3538" fmla="*/ 4940608 w 12188651"/>
              <a:gd name="connsiteY3538" fmla="*/ 1037194 h 6858000"/>
              <a:gd name="connsiteX3539" fmla="*/ 4846044 w 12188651"/>
              <a:gd name="connsiteY3539" fmla="*/ 942452 h 6858000"/>
              <a:gd name="connsiteX3540" fmla="*/ 4834566 w 12188651"/>
              <a:gd name="connsiteY3540" fmla="*/ 914718 h 6858000"/>
              <a:gd name="connsiteX3541" fmla="*/ 4846044 w 12188651"/>
              <a:gd name="connsiteY3541" fmla="*/ 887070 h 6858000"/>
              <a:gd name="connsiteX3542" fmla="*/ 4924518 w 12188651"/>
              <a:gd name="connsiteY3542" fmla="*/ 808330 h 6858000"/>
              <a:gd name="connsiteX3543" fmla="*/ 4952163 w 12188651"/>
              <a:gd name="connsiteY3543" fmla="*/ 796785 h 6858000"/>
              <a:gd name="connsiteX3544" fmla="*/ 2898379 w 12188651"/>
              <a:gd name="connsiteY3544" fmla="*/ 796772 h 6858000"/>
              <a:gd name="connsiteX3545" fmla="*/ 2926124 w 12188651"/>
              <a:gd name="connsiteY3545" fmla="*/ 808309 h 6858000"/>
              <a:gd name="connsiteX3546" fmla="*/ 2990715 w 12188651"/>
              <a:gd name="connsiteY3546" fmla="*/ 873034 h 6858000"/>
              <a:gd name="connsiteX3547" fmla="*/ 3002260 w 12188651"/>
              <a:gd name="connsiteY3547" fmla="*/ 884709 h 6858000"/>
              <a:gd name="connsiteX3548" fmla="*/ 3002266 w 12188651"/>
              <a:gd name="connsiteY3548" fmla="*/ 884703 h 6858000"/>
              <a:gd name="connsiteX3549" fmla="*/ 3002284 w 12188651"/>
              <a:gd name="connsiteY3549" fmla="*/ 884723 h 6858000"/>
              <a:gd name="connsiteX3550" fmla="*/ 3013828 w 12188651"/>
              <a:gd name="connsiteY3550" fmla="*/ 873046 h 6858000"/>
              <a:gd name="connsiteX3551" fmla="*/ 3078300 w 12188651"/>
              <a:gd name="connsiteY3551" fmla="*/ 808316 h 6858000"/>
              <a:gd name="connsiteX3552" fmla="*/ 3106059 w 12188651"/>
              <a:gd name="connsiteY3552" fmla="*/ 796772 h 6858000"/>
              <a:gd name="connsiteX3553" fmla="*/ 3133671 w 12188651"/>
              <a:gd name="connsiteY3553" fmla="*/ 808309 h 6858000"/>
              <a:gd name="connsiteX3554" fmla="*/ 3212143 w 12188651"/>
              <a:gd name="connsiteY3554" fmla="*/ 886914 h 6858000"/>
              <a:gd name="connsiteX3555" fmla="*/ 3223689 w 12188651"/>
              <a:gd name="connsiteY3555" fmla="*/ 914674 h 6858000"/>
              <a:gd name="connsiteX3556" fmla="*/ 3212274 w 12188651"/>
              <a:gd name="connsiteY3556" fmla="*/ 942434 h 6858000"/>
              <a:gd name="connsiteX3557" fmla="*/ 3002266 w 12188651"/>
              <a:gd name="connsiteY3557" fmla="*/ 1152843 h 6858000"/>
              <a:gd name="connsiteX3558" fmla="*/ 2792274 w 12188651"/>
              <a:gd name="connsiteY3558" fmla="*/ 942447 h 6858000"/>
              <a:gd name="connsiteX3559" fmla="*/ 2792274 w 12188651"/>
              <a:gd name="connsiteY3559" fmla="*/ 887057 h 6858000"/>
              <a:gd name="connsiteX3560" fmla="*/ 2870749 w 12188651"/>
              <a:gd name="connsiteY3560" fmla="*/ 808316 h 6858000"/>
              <a:gd name="connsiteX3561" fmla="*/ 2898379 w 12188651"/>
              <a:gd name="connsiteY3561" fmla="*/ 796772 h 6858000"/>
              <a:gd name="connsiteX3562" fmla="*/ 844401 w 12188651"/>
              <a:gd name="connsiteY3562" fmla="*/ 796757 h 6858000"/>
              <a:gd name="connsiteX3563" fmla="*/ 872145 w 12188651"/>
              <a:gd name="connsiteY3563" fmla="*/ 808295 h 6858000"/>
              <a:gd name="connsiteX3564" fmla="*/ 936739 w 12188651"/>
              <a:gd name="connsiteY3564" fmla="*/ 873020 h 6858000"/>
              <a:gd name="connsiteX3565" fmla="*/ 948284 w 12188651"/>
              <a:gd name="connsiteY3565" fmla="*/ 884695 h 6858000"/>
              <a:gd name="connsiteX3566" fmla="*/ 948289 w 12188651"/>
              <a:gd name="connsiteY3566" fmla="*/ 884690 h 6858000"/>
              <a:gd name="connsiteX3567" fmla="*/ 948306 w 12188651"/>
              <a:gd name="connsiteY3567" fmla="*/ 884708 h 6858000"/>
              <a:gd name="connsiteX3568" fmla="*/ 959851 w 12188651"/>
              <a:gd name="connsiteY3568" fmla="*/ 873033 h 6858000"/>
              <a:gd name="connsiteX3569" fmla="*/ 1024320 w 12188651"/>
              <a:gd name="connsiteY3569" fmla="*/ 808302 h 6858000"/>
              <a:gd name="connsiteX3570" fmla="*/ 1052080 w 12188651"/>
              <a:gd name="connsiteY3570" fmla="*/ 796757 h 6858000"/>
              <a:gd name="connsiteX3571" fmla="*/ 1079695 w 12188651"/>
              <a:gd name="connsiteY3571" fmla="*/ 808295 h 6858000"/>
              <a:gd name="connsiteX3572" fmla="*/ 1158166 w 12188651"/>
              <a:gd name="connsiteY3572" fmla="*/ 886900 h 6858000"/>
              <a:gd name="connsiteX3573" fmla="*/ 1169710 w 12188651"/>
              <a:gd name="connsiteY3573" fmla="*/ 914660 h 6858000"/>
              <a:gd name="connsiteX3574" fmla="*/ 1158298 w 12188651"/>
              <a:gd name="connsiteY3574" fmla="*/ 942421 h 6858000"/>
              <a:gd name="connsiteX3575" fmla="*/ 948288 w 12188651"/>
              <a:gd name="connsiteY3575" fmla="*/ 1152829 h 6858000"/>
              <a:gd name="connsiteX3576" fmla="*/ 738294 w 12188651"/>
              <a:gd name="connsiteY3576" fmla="*/ 942434 h 6858000"/>
              <a:gd name="connsiteX3577" fmla="*/ 738294 w 12188651"/>
              <a:gd name="connsiteY3577" fmla="*/ 887043 h 6858000"/>
              <a:gd name="connsiteX3578" fmla="*/ 816772 w 12188651"/>
              <a:gd name="connsiteY3578" fmla="*/ 808302 h 6858000"/>
              <a:gd name="connsiteX3579" fmla="*/ 844401 w 12188651"/>
              <a:gd name="connsiteY3579" fmla="*/ 796757 h 6858000"/>
              <a:gd name="connsiteX3580" fmla="*/ 11113840 w 12188651"/>
              <a:gd name="connsiteY3580" fmla="*/ 780338 h 6858000"/>
              <a:gd name="connsiteX3581" fmla="*/ 11074665 w 12188651"/>
              <a:gd name="connsiteY3581" fmla="*/ 796683 h 6858000"/>
              <a:gd name="connsiteX3582" fmla="*/ 10996186 w 12188651"/>
              <a:gd name="connsiteY3582" fmla="*/ 875425 h 6858000"/>
              <a:gd name="connsiteX3583" fmla="*/ 10979939 w 12188651"/>
              <a:gd name="connsiteY3583" fmla="*/ 914730 h 6858000"/>
              <a:gd name="connsiteX3584" fmla="*/ 10979942 w 12188651"/>
              <a:gd name="connsiteY3584" fmla="*/ 914736 h 6858000"/>
              <a:gd name="connsiteX3585" fmla="*/ 10979939 w 12188651"/>
              <a:gd name="connsiteY3585" fmla="*/ 914744 h 6858000"/>
              <a:gd name="connsiteX3586" fmla="*/ 10996186 w 12188651"/>
              <a:gd name="connsiteY3586" fmla="*/ 954050 h 6858000"/>
              <a:gd name="connsiteX3587" fmla="*/ 11217744 w 12188651"/>
              <a:gd name="connsiteY3587" fmla="*/ 1176145 h 6858000"/>
              <a:gd name="connsiteX3588" fmla="*/ 11439301 w 12188651"/>
              <a:gd name="connsiteY3588" fmla="*/ 954050 h 6858000"/>
              <a:gd name="connsiteX3589" fmla="*/ 11455548 w 12188651"/>
              <a:gd name="connsiteY3589" fmla="*/ 914744 h 6858000"/>
              <a:gd name="connsiteX3590" fmla="*/ 11455545 w 12188651"/>
              <a:gd name="connsiteY3590" fmla="*/ 914736 h 6858000"/>
              <a:gd name="connsiteX3591" fmla="*/ 11455548 w 12188651"/>
              <a:gd name="connsiteY3591" fmla="*/ 914730 h 6858000"/>
              <a:gd name="connsiteX3592" fmla="*/ 11439301 w 12188651"/>
              <a:gd name="connsiteY3592" fmla="*/ 875425 h 6858000"/>
              <a:gd name="connsiteX3593" fmla="*/ 11360822 w 12188651"/>
              <a:gd name="connsiteY3593" fmla="*/ 796812 h 6858000"/>
              <a:gd name="connsiteX3594" fmla="*/ 11321647 w 12188651"/>
              <a:gd name="connsiteY3594" fmla="*/ 780468 h 6858000"/>
              <a:gd name="connsiteX3595" fmla="*/ 11321517 w 12188651"/>
              <a:gd name="connsiteY3595" fmla="*/ 780338 h 6858000"/>
              <a:gd name="connsiteX3596" fmla="*/ 11282213 w 12188651"/>
              <a:gd name="connsiteY3596" fmla="*/ 796812 h 6858000"/>
              <a:gd name="connsiteX3597" fmla="*/ 11217744 w 12188651"/>
              <a:gd name="connsiteY3597" fmla="*/ 861415 h 6858000"/>
              <a:gd name="connsiteX3598" fmla="*/ 11153145 w 12188651"/>
              <a:gd name="connsiteY3598" fmla="*/ 796683 h 6858000"/>
              <a:gd name="connsiteX3599" fmla="*/ 11113840 w 12188651"/>
              <a:gd name="connsiteY3599" fmla="*/ 780338 h 6858000"/>
              <a:gd name="connsiteX3600" fmla="*/ 9059893 w 12188651"/>
              <a:gd name="connsiteY3600" fmla="*/ 780324 h 6858000"/>
              <a:gd name="connsiteX3601" fmla="*/ 9020718 w 12188651"/>
              <a:gd name="connsiteY3601" fmla="*/ 796669 h 6858000"/>
              <a:gd name="connsiteX3602" fmla="*/ 8942239 w 12188651"/>
              <a:gd name="connsiteY3602" fmla="*/ 875411 h 6858000"/>
              <a:gd name="connsiteX3603" fmla="*/ 8925992 w 12188651"/>
              <a:gd name="connsiteY3603" fmla="*/ 914717 h 6858000"/>
              <a:gd name="connsiteX3604" fmla="*/ 8925994 w 12188651"/>
              <a:gd name="connsiteY3604" fmla="*/ 914722 h 6858000"/>
              <a:gd name="connsiteX3605" fmla="*/ 8925991 w 12188651"/>
              <a:gd name="connsiteY3605" fmla="*/ 914730 h 6858000"/>
              <a:gd name="connsiteX3606" fmla="*/ 8942238 w 12188651"/>
              <a:gd name="connsiteY3606" fmla="*/ 954035 h 6858000"/>
              <a:gd name="connsiteX3607" fmla="*/ 9163796 w 12188651"/>
              <a:gd name="connsiteY3607" fmla="*/ 1176130 h 6858000"/>
              <a:gd name="connsiteX3608" fmla="*/ 9385353 w 12188651"/>
              <a:gd name="connsiteY3608" fmla="*/ 954035 h 6858000"/>
              <a:gd name="connsiteX3609" fmla="*/ 9401600 w 12188651"/>
              <a:gd name="connsiteY3609" fmla="*/ 914730 h 6858000"/>
              <a:gd name="connsiteX3610" fmla="*/ 9401598 w 12188651"/>
              <a:gd name="connsiteY3610" fmla="*/ 914725 h 6858000"/>
              <a:gd name="connsiteX3611" fmla="*/ 9401601 w 12188651"/>
              <a:gd name="connsiteY3611" fmla="*/ 914717 h 6858000"/>
              <a:gd name="connsiteX3612" fmla="*/ 9385354 w 12188651"/>
              <a:gd name="connsiteY3612" fmla="*/ 875411 h 6858000"/>
              <a:gd name="connsiteX3613" fmla="*/ 9306876 w 12188651"/>
              <a:gd name="connsiteY3613" fmla="*/ 796800 h 6858000"/>
              <a:gd name="connsiteX3614" fmla="*/ 9267701 w 12188651"/>
              <a:gd name="connsiteY3614" fmla="*/ 780454 h 6858000"/>
              <a:gd name="connsiteX3615" fmla="*/ 9267571 w 12188651"/>
              <a:gd name="connsiteY3615" fmla="*/ 780324 h 6858000"/>
              <a:gd name="connsiteX3616" fmla="*/ 9228266 w 12188651"/>
              <a:gd name="connsiteY3616" fmla="*/ 796800 h 6858000"/>
              <a:gd name="connsiteX3617" fmla="*/ 9163797 w 12188651"/>
              <a:gd name="connsiteY3617" fmla="*/ 861401 h 6858000"/>
              <a:gd name="connsiteX3618" fmla="*/ 9099198 w 12188651"/>
              <a:gd name="connsiteY3618" fmla="*/ 796669 h 6858000"/>
              <a:gd name="connsiteX3619" fmla="*/ 9059893 w 12188651"/>
              <a:gd name="connsiteY3619" fmla="*/ 780324 h 6858000"/>
              <a:gd name="connsiteX3620" fmla="*/ 7006076 w 12188651"/>
              <a:gd name="connsiteY3620" fmla="*/ 780310 h 6858000"/>
              <a:gd name="connsiteX3621" fmla="*/ 6966901 w 12188651"/>
              <a:gd name="connsiteY3621" fmla="*/ 796656 h 6858000"/>
              <a:gd name="connsiteX3622" fmla="*/ 6888421 w 12188651"/>
              <a:gd name="connsiteY3622" fmla="*/ 875397 h 6858000"/>
              <a:gd name="connsiteX3623" fmla="*/ 6872174 w 12188651"/>
              <a:gd name="connsiteY3623" fmla="*/ 914703 h 6858000"/>
              <a:gd name="connsiteX3624" fmla="*/ 6872176 w 12188651"/>
              <a:gd name="connsiteY3624" fmla="*/ 914710 h 6858000"/>
              <a:gd name="connsiteX3625" fmla="*/ 6872174 w 12188651"/>
              <a:gd name="connsiteY3625" fmla="*/ 914717 h 6858000"/>
              <a:gd name="connsiteX3626" fmla="*/ 6888421 w 12188651"/>
              <a:gd name="connsiteY3626" fmla="*/ 954021 h 6858000"/>
              <a:gd name="connsiteX3627" fmla="*/ 7109978 w 12188651"/>
              <a:gd name="connsiteY3627" fmla="*/ 1176113 h 6858000"/>
              <a:gd name="connsiteX3628" fmla="*/ 7331537 w 12188651"/>
              <a:gd name="connsiteY3628" fmla="*/ 954021 h 6858000"/>
              <a:gd name="connsiteX3629" fmla="*/ 7347783 w 12188651"/>
              <a:gd name="connsiteY3629" fmla="*/ 914717 h 6858000"/>
              <a:gd name="connsiteX3630" fmla="*/ 7347780 w 12188651"/>
              <a:gd name="connsiteY3630" fmla="*/ 914710 h 6858000"/>
              <a:gd name="connsiteX3631" fmla="*/ 7347783 w 12188651"/>
              <a:gd name="connsiteY3631" fmla="*/ 914703 h 6858000"/>
              <a:gd name="connsiteX3632" fmla="*/ 7331537 w 12188651"/>
              <a:gd name="connsiteY3632" fmla="*/ 875397 h 6858000"/>
              <a:gd name="connsiteX3633" fmla="*/ 7253057 w 12188651"/>
              <a:gd name="connsiteY3633" fmla="*/ 796785 h 6858000"/>
              <a:gd name="connsiteX3634" fmla="*/ 7213882 w 12188651"/>
              <a:gd name="connsiteY3634" fmla="*/ 780440 h 6858000"/>
              <a:gd name="connsiteX3635" fmla="*/ 7213751 w 12188651"/>
              <a:gd name="connsiteY3635" fmla="*/ 780310 h 6858000"/>
              <a:gd name="connsiteX3636" fmla="*/ 7174449 w 12188651"/>
              <a:gd name="connsiteY3636" fmla="*/ 796785 h 6858000"/>
              <a:gd name="connsiteX3637" fmla="*/ 7109978 w 12188651"/>
              <a:gd name="connsiteY3637" fmla="*/ 861387 h 6858000"/>
              <a:gd name="connsiteX3638" fmla="*/ 7045379 w 12188651"/>
              <a:gd name="connsiteY3638" fmla="*/ 796656 h 6858000"/>
              <a:gd name="connsiteX3639" fmla="*/ 7006076 w 12188651"/>
              <a:gd name="connsiteY3639" fmla="*/ 780310 h 6858000"/>
              <a:gd name="connsiteX3640" fmla="*/ 4952154 w 12188651"/>
              <a:gd name="connsiteY3640" fmla="*/ 780296 h 6858000"/>
              <a:gd name="connsiteX3641" fmla="*/ 4912973 w 12188651"/>
              <a:gd name="connsiteY3641" fmla="*/ 796641 h 6858000"/>
              <a:gd name="connsiteX3642" fmla="*/ 4834497 w 12188651"/>
              <a:gd name="connsiteY3642" fmla="*/ 875382 h 6858000"/>
              <a:gd name="connsiteX3643" fmla="*/ 4834497 w 12188651"/>
              <a:gd name="connsiteY3643" fmla="*/ 953994 h 6858000"/>
              <a:gd name="connsiteX3644" fmla="*/ 4834505 w 12188651"/>
              <a:gd name="connsiteY3644" fmla="*/ 954001 h 6858000"/>
              <a:gd name="connsiteX3645" fmla="*/ 4834511 w 12188651"/>
              <a:gd name="connsiteY3645" fmla="*/ 954008 h 6858000"/>
              <a:gd name="connsiteX3646" fmla="*/ 4925572 w 12188651"/>
              <a:gd name="connsiteY3646" fmla="*/ 1045292 h 6858000"/>
              <a:gd name="connsiteX3647" fmla="*/ 5056083 w 12188651"/>
              <a:gd name="connsiteY3647" fmla="*/ 1176084 h 6858000"/>
              <a:gd name="connsiteX3648" fmla="*/ 5056083 w 12188651"/>
              <a:gd name="connsiteY3648" fmla="*/ 1176081 h 6858000"/>
              <a:gd name="connsiteX3649" fmla="*/ 5056096 w 12188651"/>
              <a:gd name="connsiteY3649" fmla="*/ 1176099 h 6858000"/>
              <a:gd name="connsiteX3650" fmla="*/ 5277619 w 12188651"/>
              <a:gd name="connsiteY3650" fmla="*/ 954008 h 6858000"/>
              <a:gd name="connsiteX3651" fmla="*/ 5277619 w 12188651"/>
              <a:gd name="connsiteY3651" fmla="*/ 875395 h 6858000"/>
              <a:gd name="connsiteX3652" fmla="*/ 5277613 w 12188651"/>
              <a:gd name="connsiteY3652" fmla="*/ 875386 h 6858000"/>
              <a:gd name="connsiteX3653" fmla="*/ 5277613 w 12188651"/>
              <a:gd name="connsiteY3653" fmla="*/ 875382 h 6858000"/>
              <a:gd name="connsiteX3654" fmla="*/ 5199129 w 12188651"/>
              <a:gd name="connsiteY3654" fmla="*/ 796772 h 6858000"/>
              <a:gd name="connsiteX3655" fmla="*/ 5159958 w 12188651"/>
              <a:gd name="connsiteY3655" fmla="*/ 780426 h 6858000"/>
              <a:gd name="connsiteX3656" fmla="*/ 5159834 w 12188651"/>
              <a:gd name="connsiteY3656" fmla="*/ 780296 h 6858000"/>
              <a:gd name="connsiteX3657" fmla="*/ 5120536 w 12188651"/>
              <a:gd name="connsiteY3657" fmla="*/ 796772 h 6858000"/>
              <a:gd name="connsiteX3658" fmla="*/ 5056083 w 12188651"/>
              <a:gd name="connsiteY3658" fmla="*/ 861369 h 6858000"/>
              <a:gd name="connsiteX3659" fmla="*/ 5001140 w 12188651"/>
              <a:gd name="connsiteY3659" fmla="*/ 806336 h 6858000"/>
              <a:gd name="connsiteX3660" fmla="*/ 4991465 w 12188651"/>
              <a:gd name="connsiteY3660" fmla="*/ 796641 h 6858000"/>
              <a:gd name="connsiteX3661" fmla="*/ 4952154 w 12188651"/>
              <a:gd name="connsiteY3661" fmla="*/ 780296 h 6858000"/>
              <a:gd name="connsiteX3662" fmla="*/ 2898359 w 12188651"/>
              <a:gd name="connsiteY3662" fmla="*/ 780282 h 6858000"/>
              <a:gd name="connsiteX3663" fmla="*/ 2859182 w 12188651"/>
              <a:gd name="connsiteY3663" fmla="*/ 796627 h 6858000"/>
              <a:gd name="connsiteX3664" fmla="*/ 2780702 w 12188651"/>
              <a:gd name="connsiteY3664" fmla="*/ 875369 h 6858000"/>
              <a:gd name="connsiteX3665" fmla="*/ 2780702 w 12188651"/>
              <a:gd name="connsiteY3665" fmla="*/ 953981 h 6858000"/>
              <a:gd name="connsiteX3666" fmla="*/ 3002260 w 12188651"/>
              <a:gd name="connsiteY3666" fmla="*/ 1176068 h 6858000"/>
              <a:gd name="connsiteX3667" fmla="*/ 3002266 w 12188651"/>
              <a:gd name="connsiteY3667" fmla="*/ 1176063 h 6858000"/>
              <a:gd name="connsiteX3668" fmla="*/ 3002284 w 12188651"/>
              <a:gd name="connsiteY3668" fmla="*/ 1176082 h 6858000"/>
              <a:gd name="connsiteX3669" fmla="*/ 3223843 w 12188651"/>
              <a:gd name="connsiteY3669" fmla="*/ 953994 h 6858000"/>
              <a:gd name="connsiteX3670" fmla="*/ 3223843 w 12188651"/>
              <a:gd name="connsiteY3670" fmla="*/ 875382 h 6858000"/>
              <a:gd name="connsiteX3671" fmla="*/ 3145363 w 12188651"/>
              <a:gd name="connsiteY3671" fmla="*/ 796772 h 6858000"/>
              <a:gd name="connsiteX3672" fmla="*/ 3126992 w 12188651"/>
              <a:gd name="connsiteY3672" fmla="*/ 784512 h 6858000"/>
              <a:gd name="connsiteX3673" fmla="*/ 3126986 w 12188651"/>
              <a:gd name="connsiteY3673" fmla="*/ 784511 h 6858000"/>
              <a:gd name="connsiteX3674" fmla="*/ 3126967 w 12188651"/>
              <a:gd name="connsiteY3674" fmla="*/ 784499 h 6858000"/>
              <a:gd name="connsiteX3675" fmla="*/ 3106177 w 12188651"/>
              <a:gd name="connsiteY3675" fmla="*/ 780415 h 6858000"/>
              <a:gd name="connsiteX3676" fmla="*/ 3106059 w 12188651"/>
              <a:gd name="connsiteY3676" fmla="*/ 780295 h 6858000"/>
              <a:gd name="connsiteX3677" fmla="*/ 3106051 w 12188651"/>
              <a:gd name="connsiteY3677" fmla="*/ 780298 h 6858000"/>
              <a:gd name="connsiteX3678" fmla="*/ 3106034 w 12188651"/>
              <a:gd name="connsiteY3678" fmla="*/ 780282 h 6858000"/>
              <a:gd name="connsiteX3679" fmla="*/ 3066731 w 12188651"/>
              <a:gd name="connsiteY3679" fmla="*/ 796757 h 6858000"/>
              <a:gd name="connsiteX3680" fmla="*/ 3002266 w 12188651"/>
              <a:gd name="connsiteY3680" fmla="*/ 861353 h 6858000"/>
              <a:gd name="connsiteX3681" fmla="*/ 2937685 w 12188651"/>
              <a:gd name="connsiteY3681" fmla="*/ 796641 h 6858000"/>
              <a:gd name="connsiteX3682" fmla="*/ 2919300 w 12188651"/>
              <a:gd name="connsiteY3682" fmla="*/ 784382 h 6858000"/>
              <a:gd name="connsiteX3683" fmla="*/ 2919293 w 12188651"/>
              <a:gd name="connsiteY3683" fmla="*/ 784381 h 6858000"/>
              <a:gd name="connsiteX3684" fmla="*/ 2919273 w 12188651"/>
              <a:gd name="connsiteY3684" fmla="*/ 784369 h 6858000"/>
              <a:gd name="connsiteX3685" fmla="*/ 2898359 w 12188651"/>
              <a:gd name="connsiteY3685" fmla="*/ 780282 h 6858000"/>
              <a:gd name="connsiteX3686" fmla="*/ 844379 w 12188651"/>
              <a:gd name="connsiteY3686" fmla="*/ 780268 h 6858000"/>
              <a:gd name="connsiteX3687" fmla="*/ 805206 w 12188651"/>
              <a:gd name="connsiteY3687" fmla="*/ 796613 h 6858000"/>
              <a:gd name="connsiteX3688" fmla="*/ 726726 w 12188651"/>
              <a:gd name="connsiteY3688" fmla="*/ 875355 h 6858000"/>
              <a:gd name="connsiteX3689" fmla="*/ 726726 w 12188651"/>
              <a:gd name="connsiteY3689" fmla="*/ 953966 h 6858000"/>
              <a:gd name="connsiteX3690" fmla="*/ 948284 w 12188651"/>
              <a:gd name="connsiteY3690" fmla="*/ 1176053 h 6858000"/>
              <a:gd name="connsiteX3691" fmla="*/ 948288 w 12188651"/>
              <a:gd name="connsiteY3691" fmla="*/ 1176048 h 6858000"/>
              <a:gd name="connsiteX3692" fmla="*/ 948306 w 12188651"/>
              <a:gd name="connsiteY3692" fmla="*/ 1176067 h 6858000"/>
              <a:gd name="connsiteX3693" fmla="*/ 1169863 w 12188651"/>
              <a:gd name="connsiteY3693" fmla="*/ 953980 h 6858000"/>
              <a:gd name="connsiteX3694" fmla="*/ 1169863 w 12188651"/>
              <a:gd name="connsiteY3694" fmla="*/ 875369 h 6858000"/>
              <a:gd name="connsiteX3695" fmla="*/ 1091384 w 12188651"/>
              <a:gd name="connsiteY3695" fmla="*/ 796757 h 6858000"/>
              <a:gd name="connsiteX3696" fmla="*/ 1073012 w 12188651"/>
              <a:gd name="connsiteY3696" fmla="*/ 784498 h 6858000"/>
              <a:gd name="connsiteX3697" fmla="*/ 1073010 w 12188651"/>
              <a:gd name="connsiteY3697" fmla="*/ 784497 h 6858000"/>
              <a:gd name="connsiteX3698" fmla="*/ 1072991 w 12188651"/>
              <a:gd name="connsiteY3698" fmla="*/ 784484 h 6858000"/>
              <a:gd name="connsiteX3699" fmla="*/ 1052198 w 12188651"/>
              <a:gd name="connsiteY3699" fmla="*/ 780401 h 6858000"/>
              <a:gd name="connsiteX3700" fmla="*/ 1052080 w 12188651"/>
              <a:gd name="connsiteY3700" fmla="*/ 780282 h 6858000"/>
              <a:gd name="connsiteX3701" fmla="*/ 1052072 w 12188651"/>
              <a:gd name="connsiteY3701" fmla="*/ 780283 h 6858000"/>
              <a:gd name="connsiteX3702" fmla="*/ 1052057 w 12188651"/>
              <a:gd name="connsiteY3702" fmla="*/ 780268 h 6858000"/>
              <a:gd name="connsiteX3703" fmla="*/ 1012754 w 12188651"/>
              <a:gd name="connsiteY3703" fmla="*/ 796743 h 6858000"/>
              <a:gd name="connsiteX3704" fmla="*/ 948290 w 12188651"/>
              <a:gd name="connsiteY3704" fmla="*/ 861340 h 6858000"/>
              <a:gd name="connsiteX3705" fmla="*/ 883707 w 12188651"/>
              <a:gd name="connsiteY3705" fmla="*/ 796627 h 6858000"/>
              <a:gd name="connsiteX3706" fmla="*/ 865320 w 12188651"/>
              <a:gd name="connsiteY3706" fmla="*/ 784368 h 6858000"/>
              <a:gd name="connsiteX3707" fmla="*/ 865315 w 12188651"/>
              <a:gd name="connsiteY3707" fmla="*/ 784367 h 6858000"/>
              <a:gd name="connsiteX3708" fmla="*/ 865296 w 12188651"/>
              <a:gd name="connsiteY3708" fmla="*/ 784354 h 6858000"/>
              <a:gd name="connsiteX3709" fmla="*/ 844379 w 12188651"/>
              <a:gd name="connsiteY3709" fmla="*/ 780268 h 6858000"/>
              <a:gd name="connsiteX3710" fmla="*/ 11910826 w 12188651"/>
              <a:gd name="connsiteY3710" fmla="*/ 569816 h 6858000"/>
              <a:gd name="connsiteX3711" fmla="*/ 12188651 w 12188651"/>
              <a:gd name="connsiteY3711" fmla="*/ 730603 h 6858000"/>
              <a:gd name="connsiteX3712" fmla="*/ 12188651 w 12188651"/>
              <a:gd name="connsiteY3712" fmla="*/ 1107455 h 6858000"/>
              <a:gd name="connsiteX3713" fmla="*/ 11910826 w 12188651"/>
              <a:gd name="connsiteY3713" fmla="*/ 946654 h 6858000"/>
              <a:gd name="connsiteX3714" fmla="*/ 11894481 w 12188651"/>
              <a:gd name="connsiteY3714" fmla="*/ 569816 h 6858000"/>
              <a:gd name="connsiteX3715" fmla="*/ 11894481 w 12188651"/>
              <a:gd name="connsiteY3715" fmla="*/ 946654 h 6858000"/>
              <a:gd name="connsiteX3716" fmla="*/ 11568890 w 12188651"/>
              <a:gd name="connsiteY3716" fmla="*/ 1135023 h 6858000"/>
              <a:gd name="connsiteX3717" fmla="*/ 11568890 w 12188651"/>
              <a:gd name="connsiteY3717" fmla="*/ 758171 h 6858000"/>
              <a:gd name="connsiteX3718" fmla="*/ 9857006 w 12188651"/>
              <a:gd name="connsiteY3718" fmla="*/ 569803 h 6858000"/>
              <a:gd name="connsiteX3719" fmla="*/ 10182468 w 12188651"/>
              <a:gd name="connsiteY3719" fmla="*/ 758157 h 6858000"/>
              <a:gd name="connsiteX3720" fmla="*/ 10182468 w 12188651"/>
              <a:gd name="connsiteY3720" fmla="*/ 1135005 h 6858000"/>
              <a:gd name="connsiteX3721" fmla="*/ 9857006 w 12188651"/>
              <a:gd name="connsiteY3721" fmla="*/ 946640 h 6858000"/>
              <a:gd name="connsiteX3722" fmla="*/ 9840661 w 12188651"/>
              <a:gd name="connsiteY3722" fmla="*/ 569803 h 6858000"/>
              <a:gd name="connsiteX3723" fmla="*/ 9840661 w 12188651"/>
              <a:gd name="connsiteY3723" fmla="*/ 946640 h 6858000"/>
              <a:gd name="connsiteX3724" fmla="*/ 9515070 w 12188651"/>
              <a:gd name="connsiteY3724" fmla="*/ 1135005 h 6858000"/>
              <a:gd name="connsiteX3725" fmla="*/ 9515070 w 12188651"/>
              <a:gd name="connsiteY3725" fmla="*/ 758157 h 6858000"/>
              <a:gd name="connsiteX3726" fmla="*/ 7803060 w 12188651"/>
              <a:gd name="connsiteY3726" fmla="*/ 569788 h 6858000"/>
              <a:gd name="connsiteX3727" fmla="*/ 8128521 w 12188651"/>
              <a:gd name="connsiteY3727" fmla="*/ 758143 h 6858000"/>
              <a:gd name="connsiteX3728" fmla="*/ 8128521 w 12188651"/>
              <a:gd name="connsiteY3728" fmla="*/ 1134990 h 6858000"/>
              <a:gd name="connsiteX3729" fmla="*/ 7803060 w 12188651"/>
              <a:gd name="connsiteY3729" fmla="*/ 946626 h 6858000"/>
              <a:gd name="connsiteX3730" fmla="*/ 7786715 w 12188651"/>
              <a:gd name="connsiteY3730" fmla="*/ 569788 h 6858000"/>
              <a:gd name="connsiteX3731" fmla="*/ 7786715 w 12188651"/>
              <a:gd name="connsiteY3731" fmla="*/ 946626 h 6858000"/>
              <a:gd name="connsiteX3732" fmla="*/ 7461125 w 12188651"/>
              <a:gd name="connsiteY3732" fmla="*/ 1134990 h 6858000"/>
              <a:gd name="connsiteX3733" fmla="*/ 7461125 w 12188651"/>
              <a:gd name="connsiteY3733" fmla="*/ 758143 h 6858000"/>
              <a:gd name="connsiteX3734" fmla="*/ 5749267 w 12188651"/>
              <a:gd name="connsiteY3734" fmla="*/ 569774 h 6858000"/>
              <a:gd name="connsiteX3735" fmla="*/ 6074705 w 12188651"/>
              <a:gd name="connsiteY3735" fmla="*/ 758130 h 6858000"/>
              <a:gd name="connsiteX3736" fmla="*/ 6074705 w 12188651"/>
              <a:gd name="connsiteY3736" fmla="*/ 1134975 h 6858000"/>
              <a:gd name="connsiteX3737" fmla="*/ 5749267 w 12188651"/>
              <a:gd name="connsiteY3737" fmla="*/ 946613 h 6858000"/>
              <a:gd name="connsiteX3738" fmla="*/ 5732923 w 12188651"/>
              <a:gd name="connsiteY3738" fmla="*/ 569774 h 6858000"/>
              <a:gd name="connsiteX3739" fmla="*/ 5732923 w 12188651"/>
              <a:gd name="connsiteY3739" fmla="*/ 946611 h 6858000"/>
              <a:gd name="connsiteX3740" fmla="*/ 5407356 w 12188651"/>
              <a:gd name="connsiteY3740" fmla="*/ 1134972 h 6858000"/>
              <a:gd name="connsiteX3741" fmla="*/ 5407356 w 12188651"/>
              <a:gd name="connsiteY3741" fmla="*/ 758130 h 6858000"/>
              <a:gd name="connsiteX3742" fmla="*/ 3679146 w 12188651"/>
              <a:gd name="connsiteY3742" fmla="*/ 569764 h 6858000"/>
              <a:gd name="connsiteX3743" fmla="*/ 3679146 w 12188651"/>
              <a:gd name="connsiteY3743" fmla="*/ 946598 h 6858000"/>
              <a:gd name="connsiteX3744" fmla="*/ 3353565 w 12188651"/>
              <a:gd name="connsiteY3744" fmla="*/ 1134955 h 6858000"/>
              <a:gd name="connsiteX3745" fmla="*/ 3353565 w 12188651"/>
              <a:gd name="connsiteY3745" fmla="*/ 758117 h 6858000"/>
              <a:gd name="connsiteX3746" fmla="*/ 3695498 w 12188651"/>
              <a:gd name="connsiteY3746" fmla="*/ 569759 h 6858000"/>
              <a:gd name="connsiteX3747" fmla="*/ 4020947 w 12188651"/>
              <a:gd name="connsiteY3747" fmla="*/ 758112 h 6858000"/>
              <a:gd name="connsiteX3748" fmla="*/ 4020947 w 12188651"/>
              <a:gd name="connsiteY3748" fmla="*/ 1134957 h 6858000"/>
              <a:gd name="connsiteX3749" fmla="*/ 3695498 w 12188651"/>
              <a:gd name="connsiteY3749" fmla="*/ 946601 h 6858000"/>
              <a:gd name="connsiteX3750" fmla="*/ 1625167 w 12188651"/>
              <a:gd name="connsiteY3750" fmla="*/ 569748 h 6858000"/>
              <a:gd name="connsiteX3751" fmla="*/ 1625167 w 12188651"/>
              <a:gd name="connsiteY3751" fmla="*/ 946584 h 6858000"/>
              <a:gd name="connsiteX3752" fmla="*/ 1299584 w 12188651"/>
              <a:gd name="connsiteY3752" fmla="*/ 1134940 h 6858000"/>
              <a:gd name="connsiteX3753" fmla="*/ 1299584 w 12188651"/>
              <a:gd name="connsiteY3753" fmla="*/ 758102 h 6858000"/>
              <a:gd name="connsiteX3754" fmla="*/ 1641516 w 12188651"/>
              <a:gd name="connsiteY3754" fmla="*/ 569745 h 6858000"/>
              <a:gd name="connsiteX3755" fmla="*/ 1966972 w 12188651"/>
              <a:gd name="connsiteY3755" fmla="*/ 758098 h 6858000"/>
              <a:gd name="connsiteX3756" fmla="*/ 1966972 w 12188651"/>
              <a:gd name="connsiteY3756" fmla="*/ 1134943 h 6858000"/>
              <a:gd name="connsiteX3757" fmla="*/ 1641516 w 12188651"/>
              <a:gd name="connsiteY3757" fmla="*/ 946587 h 6858000"/>
              <a:gd name="connsiteX3758" fmla="*/ 10532576 w 12188651"/>
              <a:gd name="connsiteY3758" fmla="*/ 565003 h 6858000"/>
              <a:gd name="connsiteX3759" fmla="*/ 10866339 w 12188651"/>
              <a:gd name="connsiteY3759" fmla="*/ 758157 h 6858000"/>
              <a:gd name="connsiteX3760" fmla="*/ 10866339 w 12188651"/>
              <a:gd name="connsiteY3760" fmla="*/ 1144474 h 6858000"/>
              <a:gd name="connsiteX3761" fmla="*/ 10532706 w 12188651"/>
              <a:gd name="connsiteY3761" fmla="*/ 1337629 h 6858000"/>
              <a:gd name="connsiteX3762" fmla="*/ 10198941 w 12188651"/>
              <a:gd name="connsiteY3762" fmla="*/ 1144474 h 6858000"/>
              <a:gd name="connsiteX3763" fmla="*/ 10198941 w 12188651"/>
              <a:gd name="connsiteY3763" fmla="*/ 758157 h 6858000"/>
              <a:gd name="connsiteX3764" fmla="*/ 8478628 w 12188651"/>
              <a:gd name="connsiteY3764" fmla="*/ 564988 h 6858000"/>
              <a:gd name="connsiteX3765" fmla="*/ 8812392 w 12188651"/>
              <a:gd name="connsiteY3765" fmla="*/ 758143 h 6858000"/>
              <a:gd name="connsiteX3766" fmla="*/ 8812392 w 12188651"/>
              <a:gd name="connsiteY3766" fmla="*/ 1144459 h 6858000"/>
              <a:gd name="connsiteX3767" fmla="*/ 8478758 w 12188651"/>
              <a:gd name="connsiteY3767" fmla="*/ 1337616 h 6858000"/>
              <a:gd name="connsiteX3768" fmla="*/ 8144995 w 12188651"/>
              <a:gd name="connsiteY3768" fmla="*/ 1144459 h 6858000"/>
              <a:gd name="connsiteX3769" fmla="*/ 8144995 w 12188651"/>
              <a:gd name="connsiteY3769" fmla="*/ 758143 h 6858000"/>
              <a:gd name="connsiteX3770" fmla="*/ 6424810 w 12188651"/>
              <a:gd name="connsiteY3770" fmla="*/ 564974 h 6858000"/>
              <a:gd name="connsiteX3771" fmla="*/ 6758573 w 12188651"/>
              <a:gd name="connsiteY3771" fmla="*/ 758130 h 6858000"/>
              <a:gd name="connsiteX3772" fmla="*/ 6758573 w 12188651"/>
              <a:gd name="connsiteY3772" fmla="*/ 1144443 h 6858000"/>
              <a:gd name="connsiteX3773" fmla="*/ 6424940 w 12188651"/>
              <a:gd name="connsiteY3773" fmla="*/ 1337600 h 6858000"/>
              <a:gd name="connsiteX3774" fmla="*/ 6091179 w 12188651"/>
              <a:gd name="connsiteY3774" fmla="*/ 1144443 h 6858000"/>
              <a:gd name="connsiteX3775" fmla="*/ 6091179 w 12188651"/>
              <a:gd name="connsiteY3775" fmla="*/ 758130 h 6858000"/>
              <a:gd name="connsiteX3776" fmla="*/ 4371020 w 12188651"/>
              <a:gd name="connsiteY3776" fmla="*/ 564960 h 6858000"/>
              <a:gd name="connsiteX3777" fmla="*/ 4704777 w 12188651"/>
              <a:gd name="connsiteY3777" fmla="*/ 758114 h 6858000"/>
              <a:gd name="connsiteX3778" fmla="*/ 4704777 w 12188651"/>
              <a:gd name="connsiteY3778" fmla="*/ 1144429 h 6858000"/>
              <a:gd name="connsiteX3779" fmla="*/ 4371146 w 12188651"/>
              <a:gd name="connsiteY3779" fmla="*/ 1337586 h 6858000"/>
              <a:gd name="connsiteX3780" fmla="*/ 4203813 w 12188651"/>
              <a:gd name="connsiteY3780" fmla="*/ 1240748 h 6858000"/>
              <a:gd name="connsiteX3781" fmla="*/ 4037427 w 12188651"/>
              <a:gd name="connsiteY3781" fmla="*/ 1144432 h 6858000"/>
              <a:gd name="connsiteX3782" fmla="*/ 4037427 w 12188651"/>
              <a:gd name="connsiteY3782" fmla="*/ 758117 h 6858000"/>
              <a:gd name="connsiteX3783" fmla="*/ 2317096 w 12188651"/>
              <a:gd name="connsiteY3783" fmla="*/ 564946 h 6858000"/>
              <a:gd name="connsiteX3784" fmla="*/ 2650849 w 12188651"/>
              <a:gd name="connsiteY3784" fmla="*/ 758098 h 6858000"/>
              <a:gd name="connsiteX3785" fmla="*/ 2650849 w 12188651"/>
              <a:gd name="connsiteY3785" fmla="*/ 1144413 h 6858000"/>
              <a:gd name="connsiteX3786" fmla="*/ 2317220 w 12188651"/>
              <a:gd name="connsiteY3786" fmla="*/ 1337570 h 6858000"/>
              <a:gd name="connsiteX3787" fmla="*/ 1983454 w 12188651"/>
              <a:gd name="connsiteY3787" fmla="*/ 1144417 h 6858000"/>
              <a:gd name="connsiteX3788" fmla="*/ 1983454 w 12188651"/>
              <a:gd name="connsiteY3788" fmla="*/ 758102 h 6858000"/>
              <a:gd name="connsiteX3789" fmla="*/ 263248 w 12188651"/>
              <a:gd name="connsiteY3789" fmla="*/ 564931 h 6858000"/>
              <a:gd name="connsiteX3790" fmla="*/ 597003 w 12188651"/>
              <a:gd name="connsiteY3790" fmla="*/ 758084 h 6858000"/>
              <a:gd name="connsiteX3791" fmla="*/ 597003 w 12188651"/>
              <a:gd name="connsiteY3791" fmla="*/ 1144398 h 6858000"/>
              <a:gd name="connsiteX3792" fmla="*/ 263372 w 12188651"/>
              <a:gd name="connsiteY3792" fmla="*/ 1337554 h 6858000"/>
              <a:gd name="connsiteX3793" fmla="*/ 0 w 12188651"/>
              <a:gd name="connsiteY3793" fmla="*/ 1185135 h 6858000"/>
              <a:gd name="connsiteX3794" fmla="*/ 0 w 12188651"/>
              <a:gd name="connsiteY3794" fmla="*/ 717338 h 6858000"/>
              <a:gd name="connsiteX3795" fmla="*/ 11217614 w 12188651"/>
              <a:gd name="connsiteY3795" fmla="*/ 564628 h 6858000"/>
              <a:gd name="connsiteX3796" fmla="*/ 11551377 w 12188651"/>
              <a:gd name="connsiteY3796" fmla="*/ 757782 h 6858000"/>
              <a:gd name="connsiteX3797" fmla="*/ 11551377 w 12188651"/>
              <a:gd name="connsiteY3797" fmla="*/ 1143957 h 6858000"/>
              <a:gd name="connsiteX3798" fmla="*/ 11217614 w 12188651"/>
              <a:gd name="connsiteY3798" fmla="*/ 1337111 h 6858000"/>
              <a:gd name="connsiteX3799" fmla="*/ 10883851 w 12188651"/>
              <a:gd name="connsiteY3799" fmla="*/ 1143959 h 6858000"/>
              <a:gd name="connsiteX3800" fmla="*/ 10883851 w 12188651"/>
              <a:gd name="connsiteY3800" fmla="*/ 757782 h 6858000"/>
              <a:gd name="connsiteX3801" fmla="*/ 9163666 w 12188651"/>
              <a:gd name="connsiteY3801" fmla="*/ 564614 h 6858000"/>
              <a:gd name="connsiteX3802" fmla="*/ 9497429 w 12188651"/>
              <a:gd name="connsiteY3802" fmla="*/ 757768 h 6858000"/>
              <a:gd name="connsiteX3803" fmla="*/ 9497429 w 12188651"/>
              <a:gd name="connsiteY3803" fmla="*/ 1143944 h 6858000"/>
              <a:gd name="connsiteX3804" fmla="*/ 9163666 w 12188651"/>
              <a:gd name="connsiteY3804" fmla="*/ 1337098 h 6858000"/>
              <a:gd name="connsiteX3805" fmla="*/ 8829903 w 12188651"/>
              <a:gd name="connsiteY3805" fmla="*/ 1143941 h 6858000"/>
              <a:gd name="connsiteX3806" fmla="*/ 8829903 w 12188651"/>
              <a:gd name="connsiteY3806" fmla="*/ 757768 h 6858000"/>
              <a:gd name="connsiteX3807" fmla="*/ 7109850 w 12188651"/>
              <a:gd name="connsiteY3807" fmla="*/ 564599 h 6858000"/>
              <a:gd name="connsiteX3808" fmla="*/ 7443613 w 12188651"/>
              <a:gd name="connsiteY3808" fmla="*/ 757755 h 6858000"/>
              <a:gd name="connsiteX3809" fmla="*/ 7443613 w 12188651"/>
              <a:gd name="connsiteY3809" fmla="*/ 1143928 h 6858000"/>
              <a:gd name="connsiteX3810" fmla="*/ 7109850 w 12188651"/>
              <a:gd name="connsiteY3810" fmla="*/ 1337082 h 6858000"/>
              <a:gd name="connsiteX3811" fmla="*/ 6776085 w 12188651"/>
              <a:gd name="connsiteY3811" fmla="*/ 1143928 h 6858000"/>
              <a:gd name="connsiteX3812" fmla="*/ 6776085 w 12188651"/>
              <a:gd name="connsiteY3812" fmla="*/ 757755 h 6858000"/>
              <a:gd name="connsiteX3813" fmla="*/ 5055971 w 12188651"/>
              <a:gd name="connsiteY3813" fmla="*/ 564585 h 6858000"/>
              <a:gd name="connsiteX3814" fmla="*/ 5143887 w 12188651"/>
              <a:gd name="connsiteY3814" fmla="*/ 615477 h 6858000"/>
              <a:gd name="connsiteX3815" fmla="*/ 5389701 w 12188651"/>
              <a:gd name="connsiteY3815" fmla="*/ 757730 h 6858000"/>
              <a:gd name="connsiteX3816" fmla="*/ 5389701 w 12188651"/>
              <a:gd name="connsiteY3816" fmla="*/ 1143911 h 6858000"/>
              <a:gd name="connsiteX3817" fmla="*/ 5055949 w 12188651"/>
              <a:gd name="connsiteY3817" fmla="*/ 1337066 h 6858000"/>
              <a:gd name="connsiteX3818" fmla="*/ 4722183 w 12188651"/>
              <a:gd name="connsiteY3818" fmla="*/ 1143920 h 6858000"/>
              <a:gd name="connsiteX3819" fmla="*/ 4722183 w 12188651"/>
              <a:gd name="connsiteY3819" fmla="*/ 757740 h 6858000"/>
              <a:gd name="connsiteX3820" fmla="*/ 3002159 w 12188651"/>
              <a:gd name="connsiteY3820" fmla="*/ 564571 h 6858000"/>
              <a:gd name="connsiteX3821" fmla="*/ 3016027 w 12188651"/>
              <a:gd name="connsiteY3821" fmla="*/ 572597 h 6858000"/>
              <a:gd name="connsiteX3822" fmla="*/ 3335897 w 12188651"/>
              <a:gd name="connsiteY3822" fmla="*/ 757711 h 6858000"/>
              <a:gd name="connsiteX3823" fmla="*/ 3335897 w 12188651"/>
              <a:gd name="connsiteY3823" fmla="*/ 1143896 h 6858000"/>
              <a:gd name="connsiteX3824" fmla="*/ 3002127 w 12188651"/>
              <a:gd name="connsiteY3824" fmla="*/ 1337052 h 6858000"/>
              <a:gd name="connsiteX3825" fmla="*/ 2668394 w 12188651"/>
              <a:gd name="connsiteY3825" fmla="*/ 1143911 h 6858000"/>
              <a:gd name="connsiteX3826" fmla="*/ 2668394 w 12188651"/>
              <a:gd name="connsiteY3826" fmla="*/ 757727 h 6858000"/>
              <a:gd name="connsiteX3827" fmla="*/ 948179 w 12188651"/>
              <a:gd name="connsiteY3827" fmla="*/ 564556 h 6858000"/>
              <a:gd name="connsiteX3828" fmla="*/ 1281917 w 12188651"/>
              <a:gd name="connsiteY3828" fmla="*/ 757697 h 6858000"/>
              <a:gd name="connsiteX3829" fmla="*/ 1281917 w 12188651"/>
              <a:gd name="connsiteY3829" fmla="*/ 1143881 h 6858000"/>
              <a:gd name="connsiteX3830" fmla="*/ 948154 w 12188651"/>
              <a:gd name="connsiteY3830" fmla="*/ 1337037 h 6858000"/>
              <a:gd name="connsiteX3831" fmla="*/ 740385 w 12188651"/>
              <a:gd name="connsiteY3831" fmla="*/ 1216797 h 6858000"/>
              <a:gd name="connsiteX3832" fmla="*/ 614417 w 12188651"/>
              <a:gd name="connsiteY3832" fmla="*/ 1143897 h 6858000"/>
              <a:gd name="connsiteX3833" fmla="*/ 614417 w 12188651"/>
              <a:gd name="connsiteY3833" fmla="*/ 757713 h 6858000"/>
              <a:gd name="connsiteX3834" fmla="*/ 10875809 w 12188651"/>
              <a:gd name="connsiteY3834" fmla="*/ 366803 h 6858000"/>
              <a:gd name="connsiteX3835" fmla="*/ 11201256 w 12188651"/>
              <a:gd name="connsiteY3835" fmla="*/ 555149 h 6858000"/>
              <a:gd name="connsiteX3836" fmla="*/ 10875678 w 12188651"/>
              <a:gd name="connsiteY3836" fmla="*/ 743498 h 6858000"/>
              <a:gd name="connsiteX3837" fmla="*/ 10550231 w 12188651"/>
              <a:gd name="connsiteY3837" fmla="*/ 555149 h 6858000"/>
              <a:gd name="connsiteX3838" fmla="*/ 8821860 w 12188651"/>
              <a:gd name="connsiteY3838" fmla="*/ 366789 h 6858000"/>
              <a:gd name="connsiteX3839" fmla="*/ 9147308 w 12188651"/>
              <a:gd name="connsiteY3839" fmla="*/ 555135 h 6858000"/>
              <a:gd name="connsiteX3840" fmla="*/ 8821731 w 12188651"/>
              <a:gd name="connsiteY3840" fmla="*/ 743485 h 6858000"/>
              <a:gd name="connsiteX3841" fmla="*/ 8496282 w 12188651"/>
              <a:gd name="connsiteY3841" fmla="*/ 555135 h 6858000"/>
              <a:gd name="connsiteX3842" fmla="*/ 6768043 w 12188651"/>
              <a:gd name="connsiteY3842" fmla="*/ 366774 h 6858000"/>
              <a:gd name="connsiteX3843" fmla="*/ 7093491 w 12188651"/>
              <a:gd name="connsiteY3843" fmla="*/ 555121 h 6858000"/>
              <a:gd name="connsiteX3844" fmla="*/ 6767913 w 12188651"/>
              <a:gd name="connsiteY3844" fmla="*/ 743469 h 6858000"/>
              <a:gd name="connsiteX3845" fmla="*/ 6442466 w 12188651"/>
              <a:gd name="connsiteY3845" fmla="*/ 555121 h 6858000"/>
              <a:gd name="connsiteX3846" fmla="*/ 4714128 w 12188651"/>
              <a:gd name="connsiteY3846" fmla="*/ 366759 h 6858000"/>
              <a:gd name="connsiteX3847" fmla="*/ 5039593 w 12188651"/>
              <a:gd name="connsiteY3847" fmla="*/ 555101 h 6858000"/>
              <a:gd name="connsiteX3848" fmla="*/ 4713993 w 12188651"/>
              <a:gd name="connsiteY3848" fmla="*/ 743455 h 6858000"/>
              <a:gd name="connsiteX3849" fmla="*/ 4388549 w 12188651"/>
              <a:gd name="connsiteY3849" fmla="*/ 555110 h 6858000"/>
              <a:gd name="connsiteX3850" fmla="*/ 2660353 w 12188651"/>
              <a:gd name="connsiteY3850" fmla="*/ 366745 h 6858000"/>
              <a:gd name="connsiteX3851" fmla="*/ 2961041 w 12188651"/>
              <a:gd name="connsiteY3851" fmla="*/ 540764 h 6858000"/>
              <a:gd name="connsiteX3852" fmla="*/ 2985786 w 12188651"/>
              <a:gd name="connsiteY3852" fmla="*/ 555084 h 6858000"/>
              <a:gd name="connsiteX3853" fmla="*/ 2660196 w 12188651"/>
              <a:gd name="connsiteY3853" fmla="*/ 743441 h 6858000"/>
              <a:gd name="connsiteX3854" fmla="*/ 2334766 w 12188651"/>
              <a:gd name="connsiteY3854" fmla="*/ 555101 h 6858000"/>
              <a:gd name="connsiteX3855" fmla="*/ 606375 w 12188651"/>
              <a:gd name="connsiteY3855" fmla="*/ 366730 h 6858000"/>
              <a:gd name="connsiteX3856" fmla="*/ 931808 w 12188651"/>
              <a:gd name="connsiteY3856" fmla="*/ 555071 h 6858000"/>
              <a:gd name="connsiteX3857" fmla="*/ 606218 w 12188651"/>
              <a:gd name="connsiteY3857" fmla="*/ 743426 h 6858000"/>
              <a:gd name="connsiteX3858" fmla="*/ 280784 w 12188651"/>
              <a:gd name="connsiteY3858" fmla="*/ 555086 h 6858000"/>
              <a:gd name="connsiteX3859" fmla="*/ 12140685 w 12188651"/>
              <a:gd name="connsiteY3859" fmla="*/ 202966 h 6858000"/>
              <a:gd name="connsiteX3860" fmla="*/ 12168445 w 12188651"/>
              <a:gd name="connsiteY3860" fmla="*/ 214509 h 6858000"/>
              <a:gd name="connsiteX3861" fmla="*/ 12188651 w 12188651"/>
              <a:gd name="connsiteY3861" fmla="*/ 234757 h 6858000"/>
              <a:gd name="connsiteX3862" fmla="*/ 12188651 w 12188651"/>
              <a:gd name="connsiteY3862" fmla="*/ 503007 h 6858000"/>
              <a:gd name="connsiteX3863" fmla="*/ 12034576 w 12188651"/>
              <a:gd name="connsiteY3863" fmla="*/ 348641 h 6858000"/>
              <a:gd name="connsiteX3864" fmla="*/ 12034576 w 12188651"/>
              <a:gd name="connsiteY3864" fmla="*/ 293253 h 6858000"/>
              <a:gd name="connsiteX3865" fmla="*/ 12113056 w 12188651"/>
              <a:gd name="connsiteY3865" fmla="*/ 214509 h 6858000"/>
              <a:gd name="connsiteX3866" fmla="*/ 12140685 w 12188651"/>
              <a:gd name="connsiteY3866" fmla="*/ 202966 h 6858000"/>
              <a:gd name="connsiteX3867" fmla="*/ 10086867 w 12188651"/>
              <a:gd name="connsiteY3867" fmla="*/ 202950 h 6858000"/>
              <a:gd name="connsiteX3868" fmla="*/ 10114626 w 12188651"/>
              <a:gd name="connsiteY3868" fmla="*/ 214495 h 6858000"/>
              <a:gd name="connsiteX3869" fmla="*/ 10179226 w 12188651"/>
              <a:gd name="connsiteY3869" fmla="*/ 279226 h 6858000"/>
              <a:gd name="connsiteX3870" fmla="*/ 10190770 w 12188651"/>
              <a:gd name="connsiteY3870" fmla="*/ 290903 h 6858000"/>
              <a:gd name="connsiteX3871" fmla="*/ 10202315 w 12188651"/>
              <a:gd name="connsiteY3871" fmla="*/ 279226 h 6858000"/>
              <a:gd name="connsiteX3872" fmla="*/ 10266786 w 12188651"/>
              <a:gd name="connsiteY3872" fmla="*/ 214495 h 6858000"/>
              <a:gd name="connsiteX3873" fmla="*/ 10294543 w 12188651"/>
              <a:gd name="connsiteY3873" fmla="*/ 202950 h 6858000"/>
              <a:gd name="connsiteX3874" fmla="*/ 10322173 w 12188651"/>
              <a:gd name="connsiteY3874" fmla="*/ 214495 h 6858000"/>
              <a:gd name="connsiteX3875" fmla="*/ 10400653 w 12188651"/>
              <a:gd name="connsiteY3875" fmla="*/ 293106 h 6858000"/>
              <a:gd name="connsiteX3876" fmla="*/ 10412198 w 12188651"/>
              <a:gd name="connsiteY3876" fmla="*/ 320867 h 6858000"/>
              <a:gd name="connsiteX3877" fmla="*/ 10400783 w 12188651"/>
              <a:gd name="connsiteY3877" fmla="*/ 348627 h 6858000"/>
              <a:gd name="connsiteX3878" fmla="*/ 10190770 w 12188651"/>
              <a:gd name="connsiteY3878" fmla="*/ 559036 h 6858000"/>
              <a:gd name="connsiteX3879" fmla="*/ 9980757 w 12188651"/>
              <a:gd name="connsiteY3879" fmla="*/ 348627 h 6858000"/>
              <a:gd name="connsiteX3880" fmla="*/ 9980757 w 12188651"/>
              <a:gd name="connsiteY3880" fmla="*/ 293236 h 6858000"/>
              <a:gd name="connsiteX3881" fmla="*/ 10059237 w 12188651"/>
              <a:gd name="connsiteY3881" fmla="*/ 214495 h 6858000"/>
              <a:gd name="connsiteX3882" fmla="*/ 10086867 w 12188651"/>
              <a:gd name="connsiteY3882" fmla="*/ 202950 h 6858000"/>
              <a:gd name="connsiteX3883" fmla="*/ 8032919 w 12188651"/>
              <a:gd name="connsiteY3883" fmla="*/ 202936 h 6858000"/>
              <a:gd name="connsiteX3884" fmla="*/ 8060679 w 12188651"/>
              <a:gd name="connsiteY3884" fmla="*/ 214481 h 6858000"/>
              <a:gd name="connsiteX3885" fmla="*/ 8125278 w 12188651"/>
              <a:gd name="connsiteY3885" fmla="*/ 279212 h 6858000"/>
              <a:gd name="connsiteX3886" fmla="*/ 8136823 w 12188651"/>
              <a:gd name="connsiteY3886" fmla="*/ 290888 h 6858000"/>
              <a:gd name="connsiteX3887" fmla="*/ 8148368 w 12188651"/>
              <a:gd name="connsiteY3887" fmla="*/ 279212 h 6858000"/>
              <a:gd name="connsiteX3888" fmla="*/ 8212837 w 12188651"/>
              <a:gd name="connsiteY3888" fmla="*/ 214481 h 6858000"/>
              <a:gd name="connsiteX3889" fmla="*/ 8240596 w 12188651"/>
              <a:gd name="connsiteY3889" fmla="*/ 202936 h 6858000"/>
              <a:gd name="connsiteX3890" fmla="*/ 8268226 w 12188651"/>
              <a:gd name="connsiteY3890" fmla="*/ 214481 h 6858000"/>
              <a:gd name="connsiteX3891" fmla="*/ 8346707 w 12188651"/>
              <a:gd name="connsiteY3891" fmla="*/ 293091 h 6858000"/>
              <a:gd name="connsiteX3892" fmla="*/ 8358252 w 12188651"/>
              <a:gd name="connsiteY3892" fmla="*/ 320853 h 6858000"/>
              <a:gd name="connsiteX3893" fmla="*/ 8346837 w 12188651"/>
              <a:gd name="connsiteY3893" fmla="*/ 348613 h 6858000"/>
              <a:gd name="connsiteX3894" fmla="*/ 8136823 w 12188651"/>
              <a:gd name="connsiteY3894" fmla="*/ 559021 h 6858000"/>
              <a:gd name="connsiteX3895" fmla="*/ 7926811 w 12188651"/>
              <a:gd name="connsiteY3895" fmla="*/ 348613 h 6858000"/>
              <a:gd name="connsiteX3896" fmla="*/ 7926811 w 12188651"/>
              <a:gd name="connsiteY3896" fmla="*/ 293223 h 6858000"/>
              <a:gd name="connsiteX3897" fmla="*/ 8005289 w 12188651"/>
              <a:gd name="connsiteY3897" fmla="*/ 214481 h 6858000"/>
              <a:gd name="connsiteX3898" fmla="*/ 8032919 w 12188651"/>
              <a:gd name="connsiteY3898" fmla="*/ 202936 h 6858000"/>
              <a:gd name="connsiteX3899" fmla="*/ 5979111 w 12188651"/>
              <a:gd name="connsiteY3899" fmla="*/ 202922 h 6858000"/>
              <a:gd name="connsiteX3900" fmla="*/ 6006869 w 12188651"/>
              <a:gd name="connsiteY3900" fmla="*/ 214466 h 6858000"/>
              <a:gd name="connsiteX3901" fmla="*/ 6071463 w 12188651"/>
              <a:gd name="connsiteY3901" fmla="*/ 279197 h 6858000"/>
              <a:gd name="connsiteX3902" fmla="*/ 6083008 w 12188651"/>
              <a:gd name="connsiteY3902" fmla="*/ 290872 h 6858000"/>
              <a:gd name="connsiteX3903" fmla="*/ 6094550 w 12188651"/>
              <a:gd name="connsiteY3903" fmla="*/ 279197 h 6858000"/>
              <a:gd name="connsiteX3904" fmla="*/ 6159019 w 12188651"/>
              <a:gd name="connsiteY3904" fmla="*/ 214466 h 6858000"/>
              <a:gd name="connsiteX3905" fmla="*/ 6186779 w 12188651"/>
              <a:gd name="connsiteY3905" fmla="*/ 202922 h 6858000"/>
              <a:gd name="connsiteX3906" fmla="*/ 6214409 w 12188651"/>
              <a:gd name="connsiteY3906" fmla="*/ 214466 h 6858000"/>
              <a:gd name="connsiteX3907" fmla="*/ 6292888 w 12188651"/>
              <a:gd name="connsiteY3907" fmla="*/ 293078 h 6858000"/>
              <a:gd name="connsiteX3908" fmla="*/ 6304433 w 12188651"/>
              <a:gd name="connsiteY3908" fmla="*/ 320838 h 6858000"/>
              <a:gd name="connsiteX3909" fmla="*/ 6293017 w 12188651"/>
              <a:gd name="connsiteY3909" fmla="*/ 348599 h 6858000"/>
              <a:gd name="connsiteX3910" fmla="*/ 6083008 w 12188651"/>
              <a:gd name="connsiteY3910" fmla="*/ 559007 h 6858000"/>
              <a:gd name="connsiteX3911" fmla="*/ 5873007 w 12188651"/>
              <a:gd name="connsiteY3911" fmla="*/ 348599 h 6858000"/>
              <a:gd name="connsiteX3912" fmla="*/ 5873007 w 12188651"/>
              <a:gd name="connsiteY3912" fmla="*/ 293208 h 6858000"/>
              <a:gd name="connsiteX3913" fmla="*/ 5951485 w 12188651"/>
              <a:gd name="connsiteY3913" fmla="*/ 214466 h 6858000"/>
              <a:gd name="connsiteX3914" fmla="*/ 5979111 w 12188651"/>
              <a:gd name="connsiteY3914" fmla="*/ 202922 h 6858000"/>
              <a:gd name="connsiteX3915" fmla="*/ 3925350 w 12188651"/>
              <a:gd name="connsiteY3915" fmla="*/ 202907 h 6858000"/>
              <a:gd name="connsiteX3916" fmla="*/ 3953107 w 12188651"/>
              <a:gd name="connsiteY3916" fmla="*/ 214451 h 6858000"/>
              <a:gd name="connsiteX3917" fmla="*/ 4017710 w 12188651"/>
              <a:gd name="connsiteY3917" fmla="*/ 279184 h 6858000"/>
              <a:gd name="connsiteX3918" fmla="*/ 4029255 w 12188651"/>
              <a:gd name="connsiteY3918" fmla="*/ 290858 h 6858000"/>
              <a:gd name="connsiteX3919" fmla="*/ 4040802 w 12188651"/>
              <a:gd name="connsiteY3919" fmla="*/ 279184 h 6858000"/>
              <a:gd name="connsiteX3920" fmla="*/ 4105272 w 12188651"/>
              <a:gd name="connsiteY3920" fmla="*/ 214451 h 6858000"/>
              <a:gd name="connsiteX3921" fmla="*/ 4133033 w 12188651"/>
              <a:gd name="connsiteY3921" fmla="*/ 202907 h 6858000"/>
              <a:gd name="connsiteX3922" fmla="*/ 4160664 w 12188651"/>
              <a:gd name="connsiteY3922" fmla="*/ 214451 h 6858000"/>
              <a:gd name="connsiteX3923" fmla="*/ 4239091 w 12188651"/>
              <a:gd name="connsiteY3923" fmla="*/ 293063 h 6858000"/>
              <a:gd name="connsiteX3924" fmla="*/ 4250643 w 12188651"/>
              <a:gd name="connsiteY3924" fmla="*/ 320823 h 6858000"/>
              <a:gd name="connsiteX3925" fmla="*/ 4239218 w 12188651"/>
              <a:gd name="connsiteY3925" fmla="*/ 348583 h 6858000"/>
              <a:gd name="connsiteX3926" fmla="*/ 4029255 w 12188651"/>
              <a:gd name="connsiteY3926" fmla="*/ 558992 h 6858000"/>
              <a:gd name="connsiteX3927" fmla="*/ 3819236 w 12188651"/>
              <a:gd name="connsiteY3927" fmla="*/ 348583 h 6858000"/>
              <a:gd name="connsiteX3928" fmla="*/ 3819236 w 12188651"/>
              <a:gd name="connsiteY3928" fmla="*/ 293193 h 6858000"/>
              <a:gd name="connsiteX3929" fmla="*/ 3897721 w 12188651"/>
              <a:gd name="connsiteY3929" fmla="*/ 214451 h 6858000"/>
              <a:gd name="connsiteX3930" fmla="*/ 3925350 w 12188651"/>
              <a:gd name="connsiteY3930" fmla="*/ 202907 h 6858000"/>
              <a:gd name="connsiteX3931" fmla="*/ 1871377 w 12188651"/>
              <a:gd name="connsiteY3931" fmla="*/ 202891 h 6858000"/>
              <a:gd name="connsiteX3932" fmla="*/ 1899135 w 12188651"/>
              <a:gd name="connsiteY3932" fmla="*/ 214436 h 6858000"/>
              <a:gd name="connsiteX3933" fmla="*/ 1963735 w 12188651"/>
              <a:gd name="connsiteY3933" fmla="*/ 279169 h 6858000"/>
              <a:gd name="connsiteX3934" fmla="*/ 1975281 w 12188651"/>
              <a:gd name="connsiteY3934" fmla="*/ 290844 h 6858000"/>
              <a:gd name="connsiteX3935" fmla="*/ 1986824 w 12188651"/>
              <a:gd name="connsiteY3935" fmla="*/ 279169 h 6858000"/>
              <a:gd name="connsiteX3936" fmla="*/ 2051295 w 12188651"/>
              <a:gd name="connsiteY3936" fmla="*/ 214436 h 6858000"/>
              <a:gd name="connsiteX3937" fmla="*/ 2079054 w 12188651"/>
              <a:gd name="connsiteY3937" fmla="*/ 202891 h 6858000"/>
              <a:gd name="connsiteX3938" fmla="*/ 2106692 w 12188651"/>
              <a:gd name="connsiteY3938" fmla="*/ 214436 h 6858000"/>
              <a:gd name="connsiteX3939" fmla="*/ 2185175 w 12188651"/>
              <a:gd name="connsiteY3939" fmla="*/ 293048 h 6858000"/>
              <a:gd name="connsiteX3940" fmla="*/ 2196719 w 12188651"/>
              <a:gd name="connsiteY3940" fmla="*/ 320809 h 6858000"/>
              <a:gd name="connsiteX3941" fmla="*/ 2185303 w 12188651"/>
              <a:gd name="connsiteY3941" fmla="*/ 348569 h 6858000"/>
              <a:gd name="connsiteX3942" fmla="*/ 1975281 w 12188651"/>
              <a:gd name="connsiteY3942" fmla="*/ 558978 h 6858000"/>
              <a:gd name="connsiteX3943" fmla="*/ 1765268 w 12188651"/>
              <a:gd name="connsiteY3943" fmla="*/ 348569 h 6858000"/>
              <a:gd name="connsiteX3944" fmla="*/ 1765268 w 12188651"/>
              <a:gd name="connsiteY3944" fmla="*/ 293179 h 6858000"/>
              <a:gd name="connsiteX3945" fmla="*/ 1843747 w 12188651"/>
              <a:gd name="connsiteY3945" fmla="*/ 214436 h 6858000"/>
              <a:gd name="connsiteX3946" fmla="*/ 1871377 w 12188651"/>
              <a:gd name="connsiteY3946" fmla="*/ 202891 h 6858000"/>
              <a:gd name="connsiteX3947" fmla="*/ 25217 w 12188651"/>
              <a:gd name="connsiteY3947" fmla="*/ 202877 h 6858000"/>
              <a:gd name="connsiteX3948" fmla="*/ 52846 w 12188651"/>
              <a:gd name="connsiteY3948" fmla="*/ 214422 h 6858000"/>
              <a:gd name="connsiteX3949" fmla="*/ 131324 w 12188651"/>
              <a:gd name="connsiteY3949" fmla="*/ 293033 h 6858000"/>
              <a:gd name="connsiteX3950" fmla="*/ 142867 w 12188651"/>
              <a:gd name="connsiteY3950" fmla="*/ 320794 h 6858000"/>
              <a:gd name="connsiteX3951" fmla="*/ 131454 w 12188651"/>
              <a:gd name="connsiteY3951" fmla="*/ 348554 h 6858000"/>
              <a:gd name="connsiteX3952" fmla="*/ 0 w 12188651"/>
              <a:gd name="connsiteY3952" fmla="*/ 480257 h 6858000"/>
              <a:gd name="connsiteX3953" fmla="*/ 0 w 12188651"/>
              <a:gd name="connsiteY3953" fmla="*/ 213364 h 6858000"/>
              <a:gd name="connsiteX3954" fmla="*/ 10086867 w 12188651"/>
              <a:gd name="connsiteY3954" fmla="*/ 186475 h 6858000"/>
              <a:gd name="connsiteX3955" fmla="*/ 10047692 w 12188651"/>
              <a:gd name="connsiteY3955" fmla="*/ 202821 h 6858000"/>
              <a:gd name="connsiteX3956" fmla="*/ 9969212 w 12188651"/>
              <a:gd name="connsiteY3956" fmla="*/ 281561 h 6858000"/>
              <a:gd name="connsiteX3957" fmla="*/ 9969212 w 12188651"/>
              <a:gd name="connsiteY3957" fmla="*/ 360173 h 6858000"/>
              <a:gd name="connsiteX3958" fmla="*/ 10190770 w 12188651"/>
              <a:gd name="connsiteY3958" fmla="*/ 582255 h 6858000"/>
              <a:gd name="connsiteX3959" fmla="*/ 10412328 w 12188651"/>
              <a:gd name="connsiteY3959" fmla="*/ 360173 h 6858000"/>
              <a:gd name="connsiteX3960" fmla="*/ 10412328 w 12188651"/>
              <a:gd name="connsiteY3960" fmla="*/ 281561 h 6858000"/>
              <a:gd name="connsiteX3961" fmla="*/ 10333848 w 12188651"/>
              <a:gd name="connsiteY3961" fmla="*/ 202950 h 6858000"/>
              <a:gd name="connsiteX3962" fmla="*/ 10294673 w 12188651"/>
              <a:gd name="connsiteY3962" fmla="*/ 186606 h 6858000"/>
              <a:gd name="connsiteX3963" fmla="*/ 10294543 w 12188651"/>
              <a:gd name="connsiteY3963" fmla="*/ 186475 h 6858000"/>
              <a:gd name="connsiteX3964" fmla="*/ 10255241 w 12188651"/>
              <a:gd name="connsiteY3964" fmla="*/ 202950 h 6858000"/>
              <a:gd name="connsiteX3965" fmla="*/ 10190770 w 12188651"/>
              <a:gd name="connsiteY3965" fmla="*/ 267553 h 6858000"/>
              <a:gd name="connsiteX3966" fmla="*/ 10126171 w 12188651"/>
              <a:gd name="connsiteY3966" fmla="*/ 202821 h 6858000"/>
              <a:gd name="connsiteX3967" fmla="*/ 10086867 w 12188651"/>
              <a:gd name="connsiteY3967" fmla="*/ 186475 h 6858000"/>
              <a:gd name="connsiteX3968" fmla="*/ 8032919 w 12188651"/>
              <a:gd name="connsiteY3968" fmla="*/ 186461 h 6858000"/>
              <a:gd name="connsiteX3969" fmla="*/ 7993744 w 12188651"/>
              <a:gd name="connsiteY3969" fmla="*/ 202806 h 6858000"/>
              <a:gd name="connsiteX3970" fmla="*/ 7915266 w 12188651"/>
              <a:gd name="connsiteY3970" fmla="*/ 281547 h 6858000"/>
              <a:gd name="connsiteX3971" fmla="*/ 7915266 w 12188651"/>
              <a:gd name="connsiteY3971" fmla="*/ 360159 h 6858000"/>
              <a:gd name="connsiteX3972" fmla="*/ 8136823 w 12188651"/>
              <a:gd name="connsiteY3972" fmla="*/ 582242 h 6858000"/>
              <a:gd name="connsiteX3973" fmla="*/ 8358382 w 12188651"/>
              <a:gd name="connsiteY3973" fmla="*/ 360159 h 6858000"/>
              <a:gd name="connsiteX3974" fmla="*/ 8358382 w 12188651"/>
              <a:gd name="connsiteY3974" fmla="*/ 281547 h 6858000"/>
              <a:gd name="connsiteX3975" fmla="*/ 8279902 w 12188651"/>
              <a:gd name="connsiteY3975" fmla="*/ 202936 h 6858000"/>
              <a:gd name="connsiteX3976" fmla="*/ 8240727 w 12188651"/>
              <a:gd name="connsiteY3976" fmla="*/ 186591 h 6858000"/>
              <a:gd name="connsiteX3977" fmla="*/ 8240596 w 12188651"/>
              <a:gd name="connsiteY3977" fmla="*/ 186461 h 6858000"/>
              <a:gd name="connsiteX3978" fmla="*/ 8201292 w 12188651"/>
              <a:gd name="connsiteY3978" fmla="*/ 202936 h 6858000"/>
              <a:gd name="connsiteX3979" fmla="*/ 8136823 w 12188651"/>
              <a:gd name="connsiteY3979" fmla="*/ 267537 h 6858000"/>
              <a:gd name="connsiteX3980" fmla="*/ 8072224 w 12188651"/>
              <a:gd name="connsiteY3980" fmla="*/ 202806 h 6858000"/>
              <a:gd name="connsiteX3981" fmla="*/ 8032919 w 12188651"/>
              <a:gd name="connsiteY3981" fmla="*/ 186461 h 6858000"/>
              <a:gd name="connsiteX3982" fmla="*/ 5979111 w 12188651"/>
              <a:gd name="connsiteY3982" fmla="*/ 186446 h 6858000"/>
              <a:gd name="connsiteX3983" fmla="*/ 5939940 w 12188651"/>
              <a:gd name="connsiteY3983" fmla="*/ 202790 h 6858000"/>
              <a:gd name="connsiteX3984" fmla="*/ 5861464 w 12188651"/>
              <a:gd name="connsiteY3984" fmla="*/ 281532 h 6858000"/>
              <a:gd name="connsiteX3985" fmla="*/ 5861464 w 12188651"/>
              <a:gd name="connsiteY3985" fmla="*/ 360144 h 6858000"/>
              <a:gd name="connsiteX3986" fmla="*/ 6083008 w 12188651"/>
              <a:gd name="connsiteY3986" fmla="*/ 582227 h 6858000"/>
              <a:gd name="connsiteX3987" fmla="*/ 6304562 w 12188651"/>
              <a:gd name="connsiteY3987" fmla="*/ 360144 h 6858000"/>
              <a:gd name="connsiteX3988" fmla="*/ 6304562 w 12188651"/>
              <a:gd name="connsiteY3988" fmla="*/ 281532 h 6858000"/>
              <a:gd name="connsiteX3989" fmla="*/ 6226084 w 12188651"/>
              <a:gd name="connsiteY3989" fmla="*/ 202922 h 6858000"/>
              <a:gd name="connsiteX3990" fmla="*/ 6186909 w 12188651"/>
              <a:gd name="connsiteY3990" fmla="*/ 186576 h 6858000"/>
              <a:gd name="connsiteX3991" fmla="*/ 6186779 w 12188651"/>
              <a:gd name="connsiteY3991" fmla="*/ 186446 h 6858000"/>
              <a:gd name="connsiteX3992" fmla="*/ 6147474 w 12188651"/>
              <a:gd name="connsiteY3992" fmla="*/ 202922 h 6858000"/>
              <a:gd name="connsiteX3993" fmla="*/ 6083008 w 12188651"/>
              <a:gd name="connsiteY3993" fmla="*/ 267522 h 6858000"/>
              <a:gd name="connsiteX3994" fmla="*/ 6018412 w 12188651"/>
              <a:gd name="connsiteY3994" fmla="*/ 202790 h 6858000"/>
              <a:gd name="connsiteX3995" fmla="*/ 5979111 w 12188651"/>
              <a:gd name="connsiteY3995" fmla="*/ 186446 h 6858000"/>
              <a:gd name="connsiteX3996" fmla="*/ 3925350 w 12188651"/>
              <a:gd name="connsiteY3996" fmla="*/ 186431 h 6858000"/>
              <a:gd name="connsiteX3997" fmla="*/ 3886173 w 12188651"/>
              <a:gd name="connsiteY3997" fmla="*/ 202777 h 6858000"/>
              <a:gd name="connsiteX3998" fmla="*/ 3807690 w 12188651"/>
              <a:gd name="connsiteY3998" fmla="*/ 281518 h 6858000"/>
              <a:gd name="connsiteX3999" fmla="*/ 3807690 w 12188651"/>
              <a:gd name="connsiteY3999" fmla="*/ 360128 h 6858000"/>
              <a:gd name="connsiteX4000" fmla="*/ 4029255 w 12188651"/>
              <a:gd name="connsiteY4000" fmla="*/ 582213 h 6858000"/>
              <a:gd name="connsiteX4001" fmla="*/ 4250768 w 12188651"/>
              <a:gd name="connsiteY4001" fmla="*/ 360128 h 6858000"/>
              <a:gd name="connsiteX4002" fmla="*/ 4250768 w 12188651"/>
              <a:gd name="connsiteY4002" fmla="*/ 281518 h 6858000"/>
              <a:gd name="connsiteX4003" fmla="*/ 4172338 w 12188651"/>
              <a:gd name="connsiteY4003" fmla="*/ 202907 h 6858000"/>
              <a:gd name="connsiteX4004" fmla="*/ 4133162 w 12188651"/>
              <a:gd name="connsiteY4004" fmla="*/ 186561 h 6858000"/>
              <a:gd name="connsiteX4005" fmla="*/ 4133033 w 12188651"/>
              <a:gd name="connsiteY4005" fmla="*/ 186431 h 6858000"/>
              <a:gd name="connsiteX4006" fmla="*/ 4093728 w 12188651"/>
              <a:gd name="connsiteY4006" fmla="*/ 202907 h 6858000"/>
              <a:gd name="connsiteX4007" fmla="*/ 4029255 w 12188651"/>
              <a:gd name="connsiteY4007" fmla="*/ 267508 h 6858000"/>
              <a:gd name="connsiteX4008" fmla="*/ 3964656 w 12188651"/>
              <a:gd name="connsiteY4008" fmla="*/ 202777 h 6858000"/>
              <a:gd name="connsiteX4009" fmla="*/ 3925350 w 12188651"/>
              <a:gd name="connsiteY4009" fmla="*/ 186431 h 6858000"/>
              <a:gd name="connsiteX4010" fmla="*/ 1871377 w 12188651"/>
              <a:gd name="connsiteY4010" fmla="*/ 186416 h 6858000"/>
              <a:gd name="connsiteX4011" fmla="*/ 1832202 w 12188651"/>
              <a:gd name="connsiteY4011" fmla="*/ 202761 h 6858000"/>
              <a:gd name="connsiteX4012" fmla="*/ 1753725 w 12188651"/>
              <a:gd name="connsiteY4012" fmla="*/ 281503 h 6858000"/>
              <a:gd name="connsiteX4013" fmla="*/ 1753725 w 12188651"/>
              <a:gd name="connsiteY4013" fmla="*/ 360115 h 6858000"/>
              <a:gd name="connsiteX4014" fmla="*/ 1975281 w 12188651"/>
              <a:gd name="connsiteY4014" fmla="*/ 582199 h 6858000"/>
              <a:gd name="connsiteX4015" fmla="*/ 2196847 w 12188651"/>
              <a:gd name="connsiteY4015" fmla="*/ 360115 h 6858000"/>
              <a:gd name="connsiteX4016" fmla="*/ 2196847 w 12188651"/>
              <a:gd name="connsiteY4016" fmla="*/ 281503 h 6858000"/>
              <a:gd name="connsiteX4017" fmla="*/ 2118368 w 12188651"/>
              <a:gd name="connsiteY4017" fmla="*/ 202891 h 6858000"/>
              <a:gd name="connsiteX4018" fmla="*/ 2079182 w 12188651"/>
              <a:gd name="connsiteY4018" fmla="*/ 186547 h 6858000"/>
              <a:gd name="connsiteX4019" fmla="*/ 2079054 w 12188651"/>
              <a:gd name="connsiteY4019" fmla="*/ 186416 h 6858000"/>
              <a:gd name="connsiteX4020" fmla="*/ 2039750 w 12188651"/>
              <a:gd name="connsiteY4020" fmla="*/ 202891 h 6858000"/>
              <a:gd name="connsiteX4021" fmla="*/ 1975281 w 12188651"/>
              <a:gd name="connsiteY4021" fmla="*/ 267493 h 6858000"/>
              <a:gd name="connsiteX4022" fmla="*/ 1910682 w 12188651"/>
              <a:gd name="connsiteY4022" fmla="*/ 202761 h 6858000"/>
              <a:gd name="connsiteX4023" fmla="*/ 1871377 w 12188651"/>
              <a:gd name="connsiteY4023" fmla="*/ 186416 h 6858000"/>
              <a:gd name="connsiteX4024" fmla="*/ 0 w 12188651"/>
              <a:gd name="connsiteY4024" fmla="*/ 16212 h 6858000"/>
              <a:gd name="connsiteX4025" fmla="*/ 255071 w 12188651"/>
              <a:gd name="connsiteY4025" fmla="*/ 163827 h 6858000"/>
              <a:gd name="connsiteX4026" fmla="*/ 255071 w 12188651"/>
              <a:gd name="connsiteY4026" fmla="*/ 550010 h 6858000"/>
              <a:gd name="connsiteX4027" fmla="*/ 0 w 12188651"/>
              <a:gd name="connsiteY4027" fmla="*/ 697625 h 6858000"/>
              <a:gd name="connsiteX4028" fmla="*/ 0 w 12188651"/>
              <a:gd name="connsiteY4028" fmla="*/ 503439 h 6858000"/>
              <a:gd name="connsiteX4029" fmla="*/ 143000 w 12188651"/>
              <a:gd name="connsiteY4029" fmla="*/ 360100 h 6858000"/>
              <a:gd name="connsiteX4030" fmla="*/ 143000 w 12188651"/>
              <a:gd name="connsiteY4030" fmla="*/ 281489 h 6858000"/>
              <a:gd name="connsiteX4031" fmla="*/ 64519 w 12188651"/>
              <a:gd name="connsiteY4031" fmla="*/ 202877 h 6858000"/>
              <a:gd name="connsiteX4032" fmla="*/ 25344 w 12188651"/>
              <a:gd name="connsiteY4032" fmla="*/ 186532 h 6858000"/>
              <a:gd name="connsiteX4033" fmla="*/ 25217 w 12188651"/>
              <a:gd name="connsiteY4033" fmla="*/ 186401 h 6858000"/>
              <a:gd name="connsiteX4034" fmla="*/ 4299 w 12188651"/>
              <a:gd name="connsiteY4034" fmla="*/ 190504 h 6858000"/>
              <a:gd name="connsiteX4035" fmla="*/ 0 w 12188651"/>
              <a:gd name="connsiteY4035" fmla="*/ 193396 h 6858000"/>
              <a:gd name="connsiteX4036" fmla="*/ 12188651 w 12188651"/>
              <a:gd name="connsiteY4036" fmla="*/ 3063 h 6858000"/>
              <a:gd name="connsiteX4037" fmla="*/ 12188651 w 12188651"/>
              <a:gd name="connsiteY4037" fmla="*/ 211515 h 6858000"/>
              <a:gd name="connsiteX4038" fmla="*/ 12179990 w 12188651"/>
              <a:gd name="connsiteY4038" fmla="*/ 202835 h 6858000"/>
              <a:gd name="connsiteX4039" fmla="*/ 12140685 w 12188651"/>
              <a:gd name="connsiteY4039" fmla="*/ 186490 h 6858000"/>
              <a:gd name="connsiteX4040" fmla="*/ 12101510 w 12188651"/>
              <a:gd name="connsiteY4040" fmla="*/ 202835 h 6858000"/>
              <a:gd name="connsiteX4041" fmla="*/ 12023031 w 12188651"/>
              <a:gd name="connsiteY4041" fmla="*/ 281576 h 6858000"/>
              <a:gd name="connsiteX4042" fmla="*/ 12023031 w 12188651"/>
              <a:gd name="connsiteY4042" fmla="*/ 360188 h 6858000"/>
              <a:gd name="connsiteX4043" fmla="*/ 12188651 w 12188651"/>
              <a:gd name="connsiteY4043" fmla="*/ 526200 h 6858000"/>
              <a:gd name="connsiteX4044" fmla="*/ 12188651 w 12188651"/>
              <a:gd name="connsiteY4044" fmla="*/ 710954 h 6858000"/>
              <a:gd name="connsiteX4045" fmla="*/ 11910696 w 12188651"/>
              <a:gd name="connsiteY4045" fmla="*/ 550094 h 6858000"/>
              <a:gd name="connsiteX4046" fmla="*/ 11910696 w 12188651"/>
              <a:gd name="connsiteY4046" fmla="*/ 163920 h 6858000"/>
              <a:gd name="connsiteX4047" fmla="*/ 11643950 w 12188651"/>
              <a:gd name="connsiteY4047" fmla="*/ 0 h 6858000"/>
              <a:gd name="connsiteX4048" fmla="*/ 12161201 w 12188651"/>
              <a:gd name="connsiteY4048" fmla="*/ 0 h 6858000"/>
              <a:gd name="connsiteX4049" fmla="*/ 11902524 w 12188651"/>
              <a:gd name="connsiteY4049" fmla="*/ 149646 h 6858000"/>
              <a:gd name="connsiteX4050" fmla="*/ 11509496 w 12188651"/>
              <a:gd name="connsiteY4050" fmla="*/ 0 h 6858000"/>
              <a:gd name="connsiteX4051" fmla="*/ 11609622 w 12188651"/>
              <a:gd name="connsiteY4051" fmla="*/ 0 h 6858000"/>
              <a:gd name="connsiteX4052" fmla="*/ 11893312 w 12188651"/>
              <a:gd name="connsiteY4052" fmla="*/ 164177 h 6858000"/>
              <a:gd name="connsiteX4053" fmla="*/ 11893312 w 12188651"/>
              <a:gd name="connsiteY4053" fmla="*/ 550471 h 6858000"/>
              <a:gd name="connsiteX4054" fmla="*/ 11559679 w 12188651"/>
              <a:gd name="connsiteY4054" fmla="*/ 743626 h 6858000"/>
              <a:gd name="connsiteX4055" fmla="*/ 11225916 w 12188651"/>
              <a:gd name="connsiteY4055" fmla="*/ 550471 h 6858000"/>
              <a:gd name="connsiteX4056" fmla="*/ 11225916 w 12188651"/>
              <a:gd name="connsiteY4056" fmla="*/ 164178 h 6858000"/>
              <a:gd name="connsiteX4057" fmla="*/ 10959725 w 12188651"/>
              <a:gd name="connsiteY4057" fmla="*/ 0 h 6858000"/>
              <a:gd name="connsiteX4058" fmla="*/ 11475502 w 12188651"/>
              <a:gd name="connsiteY4058" fmla="*/ 0 h 6858000"/>
              <a:gd name="connsiteX4059" fmla="*/ 11217614 w 12188651"/>
              <a:gd name="connsiteY4059" fmla="*/ 149246 h 6858000"/>
              <a:gd name="connsiteX4060" fmla="*/ 10883981 w 12188651"/>
              <a:gd name="connsiteY4060" fmla="*/ 0 h 6858000"/>
              <a:gd name="connsiteX4061" fmla="*/ 10925760 w 12188651"/>
              <a:gd name="connsiteY4061" fmla="*/ 0 h 6858000"/>
              <a:gd name="connsiteX4062" fmla="*/ 11209441 w 12188651"/>
              <a:gd name="connsiteY4062" fmla="*/ 164177 h 6858000"/>
              <a:gd name="connsiteX4063" fmla="*/ 11209441 w 12188651"/>
              <a:gd name="connsiteY4063" fmla="*/ 541003 h 6858000"/>
              <a:gd name="connsiteX4064" fmla="*/ 10883981 w 12188651"/>
              <a:gd name="connsiteY4064" fmla="*/ 352647 h 6858000"/>
              <a:gd name="connsiteX4065" fmla="*/ 10825841 w 12188651"/>
              <a:gd name="connsiteY4065" fmla="*/ 0 h 6858000"/>
              <a:gd name="connsiteX4066" fmla="*/ 10867636 w 12188651"/>
              <a:gd name="connsiteY4066" fmla="*/ 0 h 6858000"/>
              <a:gd name="connsiteX4067" fmla="*/ 10867636 w 12188651"/>
              <a:gd name="connsiteY4067" fmla="*/ 352647 h 6858000"/>
              <a:gd name="connsiteX4068" fmla="*/ 10542045 w 12188651"/>
              <a:gd name="connsiteY4068" fmla="*/ 541003 h 6858000"/>
              <a:gd name="connsiteX4069" fmla="*/ 10542045 w 12188651"/>
              <a:gd name="connsiteY4069" fmla="*/ 164178 h 6858000"/>
              <a:gd name="connsiteX4070" fmla="*/ 10273927 w 12188651"/>
              <a:gd name="connsiteY4070" fmla="*/ 0 h 6858000"/>
              <a:gd name="connsiteX4071" fmla="*/ 10791383 w 12188651"/>
              <a:gd name="connsiteY4071" fmla="*/ 0 h 6858000"/>
              <a:gd name="connsiteX4072" fmla="*/ 10532706 w 12188651"/>
              <a:gd name="connsiteY4072" fmla="*/ 149760 h 6858000"/>
              <a:gd name="connsiteX4073" fmla="*/ 10140095 w 12188651"/>
              <a:gd name="connsiteY4073" fmla="*/ 0 h 6858000"/>
              <a:gd name="connsiteX4074" fmla="*/ 10241185 w 12188651"/>
              <a:gd name="connsiteY4074" fmla="*/ 0 h 6858000"/>
              <a:gd name="connsiteX4075" fmla="*/ 10524404 w 12188651"/>
              <a:gd name="connsiteY4075" fmla="*/ 163905 h 6858000"/>
              <a:gd name="connsiteX4076" fmla="*/ 10524404 w 12188651"/>
              <a:gd name="connsiteY4076" fmla="*/ 550081 h 6858000"/>
              <a:gd name="connsiteX4077" fmla="*/ 10190640 w 12188651"/>
              <a:gd name="connsiteY4077" fmla="*/ 743237 h 6858000"/>
              <a:gd name="connsiteX4078" fmla="*/ 9856876 w 12188651"/>
              <a:gd name="connsiteY4078" fmla="*/ 550081 h 6858000"/>
              <a:gd name="connsiteX4079" fmla="*/ 9856876 w 12188651"/>
              <a:gd name="connsiteY4079" fmla="*/ 163905 h 6858000"/>
              <a:gd name="connsiteX4080" fmla="*/ 9590156 w 12188651"/>
              <a:gd name="connsiteY4080" fmla="*/ 0 h 6858000"/>
              <a:gd name="connsiteX4081" fmla="*/ 10107355 w 12188651"/>
              <a:gd name="connsiteY4081" fmla="*/ 0 h 6858000"/>
              <a:gd name="connsiteX4082" fmla="*/ 9848703 w 12188651"/>
              <a:gd name="connsiteY4082" fmla="*/ 149632 h 6858000"/>
              <a:gd name="connsiteX4083" fmla="*/ 9455523 w 12188651"/>
              <a:gd name="connsiteY4083" fmla="*/ 0 h 6858000"/>
              <a:gd name="connsiteX4084" fmla="*/ 9555699 w 12188651"/>
              <a:gd name="connsiteY4084" fmla="*/ 0 h 6858000"/>
              <a:gd name="connsiteX4085" fmla="*/ 9839364 w 12188651"/>
              <a:gd name="connsiteY4085" fmla="*/ 164163 h 6858000"/>
              <a:gd name="connsiteX4086" fmla="*/ 9839364 w 12188651"/>
              <a:gd name="connsiteY4086" fmla="*/ 550457 h 6858000"/>
              <a:gd name="connsiteX4087" fmla="*/ 9505732 w 12188651"/>
              <a:gd name="connsiteY4087" fmla="*/ 743612 h 6858000"/>
              <a:gd name="connsiteX4088" fmla="*/ 9171969 w 12188651"/>
              <a:gd name="connsiteY4088" fmla="*/ 550457 h 6858000"/>
              <a:gd name="connsiteX4089" fmla="*/ 9171969 w 12188651"/>
              <a:gd name="connsiteY4089" fmla="*/ 164163 h 6858000"/>
              <a:gd name="connsiteX4090" fmla="*/ 8905803 w 12188651"/>
              <a:gd name="connsiteY4090" fmla="*/ 0 h 6858000"/>
              <a:gd name="connsiteX4091" fmla="*/ 9421530 w 12188651"/>
              <a:gd name="connsiteY4091" fmla="*/ 0 h 6858000"/>
              <a:gd name="connsiteX4092" fmla="*/ 9163666 w 12188651"/>
              <a:gd name="connsiteY4092" fmla="*/ 149231 h 6858000"/>
              <a:gd name="connsiteX4093" fmla="*/ 8830033 w 12188651"/>
              <a:gd name="connsiteY4093" fmla="*/ 0 h 6858000"/>
              <a:gd name="connsiteX4094" fmla="*/ 8871836 w 12188651"/>
              <a:gd name="connsiteY4094" fmla="*/ 0 h 6858000"/>
              <a:gd name="connsiteX4095" fmla="*/ 9155493 w 12188651"/>
              <a:gd name="connsiteY4095" fmla="*/ 164163 h 6858000"/>
              <a:gd name="connsiteX4096" fmla="*/ 9155493 w 12188651"/>
              <a:gd name="connsiteY4096" fmla="*/ 540989 h 6858000"/>
              <a:gd name="connsiteX4097" fmla="*/ 8830033 w 12188651"/>
              <a:gd name="connsiteY4097" fmla="*/ 352632 h 6858000"/>
              <a:gd name="connsiteX4098" fmla="*/ 8771868 w 12188651"/>
              <a:gd name="connsiteY4098" fmla="*/ 0 h 6858000"/>
              <a:gd name="connsiteX4099" fmla="*/ 8813688 w 12188651"/>
              <a:gd name="connsiteY4099" fmla="*/ 0 h 6858000"/>
              <a:gd name="connsiteX4100" fmla="*/ 8813688 w 12188651"/>
              <a:gd name="connsiteY4100" fmla="*/ 352633 h 6858000"/>
              <a:gd name="connsiteX4101" fmla="*/ 8488098 w 12188651"/>
              <a:gd name="connsiteY4101" fmla="*/ 540989 h 6858000"/>
              <a:gd name="connsiteX4102" fmla="*/ 8488098 w 12188651"/>
              <a:gd name="connsiteY4102" fmla="*/ 164163 h 6858000"/>
              <a:gd name="connsiteX4103" fmla="*/ 8220006 w 12188651"/>
              <a:gd name="connsiteY4103" fmla="*/ 0 h 6858000"/>
              <a:gd name="connsiteX4104" fmla="*/ 8737411 w 12188651"/>
              <a:gd name="connsiteY4104" fmla="*/ 0 h 6858000"/>
              <a:gd name="connsiteX4105" fmla="*/ 8478758 w 12188651"/>
              <a:gd name="connsiteY4105" fmla="*/ 149746 h 6858000"/>
              <a:gd name="connsiteX4106" fmla="*/ 8086123 w 12188651"/>
              <a:gd name="connsiteY4106" fmla="*/ 0 h 6858000"/>
              <a:gd name="connsiteX4107" fmla="*/ 8187263 w 12188651"/>
              <a:gd name="connsiteY4107" fmla="*/ 0 h 6858000"/>
              <a:gd name="connsiteX4108" fmla="*/ 8470456 w 12188651"/>
              <a:gd name="connsiteY4108" fmla="*/ 163890 h 6858000"/>
              <a:gd name="connsiteX4109" fmla="*/ 8470456 w 12188651"/>
              <a:gd name="connsiteY4109" fmla="*/ 550066 h 6858000"/>
              <a:gd name="connsiteX4110" fmla="*/ 8136693 w 12188651"/>
              <a:gd name="connsiteY4110" fmla="*/ 743223 h 6858000"/>
              <a:gd name="connsiteX4111" fmla="*/ 7802930 w 12188651"/>
              <a:gd name="connsiteY4111" fmla="*/ 550066 h 6858000"/>
              <a:gd name="connsiteX4112" fmla="*/ 7802930 w 12188651"/>
              <a:gd name="connsiteY4112" fmla="*/ 163890 h 6858000"/>
              <a:gd name="connsiteX4113" fmla="*/ 7536237 w 12188651"/>
              <a:gd name="connsiteY4113" fmla="*/ 0 h 6858000"/>
              <a:gd name="connsiteX4114" fmla="*/ 8053383 w 12188651"/>
              <a:gd name="connsiteY4114" fmla="*/ 0 h 6858000"/>
              <a:gd name="connsiteX4115" fmla="*/ 7794758 w 12188651"/>
              <a:gd name="connsiteY4115" fmla="*/ 149616 h 6858000"/>
              <a:gd name="connsiteX4116" fmla="*/ 7401681 w 12188651"/>
              <a:gd name="connsiteY4116" fmla="*/ 0 h 6858000"/>
              <a:gd name="connsiteX4117" fmla="*/ 7501908 w 12188651"/>
              <a:gd name="connsiteY4117" fmla="*/ 0 h 6858000"/>
              <a:gd name="connsiteX4118" fmla="*/ 7785548 w 12188651"/>
              <a:gd name="connsiteY4118" fmla="*/ 164149 h 6858000"/>
              <a:gd name="connsiteX4119" fmla="*/ 7785548 w 12188651"/>
              <a:gd name="connsiteY4119" fmla="*/ 550443 h 6858000"/>
              <a:gd name="connsiteX4120" fmla="*/ 7451915 w 12188651"/>
              <a:gd name="connsiteY4120" fmla="*/ 743599 h 6858000"/>
              <a:gd name="connsiteX4121" fmla="*/ 7118150 w 12188651"/>
              <a:gd name="connsiteY4121" fmla="*/ 550443 h 6858000"/>
              <a:gd name="connsiteX4122" fmla="*/ 7118150 w 12188651"/>
              <a:gd name="connsiteY4122" fmla="*/ 164149 h 6858000"/>
              <a:gd name="connsiteX4123" fmla="*/ 6852010 w 12188651"/>
              <a:gd name="connsiteY4123" fmla="*/ 0 h 6858000"/>
              <a:gd name="connsiteX4124" fmla="*/ 7367688 w 12188651"/>
              <a:gd name="connsiteY4124" fmla="*/ 0 h 6858000"/>
              <a:gd name="connsiteX4125" fmla="*/ 7109850 w 12188651"/>
              <a:gd name="connsiteY4125" fmla="*/ 149217 h 6858000"/>
              <a:gd name="connsiteX4126" fmla="*/ 6776215 w 12188651"/>
              <a:gd name="connsiteY4126" fmla="*/ 0 h 6858000"/>
              <a:gd name="connsiteX4127" fmla="*/ 6818044 w 12188651"/>
              <a:gd name="connsiteY4127" fmla="*/ 0 h 6858000"/>
              <a:gd name="connsiteX4128" fmla="*/ 7101677 w 12188651"/>
              <a:gd name="connsiteY4128" fmla="*/ 164149 h 6858000"/>
              <a:gd name="connsiteX4129" fmla="*/ 7101677 w 12188651"/>
              <a:gd name="connsiteY4129" fmla="*/ 540974 h 6858000"/>
              <a:gd name="connsiteX4130" fmla="*/ 6776215 w 12188651"/>
              <a:gd name="connsiteY4130" fmla="*/ 352617 h 6858000"/>
              <a:gd name="connsiteX4131" fmla="*/ 6718025 w 12188651"/>
              <a:gd name="connsiteY4131" fmla="*/ 0 h 6858000"/>
              <a:gd name="connsiteX4132" fmla="*/ 6759871 w 12188651"/>
              <a:gd name="connsiteY4132" fmla="*/ 0 h 6858000"/>
              <a:gd name="connsiteX4133" fmla="*/ 6759871 w 12188651"/>
              <a:gd name="connsiteY4133" fmla="*/ 352617 h 6858000"/>
              <a:gd name="connsiteX4134" fmla="*/ 6434280 w 12188651"/>
              <a:gd name="connsiteY4134" fmla="*/ 540974 h 6858000"/>
              <a:gd name="connsiteX4135" fmla="*/ 6434280 w 12188651"/>
              <a:gd name="connsiteY4135" fmla="*/ 164149 h 6858000"/>
              <a:gd name="connsiteX4136" fmla="*/ 6166213 w 12188651"/>
              <a:gd name="connsiteY4136" fmla="*/ 0 h 6858000"/>
              <a:gd name="connsiteX4137" fmla="*/ 6683567 w 12188651"/>
              <a:gd name="connsiteY4137" fmla="*/ 0 h 6858000"/>
              <a:gd name="connsiteX4138" fmla="*/ 6424940 w 12188651"/>
              <a:gd name="connsiteY4138" fmla="*/ 149731 h 6858000"/>
              <a:gd name="connsiteX4139" fmla="*/ 6032286 w 12188651"/>
              <a:gd name="connsiteY4139" fmla="*/ 0 h 6858000"/>
              <a:gd name="connsiteX4140" fmla="*/ 6133471 w 12188651"/>
              <a:gd name="connsiteY4140" fmla="*/ 0 h 6858000"/>
              <a:gd name="connsiteX4141" fmla="*/ 6416638 w 12188651"/>
              <a:gd name="connsiteY4141" fmla="*/ 163875 h 6858000"/>
              <a:gd name="connsiteX4142" fmla="*/ 6416638 w 12188651"/>
              <a:gd name="connsiteY4142" fmla="*/ 550053 h 6858000"/>
              <a:gd name="connsiteX4143" fmla="*/ 6082876 w 12188651"/>
              <a:gd name="connsiteY4143" fmla="*/ 743207 h 6858000"/>
              <a:gd name="connsiteX4144" fmla="*/ 5749140 w 12188651"/>
              <a:gd name="connsiteY4144" fmla="*/ 550054 h 6858000"/>
              <a:gd name="connsiteX4145" fmla="*/ 5749140 w 12188651"/>
              <a:gd name="connsiteY4145" fmla="*/ 163875 h 6858000"/>
              <a:gd name="connsiteX4146" fmla="*/ 5482485 w 12188651"/>
              <a:gd name="connsiteY4146" fmla="*/ 0 h 6858000"/>
              <a:gd name="connsiteX4147" fmla="*/ 5999546 w 12188651"/>
              <a:gd name="connsiteY4147" fmla="*/ 0 h 6858000"/>
              <a:gd name="connsiteX4148" fmla="*/ 5740963 w 12188651"/>
              <a:gd name="connsiteY4148" fmla="*/ 149601 h 6858000"/>
              <a:gd name="connsiteX4149" fmla="*/ 5347761 w 12188651"/>
              <a:gd name="connsiteY4149" fmla="*/ 0 h 6858000"/>
              <a:gd name="connsiteX4150" fmla="*/ 5448034 w 12188651"/>
              <a:gd name="connsiteY4150" fmla="*/ 0 h 6858000"/>
              <a:gd name="connsiteX4151" fmla="*/ 5731618 w 12188651"/>
              <a:gd name="connsiteY4151" fmla="*/ 164130 h 6858000"/>
              <a:gd name="connsiteX4152" fmla="*/ 5731618 w 12188651"/>
              <a:gd name="connsiteY4152" fmla="*/ 550429 h 6858000"/>
              <a:gd name="connsiteX4153" fmla="*/ 5398000 w 12188651"/>
              <a:gd name="connsiteY4153" fmla="*/ 743584 h 6858000"/>
              <a:gd name="connsiteX4154" fmla="*/ 5064275 w 12188651"/>
              <a:gd name="connsiteY4154" fmla="*/ 550443 h 6858000"/>
              <a:gd name="connsiteX4155" fmla="*/ 5064275 w 12188651"/>
              <a:gd name="connsiteY4155" fmla="*/ 164134 h 6858000"/>
              <a:gd name="connsiteX4156" fmla="*/ 4798110 w 12188651"/>
              <a:gd name="connsiteY4156" fmla="*/ 0 h 6858000"/>
              <a:gd name="connsiteX4157" fmla="*/ 5313753 w 12188651"/>
              <a:gd name="connsiteY4157" fmla="*/ 0 h 6858000"/>
              <a:gd name="connsiteX4158" fmla="*/ 5055955 w 12188651"/>
              <a:gd name="connsiteY4158" fmla="*/ 149201 h 6858000"/>
              <a:gd name="connsiteX4159" fmla="*/ 4816718 w 12188651"/>
              <a:gd name="connsiteY4159" fmla="*/ 10771 h 6858000"/>
              <a:gd name="connsiteX4160" fmla="*/ 4722313 w 12188651"/>
              <a:gd name="connsiteY4160" fmla="*/ 0 h 6858000"/>
              <a:gd name="connsiteX4161" fmla="*/ 4764172 w 12188651"/>
              <a:gd name="connsiteY4161" fmla="*/ 0 h 6858000"/>
              <a:gd name="connsiteX4162" fmla="*/ 5047775 w 12188651"/>
              <a:gd name="connsiteY4162" fmla="*/ 164120 h 6858000"/>
              <a:gd name="connsiteX4163" fmla="*/ 5047775 w 12188651"/>
              <a:gd name="connsiteY4163" fmla="*/ 540960 h 6858000"/>
              <a:gd name="connsiteX4164" fmla="*/ 4722313 w 12188651"/>
              <a:gd name="connsiteY4164" fmla="*/ 352611 h 6858000"/>
              <a:gd name="connsiteX4165" fmla="*/ 4664088 w 12188651"/>
              <a:gd name="connsiteY4165" fmla="*/ 0 h 6858000"/>
              <a:gd name="connsiteX4166" fmla="*/ 4705942 w 12188651"/>
              <a:gd name="connsiteY4166" fmla="*/ 0 h 6858000"/>
              <a:gd name="connsiteX4167" fmla="*/ 4705942 w 12188651"/>
              <a:gd name="connsiteY4167" fmla="*/ 352603 h 6858000"/>
              <a:gd name="connsiteX4168" fmla="*/ 4380369 w 12188651"/>
              <a:gd name="connsiteY4168" fmla="*/ 540954 h 6858000"/>
              <a:gd name="connsiteX4169" fmla="*/ 4380369 w 12188651"/>
              <a:gd name="connsiteY4169" fmla="*/ 164134 h 6858000"/>
              <a:gd name="connsiteX4170" fmla="*/ 4112484 w 12188651"/>
              <a:gd name="connsiteY4170" fmla="*/ 0 h 6858000"/>
              <a:gd name="connsiteX4171" fmla="*/ 4629754 w 12188651"/>
              <a:gd name="connsiteY4171" fmla="*/ 0 h 6858000"/>
              <a:gd name="connsiteX4172" fmla="*/ 4371146 w 12188651"/>
              <a:gd name="connsiteY4172" fmla="*/ 149717 h 6858000"/>
              <a:gd name="connsiteX4173" fmla="*/ 3978507 w 12188651"/>
              <a:gd name="connsiteY4173" fmla="*/ 0 h 6858000"/>
              <a:gd name="connsiteX4174" fmla="*/ 4079738 w 12188651"/>
              <a:gd name="connsiteY4174" fmla="*/ 0 h 6858000"/>
              <a:gd name="connsiteX4175" fmla="*/ 4207107 w 12188651"/>
              <a:gd name="connsiteY4175" fmla="*/ 73731 h 6858000"/>
              <a:gd name="connsiteX4176" fmla="*/ 4362838 w 12188651"/>
              <a:gd name="connsiteY4176" fmla="*/ 163859 h 6858000"/>
              <a:gd name="connsiteX4177" fmla="*/ 4362838 w 12188651"/>
              <a:gd name="connsiteY4177" fmla="*/ 550038 h 6858000"/>
              <a:gd name="connsiteX4178" fmla="*/ 4029120 w 12188651"/>
              <a:gd name="connsiteY4178" fmla="*/ 743194 h 6858000"/>
              <a:gd name="connsiteX4179" fmla="*/ 3695368 w 12188651"/>
              <a:gd name="connsiteY4179" fmla="*/ 550042 h 6858000"/>
              <a:gd name="connsiteX4180" fmla="*/ 3695368 w 12188651"/>
              <a:gd name="connsiteY4180" fmla="*/ 163860 h 6858000"/>
              <a:gd name="connsiteX4181" fmla="*/ 3428727 w 12188651"/>
              <a:gd name="connsiteY4181" fmla="*/ 0 h 6858000"/>
              <a:gd name="connsiteX4182" fmla="*/ 3945759 w 12188651"/>
              <a:gd name="connsiteY4182" fmla="*/ 0 h 6858000"/>
              <a:gd name="connsiteX4183" fmla="*/ 3687190 w 12188651"/>
              <a:gd name="connsiteY4183" fmla="*/ 149586 h 6858000"/>
              <a:gd name="connsiteX4184" fmla="*/ 3293942 w 12188651"/>
              <a:gd name="connsiteY4184" fmla="*/ 0 h 6858000"/>
              <a:gd name="connsiteX4185" fmla="*/ 3394267 w 12188651"/>
              <a:gd name="connsiteY4185" fmla="*/ 0 h 6858000"/>
              <a:gd name="connsiteX4186" fmla="*/ 3677828 w 12188651"/>
              <a:gd name="connsiteY4186" fmla="*/ 164102 h 6858000"/>
              <a:gd name="connsiteX4187" fmla="*/ 3677828 w 12188651"/>
              <a:gd name="connsiteY4187" fmla="*/ 550415 h 6858000"/>
              <a:gd name="connsiteX4188" fmla="*/ 3344198 w 12188651"/>
              <a:gd name="connsiteY4188" fmla="*/ 743570 h 6858000"/>
              <a:gd name="connsiteX4189" fmla="*/ 3010461 w 12188651"/>
              <a:gd name="connsiteY4189" fmla="*/ 550429 h 6858000"/>
              <a:gd name="connsiteX4190" fmla="*/ 3010461 w 12188651"/>
              <a:gd name="connsiteY4190" fmla="*/ 164119 h 6858000"/>
              <a:gd name="connsiteX4191" fmla="*/ 2744346 w 12188651"/>
              <a:gd name="connsiteY4191" fmla="*/ 0 h 6858000"/>
              <a:gd name="connsiteX4192" fmla="*/ 3259920 w 12188651"/>
              <a:gd name="connsiteY4192" fmla="*/ 0 h 6858000"/>
              <a:gd name="connsiteX4193" fmla="*/ 3002133 w 12188651"/>
              <a:gd name="connsiteY4193" fmla="*/ 149187 h 6858000"/>
              <a:gd name="connsiteX4194" fmla="*/ 2867142 w 12188651"/>
              <a:gd name="connsiteY4194" fmla="*/ 71063 h 6858000"/>
              <a:gd name="connsiteX4195" fmla="*/ 2668523 w 12188651"/>
              <a:gd name="connsiteY4195" fmla="*/ 0 h 6858000"/>
              <a:gd name="connsiteX4196" fmla="*/ 2710404 w 12188651"/>
              <a:gd name="connsiteY4196" fmla="*/ 0 h 6858000"/>
              <a:gd name="connsiteX4197" fmla="*/ 2993958 w 12188651"/>
              <a:gd name="connsiteY4197" fmla="*/ 164103 h 6858000"/>
              <a:gd name="connsiteX4198" fmla="*/ 2993958 w 12188651"/>
              <a:gd name="connsiteY4198" fmla="*/ 540944 h 6858000"/>
              <a:gd name="connsiteX4199" fmla="*/ 2778118 w 12188651"/>
              <a:gd name="connsiteY4199" fmla="*/ 416029 h 6858000"/>
              <a:gd name="connsiteX4200" fmla="*/ 2737216 w 12188651"/>
              <a:gd name="connsiteY4200" fmla="*/ 392357 h 6858000"/>
              <a:gd name="connsiteX4201" fmla="*/ 2734179 w 12188651"/>
              <a:gd name="connsiteY4201" fmla="*/ 390600 h 6858000"/>
              <a:gd name="connsiteX4202" fmla="*/ 2668523 w 12188651"/>
              <a:gd name="connsiteY4202" fmla="*/ 352604 h 6858000"/>
              <a:gd name="connsiteX4203" fmla="*/ 2610283 w 12188651"/>
              <a:gd name="connsiteY4203" fmla="*/ 0 h 6858000"/>
              <a:gd name="connsiteX4204" fmla="*/ 2652154 w 12188651"/>
              <a:gd name="connsiteY4204" fmla="*/ 0 h 6858000"/>
              <a:gd name="connsiteX4205" fmla="*/ 2652154 w 12188651"/>
              <a:gd name="connsiteY4205" fmla="*/ 352589 h 6858000"/>
              <a:gd name="connsiteX4206" fmla="*/ 2326593 w 12188651"/>
              <a:gd name="connsiteY4206" fmla="*/ 540928 h 6858000"/>
              <a:gd name="connsiteX4207" fmla="*/ 2326593 w 12188651"/>
              <a:gd name="connsiteY4207" fmla="*/ 164119 h 6858000"/>
              <a:gd name="connsiteX4208" fmla="*/ 2058538 w 12188651"/>
              <a:gd name="connsiteY4208" fmla="*/ 0 h 6858000"/>
              <a:gd name="connsiteX4209" fmla="*/ 2575794 w 12188651"/>
              <a:gd name="connsiteY4209" fmla="*/ 0 h 6858000"/>
              <a:gd name="connsiteX4210" fmla="*/ 2317223 w 12188651"/>
              <a:gd name="connsiteY4210" fmla="*/ 149702 h 6858000"/>
              <a:gd name="connsiteX4211" fmla="*/ 2260282 w 12188651"/>
              <a:gd name="connsiteY4211" fmla="*/ 116749 h 6858000"/>
              <a:gd name="connsiteX4212" fmla="*/ 1924507 w 12188651"/>
              <a:gd name="connsiteY4212" fmla="*/ 0 h 6858000"/>
              <a:gd name="connsiteX4213" fmla="*/ 2025801 w 12188651"/>
              <a:gd name="connsiteY4213" fmla="*/ 0 h 6858000"/>
              <a:gd name="connsiteX4214" fmla="*/ 2308919 w 12188651"/>
              <a:gd name="connsiteY4214" fmla="*/ 163842 h 6858000"/>
              <a:gd name="connsiteX4215" fmla="*/ 2308919 w 12188651"/>
              <a:gd name="connsiteY4215" fmla="*/ 550024 h 6858000"/>
              <a:gd name="connsiteX4216" fmla="*/ 1975146 w 12188651"/>
              <a:gd name="connsiteY4216" fmla="*/ 743180 h 6858000"/>
              <a:gd name="connsiteX4217" fmla="*/ 1641391 w 12188651"/>
              <a:gd name="connsiteY4217" fmla="*/ 550028 h 6858000"/>
              <a:gd name="connsiteX4218" fmla="*/ 1641391 w 12188651"/>
              <a:gd name="connsiteY4218" fmla="*/ 163846 h 6858000"/>
              <a:gd name="connsiteX4219" fmla="*/ 1374768 w 12188651"/>
              <a:gd name="connsiteY4219" fmla="*/ 0 h 6858000"/>
              <a:gd name="connsiteX4220" fmla="*/ 1891761 w 12188651"/>
              <a:gd name="connsiteY4220" fmla="*/ 0 h 6858000"/>
              <a:gd name="connsiteX4221" fmla="*/ 1633212 w 12188651"/>
              <a:gd name="connsiteY4221" fmla="*/ 149572 h 6858000"/>
              <a:gd name="connsiteX4222" fmla="*/ 1239933 w 12188651"/>
              <a:gd name="connsiteY4222" fmla="*/ 0 h 6858000"/>
              <a:gd name="connsiteX4223" fmla="*/ 1340313 w 12188651"/>
              <a:gd name="connsiteY4223" fmla="*/ 0 h 6858000"/>
              <a:gd name="connsiteX4224" fmla="*/ 1623852 w 12188651"/>
              <a:gd name="connsiteY4224" fmla="*/ 164090 h 6858000"/>
              <a:gd name="connsiteX4225" fmla="*/ 1623852 w 12188651"/>
              <a:gd name="connsiteY4225" fmla="*/ 550400 h 6858000"/>
              <a:gd name="connsiteX4226" fmla="*/ 1290219 w 12188651"/>
              <a:gd name="connsiteY4226" fmla="*/ 743557 h 6858000"/>
              <a:gd name="connsiteX4227" fmla="*/ 956480 w 12188651"/>
              <a:gd name="connsiteY4227" fmla="*/ 550415 h 6858000"/>
              <a:gd name="connsiteX4228" fmla="*/ 956480 w 12188651"/>
              <a:gd name="connsiteY4228" fmla="*/ 164104 h 6858000"/>
              <a:gd name="connsiteX4229" fmla="*/ 690398 w 12188651"/>
              <a:gd name="connsiteY4229" fmla="*/ 0 h 6858000"/>
              <a:gd name="connsiteX4230" fmla="*/ 1205918 w 12188651"/>
              <a:gd name="connsiteY4230" fmla="*/ 0 h 6858000"/>
              <a:gd name="connsiteX4231" fmla="*/ 948156 w 12188651"/>
              <a:gd name="connsiteY4231" fmla="*/ 149172 h 6858000"/>
              <a:gd name="connsiteX4232" fmla="*/ 614547 w 12188651"/>
              <a:gd name="connsiteY4232" fmla="*/ 0 h 6858000"/>
              <a:gd name="connsiteX4233" fmla="*/ 656453 w 12188651"/>
              <a:gd name="connsiteY4233" fmla="*/ 0 h 6858000"/>
              <a:gd name="connsiteX4234" fmla="*/ 939981 w 12188651"/>
              <a:gd name="connsiteY4234" fmla="*/ 164089 h 6858000"/>
              <a:gd name="connsiteX4235" fmla="*/ 939981 w 12188651"/>
              <a:gd name="connsiteY4235" fmla="*/ 540931 h 6858000"/>
              <a:gd name="connsiteX4236" fmla="*/ 760662 w 12188651"/>
              <a:gd name="connsiteY4236" fmla="*/ 437152 h 6858000"/>
              <a:gd name="connsiteX4237" fmla="*/ 614547 w 12188651"/>
              <a:gd name="connsiteY4237" fmla="*/ 352589 h 6858000"/>
              <a:gd name="connsiteX4238" fmla="*/ 556281 w 12188651"/>
              <a:gd name="connsiteY4238" fmla="*/ 0 h 6858000"/>
              <a:gd name="connsiteX4239" fmla="*/ 598177 w 12188651"/>
              <a:gd name="connsiteY4239" fmla="*/ 0 h 6858000"/>
              <a:gd name="connsiteX4240" fmla="*/ 598177 w 12188651"/>
              <a:gd name="connsiteY4240" fmla="*/ 352574 h 6858000"/>
              <a:gd name="connsiteX4241" fmla="*/ 272612 w 12188651"/>
              <a:gd name="connsiteY4241" fmla="*/ 540915 h 6858000"/>
              <a:gd name="connsiteX4242" fmla="*/ 272612 w 12188651"/>
              <a:gd name="connsiteY4242" fmla="*/ 164104 h 6858000"/>
              <a:gd name="connsiteX4243" fmla="*/ 4723 w 12188651"/>
              <a:gd name="connsiteY4243" fmla="*/ 0 h 6858000"/>
              <a:gd name="connsiteX4244" fmla="*/ 521923 w 12188651"/>
              <a:gd name="connsiteY4244" fmla="*/ 0 h 6858000"/>
              <a:gd name="connsiteX4245" fmla="*/ 263373 w 12188651"/>
              <a:gd name="connsiteY4245" fmla="*/ 14968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Lst>
            <a:rect l="l" t="t" r="r" b="b"/>
            <a:pathLst>
              <a:path w="12188651" h="6858000">
                <a:moveTo>
                  <a:pt x="2898356" y="6736207"/>
                </a:moveTo>
                <a:lnTo>
                  <a:pt x="2926103" y="6747747"/>
                </a:lnTo>
                <a:lnTo>
                  <a:pt x="2990703" y="6812479"/>
                </a:lnTo>
                <a:lnTo>
                  <a:pt x="3002247" y="6824154"/>
                </a:lnTo>
                <a:lnTo>
                  <a:pt x="3002260" y="6824142"/>
                </a:lnTo>
                <a:lnTo>
                  <a:pt x="3002268" y="6824154"/>
                </a:lnTo>
                <a:lnTo>
                  <a:pt x="3013815" y="6812479"/>
                </a:lnTo>
                <a:lnTo>
                  <a:pt x="3078283" y="6747747"/>
                </a:lnTo>
                <a:lnTo>
                  <a:pt x="3106032" y="6736207"/>
                </a:lnTo>
                <a:lnTo>
                  <a:pt x="3133652" y="6747747"/>
                </a:lnTo>
                <a:lnTo>
                  <a:pt x="3212130" y="6826359"/>
                </a:lnTo>
                <a:cubicBezTo>
                  <a:pt x="3219521" y="6833753"/>
                  <a:pt x="3223544" y="6843613"/>
                  <a:pt x="3223674" y="6854120"/>
                </a:cubicBezTo>
                <a:lnTo>
                  <a:pt x="3222078" y="6858000"/>
                </a:lnTo>
                <a:lnTo>
                  <a:pt x="2782374" y="6858000"/>
                </a:lnTo>
                <a:lnTo>
                  <a:pt x="2780774" y="6854136"/>
                </a:lnTo>
                <a:cubicBezTo>
                  <a:pt x="2780774" y="6844099"/>
                  <a:pt x="2784604" y="6834078"/>
                  <a:pt x="2792259" y="6826489"/>
                </a:cubicBezTo>
                <a:lnTo>
                  <a:pt x="2870736" y="6747747"/>
                </a:lnTo>
                <a:close/>
                <a:moveTo>
                  <a:pt x="844377" y="6736207"/>
                </a:moveTo>
                <a:lnTo>
                  <a:pt x="872125" y="6747747"/>
                </a:lnTo>
                <a:lnTo>
                  <a:pt x="936724" y="6812479"/>
                </a:lnTo>
                <a:lnTo>
                  <a:pt x="948269" y="6824154"/>
                </a:lnTo>
                <a:lnTo>
                  <a:pt x="948282" y="6824142"/>
                </a:lnTo>
                <a:lnTo>
                  <a:pt x="948294" y="6824154"/>
                </a:lnTo>
                <a:lnTo>
                  <a:pt x="959838" y="6812479"/>
                </a:lnTo>
                <a:lnTo>
                  <a:pt x="1024306" y="6747747"/>
                </a:lnTo>
                <a:lnTo>
                  <a:pt x="1052055" y="6736207"/>
                </a:lnTo>
                <a:lnTo>
                  <a:pt x="1079674" y="6747747"/>
                </a:lnTo>
                <a:lnTo>
                  <a:pt x="1158152" y="6826359"/>
                </a:lnTo>
                <a:cubicBezTo>
                  <a:pt x="1165546" y="6833753"/>
                  <a:pt x="1169568" y="6843613"/>
                  <a:pt x="1169697" y="6854120"/>
                </a:cubicBezTo>
                <a:lnTo>
                  <a:pt x="1168102" y="6858000"/>
                </a:lnTo>
                <a:lnTo>
                  <a:pt x="728400" y="6858000"/>
                </a:lnTo>
                <a:lnTo>
                  <a:pt x="726801" y="6854136"/>
                </a:lnTo>
                <a:cubicBezTo>
                  <a:pt x="726801" y="6844099"/>
                  <a:pt x="730627" y="6834078"/>
                  <a:pt x="738281" y="6826489"/>
                </a:cubicBezTo>
                <a:lnTo>
                  <a:pt x="816760" y="6747747"/>
                </a:lnTo>
                <a:close/>
                <a:moveTo>
                  <a:pt x="4952154" y="6736204"/>
                </a:moveTo>
                <a:lnTo>
                  <a:pt x="4979914" y="6747747"/>
                </a:lnTo>
                <a:lnTo>
                  <a:pt x="5044520" y="6812479"/>
                </a:lnTo>
                <a:lnTo>
                  <a:pt x="5056064" y="6824154"/>
                </a:lnTo>
                <a:lnTo>
                  <a:pt x="5056083" y="6824144"/>
                </a:lnTo>
                <a:lnTo>
                  <a:pt x="5056087" y="6824154"/>
                </a:lnTo>
                <a:lnTo>
                  <a:pt x="5067633" y="6812479"/>
                </a:lnTo>
                <a:lnTo>
                  <a:pt x="5132089" y="6747747"/>
                </a:lnTo>
                <a:lnTo>
                  <a:pt x="5159834" y="6736204"/>
                </a:lnTo>
                <a:lnTo>
                  <a:pt x="5187464" y="6747747"/>
                </a:lnTo>
                <a:lnTo>
                  <a:pt x="5265932" y="6826359"/>
                </a:lnTo>
                <a:cubicBezTo>
                  <a:pt x="5273331" y="6833753"/>
                  <a:pt x="5277341" y="6843613"/>
                  <a:pt x="5277479" y="6854120"/>
                </a:cubicBezTo>
                <a:lnTo>
                  <a:pt x="5275883" y="6858000"/>
                </a:lnTo>
                <a:lnTo>
                  <a:pt x="4836166" y="6858000"/>
                </a:lnTo>
                <a:lnTo>
                  <a:pt x="4834566" y="6854136"/>
                </a:lnTo>
                <a:cubicBezTo>
                  <a:pt x="4834566" y="6844099"/>
                  <a:pt x="4838398" y="6834078"/>
                  <a:pt x="4846044" y="6826489"/>
                </a:cubicBezTo>
                <a:lnTo>
                  <a:pt x="4924518" y="6747747"/>
                </a:lnTo>
                <a:close/>
                <a:moveTo>
                  <a:pt x="11113840" y="6736202"/>
                </a:moveTo>
                <a:cubicBezTo>
                  <a:pt x="11124348" y="6736202"/>
                  <a:pt x="11134206" y="6740354"/>
                  <a:pt x="11141600" y="6747747"/>
                </a:cubicBezTo>
                <a:lnTo>
                  <a:pt x="11206199" y="6812479"/>
                </a:lnTo>
                <a:lnTo>
                  <a:pt x="11217744" y="6824154"/>
                </a:lnTo>
                <a:lnTo>
                  <a:pt x="11229289" y="6812479"/>
                </a:lnTo>
                <a:lnTo>
                  <a:pt x="11293758" y="6747747"/>
                </a:lnTo>
                <a:cubicBezTo>
                  <a:pt x="11301152" y="6740224"/>
                  <a:pt x="11311011" y="6736202"/>
                  <a:pt x="11321517" y="6736202"/>
                </a:cubicBezTo>
                <a:cubicBezTo>
                  <a:pt x="11331896" y="6736202"/>
                  <a:pt x="11341755" y="6740354"/>
                  <a:pt x="11349147" y="6747747"/>
                </a:cubicBezTo>
                <a:lnTo>
                  <a:pt x="11427627" y="6826359"/>
                </a:lnTo>
                <a:cubicBezTo>
                  <a:pt x="11435021" y="6833753"/>
                  <a:pt x="11439042" y="6843613"/>
                  <a:pt x="11439172" y="6854120"/>
                </a:cubicBezTo>
                <a:lnTo>
                  <a:pt x="11437577" y="6858000"/>
                </a:lnTo>
                <a:lnTo>
                  <a:pt x="10997850" y="6858000"/>
                </a:lnTo>
                <a:lnTo>
                  <a:pt x="10996251" y="6854136"/>
                </a:lnTo>
                <a:cubicBezTo>
                  <a:pt x="10996251" y="6844099"/>
                  <a:pt x="11000077" y="6834078"/>
                  <a:pt x="11007731" y="6826489"/>
                </a:cubicBezTo>
                <a:lnTo>
                  <a:pt x="11086210" y="6747747"/>
                </a:lnTo>
                <a:cubicBezTo>
                  <a:pt x="11093605" y="6740354"/>
                  <a:pt x="11103333" y="6736202"/>
                  <a:pt x="11113840" y="6736202"/>
                </a:cubicBezTo>
                <a:close/>
                <a:moveTo>
                  <a:pt x="9059892" y="6736202"/>
                </a:moveTo>
                <a:lnTo>
                  <a:pt x="9087652" y="6747747"/>
                </a:lnTo>
                <a:lnTo>
                  <a:pt x="9152251" y="6812479"/>
                </a:lnTo>
                <a:lnTo>
                  <a:pt x="9163796" y="6824154"/>
                </a:lnTo>
                <a:lnTo>
                  <a:pt x="9163797" y="6824154"/>
                </a:lnTo>
                <a:lnTo>
                  <a:pt x="9175342" y="6812479"/>
                </a:lnTo>
                <a:lnTo>
                  <a:pt x="9239811" y="6747747"/>
                </a:lnTo>
                <a:lnTo>
                  <a:pt x="9267570" y="6736202"/>
                </a:lnTo>
                <a:lnTo>
                  <a:pt x="9295200" y="6747747"/>
                </a:lnTo>
                <a:lnTo>
                  <a:pt x="9373678" y="6826359"/>
                </a:lnTo>
                <a:cubicBezTo>
                  <a:pt x="9381073" y="6833753"/>
                  <a:pt x="9385093" y="6843613"/>
                  <a:pt x="9385223" y="6854120"/>
                </a:cubicBezTo>
                <a:lnTo>
                  <a:pt x="9383628" y="6858000"/>
                </a:lnTo>
                <a:lnTo>
                  <a:pt x="8943904" y="6858000"/>
                </a:lnTo>
                <a:lnTo>
                  <a:pt x="8942305" y="6854136"/>
                </a:lnTo>
                <a:cubicBezTo>
                  <a:pt x="8942305" y="6844099"/>
                  <a:pt x="8946131" y="6834078"/>
                  <a:pt x="8953784" y="6826489"/>
                </a:cubicBezTo>
                <a:lnTo>
                  <a:pt x="9032264" y="6747747"/>
                </a:lnTo>
                <a:close/>
                <a:moveTo>
                  <a:pt x="7006076" y="6736202"/>
                </a:moveTo>
                <a:cubicBezTo>
                  <a:pt x="7016582" y="6736202"/>
                  <a:pt x="7026440" y="6740354"/>
                  <a:pt x="7033834" y="6747747"/>
                </a:cubicBezTo>
                <a:lnTo>
                  <a:pt x="7098434" y="6812479"/>
                </a:lnTo>
                <a:lnTo>
                  <a:pt x="7109978" y="6824154"/>
                </a:lnTo>
                <a:lnTo>
                  <a:pt x="7121523" y="6812479"/>
                </a:lnTo>
                <a:lnTo>
                  <a:pt x="7185994" y="6747747"/>
                </a:lnTo>
                <a:cubicBezTo>
                  <a:pt x="7193387" y="6740224"/>
                  <a:pt x="7203245" y="6736202"/>
                  <a:pt x="7213751" y="6736202"/>
                </a:cubicBezTo>
                <a:cubicBezTo>
                  <a:pt x="7224130" y="6736202"/>
                  <a:pt x="7233989" y="6740354"/>
                  <a:pt x="7241381" y="6747747"/>
                </a:cubicBezTo>
                <a:lnTo>
                  <a:pt x="7319862" y="6826359"/>
                </a:lnTo>
                <a:cubicBezTo>
                  <a:pt x="7327255" y="6833753"/>
                  <a:pt x="7331276" y="6843613"/>
                  <a:pt x="7331407" y="6854120"/>
                </a:cubicBezTo>
                <a:lnTo>
                  <a:pt x="7329812" y="6858000"/>
                </a:lnTo>
                <a:lnTo>
                  <a:pt x="6890084" y="6858000"/>
                </a:lnTo>
                <a:lnTo>
                  <a:pt x="6888485" y="6854136"/>
                </a:lnTo>
                <a:cubicBezTo>
                  <a:pt x="6888485" y="6844099"/>
                  <a:pt x="6892312" y="6834078"/>
                  <a:pt x="6899966" y="6826489"/>
                </a:cubicBezTo>
                <a:lnTo>
                  <a:pt x="6978446" y="6747747"/>
                </a:lnTo>
                <a:cubicBezTo>
                  <a:pt x="6985839" y="6740354"/>
                  <a:pt x="6995568" y="6736202"/>
                  <a:pt x="7006076" y="6736202"/>
                </a:cubicBezTo>
                <a:close/>
                <a:moveTo>
                  <a:pt x="3679133" y="6509063"/>
                </a:moveTo>
                <a:lnTo>
                  <a:pt x="3679133" y="6858000"/>
                </a:lnTo>
                <a:lnTo>
                  <a:pt x="3353551" y="6858000"/>
                </a:lnTo>
                <a:lnTo>
                  <a:pt x="3353551" y="6697415"/>
                </a:lnTo>
                <a:close/>
                <a:moveTo>
                  <a:pt x="3695482" y="6509061"/>
                </a:moveTo>
                <a:lnTo>
                  <a:pt x="4020937" y="6697415"/>
                </a:lnTo>
                <a:lnTo>
                  <a:pt x="4020937" y="6858000"/>
                </a:lnTo>
                <a:lnTo>
                  <a:pt x="3695482" y="6858000"/>
                </a:lnTo>
                <a:close/>
                <a:moveTo>
                  <a:pt x="1641506" y="6509061"/>
                </a:moveTo>
                <a:lnTo>
                  <a:pt x="1966962" y="6697415"/>
                </a:lnTo>
                <a:lnTo>
                  <a:pt x="1966962" y="6858000"/>
                </a:lnTo>
                <a:lnTo>
                  <a:pt x="1641506" y="6858000"/>
                </a:lnTo>
                <a:close/>
                <a:moveTo>
                  <a:pt x="1625155" y="6509061"/>
                </a:moveTo>
                <a:lnTo>
                  <a:pt x="1625155" y="6858000"/>
                </a:lnTo>
                <a:lnTo>
                  <a:pt x="1299571" y="6858000"/>
                </a:lnTo>
                <a:lnTo>
                  <a:pt x="1299571" y="6697415"/>
                </a:lnTo>
                <a:close/>
                <a:moveTo>
                  <a:pt x="5749262" y="6509059"/>
                </a:moveTo>
                <a:lnTo>
                  <a:pt x="6074705" y="6697415"/>
                </a:lnTo>
                <a:lnTo>
                  <a:pt x="6074705" y="6858000"/>
                </a:lnTo>
                <a:lnTo>
                  <a:pt x="5749262" y="6858000"/>
                </a:lnTo>
                <a:close/>
                <a:moveTo>
                  <a:pt x="5732919" y="6509059"/>
                </a:moveTo>
                <a:lnTo>
                  <a:pt x="5732919" y="6858000"/>
                </a:lnTo>
                <a:lnTo>
                  <a:pt x="5407350" y="6858000"/>
                </a:lnTo>
                <a:lnTo>
                  <a:pt x="5407350" y="6697415"/>
                </a:lnTo>
                <a:close/>
                <a:moveTo>
                  <a:pt x="11910826" y="6509058"/>
                </a:moveTo>
                <a:lnTo>
                  <a:pt x="12188651" y="6669846"/>
                </a:lnTo>
                <a:lnTo>
                  <a:pt x="12188651" y="6858000"/>
                </a:lnTo>
                <a:lnTo>
                  <a:pt x="11910826" y="6858000"/>
                </a:lnTo>
                <a:close/>
                <a:moveTo>
                  <a:pt x="11894481" y="6509058"/>
                </a:moveTo>
                <a:lnTo>
                  <a:pt x="11894481" y="6858000"/>
                </a:lnTo>
                <a:lnTo>
                  <a:pt x="11568890" y="6858000"/>
                </a:lnTo>
                <a:lnTo>
                  <a:pt x="11568890" y="6697415"/>
                </a:lnTo>
                <a:close/>
                <a:moveTo>
                  <a:pt x="9857006" y="6509058"/>
                </a:moveTo>
                <a:lnTo>
                  <a:pt x="10182468" y="6697415"/>
                </a:lnTo>
                <a:lnTo>
                  <a:pt x="10182468" y="6858000"/>
                </a:lnTo>
                <a:lnTo>
                  <a:pt x="9857006" y="6858000"/>
                </a:lnTo>
                <a:close/>
                <a:moveTo>
                  <a:pt x="9840661" y="6509058"/>
                </a:moveTo>
                <a:lnTo>
                  <a:pt x="9840661" y="6858000"/>
                </a:lnTo>
                <a:lnTo>
                  <a:pt x="9515070" y="6858000"/>
                </a:lnTo>
                <a:lnTo>
                  <a:pt x="9515070" y="6697415"/>
                </a:lnTo>
                <a:close/>
                <a:moveTo>
                  <a:pt x="7803060" y="6509058"/>
                </a:moveTo>
                <a:lnTo>
                  <a:pt x="8128521" y="6697415"/>
                </a:lnTo>
                <a:lnTo>
                  <a:pt x="8128521" y="6858000"/>
                </a:lnTo>
                <a:lnTo>
                  <a:pt x="7803060" y="6858000"/>
                </a:lnTo>
                <a:close/>
                <a:moveTo>
                  <a:pt x="7786715" y="6509058"/>
                </a:moveTo>
                <a:lnTo>
                  <a:pt x="7786715" y="6858000"/>
                </a:lnTo>
                <a:lnTo>
                  <a:pt x="7461125" y="6858000"/>
                </a:lnTo>
                <a:lnTo>
                  <a:pt x="7461125" y="6697415"/>
                </a:lnTo>
                <a:close/>
                <a:moveTo>
                  <a:pt x="2317076" y="6504260"/>
                </a:moveTo>
                <a:lnTo>
                  <a:pt x="2650835" y="6697415"/>
                </a:lnTo>
                <a:lnTo>
                  <a:pt x="2650835" y="6858000"/>
                </a:lnTo>
                <a:lnTo>
                  <a:pt x="1983442" y="6858000"/>
                </a:lnTo>
                <a:lnTo>
                  <a:pt x="1983442" y="6697415"/>
                </a:lnTo>
                <a:close/>
                <a:moveTo>
                  <a:pt x="263230" y="6504260"/>
                </a:moveTo>
                <a:lnTo>
                  <a:pt x="596989" y="6697415"/>
                </a:lnTo>
                <a:lnTo>
                  <a:pt x="596989" y="6858000"/>
                </a:lnTo>
                <a:lnTo>
                  <a:pt x="0" y="6858000"/>
                </a:lnTo>
                <a:lnTo>
                  <a:pt x="0" y="6656657"/>
                </a:lnTo>
                <a:close/>
                <a:moveTo>
                  <a:pt x="10532576" y="6504258"/>
                </a:moveTo>
                <a:lnTo>
                  <a:pt x="10866339" y="6697415"/>
                </a:lnTo>
                <a:lnTo>
                  <a:pt x="10866339" y="6858000"/>
                </a:lnTo>
                <a:lnTo>
                  <a:pt x="10198941" y="6858000"/>
                </a:lnTo>
                <a:lnTo>
                  <a:pt x="10198941" y="6697415"/>
                </a:lnTo>
                <a:close/>
                <a:moveTo>
                  <a:pt x="8478628" y="6504258"/>
                </a:moveTo>
                <a:lnTo>
                  <a:pt x="8812392" y="6697415"/>
                </a:lnTo>
                <a:lnTo>
                  <a:pt x="8812392" y="6858000"/>
                </a:lnTo>
                <a:lnTo>
                  <a:pt x="8144995" y="6858000"/>
                </a:lnTo>
                <a:lnTo>
                  <a:pt x="8144995" y="6697415"/>
                </a:lnTo>
                <a:close/>
                <a:moveTo>
                  <a:pt x="6424810" y="6504258"/>
                </a:moveTo>
                <a:lnTo>
                  <a:pt x="6758573" y="6697415"/>
                </a:lnTo>
                <a:lnTo>
                  <a:pt x="6758573" y="6858000"/>
                </a:lnTo>
                <a:lnTo>
                  <a:pt x="6091179" y="6858000"/>
                </a:lnTo>
                <a:lnTo>
                  <a:pt x="6091179" y="6697415"/>
                </a:lnTo>
                <a:close/>
                <a:moveTo>
                  <a:pt x="4371009" y="6504258"/>
                </a:moveTo>
                <a:lnTo>
                  <a:pt x="4704773" y="6697415"/>
                </a:lnTo>
                <a:lnTo>
                  <a:pt x="4704773" y="6858000"/>
                </a:lnTo>
                <a:lnTo>
                  <a:pt x="4037417" y="6858000"/>
                </a:lnTo>
                <a:lnTo>
                  <a:pt x="4037417" y="6697415"/>
                </a:lnTo>
                <a:close/>
                <a:moveTo>
                  <a:pt x="3002127" y="6504006"/>
                </a:moveTo>
                <a:lnTo>
                  <a:pt x="3335880" y="6697155"/>
                </a:lnTo>
                <a:lnTo>
                  <a:pt x="3335880" y="6858000"/>
                </a:lnTo>
                <a:lnTo>
                  <a:pt x="3238471" y="6858000"/>
                </a:lnTo>
                <a:lnTo>
                  <a:pt x="3240074" y="6854120"/>
                </a:lnTo>
                <a:cubicBezTo>
                  <a:pt x="3240074" y="6839883"/>
                  <a:pt x="3234660" y="6825646"/>
                  <a:pt x="3223830" y="6814814"/>
                </a:cubicBezTo>
                <a:lnTo>
                  <a:pt x="3145351" y="6736202"/>
                </a:lnTo>
                <a:cubicBezTo>
                  <a:pt x="3134450" y="6725305"/>
                  <a:pt x="3120314" y="6719857"/>
                  <a:pt x="3106173" y="6719857"/>
                </a:cubicBezTo>
                <a:lnTo>
                  <a:pt x="3106046" y="6719727"/>
                </a:lnTo>
                <a:lnTo>
                  <a:pt x="3106024" y="6719731"/>
                </a:lnTo>
                <a:lnTo>
                  <a:pt x="3106018" y="6719727"/>
                </a:lnTo>
                <a:cubicBezTo>
                  <a:pt x="3091751" y="6719727"/>
                  <a:pt x="3077614" y="6725176"/>
                  <a:pt x="3066715" y="6736202"/>
                </a:cubicBezTo>
                <a:lnTo>
                  <a:pt x="3002260" y="6800792"/>
                </a:lnTo>
                <a:lnTo>
                  <a:pt x="2937672" y="6736072"/>
                </a:lnTo>
                <a:cubicBezTo>
                  <a:pt x="2926776" y="6725176"/>
                  <a:pt x="2912631" y="6719727"/>
                  <a:pt x="2898367" y="6719727"/>
                </a:cubicBezTo>
                <a:lnTo>
                  <a:pt x="2898356" y="6719730"/>
                </a:lnTo>
                <a:lnTo>
                  <a:pt x="2898342" y="6719727"/>
                </a:lnTo>
                <a:cubicBezTo>
                  <a:pt x="2884072" y="6719727"/>
                  <a:pt x="2869934" y="6725176"/>
                  <a:pt x="2859168" y="6736072"/>
                </a:cubicBezTo>
                <a:lnTo>
                  <a:pt x="2780689" y="6814814"/>
                </a:lnTo>
                <a:cubicBezTo>
                  <a:pt x="2769856" y="6825646"/>
                  <a:pt x="2764442" y="6839883"/>
                  <a:pt x="2764442" y="6854120"/>
                </a:cubicBezTo>
                <a:lnTo>
                  <a:pt x="2766045" y="6858000"/>
                </a:lnTo>
                <a:lnTo>
                  <a:pt x="2668379" y="6858000"/>
                </a:lnTo>
                <a:lnTo>
                  <a:pt x="2668379" y="6697155"/>
                </a:lnTo>
                <a:close/>
                <a:moveTo>
                  <a:pt x="948152" y="6504006"/>
                </a:moveTo>
                <a:lnTo>
                  <a:pt x="1281903" y="6697155"/>
                </a:lnTo>
                <a:lnTo>
                  <a:pt x="1281903" y="6858000"/>
                </a:lnTo>
                <a:lnTo>
                  <a:pt x="1184494" y="6858000"/>
                </a:lnTo>
                <a:lnTo>
                  <a:pt x="1186097" y="6854120"/>
                </a:lnTo>
                <a:cubicBezTo>
                  <a:pt x="1186097" y="6839883"/>
                  <a:pt x="1180679" y="6825646"/>
                  <a:pt x="1169850" y="6814814"/>
                </a:cubicBezTo>
                <a:lnTo>
                  <a:pt x="1091372" y="6736202"/>
                </a:lnTo>
                <a:cubicBezTo>
                  <a:pt x="1080476" y="6725305"/>
                  <a:pt x="1066336" y="6719857"/>
                  <a:pt x="1052196" y="6719857"/>
                </a:cubicBezTo>
                <a:lnTo>
                  <a:pt x="1052065" y="6719727"/>
                </a:lnTo>
                <a:lnTo>
                  <a:pt x="1052048" y="6719731"/>
                </a:lnTo>
                <a:lnTo>
                  <a:pt x="1052044" y="6719727"/>
                </a:lnTo>
                <a:cubicBezTo>
                  <a:pt x="1037774" y="6719727"/>
                  <a:pt x="1023635" y="6725176"/>
                  <a:pt x="1012740" y="6736202"/>
                </a:cubicBezTo>
                <a:lnTo>
                  <a:pt x="948282" y="6800792"/>
                </a:lnTo>
                <a:lnTo>
                  <a:pt x="883695" y="6736072"/>
                </a:lnTo>
                <a:cubicBezTo>
                  <a:pt x="872796" y="6725176"/>
                  <a:pt x="858659" y="6719727"/>
                  <a:pt x="844389" y="6719727"/>
                </a:cubicBezTo>
                <a:lnTo>
                  <a:pt x="844377" y="6719730"/>
                </a:lnTo>
                <a:lnTo>
                  <a:pt x="844365" y="6719727"/>
                </a:lnTo>
                <a:cubicBezTo>
                  <a:pt x="830096" y="6719727"/>
                  <a:pt x="815958" y="6725176"/>
                  <a:pt x="805191" y="6736072"/>
                </a:cubicBezTo>
                <a:lnTo>
                  <a:pt x="726712" y="6814814"/>
                </a:lnTo>
                <a:cubicBezTo>
                  <a:pt x="715880" y="6825646"/>
                  <a:pt x="710465" y="6839883"/>
                  <a:pt x="710465" y="6854120"/>
                </a:cubicBezTo>
                <a:lnTo>
                  <a:pt x="712069" y="6858000"/>
                </a:lnTo>
                <a:lnTo>
                  <a:pt x="614404" y="6858000"/>
                </a:lnTo>
                <a:lnTo>
                  <a:pt x="614404" y="6697155"/>
                </a:lnTo>
                <a:close/>
                <a:moveTo>
                  <a:pt x="5055949" y="6504005"/>
                </a:moveTo>
                <a:lnTo>
                  <a:pt x="5389688" y="6697155"/>
                </a:lnTo>
                <a:lnTo>
                  <a:pt x="5389688" y="6858000"/>
                </a:lnTo>
                <a:lnTo>
                  <a:pt x="5292268" y="6858000"/>
                </a:lnTo>
                <a:lnTo>
                  <a:pt x="5293870" y="6854120"/>
                </a:lnTo>
                <a:cubicBezTo>
                  <a:pt x="5293870" y="6839883"/>
                  <a:pt x="5288456" y="6825646"/>
                  <a:pt x="5277615" y="6814814"/>
                </a:cubicBezTo>
                <a:lnTo>
                  <a:pt x="5199142" y="6736202"/>
                </a:lnTo>
                <a:cubicBezTo>
                  <a:pt x="5188246" y="6725305"/>
                  <a:pt x="5174097" y="6719857"/>
                  <a:pt x="5159966" y="6719857"/>
                </a:cubicBezTo>
                <a:lnTo>
                  <a:pt x="5159837" y="6719727"/>
                </a:lnTo>
                <a:lnTo>
                  <a:pt x="5159824" y="6719729"/>
                </a:lnTo>
                <a:lnTo>
                  <a:pt x="5159824" y="6719727"/>
                </a:lnTo>
                <a:cubicBezTo>
                  <a:pt x="5145561" y="6719727"/>
                  <a:pt x="5131424" y="6725176"/>
                  <a:pt x="5120526" y="6736202"/>
                </a:cubicBezTo>
                <a:lnTo>
                  <a:pt x="5056083" y="6800794"/>
                </a:lnTo>
                <a:lnTo>
                  <a:pt x="4991465" y="6736072"/>
                </a:lnTo>
                <a:cubicBezTo>
                  <a:pt x="4980573" y="6725176"/>
                  <a:pt x="4966424" y="6719727"/>
                  <a:pt x="4952157" y="6719727"/>
                </a:cubicBezTo>
                <a:lnTo>
                  <a:pt x="4952154" y="6719728"/>
                </a:lnTo>
                <a:lnTo>
                  <a:pt x="4952148" y="6719727"/>
                </a:lnTo>
                <a:cubicBezTo>
                  <a:pt x="4937875" y="6719727"/>
                  <a:pt x="4923734" y="6725176"/>
                  <a:pt x="4912971" y="6736072"/>
                </a:cubicBezTo>
                <a:lnTo>
                  <a:pt x="4834495" y="6814814"/>
                </a:lnTo>
                <a:cubicBezTo>
                  <a:pt x="4823655" y="6825646"/>
                  <a:pt x="4818244" y="6839883"/>
                  <a:pt x="4818244" y="6854120"/>
                </a:cubicBezTo>
                <a:lnTo>
                  <a:pt x="4819847" y="6858000"/>
                </a:lnTo>
                <a:lnTo>
                  <a:pt x="4722171" y="6858000"/>
                </a:lnTo>
                <a:lnTo>
                  <a:pt x="4722171" y="6697155"/>
                </a:lnTo>
                <a:close/>
                <a:moveTo>
                  <a:pt x="11217614" y="6503998"/>
                </a:moveTo>
                <a:lnTo>
                  <a:pt x="11551377" y="6697155"/>
                </a:lnTo>
                <a:lnTo>
                  <a:pt x="11551377" y="6858000"/>
                </a:lnTo>
                <a:lnTo>
                  <a:pt x="11453944" y="6858000"/>
                </a:lnTo>
                <a:lnTo>
                  <a:pt x="11455548" y="6854120"/>
                </a:lnTo>
                <a:cubicBezTo>
                  <a:pt x="11455548" y="6839883"/>
                  <a:pt x="11450133" y="6825646"/>
                  <a:pt x="11439301" y="6814814"/>
                </a:cubicBezTo>
                <a:lnTo>
                  <a:pt x="11360822" y="6736202"/>
                </a:lnTo>
                <a:cubicBezTo>
                  <a:pt x="11349927" y="6725305"/>
                  <a:pt x="11335787" y="6719857"/>
                  <a:pt x="11321647" y="6719857"/>
                </a:cubicBezTo>
                <a:lnTo>
                  <a:pt x="11321517" y="6719727"/>
                </a:lnTo>
                <a:cubicBezTo>
                  <a:pt x="11307249" y="6719727"/>
                  <a:pt x="11293110" y="6725176"/>
                  <a:pt x="11282213" y="6736202"/>
                </a:cubicBezTo>
                <a:lnTo>
                  <a:pt x="11217744" y="6800804"/>
                </a:lnTo>
                <a:lnTo>
                  <a:pt x="11153145" y="6736072"/>
                </a:lnTo>
                <a:cubicBezTo>
                  <a:pt x="11142248" y="6725176"/>
                  <a:pt x="11128108" y="6719727"/>
                  <a:pt x="11113840" y="6719727"/>
                </a:cubicBezTo>
                <a:cubicBezTo>
                  <a:pt x="11099571" y="6719727"/>
                  <a:pt x="11085432" y="6725176"/>
                  <a:pt x="11074665" y="6736072"/>
                </a:cubicBezTo>
                <a:lnTo>
                  <a:pt x="10996186" y="6814814"/>
                </a:lnTo>
                <a:cubicBezTo>
                  <a:pt x="10985354" y="6825646"/>
                  <a:pt x="10979939" y="6839883"/>
                  <a:pt x="10979939" y="6854120"/>
                </a:cubicBezTo>
                <a:lnTo>
                  <a:pt x="10981543" y="6858000"/>
                </a:lnTo>
                <a:lnTo>
                  <a:pt x="10883851" y="6858000"/>
                </a:lnTo>
                <a:lnTo>
                  <a:pt x="10883851" y="6697155"/>
                </a:lnTo>
                <a:close/>
                <a:moveTo>
                  <a:pt x="9163666" y="6503998"/>
                </a:moveTo>
                <a:lnTo>
                  <a:pt x="9497429" y="6697155"/>
                </a:lnTo>
                <a:lnTo>
                  <a:pt x="9497429" y="6858000"/>
                </a:lnTo>
                <a:lnTo>
                  <a:pt x="9399997" y="6858000"/>
                </a:lnTo>
                <a:lnTo>
                  <a:pt x="9401601" y="6854120"/>
                </a:lnTo>
                <a:cubicBezTo>
                  <a:pt x="9401601" y="6839883"/>
                  <a:pt x="9396185" y="6825646"/>
                  <a:pt x="9385354" y="6814814"/>
                </a:cubicBezTo>
                <a:lnTo>
                  <a:pt x="9306876" y="6736202"/>
                </a:lnTo>
                <a:cubicBezTo>
                  <a:pt x="9295978" y="6725305"/>
                  <a:pt x="9281840" y="6719857"/>
                  <a:pt x="9267701" y="6719857"/>
                </a:cubicBezTo>
                <a:lnTo>
                  <a:pt x="9267571" y="6719727"/>
                </a:lnTo>
                <a:lnTo>
                  <a:pt x="9267570" y="6719727"/>
                </a:lnTo>
                <a:cubicBezTo>
                  <a:pt x="9253302" y="6719727"/>
                  <a:pt x="9239161" y="6725176"/>
                  <a:pt x="9228265" y="6736202"/>
                </a:cubicBezTo>
                <a:lnTo>
                  <a:pt x="9163796" y="6800804"/>
                </a:lnTo>
                <a:lnTo>
                  <a:pt x="9099198" y="6736072"/>
                </a:lnTo>
                <a:cubicBezTo>
                  <a:pt x="9088300" y="6725176"/>
                  <a:pt x="9074162" y="6719727"/>
                  <a:pt x="9059893" y="6719727"/>
                </a:cubicBezTo>
                <a:lnTo>
                  <a:pt x="9059892" y="6719727"/>
                </a:lnTo>
                <a:cubicBezTo>
                  <a:pt x="9045623" y="6719727"/>
                  <a:pt x="9031483" y="6725176"/>
                  <a:pt x="9020717" y="6736072"/>
                </a:cubicBezTo>
                <a:lnTo>
                  <a:pt x="8942238" y="6814814"/>
                </a:lnTo>
                <a:cubicBezTo>
                  <a:pt x="8931407" y="6825646"/>
                  <a:pt x="8925991" y="6839883"/>
                  <a:pt x="8925991" y="6854120"/>
                </a:cubicBezTo>
                <a:lnTo>
                  <a:pt x="8927595" y="6858000"/>
                </a:lnTo>
                <a:lnTo>
                  <a:pt x="8829903" y="6858000"/>
                </a:lnTo>
                <a:lnTo>
                  <a:pt x="8829903" y="6697155"/>
                </a:lnTo>
                <a:close/>
                <a:moveTo>
                  <a:pt x="7109850" y="6503998"/>
                </a:moveTo>
                <a:lnTo>
                  <a:pt x="7443613" y="6697155"/>
                </a:lnTo>
                <a:lnTo>
                  <a:pt x="7443613" y="6858000"/>
                </a:lnTo>
                <a:lnTo>
                  <a:pt x="7346179" y="6858000"/>
                </a:lnTo>
                <a:lnTo>
                  <a:pt x="7347783" y="6854120"/>
                </a:lnTo>
                <a:cubicBezTo>
                  <a:pt x="7347783" y="6839883"/>
                  <a:pt x="7342368" y="6825646"/>
                  <a:pt x="7331537" y="6814814"/>
                </a:cubicBezTo>
                <a:lnTo>
                  <a:pt x="7253057" y="6736202"/>
                </a:lnTo>
                <a:cubicBezTo>
                  <a:pt x="7242161" y="6725305"/>
                  <a:pt x="7228022" y="6719857"/>
                  <a:pt x="7213882" y="6719857"/>
                </a:cubicBezTo>
                <a:lnTo>
                  <a:pt x="7213751" y="6719727"/>
                </a:lnTo>
                <a:cubicBezTo>
                  <a:pt x="7199483" y="6719727"/>
                  <a:pt x="7185345" y="6725176"/>
                  <a:pt x="7174449" y="6736202"/>
                </a:cubicBezTo>
                <a:lnTo>
                  <a:pt x="7109978" y="6800804"/>
                </a:lnTo>
                <a:lnTo>
                  <a:pt x="7045379" y="6736072"/>
                </a:lnTo>
                <a:cubicBezTo>
                  <a:pt x="7034483" y="6725176"/>
                  <a:pt x="7020344" y="6719727"/>
                  <a:pt x="7006076" y="6719727"/>
                </a:cubicBezTo>
                <a:cubicBezTo>
                  <a:pt x="6991805" y="6719727"/>
                  <a:pt x="6977666" y="6725176"/>
                  <a:pt x="6966901" y="6736072"/>
                </a:cubicBezTo>
                <a:lnTo>
                  <a:pt x="6888421" y="6814814"/>
                </a:lnTo>
                <a:cubicBezTo>
                  <a:pt x="6877589" y="6825646"/>
                  <a:pt x="6872173" y="6839883"/>
                  <a:pt x="6872173" y="6854120"/>
                </a:cubicBezTo>
                <a:lnTo>
                  <a:pt x="6873777" y="6858000"/>
                </a:lnTo>
                <a:lnTo>
                  <a:pt x="6776085" y="6858000"/>
                </a:lnTo>
                <a:lnTo>
                  <a:pt x="6776085" y="6697155"/>
                </a:lnTo>
                <a:close/>
                <a:moveTo>
                  <a:pt x="2660324" y="6306179"/>
                </a:moveTo>
                <a:lnTo>
                  <a:pt x="2985774" y="6494528"/>
                </a:lnTo>
                <a:lnTo>
                  <a:pt x="2660196" y="6682877"/>
                </a:lnTo>
                <a:lnTo>
                  <a:pt x="2334751" y="6494528"/>
                </a:lnTo>
                <a:close/>
                <a:moveTo>
                  <a:pt x="606349" y="6306179"/>
                </a:moveTo>
                <a:lnTo>
                  <a:pt x="931795" y="6494528"/>
                </a:lnTo>
                <a:lnTo>
                  <a:pt x="606218" y="6682877"/>
                </a:lnTo>
                <a:lnTo>
                  <a:pt x="280770" y="6494528"/>
                </a:lnTo>
                <a:close/>
                <a:moveTo>
                  <a:pt x="4714117" y="6306174"/>
                </a:moveTo>
                <a:lnTo>
                  <a:pt x="5039591" y="6494528"/>
                </a:lnTo>
                <a:lnTo>
                  <a:pt x="4713993" y="6682882"/>
                </a:lnTo>
                <a:lnTo>
                  <a:pt x="4388541" y="6494528"/>
                </a:lnTo>
                <a:close/>
                <a:moveTo>
                  <a:pt x="10875808" y="6306171"/>
                </a:moveTo>
                <a:lnTo>
                  <a:pt x="11201269" y="6494528"/>
                </a:lnTo>
                <a:lnTo>
                  <a:pt x="10875679" y="6682885"/>
                </a:lnTo>
                <a:lnTo>
                  <a:pt x="10550217" y="6494528"/>
                </a:lnTo>
                <a:close/>
                <a:moveTo>
                  <a:pt x="8821860" y="6306171"/>
                </a:moveTo>
                <a:lnTo>
                  <a:pt x="9147321" y="6494528"/>
                </a:lnTo>
                <a:lnTo>
                  <a:pt x="8821731" y="6682885"/>
                </a:lnTo>
                <a:lnTo>
                  <a:pt x="8496269" y="6494528"/>
                </a:lnTo>
                <a:close/>
                <a:moveTo>
                  <a:pt x="6768043" y="6306171"/>
                </a:moveTo>
                <a:lnTo>
                  <a:pt x="7093505" y="6494528"/>
                </a:lnTo>
                <a:lnTo>
                  <a:pt x="6767913" y="6682885"/>
                </a:lnTo>
                <a:lnTo>
                  <a:pt x="6442452" y="6494528"/>
                </a:lnTo>
                <a:close/>
                <a:moveTo>
                  <a:pt x="12140685" y="6142204"/>
                </a:moveTo>
                <a:cubicBezTo>
                  <a:pt x="12151191" y="6142204"/>
                  <a:pt x="12161050" y="6146356"/>
                  <a:pt x="12168445" y="6153749"/>
                </a:cubicBezTo>
                <a:lnTo>
                  <a:pt x="12188651" y="6173997"/>
                </a:lnTo>
                <a:lnTo>
                  <a:pt x="12188651" y="6442248"/>
                </a:lnTo>
                <a:lnTo>
                  <a:pt x="12034576" y="6287882"/>
                </a:lnTo>
                <a:cubicBezTo>
                  <a:pt x="12019270" y="6272575"/>
                  <a:pt x="12019270" y="6247668"/>
                  <a:pt x="12034576" y="6232490"/>
                </a:cubicBezTo>
                <a:lnTo>
                  <a:pt x="12113056" y="6153749"/>
                </a:lnTo>
                <a:cubicBezTo>
                  <a:pt x="12120448" y="6146356"/>
                  <a:pt x="12130178" y="6142204"/>
                  <a:pt x="12140685" y="6142204"/>
                </a:cubicBezTo>
                <a:close/>
                <a:moveTo>
                  <a:pt x="10086867" y="6142204"/>
                </a:moveTo>
                <a:cubicBezTo>
                  <a:pt x="10097374" y="6142204"/>
                  <a:pt x="10107232" y="6146356"/>
                  <a:pt x="10114626" y="6153749"/>
                </a:cubicBezTo>
                <a:lnTo>
                  <a:pt x="10179226" y="6218481"/>
                </a:lnTo>
                <a:lnTo>
                  <a:pt x="10190770" y="6230155"/>
                </a:lnTo>
                <a:lnTo>
                  <a:pt x="10202315" y="6218481"/>
                </a:lnTo>
                <a:lnTo>
                  <a:pt x="10266786" y="6153749"/>
                </a:lnTo>
                <a:cubicBezTo>
                  <a:pt x="10274178" y="6146226"/>
                  <a:pt x="10284037" y="6142204"/>
                  <a:pt x="10294543" y="6142204"/>
                </a:cubicBezTo>
                <a:cubicBezTo>
                  <a:pt x="10304922" y="6142204"/>
                  <a:pt x="10314781" y="6146356"/>
                  <a:pt x="10322173" y="6153749"/>
                </a:cubicBezTo>
                <a:lnTo>
                  <a:pt x="10400653" y="6232360"/>
                </a:lnTo>
                <a:cubicBezTo>
                  <a:pt x="10408047" y="6239755"/>
                  <a:pt x="10412068" y="6249614"/>
                  <a:pt x="10412198" y="6260121"/>
                </a:cubicBezTo>
                <a:cubicBezTo>
                  <a:pt x="10412198" y="6270629"/>
                  <a:pt x="10408176" y="6280488"/>
                  <a:pt x="10400783" y="6287882"/>
                </a:cubicBezTo>
                <a:lnTo>
                  <a:pt x="10190770" y="6498291"/>
                </a:lnTo>
                <a:lnTo>
                  <a:pt x="9980757" y="6287882"/>
                </a:lnTo>
                <a:cubicBezTo>
                  <a:pt x="9965450" y="6272575"/>
                  <a:pt x="9965450" y="6247668"/>
                  <a:pt x="9980757" y="6232490"/>
                </a:cubicBezTo>
                <a:lnTo>
                  <a:pt x="10059237" y="6153749"/>
                </a:lnTo>
                <a:cubicBezTo>
                  <a:pt x="10066631" y="6146356"/>
                  <a:pt x="10076359" y="6142204"/>
                  <a:pt x="10086867" y="6142204"/>
                </a:cubicBezTo>
                <a:close/>
                <a:moveTo>
                  <a:pt x="8032919" y="6142204"/>
                </a:moveTo>
                <a:cubicBezTo>
                  <a:pt x="8043427" y="6142204"/>
                  <a:pt x="8053285" y="6146356"/>
                  <a:pt x="8060679" y="6153749"/>
                </a:cubicBezTo>
                <a:lnTo>
                  <a:pt x="8125278" y="6218481"/>
                </a:lnTo>
                <a:lnTo>
                  <a:pt x="8136823" y="6230155"/>
                </a:lnTo>
                <a:lnTo>
                  <a:pt x="8148368" y="6218481"/>
                </a:lnTo>
                <a:lnTo>
                  <a:pt x="8212837" y="6153749"/>
                </a:lnTo>
                <a:cubicBezTo>
                  <a:pt x="8220232" y="6146226"/>
                  <a:pt x="8230090" y="6142204"/>
                  <a:pt x="8240596" y="6142204"/>
                </a:cubicBezTo>
                <a:cubicBezTo>
                  <a:pt x="8250975" y="6142204"/>
                  <a:pt x="8260834" y="6146356"/>
                  <a:pt x="8268226" y="6153749"/>
                </a:cubicBezTo>
                <a:lnTo>
                  <a:pt x="8346707" y="6232360"/>
                </a:lnTo>
                <a:cubicBezTo>
                  <a:pt x="8354100" y="6239755"/>
                  <a:pt x="8358121" y="6249614"/>
                  <a:pt x="8358252" y="6260121"/>
                </a:cubicBezTo>
                <a:cubicBezTo>
                  <a:pt x="8358252" y="6270629"/>
                  <a:pt x="8354229" y="6280488"/>
                  <a:pt x="8346837" y="6287882"/>
                </a:cubicBezTo>
                <a:lnTo>
                  <a:pt x="8136823" y="6498291"/>
                </a:lnTo>
                <a:lnTo>
                  <a:pt x="7926811" y="6287882"/>
                </a:lnTo>
                <a:cubicBezTo>
                  <a:pt x="7911503" y="6272575"/>
                  <a:pt x="7911503" y="6247668"/>
                  <a:pt x="7926811" y="6232490"/>
                </a:cubicBezTo>
                <a:lnTo>
                  <a:pt x="8005289" y="6153749"/>
                </a:lnTo>
                <a:cubicBezTo>
                  <a:pt x="8012684" y="6146356"/>
                  <a:pt x="8022413" y="6142204"/>
                  <a:pt x="8032919" y="6142204"/>
                </a:cubicBezTo>
                <a:close/>
                <a:moveTo>
                  <a:pt x="5979109" y="6142204"/>
                </a:moveTo>
                <a:cubicBezTo>
                  <a:pt x="5989617" y="6142204"/>
                  <a:pt x="5999474" y="6146356"/>
                  <a:pt x="6006867" y="6153749"/>
                </a:cubicBezTo>
                <a:lnTo>
                  <a:pt x="6071463" y="6218481"/>
                </a:lnTo>
                <a:lnTo>
                  <a:pt x="6083006" y="6230155"/>
                </a:lnTo>
                <a:lnTo>
                  <a:pt x="6094550" y="6218481"/>
                </a:lnTo>
                <a:lnTo>
                  <a:pt x="6159019" y="6153749"/>
                </a:lnTo>
                <a:cubicBezTo>
                  <a:pt x="6166413" y="6146226"/>
                  <a:pt x="6176271" y="6142204"/>
                  <a:pt x="6186779" y="6142204"/>
                </a:cubicBezTo>
                <a:cubicBezTo>
                  <a:pt x="6197156" y="6142204"/>
                  <a:pt x="6207014" y="6146356"/>
                  <a:pt x="6214409" y="6153749"/>
                </a:cubicBezTo>
                <a:lnTo>
                  <a:pt x="6292888" y="6232360"/>
                </a:lnTo>
                <a:cubicBezTo>
                  <a:pt x="6300282" y="6239755"/>
                  <a:pt x="6304303" y="6249614"/>
                  <a:pt x="6304433" y="6260121"/>
                </a:cubicBezTo>
                <a:cubicBezTo>
                  <a:pt x="6304433" y="6270629"/>
                  <a:pt x="6300412" y="6280488"/>
                  <a:pt x="6293017" y="6287882"/>
                </a:cubicBezTo>
                <a:lnTo>
                  <a:pt x="6083006" y="6498291"/>
                </a:lnTo>
                <a:lnTo>
                  <a:pt x="5873007" y="6287882"/>
                </a:lnTo>
                <a:cubicBezTo>
                  <a:pt x="5857700" y="6272575"/>
                  <a:pt x="5857700" y="6247668"/>
                  <a:pt x="5873007" y="6232490"/>
                </a:cubicBezTo>
                <a:lnTo>
                  <a:pt x="5951483" y="6153749"/>
                </a:lnTo>
                <a:cubicBezTo>
                  <a:pt x="5958873" y="6146356"/>
                  <a:pt x="5968603" y="6142204"/>
                  <a:pt x="5979109" y="6142204"/>
                </a:cubicBezTo>
                <a:close/>
                <a:moveTo>
                  <a:pt x="3925340" y="6142204"/>
                </a:moveTo>
                <a:cubicBezTo>
                  <a:pt x="3935843" y="6142204"/>
                  <a:pt x="3945706" y="6146356"/>
                  <a:pt x="3953098" y="6153749"/>
                </a:cubicBezTo>
                <a:lnTo>
                  <a:pt x="4017696" y="6218481"/>
                </a:lnTo>
                <a:lnTo>
                  <a:pt x="4029239" y="6230155"/>
                </a:lnTo>
                <a:lnTo>
                  <a:pt x="4040788" y="6218481"/>
                </a:lnTo>
                <a:lnTo>
                  <a:pt x="4105258" y="6153749"/>
                </a:lnTo>
                <a:cubicBezTo>
                  <a:pt x="4112654" y="6146226"/>
                  <a:pt x="4122515" y="6142204"/>
                  <a:pt x="4133019" y="6142204"/>
                </a:cubicBezTo>
                <a:cubicBezTo>
                  <a:pt x="4143398" y="6142204"/>
                  <a:pt x="4153258" y="6146356"/>
                  <a:pt x="4160649" y="6153749"/>
                </a:cubicBezTo>
                <a:lnTo>
                  <a:pt x="4239088" y="6232360"/>
                </a:lnTo>
                <a:cubicBezTo>
                  <a:pt x="4246485" y="6239755"/>
                  <a:pt x="4250503" y="6249614"/>
                  <a:pt x="4250634" y="6260121"/>
                </a:cubicBezTo>
                <a:cubicBezTo>
                  <a:pt x="4250634" y="6270629"/>
                  <a:pt x="4246611" y="6280488"/>
                  <a:pt x="4239218" y="6287882"/>
                </a:cubicBezTo>
                <a:lnTo>
                  <a:pt x="4029239" y="6498291"/>
                </a:lnTo>
                <a:lnTo>
                  <a:pt x="3819224" y="6287882"/>
                </a:lnTo>
                <a:cubicBezTo>
                  <a:pt x="3803916" y="6272575"/>
                  <a:pt x="3803916" y="6247668"/>
                  <a:pt x="3819224" y="6232490"/>
                </a:cubicBezTo>
                <a:lnTo>
                  <a:pt x="3897706" y="6153749"/>
                </a:lnTo>
                <a:cubicBezTo>
                  <a:pt x="3905103" y="6146356"/>
                  <a:pt x="3914833" y="6142204"/>
                  <a:pt x="3925340" y="6142204"/>
                </a:cubicBezTo>
                <a:close/>
                <a:moveTo>
                  <a:pt x="1871365" y="6142204"/>
                </a:moveTo>
                <a:cubicBezTo>
                  <a:pt x="1881872" y="6142204"/>
                  <a:pt x="1891731" y="6146356"/>
                  <a:pt x="1899125" y="6153749"/>
                </a:cubicBezTo>
                <a:lnTo>
                  <a:pt x="1963725" y="6218481"/>
                </a:lnTo>
                <a:lnTo>
                  <a:pt x="1975268" y="6230155"/>
                </a:lnTo>
                <a:lnTo>
                  <a:pt x="1986815" y="6218481"/>
                </a:lnTo>
                <a:lnTo>
                  <a:pt x="2051282" y="6153749"/>
                </a:lnTo>
                <a:cubicBezTo>
                  <a:pt x="2058678" y="6146226"/>
                  <a:pt x="2068534" y="6142204"/>
                  <a:pt x="2079043" y="6142204"/>
                </a:cubicBezTo>
                <a:cubicBezTo>
                  <a:pt x="2089421" y="6142204"/>
                  <a:pt x="2099286" y="6146356"/>
                  <a:pt x="2106680" y="6153749"/>
                </a:cubicBezTo>
                <a:lnTo>
                  <a:pt x="2185159" y="6232360"/>
                </a:lnTo>
                <a:cubicBezTo>
                  <a:pt x="2192551" y="6239755"/>
                  <a:pt x="2196574" y="6249614"/>
                  <a:pt x="2196704" y="6260121"/>
                </a:cubicBezTo>
                <a:cubicBezTo>
                  <a:pt x="2196704" y="6270629"/>
                  <a:pt x="2192683" y="6280488"/>
                  <a:pt x="2185289" y="6287882"/>
                </a:cubicBezTo>
                <a:lnTo>
                  <a:pt x="1975268" y="6498291"/>
                </a:lnTo>
                <a:lnTo>
                  <a:pt x="1765256" y="6287882"/>
                </a:lnTo>
                <a:cubicBezTo>
                  <a:pt x="1749949" y="6272575"/>
                  <a:pt x="1749949" y="6247668"/>
                  <a:pt x="1765256" y="6232490"/>
                </a:cubicBezTo>
                <a:lnTo>
                  <a:pt x="1843735" y="6153749"/>
                </a:lnTo>
                <a:cubicBezTo>
                  <a:pt x="1851131" y="6146356"/>
                  <a:pt x="1860858" y="6142204"/>
                  <a:pt x="1871365" y="6142204"/>
                </a:cubicBezTo>
                <a:close/>
                <a:moveTo>
                  <a:pt x="25201" y="6142204"/>
                </a:moveTo>
                <a:cubicBezTo>
                  <a:pt x="35579" y="6142204"/>
                  <a:pt x="45437" y="6146356"/>
                  <a:pt x="52832" y="6153749"/>
                </a:cubicBezTo>
                <a:lnTo>
                  <a:pt x="131310" y="6232360"/>
                </a:lnTo>
                <a:cubicBezTo>
                  <a:pt x="138704" y="6239755"/>
                  <a:pt x="142726" y="6249614"/>
                  <a:pt x="142854" y="6260121"/>
                </a:cubicBezTo>
                <a:cubicBezTo>
                  <a:pt x="142854" y="6270629"/>
                  <a:pt x="138833" y="6280488"/>
                  <a:pt x="131440" y="6287882"/>
                </a:cubicBezTo>
                <a:lnTo>
                  <a:pt x="0" y="6419570"/>
                </a:lnTo>
                <a:lnTo>
                  <a:pt x="0" y="6152685"/>
                </a:lnTo>
                <a:close/>
                <a:moveTo>
                  <a:pt x="10086867" y="6125729"/>
                </a:moveTo>
                <a:cubicBezTo>
                  <a:pt x="10072597" y="6125729"/>
                  <a:pt x="10058458" y="6131177"/>
                  <a:pt x="10047692" y="6142074"/>
                </a:cubicBezTo>
                <a:lnTo>
                  <a:pt x="9969212" y="6220816"/>
                </a:lnTo>
                <a:cubicBezTo>
                  <a:pt x="9947549" y="6242480"/>
                  <a:pt x="9947549" y="6277763"/>
                  <a:pt x="9969212" y="6299428"/>
                </a:cubicBezTo>
                <a:lnTo>
                  <a:pt x="10190770" y="6521512"/>
                </a:lnTo>
                <a:lnTo>
                  <a:pt x="10412328" y="6299428"/>
                </a:lnTo>
                <a:cubicBezTo>
                  <a:pt x="10433990" y="6277763"/>
                  <a:pt x="10433990" y="6242480"/>
                  <a:pt x="10412328" y="6220816"/>
                </a:cubicBezTo>
                <a:lnTo>
                  <a:pt x="10333848" y="6142204"/>
                </a:lnTo>
                <a:cubicBezTo>
                  <a:pt x="10322953" y="6131307"/>
                  <a:pt x="10308813" y="6125859"/>
                  <a:pt x="10294673" y="6125859"/>
                </a:cubicBezTo>
                <a:lnTo>
                  <a:pt x="10294543" y="6125729"/>
                </a:lnTo>
                <a:cubicBezTo>
                  <a:pt x="10280275" y="6125729"/>
                  <a:pt x="10266136" y="6131177"/>
                  <a:pt x="10255241" y="6142204"/>
                </a:cubicBezTo>
                <a:lnTo>
                  <a:pt x="10190770" y="6206806"/>
                </a:lnTo>
                <a:lnTo>
                  <a:pt x="10126171" y="6142074"/>
                </a:lnTo>
                <a:cubicBezTo>
                  <a:pt x="10115274" y="6131177"/>
                  <a:pt x="10101136" y="6125729"/>
                  <a:pt x="10086867" y="6125729"/>
                </a:cubicBezTo>
                <a:close/>
                <a:moveTo>
                  <a:pt x="8032919" y="6125729"/>
                </a:moveTo>
                <a:cubicBezTo>
                  <a:pt x="8018650" y="6125729"/>
                  <a:pt x="8004511" y="6131177"/>
                  <a:pt x="7993744" y="6142074"/>
                </a:cubicBezTo>
                <a:lnTo>
                  <a:pt x="7915266" y="6220816"/>
                </a:lnTo>
                <a:cubicBezTo>
                  <a:pt x="7893603" y="6242480"/>
                  <a:pt x="7893603" y="6277763"/>
                  <a:pt x="7915266" y="6299428"/>
                </a:cubicBezTo>
                <a:lnTo>
                  <a:pt x="8136823" y="6521512"/>
                </a:lnTo>
                <a:lnTo>
                  <a:pt x="8358382" y="6299428"/>
                </a:lnTo>
                <a:cubicBezTo>
                  <a:pt x="8380044" y="6277763"/>
                  <a:pt x="8380044" y="6242480"/>
                  <a:pt x="8358382" y="6220816"/>
                </a:cubicBezTo>
                <a:lnTo>
                  <a:pt x="8279902" y="6142204"/>
                </a:lnTo>
                <a:cubicBezTo>
                  <a:pt x="8269006" y="6131307"/>
                  <a:pt x="8254866" y="6125859"/>
                  <a:pt x="8240727" y="6125859"/>
                </a:cubicBezTo>
                <a:lnTo>
                  <a:pt x="8240596" y="6125729"/>
                </a:lnTo>
                <a:cubicBezTo>
                  <a:pt x="8226328" y="6125729"/>
                  <a:pt x="8212190" y="6131177"/>
                  <a:pt x="8201292" y="6142204"/>
                </a:cubicBezTo>
                <a:lnTo>
                  <a:pt x="8136823" y="6206806"/>
                </a:lnTo>
                <a:lnTo>
                  <a:pt x="8072224" y="6142074"/>
                </a:lnTo>
                <a:cubicBezTo>
                  <a:pt x="8061328" y="6131177"/>
                  <a:pt x="8047187" y="6125729"/>
                  <a:pt x="8032919" y="6125729"/>
                </a:cubicBezTo>
                <a:close/>
                <a:moveTo>
                  <a:pt x="5979109" y="6125729"/>
                </a:moveTo>
                <a:cubicBezTo>
                  <a:pt x="5964841" y="6125729"/>
                  <a:pt x="5950702" y="6131177"/>
                  <a:pt x="5939936" y="6142074"/>
                </a:cubicBezTo>
                <a:lnTo>
                  <a:pt x="5861462" y="6220816"/>
                </a:lnTo>
                <a:cubicBezTo>
                  <a:pt x="5839801" y="6242480"/>
                  <a:pt x="5839801" y="6277763"/>
                  <a:pt x="5861462" y="6299428"/>
                </a:cubicBezTo>
                <a:lnTo>
                  <a:pt x="6083006" y="6521512"/>
                </a:lnTo>
                <a:lnTo>
                  <a:pt x="6304562" y="6299428"/>
                </a:lnTo>
                <a:cubicBezTo>
                  <a:pt x="6326226" y="6277763"/>
                  <a:pt x="6326226" y="6242480"/>
                  <a:pt x="6304562" y="6220816"/>
                </a:cubicBezTo>
                <a:lnTo>
                  <a:pt x="6226084" y="6142204"/>
                </a:lnTo>
                <a:cubicBezTo>
                  <a:pt x="6215186" y="6131307"/>
                  <a:pt x="6201048" y="6125859"/>
                  <a:pt x="6186909" y="6125859"/>
                </a:cubicBezTo>
                <a:lnTo>
                  <a:pt x="6186779" y="6125729"/>
                </a:lnTo>
                <a:cubicBezTo>
                  <a:pt x="6172511" y="6125729"/>
                  <a:pt x="6158370" y="6131177"/>
                  <a:pt x="6147474" y="6142204"/>
                </a:cubicBezTo>
                <a:lnTo>
                  <a:pt x="6083006" y="6206806"/>
                </a:lnTo>
                <a:lnTo>
                  <a:pt x="6018412" y="6142074"/>
                </a:lnTo>
                <a:cubicBezTo>
                  <a:pt x="6007514" y="6131177"/>
                  <a:pt x="5993378" y="6125729"/>
                  <a:pt x="5979109" y="6125729"/>
                </a:cubicBezTo>
                <a:close/>
                <a:moveTo>
                  <a:pt x="3925340" y="6125729"/>
                </a:moveTo>
                <a:cubicBezTo>
                  <a:pt x="3911071" y="6125729"/>
                  <a:pt x="3896930" y="6131177"/>
                  <a:pt x="3886162" y="6142074"/>
                </a:cubicBezTo>
                <a:lnTo>
                  <a:pt x="3807680" y="6220816"/>
                </a:lnTo>
                <a:cubicBezTo>
                  <a:pt x="3786016" y="6242480"/>
                  <a:pt x="3786016" y="6277763"/>
                  <a:pt x="3807680" y="6299428"/>
                </a:cubicBezTo>
                <a:lnTo>
                  <a:pt x="4029239" y="6521512"/>
                </a:lnTo>
                <a:lnTo>
                  <a:pt x="4250759" y="6299428"/>
                </a:lnTo>
                <a:cubicBezTo>
                  <a:pt x="4272423" y="6277763"/>
                  <a:pt x="4272423" y="6242480"/>
                  <a:pt x="4250759" y="6220816"/>
                </a:cubicBezTo>
                <a:lnTo>
                  <a:pt x="4172324" y="6142204"/>
                </a:lnTo>
                <a:cubicBezTo>
                  <a:pt x="4161428" y="6131307"/>
                  <a:pt x="4147289" y="6125859"/>
                  <a:pt x="4133150" y="6125859"/>
                </a:cubicBezTo>
                <a:lnTo>
                  <a:pt x="4133019" y="6125729"/>
                </a:lnTo>
                <a:cubicBezTo>
                  <a:pt x="4118750" y="6125729"/>
                  <a:pt x="4104611" y="6131177"/>
                  <a:pt x="4093716" y="6142204"/>
                </a:cubicBezTo>
                <a:lnTo>
                  <a:pt x="4029239" y="6206806"/>
                </a:lnTo>
                <a:lnTo>
                  <a:pt x="3964640" y="6142074"/>
                </a:lnTo>
                <a:cubicBezTo>
                  <a:pt x="3953745" y="6131177"/>
                  <a:pt x="3939605" y="6125729"/>
                  <a:pt x="3925340" y="6125729"/>
                </a:cubicBezTo>
                <a:close/>
                <a:moveTo>
                  <a:pt x="1871365" y="6125729"/>
                </a:moveTo>
                <a:cubicBezTo>
                  <a:pt x="1857096" y="6125729"/>
                  <a:pt x="1842957" y="6131177"/>
                  <a:pt x="1832190" y="6142074"/>
                </a:cubicBezTo>
                <a:lnTo>
                  <a:pt x="1753712" y="6220816"/>
                </a:lnTo>
                <a:cubicBezTo>
                  <a:pt x="1732049" y="6242480"/>
                  <a:pt x="1732049" y="6277763"/>
                  <a:pt x="1753712" y="6299428"/>
                </a:cubicBezTo>
                <a:lnTo>
                  <a:pt x="1975268" y="6521512"/>
                </a:lnTo>
                <a:lnTo>
                  <a:pt x="2196833" y="6299428"/>
                </a:lnTo>
                <a:cubicBezTo>
                  <a:pt x="2218494" y="6277763"/>
                  <a:pt x="2218494" y="6242480"/>
                  <a:pt x="2196833" y="6220816"/>
                </a:cubicBezTo>
                <a:lnTo>
                  <a:pt x="2118354" y="6142204"/>
                </a:lnTo>
                <a:cubicBezTo>
                  <a:pt x="2107457" y="6131307"/>
                  <a:pt x="2093311" y="6125859"/>
                  <a:pt x="2079172" y="6125859"/>
                </a:cubicBezTo>
                <a:lnTo>
                  <a:pt x="2079043" y="6125729"/>
                </a:lnTo>
                <a:cubicBezTo>
                  <a:pt x="2064774" y="6125729"/>
                  <a:pt x="2050635" y="6131177"/>
                  <a:pt x="2039739" y="6142204"/>
                </a:cubicBezTo>
                <a:lnTo>
                  <a:pt x="1975268" y="6206806"/>
                </a:lnTo>
                <a:lnTo>
                  <a:pt x="1910670" y="6142074"/>
                </a:lnTo>
                <a:cubicBezTo>
                  <a:pt x="1899773" y="6131177"/>
                  <a:pt x="1885634" y="6125729"/>
                  <a:pt x="1871365" y="6125729"/>
                </a:cubicBezTo>
                <a:close/>
                <a:moveTo>
                  <a:pt x="0" y="5955550"/>
                </a:moveTo>
                <a:lnTo>
                  <a:pt x="255057" y="6103157"/>
                </a:lnTo>
                <a:lnTo>
                  <a:pt x="255057" y="6489340"/>
                </a:lnTo>
                <a:lnTo>
                  <a:pt x="0" y="6636947"/>
                </a:lnTo>
                <a:lnTo>
                  <a:pt x="0" y="6442752"/>
                </a:lnTo>
                <a:lnTo>
                  <a:pt x="142984" y="6299428"/>
                </a:lnTo>
                <a:cubicBezTo>
                  <a:pt x="164648" y="6277763"/>
                  <a:pt x="164648" y="6242480"/>
                  <a:pt x="142984" y="6220816"/>
                </a:cubicBezTo>
                <a:lnTo>
                  <a:pt x="64505" y="6142204"/>
                </a:lnTo>
                <a:cubicBezTo>
                  <a:pt x="53609" y="6131307"/>
                  <a:pt x="39470" y="6125859"/>
                  <a:pt x="25329" y="6125859"/>
                </a:cubicBezTo>
                <a:lnTo>
                  <a:pt x="25201" y="6125729"/>
                </a:lnTo>
                <a:cubicBezTo>
                  <a:pt x="18067" y="6125729"/>
                  <a:pt x="10965" y="6127091"/>
                  <a:pt x="4284" y="6129832"/>
                </a:cubicBezTo>
                <a:lnTo>
                  <a:pt x="0" y="6132714"/>
                </a:lnTo>
                <a:close/>
                <a:moveTo>
                  <a:pt x="12188651" y="5942299"/>
                </a:moveTo>
                <a:lnTo>
                  <a:pt x="12188651" y="6150753"/>
                </a:lnTo>
                <a:lnTo>
                  <a:pt x="12179990" y="6142074"/>
                </a:lnTo>
                <a:cubicBezTo>
                  <a:pt x="12169092" y="6131177"/>
                  <a:pt x="12154954" y="6125729"/>
                  <a:pt x="12140685" y="6125729"/>
                </a:cubicBezTo>
                <a:cubicBezTo>
                  <a:pt x="12126416" y="6125729"/>
                  <a:pt x="12112276" y="6131177"/>
                  <a:pt x="12101510" y="6142074"/>
                </a:cubicBezTo>
                <a:lnTo>
                  <a:pt x="12023031" y="6220816"/>
                </a:lnTo>
                <a:cubicBezTo>
                  <a:pt x="12001368" y="6242480"/>
                  <a:pt x="12001368" y="6277763"/>
                  <a:pt x="12023031" y="6299428"/>
                </a:cubicBezTo>
                <a:lnTo>
                  <a:pt x="12188651" y="6465441"/>
                </a:lnTo>
                <a:lnTo>
                  <a:pt x="12188651" y="6650199"/>
                </a:lnTo>
                <a:lnTo>
                  <a:pt x="11910696" y="6489340"/>
                </a:lnTo>
                <a:lnTo>
                  <a:pt x="11910696" y="6103158"/>
                </a:lnTo>
                <a:close/>
                <a:moveTo>
                  <a:pt x="2668510" y="5915205"/>
                </a:moveTo>
                <a:lnTo>
                  <a:pt x="2993944" y="6103545"/>
                </a:lnTo>
                <a:lnTo>
                  <a:pt x="2993944" y="6480372"/>
                </a:lnTo>
                <a:lnTo>
                  <a:pt x="2668510" y="6292032"/>
                </a:lnTo>
                <a:close/>
                <a:moveTo>
                  <a:pt x="2652138" y="5915205"/>
                </a:moveTo>
                <a:lnTo>
                  <a:pt x="2652138" y="6292032"/>
                </a:lnTo>
                <a:lnTo>
                  <a:pt x="2326578" y="6480371"/>
                </a:lnTo>
                <a:lnTo>
                  <a:pt x="2326578" y="6103545"/>
                </a:lnTo>
                <a:close/>
                <a:moveTo>
                  <a:pt x="614534" y="5915205"/>
                </a:moveTo>
                <a:lnTo>
                  <a:pt x="939967" y="6103545"/>
                </a:lnTo>
                <a:lnTo>
                  <a:pt x="939967" y="6480373"/>
                </a:lnTo>
                <a:lnTo>
                  <a:pt x="614534" y="6292032"/>
                </a:lnTo>
                <a:close/>
                <a:moveTo>
                  <a:pt x="598162" y="5915205"/>
                </a:moveTo>
                <a:lnTo>
                  <a:pt x="598162" y="6292032"/>
                </a:lnTo>
                <a:lnTo>
                  <a:pt x="272599" y="6480372"/>
                </a:lnTo>
                <a:lnTo>
                  <a:pt x="272599" y="6103545"/>
                </a:lnTo>
                <a:close/>
                <a:moveTo>
                  <a:pt x="4722303" y="5915196"/>
                </a:moveTo>
                <a:lnTo>
                  <a:pt x="5047767" y="6103545"/>
                </a:lnTo>
                <a:lnTo>
                  <a:pt x="5047767" y="6480376"/>
                </a:lnTo>
                <a:lnTo>
                  <a:pt x="4722303" y="6292032"/>
                </a:lnTo>
                <a:close/>
                <a:moveTo>
                  <a:pt x="4705942" y="5915194"/>
                </a:moveTo>
                <a:lnTo>
                  <a:pt x="4705942" y="6292032"/>
                </a:lnTo>
                <a:lnTo>
                  <a:pt x="4380369" y="6480381"/>
                </a:lnTo>
                <a:lnTo>
                  <a:pt x="4380369" y="6103545"/>
                </a:lnTo>
                <a:close/>
                <a:moveTo>
                  <a:pt x="10883981" y="5915189"/>
                </a:moveTo>
                <a:lnTo>
                  <a:pt x="11209441" y="6103545"/>
                </a:lnTo>
                <a:lnTo>
                  <a:pt x="11209441" y="6480388"/>
                </a:lnTo>
                <a:lnTo>
                  <a:pt x="10883981" y="6292032"/>
                </a:lnTo>
                <a:close/>
                <a:moveTo>
                  <a:pt x="10867636" y="5915189"/>
                </a:moveTo>
                <a:lnTo>
                  <a:pt x="10867636" y="6292032"/>
                </a:lnTo>
                <a:lnTo>
                  <a:pt x="10542045" y="6480389"/>
                </a:lnTo>
                <a:lnTo>
                  <a:pt x="10542045" y="6103545"/>
                </a:lnTo>
                <a:close/>
                <a:moveTo>
                  <a:pt x="8830033" y="5915189"/>
                </a:moveTo>
                <a:lnTo>
                  <a:pt x="9155493" y="6103545"/>
                </a:lnTo>
                <a:lnTo>
                  <a:pt x="9155493" y="6480388"/>
                </a:lnTo>
                <a:lnTo>
                  <a:pt x="8830033" y="6292032"/>
                </a:lnTo>
                <a:close/>
                <a:moveTo>
                  <a:pt x="8813688" y="5915189"/>
                </a:moveTo>
                <a:lnTo>
                  <a:pt x="8813688" y="6292032"/>
                </a:lnTo>
                <a:lnTo>
                  <a:pt x="8488098" y="6480388"/>
                </a:lnTo>
                <a:lnTo>
                  <a:pt x="8488098" y="6103545"/>
                </a:lnTo>
                <a:close/>
                <a:moveTo>
                  <a:pt x="6776215" y="5915189"/>
                </a:moveTo>
                <a:lnTo>
                  <a:pt x="7101677" y="6103545"/>
                </a:lnTo>
                <a:lnTo>
                  <a:pt x="7101677" y="6480389"/>
                </a:lnTo>
                <a:lnTo>
                  <a:pt x="6776215" y="6292032"/>
                </a:lnTo>
                <a:close/>
                <a:moveTo>
                  <a:pt x="6759871" y="5915189"/>
                </a:moveTo>
                <a:lnTo>
                  <a:pt x="6759871" y="6292032"/>
                </a:lnTo>
                <a:lnTo>
                  <a:pt x="6434280" y="6480389"/>
                </a:lnTo>
                <a:lnTo>
                  <a:pt x="6434280" y="6103545"/>
                </a:lnTo>
                <a:close/>
                <a:moveTo>
                  <a:pt x="3344066" y="5910397"/>
                </a:moveTo>
                <a:lnTo>
                  <a:pt x="3677812" y="6103545"/>
                </a:lnTo>
                <a:lnTo>
                  <a:pt x="3677812" y="6489859"/>
                </a:lnTo>
                <a:lnTo>
                  <a:pt x="3344198" y="6683007"/>
                </a:lnTo>
                <a:lnTo>
                  <a:pt x="3010447" y="6489859"/>
                </a:lnTo>
                <a:lnTo>
                  <a:pt x="3010447" y="6103545"/>
                </a:lnTo>
                <a:close/>
                <a:moveTo>
                  <a:pt x="1290088" y="5910397"/>
                </a:moveTo>
                <a:lnTo>
                  <a:pt x="1623838" y="6103545"/>
                </a:lnTo>
                <a:lnTo>
                  <a:pt x="1623838" y="6489859"/>
                </a:lnTo>
                <a:lnTo>
                  <a:pt x="1290218" y="6683007"/>
                </a:lnTo>
                <a:lnTo>
                  <a:pt x="956469" y="6489859"/>
                </a:lnTo>
                <a:lnTo>
                  <a:pt x="956469" y="6103545"/>
                </a:lnTo>
                <a:close/>
                <a:moveTo>
                  <a:pt x="5397866" y="5910393"/>
                </a:moveTo>
                <a:lnTo>
                  <a:pt x="5731614" y="6103545"/>
                </a:lnTo>
                <a:lnTo>
                  <a:pt x="5731614" y="6489859"/>
                </a:lnTo>
                <a:lnTo>
                  <a:pt x="5398000" y="6683010"/>
                </a:lnTo>
                <a:lnTo>
                  <a:pt x="5064265" y="6489859"/>
                </a:lnTo>
                <a:lnTo>
                  <a:pt x="5064265" y="6103545"/>
                </a:lnTo>
                <a:close/>
                <a:moveTo>
                  <a:pt x="11559549" y="5910389"/>
                </a:moveTo>
                <a:lnTo>
                  <a:pt x="11893312" y="6103545"/>
                </a:lnTo>
                <a:lnTo>
                  <a:pt x="11893312" y="6489859"/>
                </a:lnTo>
                <a:lnTo>
                  <a:pt x="11559679" y="6683015"/>
                </a:lnTo>
                <a:lnTo>
                  <a:pt x="11225916" y="6489859"/>
                </a:lnTo>
                <a:lnTo>
                  <a:pt x="11225916" y="6103545"/>
                </a:lnTo>
                <a:close/>
                <a:moveTo>
                  <a:pt x="9505601" y="5910389"/>
                </a:moveTo>
                <a:lnTo>
                  <a:pt x="9839364" y="6103545"/>
                </a:lnTo>
                <a:lnTo>
                  <a:pt x="9839364" y="6489859"/>
                </a:lnTo>
                <a:lnTo>
                  <a:pt x="9505732" y="6683015"/>
                </a:lnTo>
                <a:lnTo>
                  <a:pt x="9171969" y="6489859"/>
                </a:lnTo>
                <a:lnTo>
                  <a:pt x="9171969" y="6103545"/>
                </a:lnTo>
                <a:close/>
                <a:moveTo>
                  <a:pt x="7451785" y="5910389"/>
                </a:moveTo>
                <a:lnTo>
                  <a:pt x="7785548" y="6103545"/>
                </a:lnTo>
                <a:lnTo>
                  <a:pt x="7785548" y="6489859"/>
                </a:lnTo>
                <a:lnTo>
                  <a:pt x="7451915" y="6683015"/>
                </a:lnTo>
                <a:lnTo>
                  <a:pt x="7118150" y="6489859"/>
                </a:lnTo>
                <a:lnTo>
                  <a:pt x="7118150" y="6103545"/>
                </a:lnTo>
                <a:close/>
                <a:moveTo>
                  <a:pt x="4029112" y="5910002"/>
                </a:moveTo>
                <a:lnTo>
                  <a:pt x="4213228" y="6016569"/>
                </a:lnTo>
                <a:lnTo>
                  <a:pt x="4362832" y="6103157"/>
                </a:lnTo>
                <a:lnTo>
                  <a:pt x="4362832" y="6489340"/>
                </a:lnTo>
                <a:lnTo>
                  <a:pt x="4029112" y="6682495"/>
                </a:lnTo>
                <a:lnTo>
                  <a:pt x="3695358" y="6489340"/>
                </a:lnTo>
                <a:lnTo>
                  <a:pt x="3695358" y="6103157"/>
                </a:lnTo>
                <a:close/>
                <a:moveTo>
                  <a:pt x="1975138" y="5910002"/>
                </a:moveTo>
                <a:lnTo>
                  <a:pt x="2308904" y="6103157"/>
                </a:lnTo>
                <a:lnTo>
                  <a:pt x="2308904" y="6489340"/>
                </a:lnTo>
                <a:lnTo>
                  <a:pt x="1975138" y="6682495"/>
                </a:lnTo>
                <a:lnTo>
                  <a:pt x="1641379" y="6489340"/>
                </a:lnTo>
                <a:lnTo>
                  <a:pt x="1641379" y="6103157"/>
                </a:lnTo>
                <a:close/>
                <a:moveTo>
                  <a:pt x="10190640" y="5910001"/>
                </a:moveTo>
                <a:lnTo>
                  <a:pt x="10524404" y="6103158"/>
                </a:lnTo>
                <a:lnTo>
                  <a:pt x="10524404" y="6489340"/>
                </a:lnTo>
                <a:lnTo>
                  <a:pt x="10190640" y="6682497"/>
                </a:lnTo>
                <a:lnTo>
                  <a:pt x="9856876" y="6489340"/>
                </a:lnTo>
                <a:lnTo>
                  <a:pt x="9856876" y="6103158"/>
                </a:lnTo>
                <a:close/>
                <a:moveTo>
                  <a:pt x="8136693" y="5910001"/>
                </a:moveTo>
                <a:lnTo>
                  <a:pt x="8470456" y="6103158"/>
                </a:lnTo>
                <a:lnTo>
                  <a:pt x="8470456" y="6489340"/>
                </a:lnTo>
                <a:lnTo>
                  <a:pt x="8136693" y="6682497"/>
                </a:lnTo>
                <a:lnTo>
                  <a:pt x="7802930" y="6489340"/>
                </a:lnTo>
                <a:lnTo>
                  <a:pt x="7802930" y="6103158"/>
                </a:lnTo>
                <a:close/>
                <a:moveTo>
                  <a:pt x="6082876" y="5910001"/>
                </a:moveTo>
                <a:lnTo>
                  <a:pt x="6416638" y="6103158"/>
                </a:lnTo>
                <a:lnTo>
                  <a:pt x="6416638" y="6489340"/>
                </a:lnTo>
                <a:lnTo>
                  <a:pt x="6082876" y="6682497"/>
                </a:lnTo>
                <a:lnTo>
                  <a:pt x="5749136" y="6489340"/>
                </a:lnTo>
                <a:lnTo>
                  <a:pt x="5749136" y="6103157"/>
                </a:lnTo>
                <a:close/>
                <a:moveTo>
                  <a:pt x="3687309" y="5712175"/>
                </a:moveTo>
                <a:lnTo>
                  <a:pt x="4012766" y="5900530"/>
                </a:lnTo>
                <a:lnTo>
                  <a:pt x="3687182" y="6088884"/>
                </a:lnTo>
                <a:lnTo>
                  <a:pt x="3361724" y="5900530"/>
                </a:lnTo>
                <a:close/>
                <a:moveTo>
                  <a:pt x="1633334" y="5712175"/>
                </a:moveTo>
                <a:lnTo>
                  <a:pt x="1958791" y="5900530"/>
                </a:lnTo>
                <a:lnTo>
                  <a:pt x="1633203" y="6088884"/>
                </a:lnTo>
                <a:lnTo>
                  <a:pt x="1307745" y="5900530"/>
                </a:lnTo>
                <a:close/>
                <a:moveTo>
                  <a:pt x="11902654" y="5712174"/>
                </a:moveTo>
                <a:lnTo>
                  <a:pt x="12188651" y="5877692"/>
                </a:lnTo>
                <a:lnTo>
                  <a:pt x="12188651" y="5923360"/>
                </a:lnTo>
                <a:lnTo>
                  <a:pt x="11902524" y="6088886"/>
                </a:lnTo>
                <a:lnTo>
                  <a:pt x="11577062" y="5900531"/>
                </a:lnTo>
                <a:close/>
                <a:moveTo>
                  <a:pt x="9848833" y="5712174"/>
                </a:moveTo>
                <a:lnTo>
                  <a:pt x="10174295" y="5900531"/>
                </a:lnTo>
                <a:lnTo>
                  <a:pt x="9848703" y="6088886"/>
                </a:lnTo>
                <a:lnTo>
                  <a:pt x="9523243" y="5900531"/>
                </a:lnTo>
                <a:close/>
                <a:moveTo>
                  <a:pt x="7794888" y="5712174"/>
                </a:moveTo>
                <a:lnTo>
                  <a:pt x="8120347" y="5900531"/>
                </a:lnTo>
                <a:lnTo>
                  <a:pt x="7794758" y="6088886"/>
                </a:lnTo>
                <a:lnTo>
                  <a:pt x="7469298" y="5900531"/>
                </a:lnTo>
                <a:close/>
                <a:moveTo>
                  <a:pt x="5741090" y="5712174"/>
                </a:moveTo>
                <a:lnTo>
                  <a:pt x="6066531" y="5900531"/>
                </a:lnTo>
                <a:lnTo>
                  <a:pt x="5740963" y="6088886"/>
                </a:lnTo>
                <a:lnTo>
                  <a:pt x="5415520" y="5900530"/>
                </a:lnTo>
                <a:lnTo>
                  <a:pt x="5655997" y="5761405"/>
                </a:lnTo>
                <a:close/>
                <a:moveTo>
                  <a:pt x="3106034" y="5548339"/>
                </a:moveTo>
                <a:lnTo>
                  <a:pt x="3133652" y="5559879"/>
                </a:lnTo>
                <a:lnTo>
                  <a:pt x="3212133" y="5638491"/>
                </a:lnTo>
                <a:cubicBezTo>
                  <a:pt x="3219527" y="5645885"/>
                  <a:pt x="3223546" y="5655745"/>
                  <a:pt x="3223677" y="5666252"/>
                </a:cubicBezTo>
                <a:cubicBezTo>
                  <a:pt x="3223677" y="5676760"/>
                  <a:pt x="3219657" y="5686618"/>
                  <a:pt x="3212262" y="5694012"/>
                </a:cubicBezTo>
                <a:lnTo>
                  <a:pt x="3002260" y="5904411"/>
                </a:lnTo>
                <a:lnTo>
                  <a:pt x="2792261" y="5694012"/>
                </a:lnTo>
                <a:cubicBezTo>
                  <a:pt x="2776952" y="5678705"/>
                  <a:pt x="2776952" y="5653798"/>
                  <a:pt x="2792261" y="5638621"/>
                </a:cubicBezTo>
                <a:lnTo>
                  <a:pt x="2870738" y="5559879"/>
                </a:lnTo>
                <a:lnTo>
                  <a:pt x="2898359" y="5548340"/>
                </a:lnTo>
                <a:lnTo>
                  <a:pt x="2926105" y="5559879"/>
                </a:lnTo>
                <a:lnTo>
                  <a:pt x="2990706" y="5624611"/>
                </a:lnTo>
                <a:lnTo>
                  <a:pt x="3002248" y="5636286"/>
                </a:lnTo>
                <a:lnTo>
                  <a:pt x="3002260" y="5636275"/>
                </a:lnTo>
                <a:lnTo>
                  <a:pt x="3002272" y="5636286"/>
                </a:lnTo>
                <a:lnTo>
                  <a:pt x="3013817" y="5624611"/>
                </a:lnTo>
                <a:lnTo>
                  <a:pt x="3078286" y="5559879"/>
                </a:lnTo>
                <a:close/>
                <a:moveTo>
                  <a:pt x="844380" y="5548339"/>
                </a:moveTo>
                <a:lnTo>
                  <a:pt x="872128" y="5559879"/>
                </a:lnTo>
                <a:lnTo>
                  <a:pt x="936727" y="5624611"/>
                </a:lnTo>
                <a:lnTo>
                  <a:pt x="948272" y="5636286"/>
                </a:lnTo>
                <a:lnTo>
                  <a:pt x="948285" y="5636274"/>
                </a:lnTo>
                <a:lnTo>
                  <a:pt x="948296" y="5636286"/>
                </a:lnTo>
                <a:lnTo>
                  <a:pt x="959841" y="5624611"/>
                </a:lnTo>
                <a:lnTo>
                  <a:pt x="1024310" y="5559879"/>
                </a:lnTo>
                <a:lnTo>
                  <a:pt x="1052058" y="5548339"/>
                </a:lnTo>
                <a:lnTo>
                  <a:pt x="1079676" y="5559879"/>
                </a:lnTo>
                <a:lnTo>
                  <a:pt x="1158155" y="5638491"/>
                </a:lnTo>
                <a:cubicBezTo>
                  <a:pt x="1165549" y="5645885"/>
                  <a:pt x="1169570" y="5655745"/>
                  <a:pt x="1169700" y="5666252"/>
                </a:cubicBezTo>
                <a:cubicBezTo>
                  <a:pt x="1169700" y="5676760"/>
                  <a:pt x="1165679" y="5686618"/>
                  <a:pt x="1158286" y="5694012"/>
                </a:cubicBezTo>
                <a:lnTo>
                  <a:pt x="948285" y="5904410"/>
                </a:lnTo>
                <a:lnTo>
                  <a:pt x="738284" y="5694012"/>
                </a:lnTo>
                <a:cubicBezTo>
                  <a:pt x="722976" y="5678705"/>
                  <a:pt x="722976" y="5653798"/>
                  <a:pt x="738284" y="5638621"/>
                </a:cubicBezTo>
                <a:lnTo>
                  <a:pt x="816760" y="5559879"/>
                </a:lnTo>
                <a:close/>
                <a:moveTo>
                  <a:pt x="4952154" y="5548336"/>
                </a:moveTo>
                <a:lnTo>
                  <a:pt x="4979914" y="5559879"/>
                </a:lnTo>
                <a:lnTo>
                  <a:pt x="5044521" y="5624611"/>
                </a:lnTo>
                <a:lnTo>
                  <a:pt x="5056064" y="5636286"/>
                </a:lnTo>
                <a:lnTo>
                  <a:pt x="5056083" y="5636276"/>
                </a:lnTo>
                <a:lnTo>
                  <a:pt x="5056087" y="5636286"/>
                </a:lnTo>
                <a:lnTo>
                  <a:pt x="5067633" y="5624611"/>
                </a:lnTo>
                <a:lnTo>
                  <a:pt x="5132089" y="5559879"/>
                </a:lnTo>
                <a:lnTo>
                  <a:pt x="5159834" y="5548336"/>
                </a:lnTo>
                <a:lnTo>
                  <a:pt x="5187464" y="5559879"/>
                </a:lnTo>
                <a:lnTo>
                  <a:pt x="5265932" y="5638491"/>
                </a:lnTo>
                <a:cubicBezTo>
                  <a:pt x="5273331" y="5645885"/>
                  <a:pt x="5277344" y="5655745"/>
                  <a:pt x="5277479" y="5666252"/>
                </a:cubicBezTo>
                <a:cubicBezTo>
                  <a:pt x="5277479" y="5676760"/>
                  <a:pt x="5273469" y="5686618"/>
                  <a:pt x="5266071" y="5694012"/>
                </a:cubicBezTo>
                <a:lnTo>
                  <a:pt x="5056083" y="5904412"/>
                </a:lnTo>
                <a:lnTo>
                  <a:pt x="4846044" y="5694012"/>
                </a:lnTo>
                <a:cubicBezTo>
                  <a:pt x="4830736" y="5678705"/>
                  <a:pt x="4830736" y="5653798"/>
                  <a:pt x="4846044" y="5638621"/>
                </a:cubicBezTo>
                <a:lnTo>
                  <a:pt x="4924518" y="5559879"/>
                </a:lnTo>
                <a:close/>
                <a:moveTo>
                  <a:pt x="11113840" y="5548334"/>
                </a:moveTo>
                <a:cubicBezTo>
                  <a:pt x="11124348" y="5548334"/>
                  <a:pt x="11134206" y="5552486"/>
                  <a:pt x="11141600" y="5559879"/>
                </a:cubicBezTo>
                <a:lnTo>
                  <a:pt x="11206199" y="5624611"/>
                </a:lnTo>
                <a:lnTo>
                  <a:pt x="11217744" y="5636286"/>
                </a:lnTo>
                <a:lnTo>
                  <a:pt x="11229289" y="5624611"/>
                </a:lnTo>
                <a:lnTo>
                  <a:pt x="11293758" y="5559879"/>
                </a:lnTo>
                <a:cubicBezTo>
                  <a:pt x="11301152" y="5552356"/>
                  <a:pt x="11311011" y="5548334"/>
                  <a:pt x="11321517" y="5548334"/>
                </a:cubicBezTo>
                <a:cubicBezTo>
                  <a:pt x="11331896" y="5548334"/>
                  <a:pt x="11341755" y="5552486"/>
                  <a:pt x="11349147" y="5559879"/>
                </a:cubicBezTo>
                <a:lnTo>
                  <a:pt x="11427627" y="5638491"/>
                </a:lnTo>
                <a:cubicBezTo>
                  <a:pt x="11435021" y="5645885"/>
                  <a:pt x="11439042" y="5655745"/>
                  <a:pt x="11439172" y="5666252"/>
                </a:cubicBezTo>
                <a:cubicBezTo>
                  <a:pt x="11439172" y="5676760"/>
                  <a:pt x="11435150" y="5686618"/>
                  <a:pt x="11427757" y="5694012"/>
                </a:cubicBezTo>
                <a:lnTo>
                  <a:pt x="11217744" y="5904422"/>
                </a:lnTo>
                <a:lnTo>
                  <a:pt x="11007731" y="5694012"/>
                </a:lnTo>
                <a:cubicBezTo>
                  <a:pt x="10992424" y="5678705"/>
                  <a:pt x="10992424" y="5653798"/>
                  <a:pt x="11007731" y="5638621"/>
                </a:cubicBezTo>
                <a:lnTo>
                  <a:pt x="11086210" y="5559879"/>
                </a:lnTo>
                <a:cubicBezTo>
                  <a:pt x="11093605" y="5552486"/>
                  <a:pt x="11103333" y="5548334"/>
                  <a:pt x="11113840" y="5548334"/>
                </a:cubicBezTo>
                <a:close/>
                <a:moveTo>
                  <a:pt x="9059892" y="5548334"/>
                </a:moveTo>
                <a:lnTo>
                  <a:pt x="9087652" y="5559879"/>
                </a:lnTo>
                <a:lnTo>
                  <a:pt x="9152251" y="5624611"/>
                </a:lnTo>
                <a:lnTo>
                  <a:pt x="9163796" y="5636286"/>
                </a:lnTo>
                <a:lnTo>
                  <a:pt x="9163797" y="5636286"/>
                </a:lnTo>
                <a:lnTo>
                  <a:pt x="9175342" y="5624611"/>
                </a:lnTo>
                <a:lnTo>
                  <a:pt x="9239811" y="5559879"/>
                </a:lnTo>
                <a:lnTo>
                  <a:pt x="9267570" y="5548334"/>
                </a:lnTo>
                <a:lnTo>
                  <a:pt x="9295200" y="5559879"/>
                </a:lnTo>
                <a:lnTo>
                  <a:pt x="9373678" y="5638491"/>
                </a:lnTo>
                <a:cubicBezTo>
                  <a:pt x="9381073" y="5645885"/>
                  <a:pt x="9385093" y="5655745"/>
                  <a:pt x="9385223" y="5666252"/>
                </a:cubicBezTo>
                <a:cubicBezTo>
                  <a:pt x="9385223" y="5676760"/>
                  <a:pt x="9381203" y="5686618"/>
                  <a:pt x="9373808" y="5694012"/>
                </a:cubicBezTo>
                <a:lnTo>
                  <a:pt x="9163797" y="5904422"/>
                </a:lnTo>
                <a:lnTo>
                  <a:pt x="8953784" y="5694012"/>
                </a:lnTo>
                <a:cubicBezTo>
                  <a:pt x="8938478" y="5678705"/>
                  <a:pt x="8938478" y="5653798"/>
                  <a:pt x="8953784" y="5638621"/>
                </a:cubicBezTo>
                <a:lnTo>
                  <a:pt x="9032264" y="5559879"/>
                </a:lnTo>
                <a:close/>
                <a:moveTo>
                  <a:pt x="7006076" y="5548334"/>
                </a:moveTo>
                <a:cubicBezTo>
                  <a:pt x="7016582" y="5548334"/>
                  <a:pt x="7026440" y="5552486"/>
                  <a:pt x="7033834" y="5559879"/>
                </a:cubicBezTo>
                <a:lnTo>
                  <a:pt x="7098434" y="5624611"/>
                </a:lnTo>
                <a:lnTo>
                  <a:pt x="7109978" y="5636286"/>
                </a:lnTo>
                <a:lnTo>
                  <a:pt x="7121523" y="5624611"/>
                </a:lnTo>
                <a:lnTo>
                  <a:pt x="7185994" y="5559879"/>
                </a:lnTo>
                <a:cubicBezTo>
                  <a:pt x="7193387" y="5552356"/>
                  <a:pt x="7203245" y="5548334"/>
                  <a:pt x="7213751" y="5548334"/>
                </a:cubicBezTo>
                <a:cubicBezTo>
                  <a:pt x="7224130" y="5548334"/>
                  <a:pt x="7233989" y="5552486"/>
                  <a:pt x="7241381" y="5559879"/>
                </a:cubicBezTo>
                <a:lnTo>
                  <a:pt x="7319862" y="5638491"/>
                </a:lnTo>
                <a:cubicBezTo>
                  <a:pt x="7327255" y="5645885"/>
                  <a:pt x="7331276" y="5655745"/>
                  <a:pt x="7331407" y="5666252"/>
                </a:cubicBezTo>
                <a:cubicBezTo>
                  <a:pt x="7331407" y="5676760"/>
                  <a:pt x="7327384" y="5686618"/>
                  <a:pt x="7319992" y="5694012"/>
                </a:cubicBezTo>
                <a:lnTo>
                  <a:pt x="7109978" y="5904422"/>
                </a:lnTo>
                <a:lnTo>
                  <a:pt x="6899966" y="5694012"/>
                </a:lnTo>
                <a:cubicBezTo>
                  <a:pt x="6884658" y="5678705"/>
                  <a:pt x="6884658" y="5653798"/>
                  <a:pt x="6899966" y="5638621"/>
                </a:cubicBezTo>
                <a:lnTo>
                  <a:pt x="6978446" y="5559879"/>
                </a:lnTo>
                <a:cubicBezTo>
                  <a:pt x="6985839" y="5552486"/>
                  <a:pt x="6995568" y="5548334"/>
                  <a:pt x="7006076" y="5548334"/>
                </a:cubicBezTo>
                <a:close/>
                <a:moveTo>
                  <a:pt x="11113840" y="5531859"/>
                </a:moveTo>
                <a:cubicBezTo>
                  <a:pt x="11099571" y="5531859"/>
                  <a:pt x="11085432" y="5537308"/>
                  <a:pt x="11074665" y="5548204"/>
                </a:cubicBezTo>
                <a:lnTo>
                  <a:pt x="10996186" y="5626946"/>
                </a:lnTo>
                <a:cubicBezTo>
                  <a:pt x="10974523" y="5648610"/>
                  <a:pt x="10974523" y="5683894"/>
                  <a:pt x="10996186" y="5705558"/>
                </a:cubicBezTo>
                <a:lnTo>
                  <a:pt x="11217744" y="5927642"/>
                </a:lnTo>
                <a:lnTo>
                  <a:pt x="11439301" y="5705558"/>
                </a:lnTo>
                <a:cubicBezTo>
                  <a:pt x="11460964" y="5683894"/>
                  <a:pt x="11460964" y="5648610"/>
                  <a:pt x="11439301" y="5626946"/>
                </a:cubicBezTo>
                <a:lnTo>
                  <a:pt x="11360822" y="5548334"/>
                </a:lnTo>
                <a:cubicBezTo>
                  <a:pt x="11349927" y="5537438"/>
                  <a:pt x="11335787" y="5531989"/>
                  <a:pt x="11321647" y="5531989"/>
                </a:cubicBezTo>
                <a:lnTo>
                  <a:pt x="11321517" y="5531859"/>
                </a:lnTo>
                <a:cubicBezTo>
                  <a:pt x="11307249" y="5531859"/>
                  <a:pt x="11293110" y="5537308"/>
                  <a:pt x="11282213" y="5548334"/>
                </a:cubicBezTo>
                <a:lnTo>
                  <a:pt x="11217744" y="5612936"/>
                </a:lnTo>
                <a:lnTo>
                  <a:pt x="11153145" y="5548204"/>
                </a:lnTo>
                <a:cubicBezTo>
                  <a:pt x="11142248" y="5537308"/>
                  <a:pt x="11128108" y="5531859"/>
                  <a:pt x="11113840" y="5531859"/>
                </a:cubicBezTo>
                <a:close/>
                <a:moveTo>
                  <a:pt x="9059892" y="5531859"/>
                </a:moveTo>
                <a:cubicBezTo>
                  <a:pt x="9045623" y="5531859"/>
                  <a:pt x="9031483" y="5537308"/>
                  <a:pt x="9020717" y="5548204"/>
                </a:cubicBezTo>
                <a:lnTo>
                  <a:pt x="8942238" y="5626946"/>
                </a:lnTo>
                <a:cubicBezTo>
                  <a:pt x="8920575" y="5648610"/>
                  <a:pt x="8920575" y="5683894"/>
                  <a:pt x="8942238" y="5705558"/>
                </a:cubicBezTo>
                <a:lnTo>
                  <a:pt x="9163796" y="5927642"/>
                </a:lnTo>
                <a:lnTo>
                  <a:pt x="9163797" y="5927642"/>
                </a:lnTo>
                <a:lnTo>
                  <a:pt x="9385354" y="5705558"/>
                </a:lnTo>
                <a:cubicBezTo>
                  <a:pt x="9407017" y="5683894"/>
                  <a:pt x="9407017" y="5648610"/>
                  <a:pt x="9385354" y="5626946"/>
                </a:cubicBezTo>
                <a:lnTo>
                  <a:pt x="9306876" y="5548334"/>
                </a:lnTo>
                <a:cubicBezTo>
                  <a:pt x="9295978" y="5537438"/>
                  <a:pt x="9281840" y="5531989"/>
                  <a:pt x="9267701" y="5531989"/>
                </a:cubicBezTo>
                <a:lnTo>
                  <a:pt x="9267571" y="5531859"/>
                </a:lnTo>
                <a:lnTo>
                  <a:pt x="9267570" y="5531859"/>
                </a:lnTo>
                <a:cubicBezTo>
                  <a:pt x="9253302" y="5531859"/>
                  <a:pt x="9239161" y="5537308"/>
                  <a:pt x="9228265" y="5548334"/>
                </a:cubicBezTo>
                <a:lnTo>
                  <a:pt x="9163797" y="5612936"/>
                </a:lnTo>
                <a:lnTo>
                  <a:pt x="9099198" y="5548204"/>
                </a:lnTo>
                <a:cubicBezTo>
                  <a:pt x="9088300" y="5537308"/>
                  <a:pt x="9074162" y="5531859"/>
                  <a:pt x="9059893" y="5531859"/>
                </a:cubicBezTo>
                <a:close/>
                <a:moveTo>
                  <a:pt x="7006076" y="5531859"/>
                </a:moveTo>
                <a:cubicBezTo>
                  <a:pt x="6991805" y="5531859"/>
                  <a:pt x="6977666" y="5537308"/>
                  <a:pt x="6966901" y="5548204"/>
                </a:cubicBezTo>
                <a:lnTo>
                  <a:pt x="6888421" y="5626946"/>
                </a:lnTo>
                <a:cubicBezTo>
                  <a:pt x="6866758" y="5648610"/>
                  <a:pt x="6866758" y="5683894"/>
                  <a:pt x="6888421" y="5705558"/>
                </a:cubicBezTo>
                <a:lnTo>
                  <a:pt x="7109978" y="5927642"/>
                </a:lnTo>
                <a:lnTo>
                  <a:pt x="7331537" y="5705558"/>
                </a:lnTo>
                <a:cubicBezTo>
                  <a:pt x="7353199" y="5683894"/>
                  <a:pt x="7353199" y="5648610"/>
                  <a:pt x="7331537" y="5626946"/>
                </a:cubicBezTo>
                <a:lnTo>
                  <a:pt x="7253057" y="5548334"/>
                </a:lnTo>
                <a:cubicBezTo>
                  <a:pt x="7242161" y="5537438"/>
                  <a:pt x="7228022" y="5531989"/>
                  <a:pt x="7213882" y="5531989"/>
                </a:cubicBezTo>
                <a:lnTo>
                  <a:pt x="7213751" y="5531859"/>
                </a:lnTo>
                <a:cubicBezTo>
                  <a:pt x="7199483" y="5531859"/>
                  <a:pt x="7185345" y="5537308"/>
                  <a:pt x="7174449" y="5548334"/>
                </a:cubicBezTo>
                <a:lnTo>
                  <a:pt x="7109978" y="5612936"/>
                </a:lnTo>
                <a:lnTo>
                  <a:pt x="7045379" y="5548204"/>
                </a:lnTo>
                <a:cubicBezTo>
                  <a:pt x="7034483" y="5537308"/>
                  <a:pt x="7020344" y="5531859"/>
                  <a:pt x="7006076" y="5531859"/>
                </a:cubicBezTo>
                <a:close/>
                <a:moveTo>
                  <a:pt x="4952148" y="5531859"/>
                </a:moveTo>
                <a:cubicBezTo>
                  <a:pt x="4937875" y="5531859"/>
                  <a:pt x="4923734" y="5537308"/>
                  <a:pt x="4912971" y="5548204"/>
                </a:cubicBezTo>
                <a:lnTo>
                  <a:pt x="4834495" y="5626946"/>
                </a:lnTo>
                <a:cubicBezTo>
                  <a:pt x="4812828" y="5648610"/>
                  <a:pt x="4812828" y="5683894"/>
                  <a:pt x="4834495" y="5705558"/>
                </a:cubicBezTo>
                <a:lnTo>
                  <a:pt x="5056064" y="5927642"/>
                </a:lnTo>
                <a:lnTo>
                  <a:pt x="5056083" y="5927632"/>
                </a:lnTo>
                <a:lnTo>
                  <a:pt x="5056087" y="5927642"/>
                </a:lnTo>
                <a:lnTo>
                  <a:pt x="5277615" y="5705558"/>
                </a:lnTo>
                <a:cubicBezTo>
                  <a:pt x="5299287" y="5683894"/>
                  <a:pt x="5299287" y="5648610"/>
                  <a:pt x="5277615" y="5626946"/>
                </a:cubicBezTo>
                <a:lnTo>
                  <a:pt x="5199142" y="5548334"/>
                </a:lnTo>
                <a:cubicBezTo>
                  <a:pt x="5188246" y="5537438"/>
                  <a:pt x="5174097" y="5531989"/>
                  <a:pt x="5159966" y="5531989"/>
                </a:cubicBezTo>
                <a:lnTo>
                  <a:pt x="5159837" y="5531859"/>
                </a:lnTo>
                <a:lnTo>
                  <a:pt x="5159824" y="5531861"/>
                </a:lnTo>
                <a:lnTo>
                  <a:pt x="5159824" y="5531859"/>
                </a:lnTo>
                <a:cubicBezTo>
                  <a:pt x="5145561" y="5531859"/>
                  <a:pt x="5131424" y="5537308"/>
                  <a:pt x="5120536" y="5548334"/>
                </a:cubicBezTo>
                <a:lnTo>
                  <a:pt x="5056083" y="5612926"/>
                </a:lnTo>
                <a:lnTo>
                  <a:pt x="4991467" y="5548204"/>
                </a:lnTo>
                <a:cubicBezTo>
                  <a:pt x="4980575" y="5537308"/>
                  <a:pt x="4966424" y="5531859"/>
                  <a:pt x="4952157" y="5531859"/>
                </a:cubicBezTo>
                <a:lnTo>
                  <a:pt x="4952154" y="5531860"/>
                </a:lnTo>
                <a:close/>
                <a:moveTo>
                  <a:pt x="2898346" y="5531859"/>
                </a:moveTo>
                <a:cubicBezTo>
                  <a:pt x="2884074" y="5531859"/>
                  <a:pt x="2869937" y="5537308"/>
                  <a:pt x="2859169" y="5548204"/>
                </a:cubicBezTo>
                <a:lnTo>
                  <a:pt x="2780693" y="5626946"/>
                </a:lnTo>
                <a:cubicBezTo>
                  <a:pt x="2759029" y="5648610"/>
                  <a:pt x="2759029" y="5683894"/>
                  <a:pt x="2780693" y="5705558"/>
                </a:cubicBezTo>
                <a:lnTo>
                  <a:pt x="3002248" y="5927642"/>
                </a:lnTo>
                <a:lnTo>
                  <a:pt x="3002260" y="5927631"/>
                </a:lnTo>
                <a:lnTo>
                  <a:pt x="3002272" y="5927642"/>
                </a:lnTo>
                <a:lnTo>
                  <a:pt x="3223830" y="5705558"/>
                </a:lnTo>
                <a:cubicBezTo>
                  <a:pt x="3245495" y="5683894"/>
                  <a:pt x="3245495" y="5648610"/>
                  <a:pt x="3223830" y="5626946"/>
                </a:cubicBezTo>
                <a:lnTo>
                  <a:pt x="3145351" y="5548334"/>
                </a:lnTo>
                <a:cubicBezTo>
                  <a:pt x="3134454" y="5537438"/>
                  <a:pt x="3120316" y="5531989"/>
                  <a:pt x="3106175" y="5531989"/>
                </a:cubicBezTo>
                <a:lnTo>
                  <a:pt x="3106046" y="5531859"/>
                </a:lnTo>
                <a:lnTo>
                  <a:pt x="3106028" y="5531863"/>
                </a:lnTo>
                <a:lnTo>
                  <a:pt x="3106023" y="5531859"/>
                </a:lnTo>
                <a:cubicBezTo>
                  <a:pt x="3091754" y="5531859"/>
                  <a:pt x="3077614" y="5537308"/>
                  <a:pt x="3066719" y="5548334"/>
                </a:cubicBezTo>
                <a:lnTo>
                  <a:pt x="3002260" y="5612925"/>
                </a:lnTo>
                <a:lnTo>
                  <a:pt x="2937674" y="5548204"/>
                </a:lnTo>
                <a:cubicBezTo>
                  <a:pt x="2926776" y="5537308"/>
                  <a:pt x="2912635" y="5531859"/>
                  <a:pt x="2898371" y="5531859"/>
                </a:cubicBezTo>
                <a:lnTo>
                  <a:pt x="2898359" y="5531862"/>
                </a:lnTo>
                <a:close/>
                <a:moveTo>
                  <a:pt x="844367" y="5531859"/>
                </a:moveTo>
                <a:cubicBezTo>
                  <a:pt x="830100" y="5531859"/>
                  <a:pt x="815961" y="5537308"/>
                  <a:pt x="805194" y="5548204"/>
                </a:cubicBezTo>
                <a:lnTo>
                  <a:pt x="726714" y="5626946"/>
                </a:lnTo>
                <a:cubicBezTo>
                  <a:pt x="705052" y="5648610"/>
                  <a:pt x="705052" y="5683894"/>
                  <a:pt x="726714" y="5705558"/>
                </a:cubicBezTo>
                <a:lnTo>
                  <a:pt x="948272" y="5927642"/>
                </a:lnTo>
                <a:lnTo>
                  <a:pt x="948285" y="5927630"/>
                </a:lnTo>
                <a:lnTo>
                  <a:pt x="948296" y="5927642"/>
                </a:lnTo>
                <a:lnTo>
                  <a:pt x="1169852" y="5705558"/>
                </a:lnTo>
                <a:cubicBezTo>
                  <a:pt x="1191514" y="5683894"/>
                  <a:pt x="1191514" y="5648610"/>
                  <a:pt x="1169852" y="5626946"/>
                </a:cubicBezTo>
                <a:lnTo>
                  <a:pt x="1091374" y="5548334"/>
                </a:lnTo>
                <a:cubicBezTo>
                  <a:pt x="1080478" y="5537438"/>
                  <a:pt x="1066339" y="5531989"/>
                  <a:pt x="1052199" y="5531989"/>
                </a:cubicBezTo>
                <a:lnTo>
                  <a:pt x="1052070" y="5531859"/>
                </a:lnTo>
                <a:lnTo>
                  <a:pt x="1052050" y="5531863"/>
                </a:lnTo>
                <a:lnTo>
                  <a:pt x="1052046" y="5531859"/>
                </a:lnTo>
                <a:cubicBezTo>
                  <a:pt x="1037777" y="5531859"/>
                  <a:pt x="1023638" y="5537308"/>
                  <a:pt x="1012742" y="5548334"/>
                </a:cubicBezTo>
                <a:lnTo>
                  <a:pt x="948285" y="5612924"/>
                </a:lnTo>
                <a:lnTo>
                  <a:pt x="883696" y="5548204"/>
                </a:lnTo>
                <a:cubicBezTo>
                  <a:pt x="872800" y="5537308"/>
                  <a:pt x="858660" y="5531859"/>
                  <a:pt x="844392" y="5531859"/>
                </a:cubicBezTo>
                <a:lnTo>
                  <a:pt x="844380" y="5531862"/>
                </a:lnTo>
                <a:close/>
                <a:moveTo>
                  <a:pt x="3695484" y="5321194"/>
                </a:moveTo>
                <a:lnTo>
                  <a:pt x="4020937" y="5509547"/>
                </a:lnTo>
                <a:lnTo>
                  <a:pt x="4020937" y="5886386"/>
                </a:lnTo>
                <a:lnTo>
                  <a:pt x="3695484" y="5698034"/>
                </a:lnTo>
                <a:close/>
                <a:moveTo>
                  <a:pt x="3679135" y="5321194"/>
                </a:moveTo>
                <a:lnTo>
                  <a:pt x="3679135" y="5698034"/>
                </a:lnTo>
                <a:lnTo>
                  <a:pt x="3353555" y="5886385"/>
                </a:lnTo>
                <a:lnTo>
                  <a:pt x="3353555" y="5509547"/>
                </a:lnTo>
                <a:close/>
                <a:moveTo>
                  <a:pt x="1625159" y="5321194"/>
                </a:moveTo>
                <a:lnTo>
                  <a:pt x="1625159" y="5698034"/>
                </a:lnTo>
                <a:lnTo>
                  <a:pt x="1299574" y="5886386"/>
                </a:lnTo>
                <a:lnTo>
                  <a:pt x="1299574" y="5509547"/>
                </a:lnTo>
                <a:close/>
                <a:moveTo>
                  <a:pt x="1641508" y="5321193"/>
                </a:moveTo>
                <a:lnTo>
                  <a:pt x="1966963" y="5509547"/>
                </a:lnTo>
                <a:lnTo>
                  <a:pt x="1966963" y="5886386"/>
                </a:lnTo>
                <a:lnTo>
                  <a:pt x="1641508" y="5698034"/>
                </a:lnTo>
                <a:close/>
                <a:moveTo>
                  <a:pt x="5749264" y="5321192"/>
                </a:moveTo>
                <a:lnTo>
                  <a:pt x="6074705" y="5509548"/>
                </a:lnTo>
                <a:lnTo>
                  <a:pt x="6074705" y="5886390"/>
                </a:lnTo>
                <a:lnTo>
                  <a:pt x="5749264" y="5698034"/>
                </a:lnTo>
                <a:close/>
                <a:moveTo>
                  <a:pt x="11910826" y="5321191"/>
                </a:moveTo>
                <a:lnTo>
                  <a:pt x="12188651" y="5481979"/>
                </a:lnTo>
                <a:lnTo>
                  <a:pt x="12188651" y="5858821"/>
                </a:lnTo>
                <a:lnTo>
                  <a:pt x="11910826" y="5698034"/>
                </a:lnTo>
                <a:close/>
                <a:moveTo>
                  <a:pt x="11894481" y="5321191"/>
                </a:moveTo>
                <a:lnTo>
                  <a:pt x="11894481" y="5698034"/>
                </a:lnTo>
                <a:lnTo>
                  <a:pt x="11568890" y="5886390"/>
                </a:lnTo>
                <a:lnTo>
                  <a:pt x="11568890" y="5509548"/>
                </a:lnTo>
                <a:close/>
                <a:moveTo>
                  <a:pt x="9857006" y="5321191"/>
                </a:moveTo>
                <a:lnTo>
                  <a:pt x="10182468" y="5509548"/>
                </a:lnTo>
                <a:lnTo>
                  <a:pt x="10182468" y="5886390"/>
                </a:lnTo>
                <a:lnTo>
                  <a:pt x="9857006" y="5698034"/>
                </a:lnTo>
                <a:close/>
                <a:moveTo>
                  <a:pt x="9840661" y="5321191"/>
                </a:moveTo>
                <a:lnTo>
                  <a:pt x="9840661" y="5698034"/>
                </a:lnTo>
                <a:lnTo>
                  <a:pt x="9515070" y="5886390"/>
                </a:lnTo>
                <a:lnTo>
                  <a:pt x="9515070" y="5509548"/>
                </a:lnTo>
                <a:close/>
                <a:moveTo>
                  <a:pt x="7803060" y="5321191"/>
                </a:moveTo>
                <a:lnTo>
                  <a:pt x="8128521" y="5509548"/>
                </a:lnTo>
                <a:lnTo>
                  <a:pt x="8128521" y="5886390"/>
                </a:lnTo>
                <a:lnTo>
                  <a:pt x="7803060" y="5698034"/>
                </a:lnTo>
                <a:close/>
                <a:moveTo>
                  <a:pt x="7786715" y="5321191"/>
                </a:moveTo>
                <a:lnTo>
                  <a:pt x="7786715" y="5698034"/>
                </a:lnTo>
                <a:lnTo>
                  <a:pt x="7461125" y="5886390"/>
                </a:lnTo>
                <a:lnTo>
                  <a:pt x="7461125" y="5509548"/>
                </a:lnTo>
                <a:close/>
                <a:moveTo>
                  <a:pt x="5732919" y="5321191"/>
                </a:moveTo>
                <a:lnTo>
                  <a:pt x="5732919" y="5698034"/>
                </a:lnTo>
                <a:lnTo>
                  <a:pt x="5407350" y="5886387"/>
                </a:lnTo>
                <a:lnTo>
                  <a:pt x="5407350" y="5509547"/>
                </a:lnTo>
                <a:lnTo>
                  <a:pt x="5539925" y="5432844"/>
                </a:lnTo>
                <a:close/>
                <a:moveTo>
                  <a:pt x="2317081" y="5316392"/>
                </a:moveTo>
                <a:lnTo>
                  <a:pt x="2650837" y="5509547"/>
                </a:lnTo>
                <a:lnTo>
                  <a:pt x="2650837" y="5895861"/>
                </a:lnTo>
                <a:lnTo>
                  <a:pt x="2317210" y="6089014"/>
                </a:lnTo>
                <a:lnTo>
                  <a:pt x="1983444" y="5895861"/>
                </a:lnTo>
                <a:lnTo>
                  <a:pt x="1983444" y="5509547"/>
                </a:lnTo>
                <a:close/>
                <a:moveTo>
                  <a:pt x="263233" y="5316392"/>
                </a:moveTo>
                <a:lnTo>
                  <a:pt x="596992" y="5509547"/>
                </a:lnTo>
                <a:lnTo>
                  <a:pt x="596992" y="5895861"/>
                </a:lnTo>
                <a:lnTo>
                  <a:pt x="263362" y="6089014"/>
                </a:lnTo>
                <a:lnTo>
                  <a:pt x="0" y="5936601"/>
                </a:lnTo>
                <a:lnTo>
                  <a:pt x="0" y="5468791"/>
                </a:lnTo>
                <a:close/>
                <a:moveTo>
                  <a:pt x="10532576" y="5316391"/>
                </a:moveTo>
                <a:lnTo>
                  <a:pt x="10866339" y="5509548"/>
                </a:lnTo>
                <a:lnTo>
                  <a:pt x="10866339" y="5895861"/>
                </a:lnTo>
                <a:lnTo>
                  <a:pt x="10532706" y="6089016"/>
                </a:lnTo>
                <a:lnTo>
                  <a:pt x="10198941" y="5895861"/>
                </a:lnTo>
                <a:lnTo>
                  <a:pt x="10198941" y="5509548"/>
                </a:lnTo>
                <a:close/>
                <a:moveTo>
                  <a:pt x="8478628" y="5316391"/>
                </a:moveTo>
                <a:lnTo>
                  <a:pt x="8812392" y="5509548"/>
                </a:lnTo>
                <a:lnTo>
                  <a:pt x="8812392" y="5895861"/>
                </a:lnTo>
                <a:lnTo>
                  <a:pt x="8478758" y="6089016"/>
                </a:lnTo>
                <a:lnTo>
                  <a:pt x="8144995" y="5895861"/>
                </a:lnTo>
                <a:lnTo>
                  <a:pt x="8144995" y="5509548"/>
                </a:lnTo>
                <a:close/>
                <a:moveTo>
                  <a:pt x="6424810" y="5316391"/>
                </a:moveTo>
                <a:lnTo>
                  <a:pt x="6758573" y="5509548"/>
                </a:lnTo>
                <a:lnTo>
                  <a:pt x="6758573" y="5895861"/>
                </a:lnTo>
                <a:lnTo>
                  <a:pt x="6424940" y="6089016"/>
                </a:lnTo>
                <a:lnTo>
                  <a:pt x="6091179" y="5895861"/>
                </a:lnTo>
                <a:lnTo>
                  <a:pt x="6091179" y="5509548"/>
                </a:lnTo>
                <a:close/>
                <a:moveTo>
                  <a:pt x="4371009" y="5316391"/>
                </a:moveTo>
                <a:lnTo>
                  <a:pt x="4704773" y="5509548"/>
                </a:lnTo>
                <a:lnTo>
                  <a:pt x="4704773" y="5895861"/>
                </a:lnTo>
                <a:lnTo>
                  <a:pt x="4371144" y="6089016"/>
                </a:lnTo>
                <a:lnTo>
                  <a:pt x="4037419" y="5895861"/>
                </a:lnTo>
                <a:lnTo>
                  <a:pt x="4037419" y="5509547"/>
                </a:lnTo>
                <a:lnTo>
                  <a:pt x="4248574" y="5387277"/>
                </a:lnTo>
                <a:close/>
                <a:moveTo>
                  <a:pt x="3002131" y="5316139"/>
                </a:moveTo>
                <a:lnTo>
                  <a:pt x="3335884" y="5509288"/>
                </a:lnTo>
                <a:lnTo>
                  <a:pt x="3335884" y="5895471"/>
                </a:lnTo>
                <a:lnTo>
                  <a:pt x="3002133" y="6088619"/>
                </a:lnTo>
                <a:lnTo>
                  <a:pt x="2668383" y="5895470"/>
                </a:lnTo>
                <a:lnTo>
                  <a:pt x="2668383" y="5509287"/>
                </a:lnTo>
                <a:close/>
                <a:moveTo>
                  <a:pt x="948155" y="5316139"/>
                </a:moveTo>
                <a:lnTo>
                  <a:pt x="1281905" y="5509288"/>
                </a:lnTo>
                <a:lnTo>
                  <a:pt x="1281905" y="5895471"/>
                </a:lnTo>
                <a:lnTo>
                  <a:pt x="948156" y="6088620"/>
                </a:lnTo>
                <a:lnTo>
                  <a:pt x="614407" y="5895470"/>
                </a:lnTo>
                <a:lnTo>
                  <a:pt x="614407" y="5509287"/>
                </a:lnTo>
                <a:close/>
                <a:moveTo>
                  <a:pt x="5055949" y="5316138"/>
                </a:moveTo>
                <a:lnTo>
                  <a:pt x="5389688" y="5509288"/>
                </a:lnTo>
                <a:lnTo>
                  <a:pt x="5389688" y="5895471"/>
                </a:lnTo>
                <a:lnTo>
                  <a:pt x="5055955" y="6088620"/>
                </a:lnTo>
                <a:lnTo>
                  <a:pt x="4722171" y="5895470"/>
                </a:lnTo>
                <a:lnTo>
                  <a:pt x="4722171" y="5509287"/>
                </a:lnTo>
                <a:lnTo>
                  <a:pt x="4848154" y="5436375"/>
                </a:lnTo>
                <a:close/>
                <a:moveTo>
                  <a:pt x="11217614" y="5316132"/>
                </a:moveTo>
                <a:lnTo>
                  <a:pt x="11551377" y="5509288"/>
                </a:lnTo>
                <a:lnTo>
                  <a:pt x="11551377" y="5895470"/>
                </a:lnTo>
                <a:lnTo>
                  <a:pt x="11217614" y="6088627"/>
                </a:lnTo>
                <a:lnTo>
                  <a:pt x="10883851" y="5895470"/>
                </a:lnTo>
                <a:lnTo>
                  <a:pt x="10883851" y="5509288"/>
                </a:lnTo>
                <a:close/>
                <a:moveTo>
                  <a:pt x="9163666" y="5316132"/>
                </a:moveTo>
                <a:lnTo>
                  <a:pt x="9497429" y="5509288"/>
                </a:lnTo>
                <a:lnTo>
                  <a:pt x="9497429" y="5895470"/>
                </a:lnTo>
                <a:lnTo>
                  <a:pt x="9163666" y="6088627"/>
                </a:lnTo>
                <a:lnTo>
                  <a:pt x="8829903" y="5895470"/>
                </a:lnTo>
                <a:lnTo>
                  <a:pt x="8829903" y="5509288"/>
                </a:lnTo>
                <a:close/>
                <a:moveTo>
                  <a:pt x="7109850" y="5316132"/>
                </a:moveTo>
                <a:lnTo>
                  <a:pt x="7443613" y="5509288"/>
                </a:lnTo>
                <a:lnTo>
                  <a:pt x="7443613" y="5895470"/>
                </a:lnTo>
                <a:lnTo>
                  <a:pt x="7109850" y="6088627"/>
                </a:lnTo>
                <a:lnTo>
                  <a:pt x="6776085" y="5895470"/>
                </a:lnTo>
                <a:lnTo>
                  <a:pt x="6776085" y="5509288"/>
                </a:lnTo>
                <a:close/>
                <a:moveTo>
                  <a:pt x="2660328" y="5118312"/>
                </a:moveTo>
                <a:lnTo>
                  <a:pt x="2985776" y="5306661"/>
                </a:lnTo>
                <a:lnTo>
                  <a:pt x="2660199" y="5495010"/>
                </a:lnTo>
                <a:lnTo>
                  <a:pt x="2334754" y="5306660"/>
                </a:lnTo>
                <a:close/>
                <a:moveTo>
                  <a:pt x="606350" y="5118312"/>
                </a:moveTo>
                <a:lnTo>
                  <a:pt x="931797" y="5306661"/>
                </a:lnTo>
                <a:lnTo>
                  <a:pt x="606221" y="5495010"/>
                </a:lnTo>
                <a:lnTo>
                  <a:pt x="280773" y="5306660"/>
                </a:lnTo>
                <a:close/>
                <a:moveTo>
                  <a:pt x="4714113" y="5118307"/>
                </a:moveTo>
                <a:lnTo>
                  <a:pt x="5039591" y="5306661"/>
                </a:lnTo>
                <a:lnTo>
                  <a:pt x="4977019" y="5342855"/>
                </a:lnTo>
                <a:lnTo>
                  <a:pt x="4713993" y="5495014"/>
                </a:lnTo>
                <a:lnTo>
                  <a:pt x="4388541" y="5306660"/>
                </a:lnTo>
                <a:close/>
                <a:moveTo>
                  <a:pt x="10875808" y="5118305"/>
                </a:moveTo>
                <a:lnTo>
                  <a:pt x="11201268" y="5306661"/>
                </a:lnTo>
                <a:lnTo>
                  <a:pt x="10875679" y="5495017"/>
                </a:lnTo>
                <a:lnTo>
                  <a:pt x="10550218" y="5306661"/>
                </a:lnTo>
                <a:close/>
                <a:moveTo>
                  <a:pt x="8821860" y="5118305"/>
                </a:moveTo>
                <a:lnTo>
                  <a:pt x="9147320" y="5306661"/>
                </a:lnTo>
                <a:lnTo>
                  <a:pt x="8821730" y="5495017"/>
                </a:lnTo>
                <a:lnTo>
                  <a:pt x="8496270" y="5306661"/>
                </a:lnTo>
                <a:close/>
                <a:moveTo>
                  <a:pt x="6768043" y="5118305"/>
                </a:moveTo>
                <a:lnTo>
                  <a:pt x="7093504" y="5306661"/>
                </a:lnTo>
                <a:lnTo>
                  <a:pt x="6767913" y="5495017"/>
                </a:lnTo>
                <a:lnTo>
                  <a:pt x="6442453" y="5306661"/>
                </a:lnTo>
                <a:close/>
                <a:moveTo>
                  <a:pt x="12140685" y="4954335"/>
                </a:moveTo>
                <a:cubicBezTo>
                  <a:pt x="12151191" y="4954335"/>
                  <a:pt x="12161050" y="4958487"/>
                  <a:pt x="12168445" y="4965880"/>
                </a:cubicBezTo>
                <a:lnTo>
                  <a:pt x="12188651" y="4986128"/>
                </a:lnTo>
                <a:lnTo>
                  <a:pt x="12188651" y="5254379"/>
                </a:lnTo>
                <a:lnTo>
                  <a:pt x="12034576" y="5100013"/>
                </a:lnTo>
                <a:cubicBezTo>
                  <a:pt x="12019270" y="5084706"/>
                  <a:pt x="12019270" y="5059799"/>
                  <a:pt x="12034576" y="5044621"/>
                </a:cubicBezTo>
                <a:lnTo>
                  <a:pt x="12113056" y="4965880"/>
                </a:lnTo>
                <a:cubicBezTo>
                  <a:pt x="12120448" y="4958487"/>
                  <a:pt x="12130178" y="4954335"/>
                  <a:pt x="12140685" y="4954335"/>
                </a:cubicBezTo>
                <a:close/>
                <a:moveTo>
                  <a:pt x="10086867" y="4954335"/>
                </a:moveTo>
                <a:cubicBezTo>
                  <a:pt x="10097374" y="4954335"/>
                  <a:pt x="10107232" y="4958487"/>
                  <a:pt x="10114626" y="4965880"/>
                </a:cubicBezTo>
                <a:lnTo>
                  <a:pt x="10179226" y="5030612"/>
                </a:lnTo>
                <a:lnTo>
                  <a:pt x="10190770" y="5042286"/>
                </a:lnTo>
                <a:lnTo>
                  <a:pt x="10202315" y="5030612"/>
                </a:lnTo>
                <a:lnTo>
                  <a:pt x="10266786" y="4965880"/>
                </a:lnTo>
                <a:cubicBezTo>
                  <a:pt x="10274178" y="4958357"/>
                  <a:pt x="10284037" y="4954335"/>
                  <a:pt x="10294543" y="4954335"/>
                </a:cubicBezTo>
                <a:cubicBezTo>
                  <a:pt x="10304922" y="4954335"/>
                  <a:pt x="10314781" y="4958487"/>
                  <a:pt x="10322173" y="4965880"/>
                </a:cubicBezTo>
                <a:lnTo>
                  <a:pt x="10400653" y="5044492"/>
                </a:lnTo>
                <a:cubicBezTo>
                  <a:pt x="10408047" y="5051886"/>
                  <a:pt x="10412068" y="5061745"/>
                  <a:pt x="10412198" y="5072252"/>
                </a:cubicBezTo>
                <a:cubicBezTo>
                  <a:pt x="10412198" y="5082760"/>
                  <a:pt x="10408176" y="5092619"/>
                  <a:pt x="10400783" y="5100013"/>
                </a:cubicBezTo>
                <a:lnTo>
                  <a:pt x="10190770" y="5310423"/>
                </a:lnTo>
                <a:lnTo>
                  <a:pt x="9980757" y="5100013"/>
                </a:lnTo>
                <a:cubicBezTo>
                  <a:pt x="9965450" y="5084706"/>
                  <a:pt x="9965450" y="5059799"/>
                  <a:pt x="9980757" y="5044621"/>
                </a:cubicBezTo>
                <a:lnTo>
                  <a:pt x="10059237" y="4965880"/>
                </a:lnTo>
                <a:cubicBezTo>
                  <a:pt x="10066631" y="4958487"/>
                  <a:pt x="10076359" y="4954335"/>
                  <a:pt x="10086867" y="4954335"/>
                </a:cubicBezTo>
                <a:close/>
                <a:moveTo>
                  <a:pt x="8032919" y="4954335"/>
                </a:moveTo>
                <a:cubicBezTo>
                  <a:pt x="8043427" y="4954335"/>
                  <a:pt x="8053285" y="4958487"/>
                  <a:pt x="8060679" y="4965880"/>
                </a:cubicBezTo>
                <a:lnTo>
                  <a:pt x="8125278" y="5030612"/>
                </a:lnTo>
                <a:lnTo>
                  <a:pt x="8136823" y="5042286"/>
                </a:lnTo>
                <a:lnTo>
                  <a:pt x="8148368" y="5030612"/>
                </a:lnTo>
                <a:lnTo>
                  <a:pt x="8212837" y="4965880"/>
                </a:lnTo>
                <a:cubicBezTo>
                  <a:pt x="8220232" y="4958357"/>
                  <a:pt x="8230090" y="4954335"/>
                  <a:pt x="8240596" y="4954335"/>
                </a:cubicBezTo>
                <a:cubicBezTo>
                  <a:pt x="8250975" y="4954335"/>
                  <a:pt x="8260834" y="4958487"/>
                  <a:pt x="8268226" y="4965880"/>
                </a:cubicBezTo>
                <a:lnTo>
                  <a:pt x="8346707" y="5044492"/>
                </a:lnTo>
                <a:cubicBezTo>
                  <a:pt x="8354100" y="5051886"/>
                  <a:pt x="8358121" y="5061745"/>
                  <a:pt x="8358252" y="5072252"/>
                </a:cubicBezTo>
                <a:cubicBezTo>
                  <a:pt x="8358252" y="5082760"/>
                  <a:pt x="8354229" y="5092619"/>
                  <a:pt x="8346837" y="5100013"/>
                </a:cubicBezTo>
                <a:lnTo>
                  <a:pt x="8136823" y="5310423"/>
                </a:lnTo>
                <a:lnTo>
                  <a:pt x="7926811" y="5100013"/>
                </a:lnTo>
                <a:cubicBezTo>
                  <a:pt x="7911503" y="5084706"/>
                  <a:pt x="7911503" y="5059799"/>
                  <a:pt x="7926811" y="5044621"/>
                </a:cubicBezTo>
                <a:lnTo>
                  <a:pt x="8005289" y="4965880"/>
                </a:lnTo>
                <a:cubicBezTo>
                  <a:pt x="8012684" y="4958487"/>
                  <a:pt x="8022413" y="4954335"/>
                  <a:pt x="8032919" y="4954335"/>
                </a:cubicBezTo>
                <a:close/>
                <a:moveTo>
                  <a:pt x="5979109" y="4954335"/>
                </a:moveTo>
                <a:cubicBezTo>
                  <a:pt x="5989617" y="4954335"/>
                  <a:pt x="5999474" y="4958487"/>
                  <a:pt x="6006867" y="4965880"/>
                </a:cubicBezTo>
                <a:lnTo>
                  <a:pt x="6071463" y="5030612"/>
                </a:lnTo>
                <a:lnTo>
                  <a:pt x="6083006" y="5042286"/>
                </a:lnTo>
                <a:lnTo>
                  <a:pt x="6094550" y="5030612"/>
                </a:lnTo>
                <a:lnTo>
                  <a:pt x="6159019" y="4965880"/>
                </a:lnTo>
                <a:cubicBezTo>
                  <a:pt x="6166413" y="4958357"/>
                  <a:pt x="6176271" y="4954335"/>
                  <a:pt x="6186779" y="4954335"/>
                </a:cubicBezTo>
                <a:cubicBezTo>
                  <a:pt x="6197156" y="4954335"/>
                  <a:pt x="6207014" y="4958487"/>
                  <a:pt x="6214409" y="4965880"/>
                </a:cubicBezTo>
                <a:lnTo>
                  <a:pt x="6292888" y="5044492"/>
                </a:lnTo>
                <a:cubicBezTo>
                  <a:pt x="6300282" y="5051886"/>
                  <a:pt x="6304303" y="5061745"/>
                  <a:pt x="6304433" y="5072252"/>
                </a:cubicBezTo>
                <a:cubicBezTo>
                  <a:pt x="6304433" y="5082760"/>
                  <a:pt x="6300412" y="5092619"/>
                  <a:pt x="6293017" y="5100013"/>
                </a:cubicBezTo>
                <a:lnTo>
                  <a:pt x="6083006" y="5310423"/>
                </a:lnTo>
                <a:lnTo>
                  <a:pt x="5873007" y="5100013"/>
                </a:lnTo>
                <a:cubicBezTo>
                  <a:pt x="5857702" y="5084706"/>
                  <a:pt x="5857702" y="5059799"/>
                  <a:pt x="5873007" y="5044621"/>
                </a:cubicBezTo>
                <a:lnTo>
                  <a:pt x="5951483" y="4965880"/>
                </a:lnTo>
                <a:cubicBezTo>
                  <a:pt x="5958874" y="4958487"/>
                  <a:pt x="5968603" y="4954335"/>
                  <a:pt x="5979109" y="4954335"/>
                </a:cubicBezTo>
                <a:close/>
                <a:moveTo>
                  <a:pt x="3925342" y="4954335"/>
                </a:moveTo>
                <a:cubicBezTo>
                  <a:pt x="3935847" y="4954335"/>
                  <a:pt x="3945706" y="4958487"/>
                  <a:pt x="3953100" y="4965880"/>
                </a:cubicBezTo>
                <a:lnTo>
                  <a:pt x="4017699" y="5030612"/>
                </a:lnTo>
                <a:lnTo>
                  <a:pt x="4029246" y="5042286"/>
                </a:lnTo>
                <a:lnTo>
                  <a:pt x="4040790" y="5030612"/>
                </a:lnTo>
                <a:lnTo>
                  <a:pt x="4105262" y="4965880"/>
                </a:lnTo>
                <a:cubicBezTo>
                  <a:pt x="4112656" y="4958357"/>
                  <a:pt x="4122515" y="4954335"/>
                  <a:pt x="4133023" y="4954335"/>
                </a:cubicBezTo>
                <a:cubicBezTo>
                  <a:pt x="4143400" y="4954335"/>
                  <a:pt x="4153261" y="4958487"/>
                  <a:pt x="4160653" y="4965880"/>
                </a:cubicBezTo>
                <a:lnTo>
                  <a:pt x="4239088" y="5044492"/>
                </a:lnTo>
                <a:cubicBezTo>
                  <a:pt x="4246485" y="5051886"/>
                  <a:pt x="4250503" y="5061745"/>
                  <a:pt x="4250634" y="5072252"/>
                </a:cubicBezTo>
                <a:cubicBezTo>
                  <a:pt x="4250634" y="5082760"/>
                  <a:pt x="4246611" y="5092619"/>
                  <a:pt x="4239218" y="5100013"/>
                </a:cubicBezTo>
                <a:lnTo>
                  <a:pt x="4029246" y="5310423"/>
                </a:lnTo>
                <a:lnTo>
                  <a:pt x="3819226" y="5100013"/>
                </a:lnTo>
                <a:cubicBezTo>
                  <a:pt x="3803920" y="5084706"/>
                  <a:pt x="3803920" y="5059799"/>
                  <a:pt x="3819226" y="5044621"/>
                </a:cubicBezTo>
                <a:lnTo>
                  <a:pt x="3897709" y="4965880"/>
                </a:lnTo>
                <a:cubicBezTo>
                  <a:pt x="3905106" y="4958487"/>
                  <a:pt x="3914833" y="4954335"/>
                  <a:pt x="3925342" y="4954335"/>
                </a:cubicBezTo>
                <a:close/>
                <a:moveTo>
                  <a:pt x="1871366" y="4954335"/>
                </a:moveTo>
                <a:cubicBezTo>
                  <a:pt x="1881875" y="4954335"/>
                  <a:pt x="1891733" y="4958487"/>
                  <a:pt x="1899126" y="4965880"/>
                </a:cubicBezTo>
                <a:lnTo>
                  <a:pt x="1963727" y="5030612"/>
                </a:lnTo>
                <a:lnTo>
                  <a:pt x="1975271" y="5042286"/>
                </a:lnTo>
                <a:lnTo>
                  <a:pt x="1986816" y="5030612"/>
                </a:lnTo>
                <a:lnTo>
                  <a:pt x="2051285" y="4965880"/>
                </a:lnTo>
                <a:cubicBezTo>
                  <a:pt x="2058680" y="4958357"/>
                  <a:pt x="2068537" y="4954335"/>
                  <a:pt x="2079045" y="4954335"/>
                </a:cubicBezTo>
                <a:cubicBezTo>
                  <a:pt x="2089423" y="4954335"/>
                  <a:pt x="2099288" y="4958487"/>
                  <a:pt x="2106680" y="4965880"/>
                </a:cubicBezTo>
                <a:lnTo>
                  <a:pt x="2185159" y="5044492"/>
                </a:lnTo>
                <a:cubicBezTo>
                  <a:pt x="2192554" y="5051886"/>
                  <a:pt x="2196577" y="5061745"/>
                  <a:pt x="2196706" y="5072252"/>
                </a:cubicBezTo>
                <a:cubicBezTo>
                  <a:pt x="2196706" y="5082760"/>
                  <a:pt x="2192687" y="5092619"/>
                  <a:pt x="2185291" y="5100013"/>
                </a:cubicBezTo>
                <a:lnTo>
                  <a:pt x="1975271" y="5310423"/>
                </a:lnTo>
                <a:lnTo>
                  <a:pt x="1765258" y="5100013"/>
                </a:lnTo>
                <a:cubicBezTo>
                  <a:pt x="1749951" y="5084706"/>
                  <a:pt x="1749951" y="5059799"/>
                  <a:pt x="1765258" y="5044621"/>
                </a:cubicBezTo>
                <a:lnTo>
                  <a:pt x="1843739" y="4965880"/>
                </a:lnTo>
                <a:cubicBezTo>
                  <a:pt x="1851133" y="4958487"/>
                  <a:pt x="1860860" y="4954335"/>
                  <a:pt x="1871366" y="4954335"/>
                </a:cubicBezTo>
                <a:close/>
                <a:moveTo>
                  <a:pt x="25204" y="4954335"/>
                </a:moveTo>
                <a:cubicBezTo>
                  <a:pt x="35581" y="4954335"/>
                  <a:pt x="45440" y="4958487"/>
                  <a:pt x="52835" y="4965880"/>
                </a:cubicBezTo>
                <a:lnTo>
                  <a:pt x="131313" y="5044492"/>
                </a:lnTo>
                <a:cubicBezTo>
                  <a:pt x="138707" y="5051886"/>
                  <a:pt x="142728" y="5061745"/>
                  <a:pt x="142857" y="5072252"/>
                </a:cubicBezTo>
                <a:cubicBezTo>
                  <a:pt x="142857" y="5082760"/>
                  <a:pt x="138836" y="5092619"/>
                  <a:pt x="131443" y="5100013"/>
                </a:cubicBezTo>
                <a:lnTo>
                  <a:pt x="0" y="5231705"/>
                </a:lnTo>
                <a:lnTo>
                  <a:pt x="0" y="4964818"/>
                </a:lnTo>
                <a:close/>
                <a:moveTo>
                  <a:pt x="10086867" y="4937860"/>
                </a:moveTo>
                <a:cubicBezTo>
                  <a:pt x="10072597" y="4937860"/>
                  <a:pt x="10058458" y="4943308"/>
                  <a:pt x="10047692" y="4954205"/>
                </a:cubicBezTo>
                <a:lnTo>
                  <a:pt x="9969212" y="5032947"/>
                </a:lnTo>
                <a:cubicBezTo>
                  <a:pt x="9947549" y="5054611"/>
                  <a:pt x="9947549" y="5089895"/>
                  <a:pt x="9969212" y="5111559"/>
                </a:cubicBezTo>
                <a:lnTo>
                  <a:pt x="10190770" y="5333643"/>
                </a:lnTo>
                <a:lnTo>
                  <a:pt x="10412328" y="5111559"/>
                </a:lnTo>
                <a:cubicBezTo>
                  <a:pt x="10433990" y="5089895"/>
                  <a:pt x="10433990" y="5054611"/>
                  <a:pt x="10412328" y="5032947"/>
                </a:cubicBezTo>
                <a:lnTo>
                  <a:pt x="10333848" y="4954335"/>
                </a:lnTo>
                <a:cubicBezTo>
                  <a:pt x="10322953" y="4943438"/>
                  <a:pt x="10308813" y="4937990"/>
                  <a:pt x="10294673" y="4937990"/>
                </a:cubicBezTo>
                <a:lnTo>
                  <a:pt x="10294543" y="4937860"/>
                </a:lnTo>
                <a:cubicBezTo>
                  <a:pt x="10280275" y="4937860"/>
                  <a:pt x="10266136" y="4943308"/>
                  <a:pt x="10255241" y="4954335"/>
                </a:cubicBezTo>
                <a:lnTo>
                  <a:pt x="10190770" y="5018937"/>
                </a:lnTo>
                <a:lnTo>
                  <a:pt x="10126171" y="4954205"/>
                </a:lnTo>
                <a:cubicBezTo>
                  <a:pt x="10115274" y="4943308"/>
                  <a:pt x="10101136" y="4937860"/>
                  <a:pt x="10086867" y="4937860"/>
                </a:cubicBezTo>
                <a:close/>
                <a:moveTo>
                  <a:pt x="8032919" y="4937860"/>
                </a:moveTo>
                <a:cubicBezTo>
                  <a:pt x="8018650" y="4937860"/>
                  <a:pt x="8004511" y="4943308"/>
                  <a:pt x="7993744" y="4954205"/>
                </a:cubicBezTo>
                <a:lnTo>
                  <a:pt x="7915266" y="5032947"/>
                </a:lnTo>
                <a:cubicBezTo>
                  <a:pt x="7893603" y="5054611"/>
                  <a:pt x="7893603" y="5089895"/>
                  <a:pt x="7915266" y="5111559"/>
                </a:cubicBezTo>
                <a:lnTo>
                  <a:pt x="8136823" y="5333643"/>
                </a:lnTo>
                <a:lnTo>
                  <a:pt x="8358382" y="5111559"/>
                </a:lnTo>
                <a:cubicBezTo>
                  <a:pt x="8380044" y="5089895"/>
                  <a:pt x="8380044" y="5054611"/>
                  <a:pt x="8358382" y="5032947"/>
                </a:cubicBezTo>
                <a:lnTo>
                  <a:pt x="8279902" y="4954335"/>
                </a:lnTo>
                <a:cubicBezTo>
                  <a:pt x="8269006" y="4943438"/>
                  <a:pt x="8254866" y="4937990"/>
                  <a:pt x="8240727" y="4937990"/>
                </a:cubicBezTo>
                <a:lnTo>
                  <a:pt x="8240596" y="4937860"/>
                </a:lnTo>
                <a:cubicBezTo>
                  <a:pt x="8226328" y="4937860"/>
                  <a:pt x="8212190" y="4943308"/>
                  <a:pt x="8201292" y="4954335"/>
                </a:cubicBezTo>
                <a:lnTo>
                  <a:pt x="8136823" y="5018937"/>
                </a:lnTo>
                <a:lnTo>
                  <a:pt x="8072224" y="4954205"/>
                </a:lnTo>
                <a:cubicBezTo>
                  <a:pt x="8061328" y="4943308"/>
                  <a:pt x="8047187" y="4937860"/>
                  <a:pt x="8032919" y="4937860"/>
                </a:cubicBezTo>
                <a:close/>
                <a:moveTo>
                  <a:pt x="5979109" y="4937860"/>
                </a:moveTo>
                <a:cubicBezTo>
                  <a:pt x="5964841" y="4937860"/>
                  <a:pt x="5950702" y="4943308"/>
                  <a:pt x="5939936" y="4954205"/>
                </a:cubicBezTo>
                <a:lnTo>
                  <a:pt x="5861462" y="5032947"/>
                </a:lnTo>
                <a:cubicBezTo>
                  <a:pt x="5839801" y="5054611"/>
                  <a:pt x="5839801" y="5089895"/>
                  <a:pt x="5861462" y="5111559"/>
                </a:cubicBezTo>
                <a:lnTo>
                  <a:pt x="6083006" y="5333643"/>
                </a:lnTo>
                <a:lnTo>
                  <a:pt x="6304562" y="5111559"/>
                </a:lnTo>
                <a:cubicBezTo>
                  <a:pt x="6326226" y="5089895"/>
                  <a:pt x="6326226" y="5054611"/>
                  <a:pt x="6304562" y="5032947"/>
                </a:cubicBezTo>
                <a:lnTo>
                  <a:pt x="6226084" y="4954335"/>
                </a:lnTo>
                <a:cubicBezTo>
                  <a:pt x="6215186" y="4943438"/>
                  <a:pt x="6201048" y="4937990"/>
                  <a:pt x="6186909" y="4937990"/>
                </a:cubicBezTo>
                <a:lnTo>
                  <a:pt x="6186779" y="4937860"/>
                </a:lnTo>
                <a:cubicBezTo>
                  <a:pt x="6172511" y="4937860"/>
                  <a:pt x="6158370" y="4943308"/>
                  <a:pt x="6147474" y="4954335"/>
                </a:cubicBezTo>
                <a:lnTo>
                  <a:pt x="6083006" y="5018937"/>
                </a:lnTo>
                <a:lnTo>
                  <a:pt x="6018412" y="4954205"/>
                </a:lnTo>
                <a:cubicBezTo>
                  <a:pt x="6007516" y="4943308"/>
                  <a:pt x="5993378" y="4937860"/>
                  <a:pt x="5979109" y="4937860"/>
                </a:cubicBezTo>
                <a:close/>
                <a:moveTo>
                  <a:pt x="3925342" y="4937860"/>
                </a:moveTo>
                <a:cubicBezTo>
                  <a:pt x="3911075" y="4937860"/>
                  <a:pt x="3896932" y="4943308"/>
                  <a:pt x="3886165" y="4954205"/>
                </a:cubicBezTo>
                <a:lnTo>
                  <a:pt x="3807682" y="5032947"/>
                </a:lnTo>
                <a:cubicBezTo>
                  <a:pt x="3786020" y="5054611"/>
                  <a:pt x="3786020" y="5089895"/>
                  <a:pt x="3807682" y="5111559"/>
                </a:cubicBezTo>
                <a:lnTo>
                  <a:pt x="4029246" y="5333643"/>
                </a:lnTo>
                <a:lnTo>
                  <a:pt x="4250759" y="5111559"/>
                </a:lnTo>
                <a:cubicBezTo>
                  <a:pt x="4272423" y="5089895"/>
                  <a:pt x="4272423" y="5054611"/>
                  <a:pt x="4250759" y="5032947"/>
                </a:cubicBezTo>
                <a:lnTo>
                  <a:pt x="4172326" y="4954335"/>
                </a:lnTo>
                <a:cubicBezTo>
                  <a:pt x="4161432" y="4943438"/>
                  <a:pt x="4147291" y="4937990"/>
                  <a:pt x="4133153" y="4937990"/>
                </a:cubicBezTo>
                <a:lnTo>
                  <a:pt x="4133023" y="4937860"/>
                </a:lnTo>
                <a:cubicBezTo>
                  <a:pt x="4118751" y="4937860"/>
                  <a:pt x="4104611" y="4943308"/>
                  <a:pt x="4093717" y="4954335"/>
                </a:cubicBezTo>
                <a:lnTo>
                  <a:pt x="4029246" y="5018937"/>
                </a:lnTo>
                <a:lnTo>
                  <a:pt x="3964644" y="4954205"/>
                </a:lnTo>
                <a:cubicBezTo>
                  <a:pt x="3953748" y="4943308"/>
                  <a:pt x="3939609" y="4937860"/>
                  <a:pt x="3925342" y="4937860"/>
                </a:cubicBezTo>
                <a:close/>
                <a:moveTo>
                  <a:pt x="1871366" y="4937860"/>
                </a:moveTo>
                <a:cubicBezTo>
                  <a:pt x="1857098" y="4937860"/>
                  <a:pt x="1842960" y="4943308"/>
                  <a:pt x="1832193" y="4954205"/>
                </a:cubicBezTo>
                <a:lnTo>
                  <a:pt x="1753714" y="5032947"/>
                </a:lnTo>
                <a:cubicBezTo>
                  <a:pt x="1732053" y="5054611"/>
                  <a:pt x="1732053" y="5089895"/>
                  <a:pt x="1753714" y="5111559"/>
                </a:cubicBezTo>
                <a:lnTo>
                  <a:pt x="1975271" y="5333643"/>
                </a:lnTo>
                <a:lnTo>
                  <a:pt x="2196836" y="5111559"/>
                </a:lnTo>
                <a:cubicBezTo>
                  <a:pt x="2218500" y="5089895"/>
                  <a:pt x="2218500" y="5054611"/>
                  <a:pt x="2196836" y="5032947"/>
                </a:cubicBezTo>
                <a:lnTo>
                  <a:pt x="2118358" y="4954335"/>
                </a:lnTo>
                <a:cubicBezTo>
                  <a:pt x="2107459" y="4943438"/>
                  <a:pt x="2093314" y="4937990"/>
                  <a:pt x="2079175" y="4937990"/>
                </a:cubicBezTo>
                <a:lnTo>
                  <a:pt x="2079045" y="4937860"/>
                </a:lnTo>
                <a:cubicBezTo>
                  <a:pt x="2064776" y="4937860"/>
                  <a:pt x="2050637" y="4943308"/>
                  <a:pt x="2039742" y="4954335"/>
                </a:cubicBezTo>
                <a:lnTo>
                  <a:pt x="1975271" y="5018937"/>
                </a:lnTo>
                <a:lnTo>
                  <a:pt x="1910671" y="4954205"/>
                </a:lnTo>
                <a:cubicBezTo>
                  <a:pt x="1899774" y="4943308"/>
                  <a:pt x="1885636" y="4937860"/>
                  <a:pt x="1871366" y="4937860"/>
                </a:cubicBezTo>
                <a:close/>
                <a:moveTo>
                  <a:pt x="0" y="4767681"/>
                </a:moveTo>
                <a:lnTo>
                  <a:pt x="255060" y="4915290"/>
                </a:lnTo>
                <a:lnTo>
                  <a:pt x="255060" y="5301473"/>
                </a:lnTo>
                <a:lnTo>
                  <a:pt x="0" y="5449082"/>
                </a:lnTo>
                <a:lnTo>
                  <a:pt x="0" y="5254886"/>
                </a:lnTo>
                <a:lnTo>
                  <a:pt x="142988" y="5111559"/>
                </a:lnTo>
                <a:cubicBezTo>
                  <a:pt x="164651" y="5089895"/>
                  <a:pt x="164651" y="5054611"/>
                  <a:pt x="142988" y="5032947"/>
                </a:cubicBezTo>
                <a:lnTo>
                  <a:pt x="64507" y="4954335"/>
                </a:lnTo>
                <a:cubicBezTo>
                  <a:pt x="53612" y="4943438"/>
                  <a:pt x="39473" y="4937990"/>
                  <a:pt x="25332" y="4937990"/>
                </a:cubicBezTo>
                <a:lnTo>
                  <a:pt x="25204" y="4937860"/>
                </a:lnTo>
                <a:cubicBezTo>
                  <a:pt x="18070" y="4937860"/>
                  <a:pt x="10968" y="4939222"/>
                  <a:pt x="4287" y="4941963"/>
                </a:cubicBezTo>
                <a:lnTo>
                  <a:pt x="0" y="4944847"/>
                </a:lnTo>
                <a:close/>
                <a:moveTo>
                  <a:pt x="12188651" y="4754431"/>
                </a:moveTo>
                <a:lnTo>
                  <a:pt x="12188651" y="4962884"/>
                </a:lnTo>
                <a:lnTo>
                  <a:pt x="12179990" y="4954205"/>
                </a:lnTo>
                <a:cubicBezTo>
                  <a:pt x="12169092" y="4943308"/>
                  <a:pt x="12154954" y="4937860"/>
                  <a:pt x="12140685" y="4937860"/>
                </a:cubicBezTo>
                <a:cubicBezTo>
                  <a:pt x="12126416" y="4937860"/>
                  <a:pt x="12112276" y="4943308"/>
                  <a:pt x="12101510" y="4954205"/>
                </a:cubicBezTo>
                <a:lnTo>
                  <a:pt x="12023031" y="5032947"/>
                </a:lnTo>
                <a:cubicBezTo>
                  <a:pt x="12001368" y="5054611"/>
                  <a:pt x="12001368" y="5089895"/>
                  <a:pt x="12023031" y="5111559"/>
                </a:cubicBezTo>
                <a:lnTo>
                  <a:pt x="12188651" y="5277572"/>
                </a:lnTo>
                <a:lnTo>
                  <a:pt x="12188651" y="5462331"/>
                </a:lnTo>
                <a:lnTo>
                  <a:pt x="11910696" y="5301472"/>
                </a:lnTo>
                <a:lnTo>
                  <a:pt x="11910696" y="4915290"/>
                </a:lnTo>
                <a:close/>
                <a:moveTo>
                  <a:pt x="2668513" y="4727338"/>
                </a:moveTo>
                <a:lnTo>
                  <a:pt x="2993946" y="4915678"/>
                </a:lnTo>
                <a:lnTo>
                  <a:pt x="2993946" y="5292504"/>
                </a:lnTo>
                <a:lnTo>
                  <a:pt x="2668513" y="5104164"/>
                </a:lnTo>
                <a:close/>
                <a:moveTo>
                  <a:pt x="614537" y="4727338"/>
                </a:moveTo>
                <a:lnTo>
                  <a:pt x="939970" y="4915678"/>
                </a:lnTo>
                <a:lnTo>
                  <a:pt x="939970" y="5292505"/>
                </a:lnTo>
                <a:lnTo>
                  <a:pt x="614537" y="5104164"/>
                </a:lnTo>
                <a:close/>
                <a:moveTo>
                  <a:pt x="2652140" y="4727337"/>
                </a:moveTo>
                <a:lnTo>
                  <a:pt x="2652140" y="5104165"/>
                </a:lnTo>
                <a:lnTo>
                  <a:pt x="2326580" y="5292504"/>
                </a:lnTo>
                <a:lnTo>
                  <a:pt x="2326580" y="4915677"/>
                </a:lnTo>
                <a:close/>
                <a:moveTo>
                  <a:pt x="598165" y="4727336"/>
                </a:moveTo>
                <a:lnTo>
                  <a:pt x="598165" y="5104165"/>
                </a:lnTo>
                <a:lnTo>
                  <a:pt x="272602" y="5292505"/>
                </a:lnTo>
                <a:lnTo>
                  <a:pt x="272602" y="4915677"/>
                </a:lnTo>
                <a:close/>
                <a:moveTo>
                  <a:pt x="4722303" y="4727330"/>
                </a:moveTo>
                <a:lnTo>
                  <a:pt x="5047768" y="4915678"/>
                </a:lnTo>
                <a:lnTo>
                  <a:pt x="5047768" y="5292507"/>
                </a:lnTo>
                <a:lnTo>
                  <a:pt x="4722303" y="5104164"/>
                </a:lnTo>
                <a:close/>
                <a:moveTo>
                  <a:pt x="4705942" y="4727326"/>
                </a:moveTo>
                <a:lnTo>
                  <a:pt x="4705942" y="5104165"/>
                </a:lnTo>
                <a:lnTo>
                  <a:pt x="4598874" y="5166110"/>
                </a:lnTo>
                <a:lnTo>
                  <a:pt x="4380369" y="5292515"/>
                </a:lnTo>
                <a:lnTo>
                  <a:pt x="4380369" y="4915677"/>
                </a:lnTo>
                <a:close/>
                <a:moveTo>
                  <a:pt x="10883981" y="4727322"/>
                </a:moveTo>
                <a:lnTo>
                  <a:pt x="11209441" y="4915678"/>
                </a:lnTo>
                <a:lnTo>
                  <a:pt x="11209441" y="5292520"/>
                </a:lnTo>
                <a:lnTo>
                  <a:pt x="10883981" y="5104164"/>
                </a:lnTo>
                <a:close/>
                <a:moveTo>
                  <a:pt x="10867636" y="4727322"/>
                </a:moveTo>
                <a:lnTo>
                  <a:pt x="10867636" y="5104164"/>
                </a:lnTo>
                <a:lnTo>
                  <a:pt x="10542045" y="5292521"/>
                </a:lnTo>
                <a:lnTo>
                  <a:pt x="10542045" y="4915678"/>
                </a:lnTo>
                <a:close/>
                <a:moveTo>
                  <a:pt x="8830033" y="4727322"/>
                </a:moveTo>
                <a:lnTo>
                  <a:pt x="9155493" y="4915678"/>
                </a:lnTo>
                <a:lnTo>
                  <a:pt x="9155493" y="5292520"/>
                </a:lnTo>
                <a:lnTo>
                  <a:pt x="8830033" y="5104164"/>
                </a:lnTo>
                <a:close/>
                <a:moveTo>
                  <a:pt x="8813688" y="4727322"/>
                </a:moveTo>
                <a:lnTo>
                  <a:pt x="8813688" y="5104164"/>
                </a:lnTo>
                <a:lnTo>
                  <a:pt x="8488098" y="5292520"/>
                </a:lnTo>
                <a:lnTo>
                  <a:pt x="8488098" y="4915678"/>
                </a:lnTo>
                <a:close/>
                <a:moveTo>
                  <a:pt x="6776215" y="4727322"/>
                </a:moveTo>
                <a:lnTo>
                  <a:pt x="7101677" y="4915678"/>
                </a:lnTo>
                <a:lnTo>
                  <a:pt x="7101677" y="5292521"/>
                </a:lnTo>
                <a:lnTo>
                  <a:pt x="6776215" y="5104164"/>
                </a:lnTo>
                <a:close/>
                <a:moveTo>
                  <a:pt x="6759871" y="4727322"/>
                </a:moveTo>
                <a:lnTo>
                  <a:pt x="6759871" y="5104164"/>
                </a:lnTo>
                <a:lnTo>
                  <a:pt x="6434280" y="5292521"/>
                </a:lnTo>
                <a:lnTo>
                  <a:pt x="6434280" y="4915678"/>
                </a:lnTo>
                <a:close/>
                <a:moveTo>
                  <a:pt x="3344069" y="4722530"/>
                </a:moveTo>
                <a:lnTo>
                  <a:pt x="3677814" y="4915678"/>
                </a:lnTo>
                <a:lnTo>
                  <a:pt x="3677814" y="5301992"/>
                </a:lnTo>
                <a:lnTo>
                  <a:pt x="3344201" y="5495140"/>
                </a:lnTo>
                <a:lnTo>
                  <a:pt x="3010451" y="5301991"/>
                </a:lnTo>
                <a:lnTo>
                  <a:pt x="3010451" y="4915677"/>
                </a:lnTo>
                <a:close/>
                <a:moveTo>
                  <a:pt x="1290091" y="4722529"/>
                </a:moveTo>
                <a:lnTo>
                  <a:pt x="1623841" y="4915678"/>
                </a:lnTo>
                <a:lnTo>
                  <a:pt x="1623841" y="5301992"/>
                </a:lnTo>
                <a:lnTo>
                  <a:pt x="1290221" y="5495140"/>
                </a:lnTo>
                <a:lnTo>
                  <a:pt x="956471" y="5301991"/>
                </a:lnTo>
                <a:lnTo>
                  <a:pt x="956471" y="4915677"/>
                </a:lnTo>
                <a:close/>
                <a:moveTo>
                  <a:pt x="5397866" y="4722526"/>
                </a:moveTo>
                <a:lnTo>
                  <a:pt x="5731614" y="4915678"/>
                </a:lnTo>
                <a:lnTo>
                  <a:pt x="5731614" y="5301991"/>
                </a:lnTo>
                <a:lnTo>
                  <a:pt x="5571733" y="5394557"/>
                </a:lnTo>
                <a:lnTo>
                  <a:pt x="5398006" y="5495143"/>
                </a:lnTo>
                <a:lnTo>
                  <a:pt x="5064265" y="5301991"/>
                </a:lnTo>
                <a:lnTo>
                  <a:pt x="5064265" y="4915677"/>
                </a:lnTo>
                <a:close/>
                <a:moveTo>
                  <a:pt x="11559549" y="4722522"/>
                </a:moveTo>
                <a:lnTo>
                  <a:pt x="11893312" y="4915678"/>
                </a:lnTo>
                <a:lnTo>
                  <a:pt x="11893312" y="5301991"/>
                </a:lnTo>
                <a:lnTo>
                  <a:pt x="11559680" y="5495147"/>
                </a:lnTo>
                <a:lnTo>
                  <a:pt x="11225916" y="5301991"/>
                </a:lnTo>
                <a:lnTo>
                  <a:pt x="11225916" y="4915678"/>
                </a:lnTo>
                <a:close/>
                <a:moveTo>
                  <a:pt x="9505601" y="4722522"/>
                </a:moveTo>
                <a:lnTo>
                  <a:pt x="9839364" y="4915678"/>
                </a:lnTo>
                <a:lnTo>
                  <a:pt x="9839364" y="5301991"/>
                </a:lnTo>
                <a:lnTo>
                  <a:pt x="9505731" y="5495147"/>
                </a:lnTo>
                <a:lnTo>
                  <a:pt x="9171969" y="5301991"/>
                </a:lnTo>
                <a:lnTo>
                  <a:pt x="9171969" y="4915678"/>
                </a:lnTo>
                <a:close/>
                <a:moveTo>
                  <a:pt x="7451785" y="4722522"/>
                </a:moveTo>
                <a:lnTo>
                  <a:pt x="7785548" y="4915678"/>
                </a:lnTo>
                <a:lnTo>
                  <a:pt x="7785548" y="5301991"/>
                </a:lnTo>
                <a:lnTo>
                  <a:pt x="7451915" y="5495147"/>
                </a:lnTo>
                <a:lnTo>
                  <a:pt x="7118150" y="5301991"/>
                </a:lnTo>
                <a:lnTo>
                  <a:pt x="7118150" y="4915678"/>
                </a:lnTo>
                <a:close/>
                <a:moveTo>
                  <a:pt x="4029112" y="4722135"/>
                </a:moveTo>
                <a:lnTo>
                  <a:pt x="4362838" y="4915290"/>
                </a:lnTo>
                <a:lnTo>
                  <a:pt x="4362838" y="5301473"/>
                </a:lnTo>
                <a:lnTo>
                  <a:pt x="4337499" y="5316139"/>
                </a:lnTo>
                <a:lnTo>
                  <a:pt x="4029115" y="5494627"/>
                </a:lnTo>
                <a:lnTo>
                  <a:pt x="3695358" y="5301472"/>
                </a:lnTo>
                <a:lnTo>
                  <a:pt x="3695358" y="4915289"/>
                </a:lnTo>
                <a:close/>
                <a:moveTo>
                  <a:pt x="1975140" y="4722135"/>
                </a:moveTo>
                <a:lnTo>
                  <a:pt x="2308909" y="4915290"/>
                </a:lnTo>
                <a:lnTo>
                  <a:pt x="2308909" y="5301473"/>
                </a:lnTo>
                <a:lnTo>
                  <a:pt x="1975142" y="5494627"/>
                </a:lnTo>
                <a:lnTo>
                  <a:pt x="1641381" y="5301472"/>
                </a:lnTo>
                <a:lnTo>
                  <a:pt x="1641381" y="4915289"/>
                </a:lnTo>
                <a:close/>
                <a:moveTo>
                  <a:pt x="10190640" y="4722133"/>
                </a:moveTo>
                <a:lnTo>
                  <a:pt x="10524404" y="4915290"/>
                </a:lnTo>
                <a:lnTo>
                  <a:pt x="10524404" y="5301472"/>
                </a:lnTo>
                <a:lnTo>
                  <a:pt x="10190640" y="5494629"/>
                </a:lnTo>
                <a:lnTo>
                  <a:pt x="9856876" y="5301472"/>
                </a:lnTo>
                <a:lnTo>
                  <a:pt x="9856876" y="4915290"/>
                </a:lnTo>
                <a:close/>
                <a:moveTo>
                  <a:pt x="8136693" y="4722133"/>
                </a:moveTo>
                <a:lnTo>
                  <a:pt x="8470456" y="4915290"/>
                </a:lnTo>
                <a:lnTo>
                  <a:pt x="8470456" y="5301472"/>
                </a:lnTo>
                <a:lnTo>
                  <a:pt x="8136693" y="5494629"/>
                </a:lnTo>
                <a:lnTo>
                  <a:pt x="7802930" y="5301472"/>
                </a:lnTo>
                <a:lnTo>
                  <a:pt x="7802930" y="4915290"/>
                </a:lnTo>
                <a:close/>
                <a:moveTo>
                  <a:pt x="6082876" y="4722133"/>
                </a:moveTo>
                <a:lnTo>
                  <a:pt x="6416638" y="4915290"/>
                </a:lnTo>
                <a:lnTo>
                  <a:pt x="6416638" y="5301472"/>
                </a:lnTo>
                <a:lnTo>
                  <a:pt x="6082876" y="5494629"/>
                </a:lnTo>
                <a:lnTo>
                  <a:pt x="5749136" y="5301472"/>
                </a:lnTo>
                <a:lnTo>
                  <a:pt x="5749136" y="4915289"/>
                </a:lnTo>
                <a:lnTo>
                  <a:pt x="5849860" y="4856993"/>
                </a:lnTo>
                <a:close/>
                <a:moveTo>
                  <a:pt x="3687311" y="4524307"/>
                </a:moveTo>
                <a:lnTo>
                  <a:pt x="4012766" y="4712663"/>
                </a:lnTo>
                <a:lnTo>
                  <a:pt x="3687184" y="4901018"/>
                </a:lnTo>
                <a:lnTo>
                  <a:pt x="3361728" y="4712662"/>
                </a:lnTo>
                <a:close/>
                <a:moveTo>
                  <a:pt x="1633335" y="4524307"/>
                </a:moveTo>
                <a:lnTo>
                  <a:pt x="1958793" y="4712663"/>
                </a:lnTo>
                <a:lnTo>
                  <a:pt x="1633206" y="4901018"/>
                </a:lnTo>
                <a:lnTo>
                  <a:pt x="1307748" y="4712662"/>
                </a:lnTo>
                <a:close/>
                <a:moveTo>
                  <a:pt x="11902654" y="4524306"/>
                </a:moveTo>
                <a:lnTo>
                  <a:pt x="12188651" y="4689824"/>
                </a:lnTo>
                <a:lnTo>
                  <a:pt x="12188651" y="4735492"/>
                </a:lnTo>
                <a:lnTo>
                  <a:pt x="11902524" y="4901019"/>
                </a:lnTo>
                <a:lnTo>
                  <a:pt x="11577062" y="4712663"/>
                </a:lnTo>
                <a:close/>
                <a:moveTo>
                  <a:pt x="9848833" y="4524306"/>
                </a:moveTo>
                <a:lnTo>
                  <a:pt x="10174295" y="4712663"/>
                </a:lnTo>
                <a:lnTo>
                  <a:pt x="9848703" y="4901019"/>
                </a:lnTo>
                <a:lnTo>
                  <a:pt x="9523243" y="4712663"/>
                </a:lnTo>
                <a:close/>
                <a:moveTo>
                  <a:pt x="7794888" y="4524306"/>
                </a:moveTo>
                <a:lnTo>
                  <a:pt x="8120347" y="4712663"/>
                </a:lnTo>
                <a:lnTo>
                  <a:pt x="7794758" y="4901019"/>
                </a:lnTo>
                <a:lnTo>
                  <a:pt x="7469298" y="4712663"/>
                </a:lnTo>
                <a:close/>
                <a:moveTo>
                  <a:pt x="5741090" y="4524306"/>
                </a:moveTo>
                <a:lnTo>
                  <a:pt x="6066531" y="4712663"/>
                </a:lnTo>
                <a:lnTo>
                  <a:pt x="5740963" y="4901019"/>
                </a:lnTo>
                <a:lnTo>
                  <a:pt x="5415520" y="4712662"/>
                </a:lnTo>
                <a:close/>
                <a:moveTo>
                  <a:pt x="2898361" y="4360472"/>
                </a:moveTo>
                <a:lnTo>
                  <a:pt x="2926109" y="4372012"/>
                </a:lnTo>
                <a:lnTo>
                  <a:pt x="2990709" y="4436743"/>
                </a:lnTo>
                <a:lnTo>
                  <a:pt x="3002253" y="4448418"/>
                </a:lnTo>
                <a:lnTo>
                  <a:pt x="3002263" y="4448406"/>
                </a:lnTo>
                <a:lnTo>
                  <a:pt x="3002276" y="4448418"/>
                </a:lnTo>
                <a:lnTo>
                  <a:pt x="3013818" y="4436743"/>
                </a:lnTo>
                <a:lnTo>
                  <a:pt x="3078289" y="4372012"/>
                </a:lnTo>
                <a:lnTo>
                  <a:pt x="3106038" y="4360472"/>
                </a:lnTo>
                <a:lnTo>
                  <a:pt x="3133656" y="4372012"/>
                </a:lnTo>
                <a:lnTo>
                  <a:pt x="3212135" y="4450623"/>
                </a:lnTo>
                <a:cubicBezTo>
                  <a:pt x="3219531" y="4458018"/>
                  <a:pt x="3223550" y="4467877"/>
                  <a:pt x="3223679" y="4478384"/>
                </a:cubicBezTo>
                <a:cubicBezTo>
                  <a:pt x="3223679" y="4488892"/>
                  <a:pt x="3219660" y="4498751"/>
                  <a:pt x="3212265" y="4506145"/>
                </a:cubicBezTo>
                <a:lnTo>
                  <a:pt x="3002263" y="4716542"/>
                </a:lnTo>
                <a:lnTo>
                  <a:pt x="2792265" y="4506145"/>
                </a:lnTo>
                <a:cubicBezTo>
                  <a:pt x="2776956" y="4490837"/>
                  <a:pt x="2776956" y="4465930"/>
                  <a:pt x="2792265" y="4450753"/>
                </a:cubicBezTo>
                <a:lnTo>
                  <a:pt x="2870741" y="4372012"/>
                </a:lnTo>
                <a:close/>
                <a:moveTo>
                  <a:pt x="844383" y="4360472"/>
                </a:moveTo>
                <a:lnTo>
                  <a:pt x="872131" y="4372012"/>
                </a:lnTo>
                <a:lnTo>
                  <a:pt x="936730" y="4436743"/>
                </a:lnTo>
                <a:lnTo>
                  <a:pt x="948275" y="4448418"/>
                </a:lnTo>
                <a:lnTo>
                  <a:pt x="948287" y="4448407"/>
                </a:lnTo>
                <a:lnTo>
                  <a:pt x="948298" y="4448418"/>
                </a:lnTo>
                <a:lnTo>
                  <a:pt x="959843" y="4436743"/>
                </a:lnTo>
                <a:lnTo>
                  <a:pt x="1024312" y="4372012"/>
                </a:lnTo>
                <a:lnTo>
                  <a:pt x="1052060" y="4360472"/>
                </a:lnTo>
                <a:lnTo>
                  <a:pt x="1079679" y="4372012"/>
                </a:lnTo>
                <a:lnTo>
                  <a:pt x="1158157" y="4450623"/>
                </a:lnTo>
                <a:cubicBezTo>
                  <a:pt x="1165552" y="4458018"/>
                  <a:pt x="1169574" y="4467877"/>
                  <a:pt x="1169703" y="4478384"/>
                </a:cubicBezTo>
                <a:cubicBezTo>
                  <a:pt x="1169703" y="4488892"/>
                  <a:pt x="1165682" y="4498751"/>
                  <a:pt x="1158288" y="4506145"/>
                </a:cubicBezTo>
                <a:lnTo>
                  <a:pt x="948287" y="4716543"/>
                </a:lnTo>
                <a:lnTo>
                  <a:pt x="738286" y="4506145"/>
                </a:lnTo>
                <a:cubicBezTo>
                  <a:pt x="722979" y="4490837"/>
                  <a:pt x="722979" y="4465930"/>
                  <a:pt x="738286" y="4450753"/>
                </a:cubicBezTo>
                <a:lnTo>
                  <a:pt x="816763" y="4372012"/>
                </a:lnTo>
                <a:close/>
                <a:moveTo>
                  <a:pt x="4952155" y="4360469"/>
                </a:moveTo>
                <a:lnTo>
                  <a:pt x="4979914" y="4372012"/>
                </a:lnTo>
                <a:lnTo>
                  <a:pt x="5044521" y="4436743"/>
                </a:lnTo>
                <a:lnTo>
                  <a:pt x="5056064" y="4448418"/>
                </a:lnTo>
                <a:lnTo>
                  <a:pt x="5056083" y="4448408"/>
                </a:lnTo>
                <a:lnTo>
                  <a:pt x="5056087" y="4448418"/>
                </a:lnTo>
                <a:lnTo>
                  <a:pt x="5067642" y="4436743"/>
                </a:lnTo>
                <a:lnTo>
                  <a:pt x="5132091" y="4372012"/>
                </a:lnTo>
                <a:lnTo>
                  <a:pt x="5159834" y="4360469"/>
                </a:lnTo>
                <a:lnTo>
                  <a:pt x="5187464" y="4372012"/>
                </a:lnTo>
                <a:lnTo>
                  <a:pt x="5265932" y="4450623"/>
                </a:lnTo>
                <a:cubicBezTo>
                  <a:pt x="5273331" y="4458018"/>
                  <a:pt x="5277344" y="4467877"/>
                  <a:pt x="5277479" y="4478384"/>
                </a:cubicBezTo>
                <a:cubicBezTo>
                  <a:pt x="5277479" y="4488892"/>
                  <a:pt x="5273469" y="4498751"/>
                  <a:pt x="5266071" y="4506145"/>
                </a:cubicBezTo>
                <a:lnTo>
                  <a:pt x="5056083" y="4716544"/>
                </a:lnTo>
                <a:lnTo>
                  <a:pt x="4846044" y="4506145"/>
                </a:lnTo>
                <a:cubicBezTo>
                  <a:pt x="4830739" y="4490837"/>
                  <a:pt x="4830739" y="4465930"/>
                  <a:pt x="4846044" y="4450753"/>
                </a:cubicBezTo>
                <a:lnTo>
                  <a:pt x="4924518" y="4372012"/>
                </a:lnTo>
                <a:close/>
                <a:moveTo>
                  <a:pt x="11113840" y="4360467"/>
                </a:moveTo>
                <a:cubicBezTo>
                  <a:pt x="11124348" y="4360467"/>
                  <a:pt x="11134206" y="4364618"/>
                  <a:pt x="11141600" y="4372012"/>
                </a:cubicBezTo>
                <a:lnTo>
                  <a:pt x="11206199" y="4436743"/>
                </a:lnTo>
                <a:lnTo>
                  <a:pt x="11217744" y="4448418"/>
                </a:lnTo>
                <a:lnTo>
                  <a:pt x="11229289" y="4436743"/>
                </a:lnTo>
                <a:lnTo>
                  <a:pt x="11293758" y="4372012"/>
                </a:lnTo>
                <a:cubicBezTo>
                  <a:pt x="11301152" y="4364488"/>
                  <a:pt x="11311011" y="4360467"/>
                  <a:pt x="11321517" y="4360467"/>
                </a:cubicBezTo>
                <a:cubicBezTo>
                  <a:pt x="11331896" y="4360467"/>
                  <a:pt x="11341755" y="4364618"/>
                  <a:pt x="11349147" y="4372012"/>
                </a:cubicBezTo>
                <a:lnTo>
                  <a:pt x="11427627" y="4450623"/>
                </a:lnTo>
                <a:cubicBezTo>
                  <a:pt x="11435021" y="4458018"/>
                  <a:pt x="11439042" y="4467877"/>
                  <a:pt x="11439172" y="4478384"/>
                </a:cubicBezTo>
                <a:cubicBezTo>
                  <a:pt x="11439172" y="4488892"/>
                  <a:pt x="11435150" y="4498751"/>
                  <a:pt x="11427757" y="4506145"/>
                </a:cubicBezTo>
                <a:lnTo>
                  <a:pt x="11217744" y="4716554"/>
                </a:lnTo>
                <a:lnTo>
                  <a:pt x="11007731" y="4506145"/>
                </a:lnTo>
                <a:cubicBezTo>
                  <a:pt x="10992424" y="4490837"/>
                  <a:pt x="10992424" y="4465930"/>
                  <a:pt x="11007731" y="4450753"/>
                </a:cubicBezTo>
                <a:lnTo>
                  <a:pt x="11086210" y="4372012"/>
                </a:lnTo>
                <a:cubicBezTo>
                  <a:pt x="11093605" y="4364618"/>
                  <a:pt x="11103333" y="4360467"/>
                  <a:pt x="11113840" y="4360467"/>
                </a:cubicBezTo>
                <a:close/>
                <a:moveTo>
                  <a:pt x="9059893" y="4360467"/>
                </a:moveTo>
                <a:lnTo>
                  <a:pt x="9087652" y="4372012"/>
                </a:lnTo>
                <a:lnTo>
                  <a:pt x="9152251" y="4436743"/>
                </a:lnTo>
                <a:lnTo>
                  <a:pt x="9163796" y="4448418"/>
                </a:lnTo>
                <a:lnTo>
                  <a:pt x="9163797" y="4448418"/>
                </a:lnTo>
                <a:lnTo>
                  <a:pt x="9175342" y="4436743"/>
                </a:lnTo>
                <a:lnTo>
                  <a:pt x="9239811" y="4372012"/>
                </a:lnTo>
                <a:lnTo>
                  <a:pt x="9267571" y="4360467"/>
                </a:lnTo>
                <a:lnTo>
                  <a:pt x="9295200" y="4372012"/>
                </a:lnTo>
                <a:lnTo>
                  <a:pt x="9373678" y="4450623"/>
                </a:lnTo>
                <a:cubicBezTo>
                  <a:pt x="9381073" y="4458018"/>
                  <a:pt x="9385093" y="4467877"/>
                  <a:pt x="9385223" y="4478384"/>
                </a:cubicBezTo>
                <a:cubicBezTo>
                  <a:pt x="9385223" y="4488892"/>
                  <a:pt x="9381203" y="4498751"/>
                  <a:pt x="9373808" y="4506145"/>
                </a:cubicBezTo>
                <a:lnTo>
                  <a:pt x="9163796" y="4716554"/>
                </a:lnTo>
                <a:lnTo>
                  <a:pt x="8953784" y="4506145"/>
                </a:lnTo>
                <a:cubicBezTo>
                  <a:pt x="8938478" y="4490837"/>
                  <a:pt x="8938478" y="4465930"/>
                  <a:pt x="8953784" y="4450753"/>
                </a:cubicBezTo>
                <a:lnTo>
                  <a:pt x="9032264" y="4372012"/>
                </a:lnTo>
                <a:close/>
                <a:moveTo>
                  <a:pt x="7006076" y="4360467"/>
                </a:moveTo>
                <a:cubicBezTo>
                  <a:pt x="7016582" y="4360467"/>
                  <a:pt x="7026440" y="4364618"/>
                  <a:pt x="7033834" y="4372012"/>
                </a:cubicBezTo>
                <a:lnTo>
                  <a:pt x="7098434" y="4436743"/>
                </a:lnTo>
                <a:lnTo>
                  <a:pt x="7109978" y="4448418"/>
                </a:lnTo>
                <a:lnTo>
                  <a:pt x="7121523" y="4436743"/>
                </a:lnTo>
                <a:lnTo>
                  <a:pt x="7185994" y="4372012"/>
                </a:lnTo>
                <a:cubicBezTo>
                  <a:pt x="7193387" y="4364488"/>
                  <a:pt x="7203245" y="4360467"/>
                  <a:pt x="7213751" y="4360467"/>
                </a:cubicBezTo>
                <a:cubicBezTo>
                  <a:pt x="7224130" y="4360467"/>
                  <a:pt x="7233989" y="4364618"/>
                  <a:pt x="7241381" y="4372012"/>
                </a:cubicBezTo>
                <a:lnTo>
                  <a:pt x="7319862" y="4450623"/>
                </a:lnTo>
                <a:cubicBezTo>
                  <a:pt x="7327255" y="4458018"/>
                  <a:pt x="7331276" y="4467877"/>
                  <a:pt x="7331407" y="4478384"/>
                </a:cubicBezTo>
                <a:cubicBezTo>
                  <a:pt x="7331407" y="4488892"/>
                  <a:pt x="7327384" y="4498751"/>
                  <a:pt x="7319992" y="4506145"/>
                </a:cubicBezTo>
                <a:lnTo>
                  <a:pt x="7109978" y="4716554"/>
                </a:lnTo>
                <a:lnTo>
                  <a:pt x="6899966" y="4506145"/>
                </a:lnTo>
                <a:cubicBezTo>
                  <a:pt x="6884658" y="4490837"/>
                  <a:pt x="6884658" y="4465930"/>
                  <a:pt x="6899966" y="4450753"/>
                </a:cubicBezTo>
                <a:lnTo>
                  <a:pt x="6978446" y="4372012"/>
                </a:lnTo>
                <a:cubicBezTo>
                  <a:pt x="6985839" y="4364618"/>
                  <a:pt x="6995568" y="4360467"/>
                  <a:pt x="7006076" y="4360467"/>
                </a:cubicBezTo>
                <a:close/>
                <a:moveTo>
                  <a:pt x="11113840" y="4343992"/>
                </a:moveTo>
                <a:cubicBezTo>
                  <a:pt x="11099571" y="4343992"/>
                  <a:pt x="11085432" y="4349440"/>
                  <a:pt x="11074665" y="4360336"/>
                </a:cubicBezTo>
                <a:lnTo>
                  <a:pt x="10996186" y="4439078"/>
                </a:lnTo>
                <a:cubicBezTo>
                  <a:pt x="10974523" y="4460743"/>
                  <a:pt x="10974523" y="4496026"/>
                  <a:pt x="10996186" y="4517690"/>
                </a:cubicBezTo>
                <a:lnTo>
                  <a:pt x="11217744" y="4739774"/>
                </a:lnTo>
                <a:lnTo>
                  <a:pt x="11439301" y="4517690"/>
                </a:lnTo>
                <a:cubicBezTo>
                  <a:pt x="11460964" y="4496026"/>
                  <a:pt x="11460964" y="4460743"/>
                  <a:pt x="11439301" y="4439078"/>
                </a:cubicBezTo>
                <a:lnTo>
                  <a:pt x="11360822" y="4360467"/>
                </a:lnTo>
                <a:cubicBezTo>
                  <a:pt x="11349927" y="4349570"/>
                  <a:pt x="11335787" y="4344121"/>
                  <a:pt x="11321647" y="4344121"/>
                </a:cubicBezTo>
                <a:lnTo>
                  <a:pt x="11321517" y="4343992"/>
                </a:lnTo>
                <a:cubicBezTo>
                  <a:pt x="11307249" y="4343992"/>
                  <a:pt x="11293110" y="4349440"/>
                  <a:pt x="11282213" y="4360467"/>
                </a:cubicBezTo>
                <a:lnTo>
                  <a:pt x="11217744" y="4425069"/>
                </a:lnTo>
                <a:lnTo>
                  <a:pt x="11153145" y="4360336"/>
                </a:lnTo>
                <a:cubicBezTo>
                  <a:pt x="11142248" y="4349440"/>
                  <a:pt x="11128108" y="4343992"/>
                  <a:pt x="11113840" y="4343992"/>
                </a:cubicBezTo>
                <a:close/>
                <a:moveTo>
                  <a:pt x="9059892" y="4343992"/>
                </a:moveTo>
                <a:cubicBezTo>
                  <a:pt x="9045623" y="4343992"/>
                  <a:pt x="9031483" y="4349440"/>
                  <a:pt x="9020717" y="4360336"/>
                </a:cubicBezTo>
                <a:lnTo>
                  <a:pt x="8942238" y="4439078"/>
                </a:lnTo>
                <a:cubicBezTo>
                  <a:pt x="8920575" y="4460743"/>
                  <a:pt x="8920575" y="4496026"/>
                  <a:pt x="8942238" y="4517690"/>
                </a:cubicBezTo>
                <a:lnTo>
                  <a:pt x="9163796" y="4739774"/>
                </a:lnTo>
                <a:lnTo>
                  <a:pt x="9163797" y="4739774"/>
                </a:lnTo>
                <a:lnTo>
                  <a:pt x="9385354" y="4517690"/>
                </a:lnTo>
                <a:cubicBezTo>
                  <a:pt x="9407017" y="4496026"/>
                  <a:pt x="9407017" y="4460743"/>
                  <a:pt x="9385354" y="4439078"/>
                </a:cubicBezTo>
                <a:lnTo>
                  <a:pt x="9306876" y="4360467"/>
                </a:lnTo>
                <a:cubicBezTo>
                  <a:pt x="9295978" y="4349570"/>
                  <a:pt x="9281840" y="4344121"/>
                  <a:pt x="9267701" y="4344121"/>
                </a:cubicBezTo>
                <a:lnTo>
                  <a:pt x="9267571" y="4343992"/>
                </a:lnTo>
                <a:lnTo>
                  <a:pt x="9267570" y="4343992"/>
                </a:lnTo>
                <a:cubicBezTo>
                  <a:pt x="9253302" y="4343992"/>
                  <a:pt x="9239161" y="4349440"/>
                  <a:pt x="9228265" y="4360467"/>
                </a:cubicBezTo>
                <a:lnTo>
                  <a:pt x="9163796" y="4425069"/>
                </a:lnTo>
                <a:lnTo>
                  <a:pt x="9099198" y="4360336"/>
                </a:lnTo>
                <a:cubicBezTo>
                  <a:pt x="9088300" y="4349440"/>
                  <a:pt x="9074162" y="4343992"/>
                  <a:pt x="9059893" y="4343992"/>
                </a:cubicBezTo>
                <a:close/>
                <a:moveTo>
                  <a:pt x="7006076" y="4343992"/>
                </a:moveTo>
                <a:cubicBezTo>
                  <a:pt x="6991805" y="4343992"/>
                  <a:pt x="6977666" y="4349440"/>
                  <a:pt x="6966901" y="4360336"/>
                </a:cubicBezTo>
                <a:lnTo>
                  <a:pt x="6888421" y="4439078"/>
                </a:lnTo>
                <a:cubicBezTo>
                  <a:pt x="6866758" y="4460743"/>
                  <a:pt x="6866758" y="4496026"/>
                  <a:pt x="6888421" y="4517690"/>
                </a:cubicBezTo>
                <a:lnTo>
                  <a:pt x="7109978" y="4739774"/>
                </a:lnTo>
                <a:lnTo>
                  <a:pt x="7331537" y="4517690"/>
                </a:lnTo>
                <a:cubicBezTo>
                  <a:pt x="7353199" y="4496026"/>
                  <a:pt x="7353199" y="4460743"/>
                  <a:pt x="7331537" y="4439078"/>
                </a:cubicBezTo>
                <a:lnTo>
                  <a:pt x="7253057" y="4360467"/>
                </a:lnTo>
                <a:cubicBezTo>
                  <a:pt x="7242161" y="4349570"/>
                  <a:pt x="7228022" y="4344121"/>
                  <a:pt x="7213882" y="4344121"/>
                </a:cubicBezTo>
                <a:lnTo>
                  <a:pt x="7213751" y="4343992"/>
                </a:lnTo>
                <a:cubicBezTo>
                  <a:pt x="7199483" y="4343992"/>
                  <a:pt x="7185345" y="4349440"/>
                  <a:pt x="7174449" y="4360467"/>
                </a:cubicBezTo>
                <a:lnTo>
                  <a:pt x="7109978" y="4425069"/>
                </a:lnTo>
                <a:lnTo>
                  <a:pt x="7045379" y="4360336"/>
                </a:lnTo>
                <a:cubicBezTo>
                  <a:pt x="7034483" y="4349440"/>
                  <a:pt x="7020344" y="4343992"/>
                  <a:pt x="7006076" y="4343992"/>
                </a:cubicBezTo>
                <a:close/>
                <a:moveTo>
                  <a:pt x="4952148" y="4343992"/>
                </a:moveTo>
                <a:cubicBezTo>
                  <a:pt x="4937875" y="4343992"/>
                  <a:pt x="4923734" y="4349440"/>
                  <a:pt x="4912971" y="4360336"/>
                </a:cubicBezTo>
                <a:lnTo>
                  <a:pt x="4834495" y="4439078"/>
                </a:lnTo>
                <a:cubicBezTo>
                  <a:pt x="4812828" y="4460743"/>
                  <a:pt x="4812828" y="4496026"/>
                  <a:pt x="4834495" y="4517690"/>
                </a:cubicBezTo>
                <a:lnTo>
                  <a:pt x="5056064" y="4739774"/>
                </a:lnTo>
                <a:lnTo>
                  <a:pt x="5056083" y="4739764"/>
                </a:lnTo>
                <a:lnTo>
                  <a:pt x="5056087" y="4739774"/>
                </a:lnTo>
                <a:lnTo>
                  <a:pt x="5277615" y="4517690"/>
                </a:lnTo>
                <a:cubicBezTo>
                  <a:pt x="5299295" y="4496026"/>
                  <a:pt x="5299295" y="4460743"/>
                  <a:pt x="5277615" y="4439078"/>
                </a:cubicBezTo>
                <a:lnTo>
                  <a:pt x="5199142" y="4360467"/>
                </a:lnTo>
                <a:cubicBezTo>
                  <a:pt x="5188246" y="4349570"/>
                  <a:pt x="5174097" y="4344121"/>
                  <a:pt x="5159966" y="4344121"/>
                </a:cubicBezTo>
                <a:lnTo>
                  <a:pt x="5159837" y="4343992"/>
                </a:lnTo>
                <a:lnTo>
                  <a:pt x="5159834" y="4343994"/>
                </a:lnTo>
                <a:lnTo>
                  <a:pt x="5159824" y="4343992"/>
                </a:lnTo>
                <a:cubicBezTo>
                  <a:pt x="5145561" y="4343992"/>
                  <a:pt x="5131424" y="4349440"/>
                  <a:pt x="5120536" y="4360467"/>
                </a:cubicBezTo>
                <a:lnTo>
                  <a:pt x="5056083" y="4425059"/>
                </a:lnTo>
                <a:lnTo>
                  <a:pt x="4991467" y="4360336"/>
                </a:lnTo>
                <a:cubicBezTo>
                  <a:pt x="4980575" y="4349440"/>
                  <a:pt x="4966424" y="4343992"/>
                  <a:pt x="4952157" y="4343992"/>
                </a:cubicBezTo>
                <a:lnTo>
                  <a:pt x="4952155" y="4343993"/>
                </a:lnTo>
                <a:close/>
                <a:moveTo>
                  <a:pt x="2898351" y="4343992"/>
                </a:moveTo>
                <a:cubicBezTo>
                  <a:pt x="2884078" y="4343992"/>
                  <a:pt x="2869941" y="4349440"/>
                  <a:pt x="2859173" y="4360336"/>
                </a:cubicBezTo>
                <a:lnTo>
                  <a:pt x="2780695" y="4439078"/>
                </a:lnTo>
                <a:cubicBezTo>
                  <a:pt x="2759031" y="4460743"/>
                  <a:pt x="2759031" y="4496026"/>
                  <a:pt x="2780695" y="4517690"/>
                </a:cubicBezTo>
                <a:lnTo>
                  <a:pt x="3002253" y="4739774"/>
                </a:lnTo>
                <a:lnTo>
                  <a:pt x="3002263" y="4739762"/>
                </a:lnTo>
                <a:lnTo>
                  <a:pt x="3002276" y="4739774"/>
                </a:lnTo>
                <a:lnTo>
                  <a:pt x="3223832" y="4517690"/>
                </a:lnTo>
                <a:cubicBezTo>
                  <a:pt x="3245496" y="4496026"/>
                  <a:pt x="3245496" y="4460743"/>
                  <a:pt x="3223832" y="4439078"/>
                </a:cubicBezTo>
                <a:lnTo>
                  <a:pt x="3145353" y="4360467"/>
                </a:lnTo>
                <a:cubicBezTo>
                  <a:pt x="3134458" y="4349570"/>
                  <a:pt x="3120320" y="4344121"/>
                  <a:pt x="3106179" y="4344121"/>
                </a:cubicBezTo>
                <a:lnTo>
                  <a:pt x="3106051" y="4343992"/>
                </a:lnTo>
                <a:lnTo>
                  <a:pt x="3106030" y="4343996"/>
                </a:lnTo>
                <a:lnTo>
                  <a:pt x="3106024" y="4343992"/>
                </a:lnTo>
                <a:cubicBezTo>
                  <a:pt x="3091757" y="4343992"/>
                  <a:pt x="3077618" y="4349440"/>
                  <a:pt x="3066723" y="4360467"/>
                </a:cubicBezTo>
                <a:lnTo>
                  <a:pt x="3002263" y="4425057"/>
                </a:lnTo>
                <a:lnTo>
                  <a:pt x="2937678" y="4360336"/>
                </a:lnTo>
                <a:cubicBezTo>
                  <a:pt x="2926780" y="4349440"/>
                  <a:pt x="2912640" y="4343992"/>
                  <a:pt x="2898373" y="4343992"/>
                </a:cubicBezTo>
                <a:lnTo>
                  <a:pt x="2898361" y="4343995"/>
                </a:lnTo>
                <a:close/>
                <a:moveTo>
                  <a:pt x="844371" y="4343992"/>
                </a:moveTo>
                <a:cubicBezTo>
                  <a:pt x="830103" y="4343992"/>
                  <a:pt x="815964" y="4349440"/>
                  <a:pt x="805197" y="4360336"/>
                </a:cubicBezTo>
                <a:lnTo>
                  <a:pt x="726717" y="4439078"/>
                </a:lnTo>
                <a:cubicBezTo>
                  <a:pt x="705055" y="4460743"/>
                  <a:pt x="705055" y="4496026"/>
                  <a:pt x="726717" y="4517690"/>
                </a:cubicBezTo>
                <a:lnTo>
                  <a:pt x="948275" y="4739774"/>
                </a:lnTo>
                <a:lnTo>
                  <a:pt x="948287" y="4739763"/>
                </a:lnTo>
                <a:lnTo>
                  <a:pt x="948298" y="4739774"/>
                </a:lnTo>
                <a:lnTo>
                  <a:pt x="1169855" y="4517690"/>
                </a:lnTo>
                <a:cubicBezTo>
                  <a:pt x="1191517" y="4496026"/>
                  <a:pt x="1191517" y="4460743"/>
                  <a:pt x="1169855" y="4439078"/>
                </a:cubicBezTo>
                <a:lnTo>
                  <a:pt x="1091377" y="4360467"/>
                </a:lnTo>
                <a:cubicBezTo>
                  <a:pt x="1080480" y="4349570"/>
                  <a:pt x="1066341" y="4344121"/>
                  <a:pt x="1052202" y="4344121"/>
                </a:cubicBezTo>
                <a:lnTo>
                  <a:pt x="1052072" y="4343992"/>
                </a:lnTo>
                <a:lnTo>
                  <a:pt x="1052054" y="4343996"/>
                </a:lnTo>
                <a:lnTo>
                  <a:pt x="1052050" y="4343992"/>
                </a:lnTo>
                <a:cubicBezTo>
                  <a:pt x="1037780" y="4343992"/>
                  <a:pt x="1023641" y="4349440"/>
                  <a:pt x="1012746" y="4360467"/>
                </a:cubicBezTo>
                <a:lnTo>
                  <a:pt x="948287" y="4425058"/>
                </a:lnTo>
                <a:lnTo>
                  <a:pt x="883699" y="4360336"/>
                </a:lnTo>
                <a:cubicBezTo>
                  <a:pt x="872802" y="4349440"/>
                  <a:pt x="858663" y="4343992"/>
                  <a:pt x="844395" y="4343992"/>
                </a:cubicBezTo>
                <a:lnTo>
                  <a:pt x="844383" y="4343995"/>
                </a:lnTo>
                <a:close/>
                <a:moveTo>
                  <a:pt x="11910826" y="4133337"/>
                </a:moveTo>
                <a:lnTo>
                  <a:pt x="12188651" y="4294111"/>
                </a:lnTo>
                <a:lnTo>
                  <a:pt x="12188651" y="4670953"/>
                </a:lnTo>
                <a:lnTo>
                  <a:pt x="11910826" y="4510166"/>
                </a:lnTo>
                <a:close/>
                <a:moveTo>
                  <a:pt x="11894481" y="4133337"/>
                </a:moveTo>
                <a:lnTo>
                  <a:pt x="11894481" y="4510166"/>
                </a:lnTo>
                <a:lnTo>
                  <a:pt x="11568890" y="4698522"/>
                </a:lnTo>
                <a:lnTo>
                  <a:pt x="11568890" y="4321680"/>
                </a:lnTo>
                <a:close/>
                <a:moveTo>
                  <a:pt x="9857006" y="4133335"/>
                </a:moveTo>
                <a:lnTo>
                  <a:pt x="10182468" y="4321680"/>
                </a:lnTo>
                <a:lnTo>
                  <a:pt x="10182468" y="4698522"/>
                </a:lnTo>
                <a:lnTo>
                  <a:pt x="9857006" y="4510166"/>
                </a:lnTo>
                <a:close/>
                <a:moveTo>
                  <a:pt x="9840661" y="4133335"/>
                </a:moveTo>
                <a:lnTo>
                  <a:pt x="9840661" y="4510166"/>
                </a:lnTo>
                <a:lnTo>
                  <a:pt x="9515070" y="4698522"/>
                </a:lnTo>
                <a:lnTo>
                  <a:pt x="9515070" y="4321680"/>
                </a:lnTo>
                <a:close/>
                <a:moveTo>
                  <a:pt x="7803060" y="4133332"/>
                </a:moveTo>
                <a:lnTo>
                  <a:pt x="8128521" y="4321680"/>
                </a:lnTo>
                <a:lnTo>
                  <a:pt x="8128521" y="4698522"/>
                </a:lnTo>
                <a:lnTo>
                  <a:pt x="7803060" y="4510166"/>
                </a:lnTo>
                <a:close/>
                <a:moveTo>
                  <a:pt x="7786715" y="4133332"/>
                </a:moveTo>
                <a:lnTo>
                  <a:pt x="7786715" y="4510166"/>
                </a:lnTo>
                <a:lnTo>
                  <a:pt x="7461125" y="4698522"/>
                </a:lnTo>
                <a:lnTo>
                  <a:pt x="7461125" y="4321680"/>
                </a:lnTo>
                <a:close/>
                <a:moveTo>
                  <a:pt x="5749264" y="4133332"/>
                </a:moveTo>
                <a:lnTo>
                  <a:pt x="6074705" y="4321680"/>
                </a:lnTo>
                <a:lnTo>
                  <a:pt x="6074705" y="4698521"/>
                </a:lnTo>
                <a:lnTo>
                  <a:pt x="5749264" y="4510166"/>
                </a:lnTo>
                <a:close/>
                <a:moveTo>
                  <a:pt x="3695486" y="4133332"/>
                </a:moveTo>
                <a:lnTo>
                  <a:pt x="4020939" y="4321680"/>
                </a:lnTo>
                <a:lnTo>
                  <a:pt x="4020939" y="4698518"/>
                </a:lnTo>
                <a:lnTo>
                  <a:pt x="3695486" y="4510166"/>
                </a:lnTo>
                <a:close/>
                <a:moveTo>
                  <a:pt x="3679138" y="4133332"/>
                </a:moveTo>
                <a:lnTo>
                  <a:pt x="3679138" y="4510167"/>
                </a:lnTo>
                <a:lnTo>
                  <a:pt x="3353557" y="4698518"/>
                </a:lnTo>
                <a:lnTo>
                  <a:pt x="3353557" y="4321679"/>
                </a:lnTo>
                <a:close/>
                <a:moveTo>
                  <a:pt x="5732921" y="4133331"/>
                </a:moveTo>
                <a:lnTo>
                  <a:pt x="5732921" y="4510166"/>
                </a:lnTo>
                <a:lnTo>
                  <a:pt x="5486388" y="4652797"/>
                </a:lnTo>
                <a:lnTo>
                  <a:pt x="5407352" y="4698520"/>
                </a:lnTo>
                <a:lnTo>
                  <a:pt x="5407352" y="4321679"/>
                </a:lnTo>
                <a:close/>
                <a:moveTo>
                  <a:pt x="1641509" y="4133330"/>
                </a:moveTo>
                <a:lnTo>
                  <a:pt x="1966966" y="4321680"/>
                </a:lnTo>
                <a:lnTo>
                  <a:pt x="1966966" y="4698518"/>
                </a:lnTo>
                <a:lnTo>
                  <a:pt x="1641509" y="4510166"/>
                </a:lnTo>
                <a:close/>
                <a:moveTo>
                  <a:pt x="1625160" y="4133330"/>
                </a:moveTo>
                <a:lnTo>
                  <a:pt x="1625160" y="4510167"/>
                </a:lnTo>
                <a:lnTo>
                  <a:pt x="1299576" y="4698519"/>
                </a:lnTo>
                <a:lnTo>
                  <a:pt x="1299576" y="4321679"/>
                </a:lnTo>
                <a:close/>
                <a:moveTo>
                  <a:pt x="10532576" y="4128536"/>
                </a:moveTo>
                <a:lnTo>
                  <a:pt x="10866339" y="4321680"/>
                </a:lnTo>
                <a:lnTo>
                  <a:pt x="10866339" y="4707993"/>
                </a:lnTo>
                <a:lnTo>
                  <a:pt x="10532706" y="4901148"/>
                </a:lnTo>
                <a:lnTo>
                  <a:pt x="10198941" y="4707993"/>
                </a:lnTo>
                <a:lnTo>
                  <a:pt x="10198941" y="4321680"/>
                </a:lnTo>
                <a:close/>
                <a:moveTo>
                  <a:pt x="8478628" y="4128533"/>
                </a:moveTo>
                <a:lnTo>
                  <a:pt x="8812392" y="4321680"/>
                </a:lnTo>
                <a:lnTo>
                  <a:pt x="8812392" y="4707993"/>
                </a:lnTo>
                <a:lnTo>
                  <a:pt x="8478758" y="4901148"/>
                </a:lnTo>
                <a:lnTo>
                  <a:pt x="8144995" y="4707993"/>
                </a:lnTo>
                <a:lnTo>
                  <a:pt x="8144995" y="4321680"/>
                </a:lnTo>
                <a:close/>
                <a:moveTo>
                  <a:pt x="6424810" y="4128533"/>
                </a:moveTo>
                <a:lnTo>
                  <a:pt x="6758573" y="4321680"/>
                </a:lnTo>
                <a:lnTo>
                  <a:pt x="6758573" y="4707993"/>
                </a:lnTo>
                <a:lnTo>
                  <a:pt x="6424940" y="4901148"/>
                </a:lnTo>
                <a:lnTo>
                  <a:pt x="6091179" y="4707993"/>
                </a:lnTo>
                <a:lnTo>
                  <a:pt x="6091179" y="4321680"/>
                </a:lnTo>
                <a:close/>
                <a:moveTo>
                  <a:pt x="4371009" y="4128531"/>
                </a:moveTo>
                <a:lnTo>
                  <a:pt x="4704773" y="4321680"/>
                </a:lnTo>
                <a:lnTo>
                  <a:pt x="4704773" y="4707993"/>
                </a:lnTo>
                <a:lnTo>
                  <a:pt x="4371146" y="4901148"/>
                </a:lnTo>
                <a:lnTo>
                  <a:pt x="4037423" y="4707993"/>
                </a:lnTo>
                <a:lnTo>
                  <a:pt x="4037423" y="4321679"/>
                </a:lnTo>
                <a:lnTo>
                  <a:pt x="4350583" y="4140356"/>
                </a:lnTo>
                <a:close/>
                <a:moveTo>
                  <a:pt x="2317082" y="4128531"/>
                </a:moveTo>
                <a:lnTo>
                  <a:pt x="2650840" y="4321680"/>
                </a:lnTo>
                <a:lnTo>
                  <a:pt x="2650840" y="4707994"/>
                </a:lnTo>
                <a:lnTo>
                  <a:pt x="2317213" y="4901146"/>
                </a:lnTo>
                <a:lnTo>
                  <a:pt x="1983445" y="4707993"/>
                </a:lnTo>
                <a:lnTo>
                  <a:pt x="1983445" y="4321679"/>
                </a:lnTo>
                <a:close/>
                <a:moveTo>
                  <a:pt x="263235" y="4128527"/>
                </a:moveTo>
                <a:lnTo>
                  <a:pt x="596995" y="4321680"/>
                </a:lnTo>
                <a:lnTo>
                  <a:pt x="596995" y="4707994"/>
                </a:lnTo>
                <a:lnTo>
                  <a:pt x="263366" y="4901147"/>
                </a:lnTo>
                <a:lnTo>
                  <a:pt x="0" y="4748731"/>
                </a:lnTo>
                <a:lnTo>
                  <a:pt x="0" y="4280925"/>
                </a:lnTo>
                <a:close/>
                <a:moveTo>
                  <a:pt x="11217614" y="4128280"/>
                </a:moveTo>
                <a:lnTo>
                  <a:pt x="11551377" y="4321420"/>
                </a:lnTo>
                <a:lnTo>
                  <a:pt x="11551377" y="4707602"/>
                </a:lnTo>
                <a:lnTo>
                  <a:pt x="11217614" y="4900759"/>
                </a:lnTo>
                <a:lnTo>
                  <a:pt x="10883851" y="4707602"/>
                </a:lnTo>
                <a:lnTo>
                  <a:pt x="10883851" y="4321420"/>
                </a:lnTo>
                <a:close/>
                <a:moveTo>
                  <a:pt x="5055955" y="4128279"/>
                </a:moveTo>
                <a:lnTo>
                  <a:pt x="5389688" y="4321420"/>
                </a:lnTo>
                <a:lnTo>
                  <a:pt x="5389688" y="4707603"/>
                </a:lnTo>
                <a:lnTo>
                  <a:pt x="5252155" y="4787202"/>
                </a:lnTo>
                <a:lnTo>
                  <a:pt x="5055955" y="4900753"/>
                </a:lnTo>
                <a:lnTo>
                  <a:pt x="4722175" y="4707602"/>
                </a:lnTo>
                <a:lnTo>
                  <a:pt x="4722175" y="4321419"/>
                </a:lnTo>
                <a:close/>
                <a:moveTo>
                  <a:pt x="9163666" y="4128278"/>
                </a:moveTo>
                <a:lnTo>
                  <a:pt x="9497429" y="4321420"/>
                </a:lnTo>
                <a:lnTo>
                  <a:pt x="9497429" y="4707602"/>
                </a:lnTo>
                <a:lnTo>
                  <a:pt x="9163666" y="4900759"/>
                </a:lnTo>
                <a:lnTo>
                  <a:pt x="8829903" y="4707602"/>
                </a:lnTo>
                <a:lnTo>
                  <a:pt x="8829903" y="4321420"/>
                </a:lnTo>
                <a:lnTo>
                  <a:pt x="8882054" y="4291239"/>
                </a:lnTo>
                <a:close/>
                <a:moveTo>
                  <a:pt x="7109850" y="4128277"/>
                </a:moveTo>
                <a:lnTo>
                  <a:pt x="7443613" y="4321420"/>
                </a:lnTo>
                <a:lnTo>
                  <a:pt x="7443613" y="4707602"/>
                </a:lnTo>
                <a:lnTo>
                  <a:pt x="7109850" y="4900759"/>
                </a:lnTo>
                <a:lnTo>
                  <a:pt x="6776085" y="4707602"/>
                </a:lnTo>
                <a:lnTo>
                  <a:pt x="6776085" y="4321420"/>
                </a:lnTo>
                <a:close/>
                <a:moveTo>
                  <a:pt x="3002137" y="4128277"/>
                </a:moveTo>
                <a:lnTo>
                  <a:pt x="3335888" y="4321420"/>
                </a:lnTo>
                <a:lnTo>
                  <a:pt x="3335888" y="4707603"/>
                </a:lnTo>
                <a:lnTo>
                  <a:pt x="3002137" y="4900751"/>
                </a:lnTo>
                <a:lnTo>
                  <a:pt x="2668385" y="4707602"/>
                </a:lnTo>
                <a:lnTo>
                  <a:pt x="2668385" y="4321419"/>
                </a:lnTo>
                <a:close/>
                <a:moveTo>
                  <a:pt x="948159" y="4128274"/>
                </a:moveTo>
                <a:lnTo>
                  <a:pt x="1281908" y="4321420"/>
                </a:lnTo>
                <a:lnTo>
                  <a:pt x="1281908" y="4707603"/>
                </a:lnTo>
                <a:lnTo>
                  <a:pt x="948159" y="4900752"/>
                </a:lnTo>
                <a:lnTo>
                  <a:pt x="614410" y="4707602"/>
                </a:lnTo>
                <a:lnTo>
                  <a:pt x="614410" y="4321419"/>
                </a:lnTo>
                <a:close/>
                <a:moveTo>
                  <a:pt x="10875809" y="3930457"/>
                </a:moveTo>
                <a:lnTo>
                  <a:pt x="11201267" y="4118806"/>
                </a:lnTo>
                <a:lnTo>
                  <a:pt x="10875678" y="4307149"/>
                </a:lnTo>
                <a:lnTo>
                  <a:pt x="10809085" y="4268609"/>
                </a:lnTo>
                <a:lnTo>
                  <a:pt x="10550220" y="4118806"/>
                </a:lnTo>
                <a:close/>
                <a:moveTo>
                  <a:pt x="8821860" y="3930452"/>
                </a:moveTo>
                <a:lnTo>
                  <a:pt x="9147319" y="4118806"/>
                </a:lnTo>
                <a:lnTo>
                  <a:pt x="8913010" y="4254344"/>
                </a:lnTo>
                <a:lnTo>
                  <a:pt x="8821731" y="4307149"/>
                </a:lnTo>
                <a:lnTo>
                  <a:pt x="8496271" y="4118806"/>
                </a:lnTo>
                <a:close/>
                <a:moveTo>
                  <a:pt x="6768043" y="3930449"/>
                </a:moveTo>
                <a:lnTo>
                  <a:pt x="7093503" y="4118805"/>
                </a:lnTo>
                <a:lnTo>
                  <a:pt x="6767913" y="4307149"/>
                </a:lnTo>
                <a:lnTo>
                  <a:pt x="6442454" y="4118805"/>
                </a:lnTo>
                <a:close/>
                <a:moveTo>
                  <a:pt x="4714120" y="3930449"/>
                </a:moveTo>
                <a:lnTo>
                  <a:pt x="5039593" y="4118798"/>
                </a:lnTo>
                <a:lnTo>
                  <a:pt x="5020751" y="4129700"/>
                </a:lnTo>
                <a:lnTo>
                  <a:pt x="4713993" y="4307147"/>
                </a:lnTo>
                <a:lnTo>
                  <a:pt x="4388541" y="4118803"/>
                </a:lnTo>
                <a:close/>
                <a:moveTo>
                  <a:pt x="2660333" y="3930449"/>
                </a:moveTo>
                <a:lnTo>
                  <a:pt x="2985780" y="4118798"/>
                </a:lnTo>
                <a:lnTo>
                  <a:pt x="2660203" y="4307142"/>
                </a:lnTo>
                <a:lnTo>
                  <a:pt x="2334757" y="4118798"/>
                </a:lnTo>
                <a:close/>
                <a:moveTo>
                  <a:pt x="606356" y="3930447"/>
                </a:moveTo>
                <a:lnTo>
                  <a:pt x="931801" y="4118795"/>
                </a:lnTo>
                <a:lnTo>
                  <a:pt x="606223" y="4307142"/>
                </a:lnTo>
                <a:lnTo>
                  <a:pt x="280775" y="4118796"/>
                </a:lnTo>
                <a:close/>
                <a:moveTo>
                  <a:pt x="12140685" y="3766489"/>
                </a:moveTo>
                <a:cubicBezTo>
                  <a:pt x="12151191" y="3766489"/>
                  <a:pt x="12161050" y="3770638"/>
                  <a:pt x="12168445" y="3778033"/>
                </a:cubicBezTo>
                <a:lnTo>
                  <a:pt x="12188651" y="3798281"/>
                </a:lnTo>
                <a:lnTo>
                  <a:pt x="12188651" y="4066527"/>
                </a:lnTo>
                <a:lnTo>
                  <a:pt x="12034576" y="3912164"/>
                </a:lnTo>
                <a:cubicBezTo>
                  <a:pt x="12019270" y="3896857"/>
                  <a:pt x="12019270" y="3871952"/>
                  <a:pt x="12034576" y="3856776"/>
                </a:cubicBezTo>
                <a:lnTo>
                  <a:pt x="12113056" y="3778033"/>
                </a:lnTo>
                <a:cubicBezTo>
                  <a:pt x="12120448" y="3770638"/>
                  <a:pt x="12130178" y="3766489"/>
                  <a:pt x="12140685" y="3766489"/>
                </a:cubicBezTo>
                <a:close/>
                <a:moveTo>
                  <a:pt x="10086867" y="3766487"/>
                </a:moveTo>
                <a:cubicBezTo>
                  <a:pt x="10097374" y="3766487"/>
                  <a:pt x="10107232" y="3770636"/>
                  <a:pt x="10114626" y="3778031"/>
                </a:cubicBezTo>
                <a:lnTo>
                  <a:pt x="10179226" y="3842759"/>
                </a:lnTo>
                <a:lnTo>
                  <a:pt x="10190770" y="3854435"/>
                </a:lnTo>
                <a:lnTo>
                  <a:pt x="10202315" y="3842759"/>
                </a:lnTo>
                <a:lnTo>
                  <a:pt x="10266786" y="3778031"/>
                </a:lnTo>
                <a:cubicBezTo>
                  <a:pt x="10274178" y="3770507"/>
                  <a:pt x="10284037" y="3766487"/>
                  <a:pt x="10294543" y="3766487"/>
                </a:cubicBezTo>
                <a:cubicBezTo>
                  <a:pt x="10304922" y="3766487"/>
                  <a:pt x="10314781" y="3770636"/>
                  <a:pt x="10322173" y="3778031"/>
                </a:cubicBezTo>
                <a:lnTo>
                  <a:pt x="10400653" y="3856639"/>
                </a:lnTo>
                <a:cubicBezTo>
                  <a:pt x="10408047" y="3864034"/>
                  <a:pt x="10412068" y="3873896"/>
                  <a:pt x="10412198" y="3884401"/>
                </a:cubicBezTo>
                <a:cubicBezTo>
                  <a:pt x="10412198" y="3894908"/>
                  <a:pt x="10408176" y="3904767"/>
                  <a:pt x="10400783" y="3912160"/>
                </a:cubicBezTo>
                <a:lnTo>
                  <a:pt x="10190770" y="4122570"/>
                </a:lnTo>
                <a:lnTo>
                  <a:pt x="9980757" y="3912160"/>
                </a:lnTo>
                <a:cubicBezTo>
                  <a:pt x="9965450" y="3896853"/>
                  <a:pt x="9965450" y="3871944"/>
                  <a:pt x="9980757" y="3856768"/>
                </a:cubicBezTo>
                <a:lnTo>
                  <a:pt x="10059237" y="3778031"/>
                </a:lnTo>
                <a:cubicBezTo>
                  <a:pt x="10066631" y="3770636"/>
                  <a:pt x="10076359" y="3766487"/>
                  <a:pt x="10086867" y="3766487"/>
                </a:cubicBezTo>
                <a:close/>
                <a:moveTo>
                  <a:pt x="8032919" y="3766483"/>
                </a:moveTo>
                <a:cubicBezTo>
                  <a:pt x="8043427" y="3766483"/>
                  <a:pt x="8053285" y="3770632"/>
                  <a:pt x="8060679" y="3778026"/>
                </a:cubicBezTo>
                <a:lnTo>
                  <a:pt x="8125278" y="3842759"/>
                </a:lnTo>
                <a:lnTo>
                  <a:pt x="8136823" y="3854433"/>
                </a:lnTo>
                <a:lnTo>
                  <a:pt x="8148368" y="3842759"/>
                </a:lnTo>
                <a:lnTo>
                  <a:pt x="8212837" y="3778026"/>
                </a:lnTo>
                <a:cubicBezTo>
                  <a:pt x="8220232" y="3770507"/>
                  <a:pt x="8230090" y="3766483"/>
                  <a:pt x="8240596" y="3766483"/>
                </a:cubicBezTo>
                <a:cubicBezTo>
                  <a:pt x="8250975" y="3766483"/>
                  <a:pt x="8260834" y="3770632"/>
                  <a:pt x="8268226" y="3778026"/>
                </a:cubicBezTo>
                <a:lnTo>
                  <a:pt x="8346707" y="3856636"/>
                </a:lnTo>
                <a:cubicBezTo>
                  <a:pt x="8354100" y="3864034"/>
                  <a:pt x="8358121" y="3873889"/>
                  <a:pt x="8358252" y="3884401"/>
                </a:cubicBezTo>
                <a:cubicBezTo>
                  <a:pt x="8358252" y="3894906"/>
                  <a:pt x="8354229" y="3904764"/>
                  <a:pt x="8346837" y="3912157"/>
                </a:cubicBezTo>
                <a:lnTo>
                  <a:pt x="8136823" y="4122566"/>
                </a:lnTo>
                <a:lnTo>
                  <a:pt x="7926811" y="3912157"/>
                </a:lnTo>
                <a:cubicBezTo>
                  <a:pt x="7911503" y="3896851"/>
                  <a:pt x="7911503" y="3871944"/>
                  <a:pt x="7926811" y="3856768"/>
                </a:cubicBezTo>
                <a:lnTo>
                  <a:pt x="8005289" y="3778026"/>
                </a:lnTo>
                <a:cubicBezTo>
                  <a:pt x="8012684" y="3770632"/>
                  <a:pt x="8022413" y="3766483"/>
                  <a:pt x="8032919" y="3766483"/>
                </a:cubicBezTo>
                <a:close/>
                <a:moveTo>
                  <a:pt x="5979110" y="3766481"/>
                </a:moveTo>
                <a:cubicBezTo>
                  <a:pt x="5989617" y="3766481"/>
                  <a:pt x="5999474" y="3770632"/>
                  <a:pt x="6006867" y="3778024"/>
                </a:cubicBezTo>
                <a:lnTo>
                  <a:pt x="6071463" y="3842755"/>
                </a:lnTo>
                <a:lnTo>
                  <a:pt x="6083006" y="3854430"/>
                </a:lnTo>
                <a:lnTo>
                  <a:pt x="6094550" y="3842755"/>
                </a:lnTo>
                <a:lnTo>
                  <a:pt x="6159019" y="3778024"/>
                </a:lnTo>
                <a:cubicBezTo>
                  <a:pt x="6166413" y="3770499"/>
                  <a:pt x="6176271" y="3766481"/>
                  <a:pt x="6186779" y="3766481"/>
                </a:cubicBezTo>
                <a:cubicBezTo>
                  <a:pt x="6197156" y="3766481"/>
                  <a:pt x="6207014" y="3770632"/>
                  <a:pt x="6214409" y="3778024"/>
                </a:cubicBezTo>
                <a:lnTo>
                  <a:pt x="6292888" y="3856635"/>
                </a:lnTo>
                <a:cubicBezTo>
                  <a:pt x="6300282" y="3864029"/>
                  <a:pt x="6304303" y="3873887"/>
                  <a:pt x="6304433" y="3884398"/>
                </a:cubicBezTo>
                <a:cubicBezTo>
                  <a:pt x="6304433" y="3894904"/>
                  <a:pt x="6300412" y="3904763"/>
                  <a:pt x="6293017" y="3912155"/>
                </a:cubicBezTo>
                <a:lnTo>
                  <a:pt x="6083006" y="4122564"/>
                </a:lnTo>
                <a:lnTo>
                  <a:pt x="5873007" y="3912155"/>
                </a:lnTo>
                <a:cubicBezTo>
                  <a:pt x="5857702" y="3896850"/>
                  <a:pt x="5857702" y="3871943"/>
                  <a:pt x="5873007" y="3856767"/>
                </a:cubicBezTo>
                <a:lnTo>
                  <a:pt x="5951483" y="3778024"/>
                </a:lnTo>
                <a:cubicBezTo>
                  <a:pt x="5958874" y="3770632"/>
                  <a:pt x="5968603" y="3766481"/>
                  <a:pt x="5979110" y="3766481"/>
                </a:cubicBezTo>
                <a:close/>
                <a:moveTo>
                  <a:pt x="3925342" y="3766475"/>
                </a:moveTo>
                <a:cubicBezTo>
                  <a:pt x="3935847" y="3766475"/>
                  <a:pt x="3945709" y="3770628"/>
                  <a:pt x="3953102" y="3778022"/>
                </a:cubicBezTo>
                <a:lnTo>
                  <a:pt x="4017703" y="3842751"/>
                </a:lnTo>
                <a:lnTo>
                  <a:pt x="4029246" y="3854427"/>
                </a:lnTo>
                <a:lnTo>
                  <a:pt x="4040794" y="3842751"/>
                </a:lnTo>
                <a:lnTo>
                  <a:pt x="4105264" y="3778022"/>
                </a:lnTo>
                <a:cubicBezTo>
                  <a:pt x="4112658" y="3770498"/>
                  <a:pt x="4122517" y="3766475"/>
                  <a:pt x="4133025" y="3766475"/>
                </a:cubicBezTo>
                <a:cubicBezTo>
                  <a:pt x="4143402" y="3766475"/>
                  <a:pt x="4153263" y="3770628"/>
                  <a:pt x="4160655" y="3778022"/>
                </a:cubicBezTo>
                <a:lnTo>
                  <a:pt x="4239088" y="3856634"/>
                </a:lnTo>
                <a:cubicBezTo>
                  <a:pt x="4246485" y="3864025"/>
                  <a:pt x="4250503" y="3873886"/>
                  <a:pt x="4250643" y="3884393"/>
                </a:cubicBezTo>
                <a:cubicBezTo>
                  <a:pt x="4250643" y="3894900"/>
                  <a:pt x="4246611" y="3904757"/>
                  <a:pt x="4239218" y="3912154"/>
                </a:cubicBezTo>
                <a:lnTo>
                  <a:pt x="4029246" y="4122561"/>
                </a:lnTo>
                <a:lnTo>
                  <a:pt x="3819228" y="3912154"/>
                </a:lnTo>
                <a:cubicBezTo>
                  <a:pt x="3803920" y="3896844"/>
                  <a:pt x="3803920" y="3871940"/>
                  <a:pt x="3819228" y="3856761"/>
                </a:cubicBezTo>
                <a:lnTo>
                  <a:pt x="3897713" y="3778022"/>
                </a:lnTo>
                <a:cubicBezTo>
                  <a:pt x="3905109" y="3770628"/>
                  <a:pt x="3914836" y="3766475"/>
                  <a:pt x="3925342" y="3766475"/>
                </a:cubicBezTo>
                <a:close/>
                <a:moveTo>
                  <a:pt x="1871369" y="3766474"/>
                </a:moveTo>
                <a:cubicBezTo>
                  <a:pt x="1881877" y="3766474"/>
                  <a:pt x="1891735" y="3770624"/>
                  <a:pt x="1899129" y="3778019"/>
                </a:cubicBezTo>
                <a:lnTo>
                  <a:pt x="1963729" y="3842750"/>
                </a:lnTo>
                <a:lnTo>
                  <a:pt x="1975274" y="3854424"/>
                </a:lnTo>
                <a:lnTo>
                  <a:pt x="1986819" y="3842750"/>
                </a:lnTo>
                <a:lnTo>
                  <a:pt x="2051289" y="3778019"/>
                </a:lnTo>
                <a:cubicBezTo>
                  <a:pt x="2058682" y="3770495"/>
                  <a:pt x="2068540" y="3766474"/>
                  <a:pt x="2079047" y="3766474"/>
                </a:cubicBezTo>
                <a:cubicBezTo>
                  <a:pt x="2089425" y="3766474"/>
                  <a:pt x="2099288" y="3770624"/>
                  <a:pt x="2106684" y="3778019"/>
                </a:cubicBezTo>
                <a:lnTo>
                  <a:pt x="2185165" y="3856630"/>
                </a:lnTo>
                <a:cubicBezTo>
                  <a:pt x="2192559" y="3864024"/>
                  <a:pt x="2196580" y="3873882"/>
                  <a:pt x="2196710" y="3884389"/>
                </a:cubicBezTo>
                <a:cubicBezTo>
                  <a:pt x="2196710" y="3894897"/>
                  <a:pt x="2192689" y="3904755"/>
                  <a:pt x="2185293" y="3912150"/>
                </a:cubicBezTo>
                <a:lnTo>
                  <a:pt x="1975274" y="4122560"/>
                </a:lnTo>
                <a:lnTo>
                  <a:pt x="1765261" y="3912150"/>
                </a:lnTo>
                <a:cubicBezTo>
                  <a:pt x="1749953" y="3896844"/>
                  <a:pt x="1749953" y="3871935"/>
                  <a:pt x="1765261" y="3856760"/>
                </a:cubicBezTo>
                <a:lnTo>
                  <a:pt x="1843740" y="3778019"/>
                </a:lnTo>
                <a:cubicBezTo>
                  <a:pt x="1851135" y="3770624"/>
                  <a:pt x="1860862" y="3766474"/>
                  <a:pt x="1871369" y="3766474"/>
                </a:cubicBezTo>
                <a:close/>
                <a:moveTo>
                  <a:pt x="25207" y="3766470"/>
                </a:moveTo>
                <a:cubicBezTo>
                  <a:pt x="35584" y="3766470"/>
                  <a:pt x="45443" y="3770622"/>
                  <a:pt x="52837" y="3778016"/>
                </a:cubicBezTo>
                <a:lnTo>
                  <a:pt x="131316" y="3856627"/>
                </a:lnTo>
                <a:cubicBezTo>
                  <a:pt x="138710" y="3864020"/>
                  <a:pt x="142732" y="3873879"/>
                  <a:pt x="142860" y="3884387"/>
                </a:cubicBezTo>
                <a:cubicBezTo>
                  <a:pt x="142860" y="3894895"/>
                  <a:pt x="138839" y="3904754"/>
                  <a:pt x="131446" y="3912147"/>
                </a:cubicBezTo>
                <a:lnTo>
                  <a:pt x="0" y="4043841"/>
                </a:lnTo>
                <a:lnTo>
                  <a:pt x="0" y="3776953"/>
                </a:lnTo>
                <a:close/>
                <a:moveTo>
                  <a:pt x="10086867" y="3750008"/>
                </a:moveTo>
                <a:cubicBezTo>
                  <a:pt x="10072597" y="3750008"/>
                  <a:pt x="10058458" y="3755458"/>
                  <a:pt x="10047692" y="3766357"/>
                </a:cubicBezTo>
                <a:lnTo>
                  <a:pt x="9969212" y="3845095"/>
                </a:lnTo>
                <a:cubicBezTo>
                  <a:pt x="9947549" y="3866759"/>
                  <a:pt x="9947549" y="3902043"/>
                  <a:pt x="9969212" y="3923707"/>
                </a:cubicBezTo>
                <a:lnTo>
                  <a:pt x="10190770" y="4145787"/>
                </a:lnTo>
                <a:lnTo>
                  <a:pt x="10412328" y="3923707"/>
                </a:lnTo>
                <a:cubicBezTo>
                  <a:pt x="10433990" y="3902043"/>
                  <a:pt x="10433990" y="3866759"/>
                  <a:pt x="10412328" y="3845095"/>
                </a:cubicBezTo>
                <a:lnTo>
                  <a:pt x="10333848" y="3766487"/>
                </a:lnTo>
                <a:cubicBezTo>
                  <a:pt x="10322953" y="3755589"/>
                  <a:pt x="10308813" y="3750141"/>
                  <a:pt x="10294673" y="3750141"/>
                </a:cubicBezTo>
                <a:lnTo>
                  <a:pt x="10294543" y="3750008"/>
                </a:lnTo>
                <a:cubicBezTo>
                  <a:pt x="10280275" y="3750008"/>
                  <a:pt x="10266136" y="3755458"/>
                  <a:pt x="10255241" y="3766487"/>
                </a:cubicBezTo>
                <a:lnTo>
                  <a:pt x="10190770" y="3831087"/>
                </a:lnTo>
                <a:lnTo>
                  <a:pt x="10126171" y="3766357"/>
                </a:lnTo>
                <a:cubicBezTo>
                  <a:pt x="10115274" y="3755458"/>
                  <a:pt x="10101136" y="3750008"/>
                  <a:pt x="10086867" y="3750008"/>
                </a:cubicBezTo>
                <a:close/>
                <a:moveTo>
                  <a:pt x="8032919" y="3750008"/>
                </a:moveTo>
                <a:cubicBezTo>
                  <a:pt x="8018650" y="3750008"/>
                  <a:pt x="8004511" y="3755457"/>
                  <a:pt x="7993744" y="3766352"/>
                </a:cubicBezTo>
                <a:lnTo>
                  <a:pt x="7915266" y="3845089"/>
                </a:lnTo>
                <a:cubicBezTo>
                  <a:pt x="7893603" y="3866755"/>
                  <a:pt x="7893603" y="3902040"/>
                  <a:pt x="7915266" y="3923705"/>
                </a:cubicBezTo>
                <a:lnTo>
                  <a:pt x="8136823" y="4145784"/>
                </a:lnTo>
                <a:lnTo>
                  <a:pt x="8358382" y="3923705"/>
                </a:lnTo>
                <a:cubicBezTo>
                  <a:pt x="8380044" y="3902040"/>
                  <a:pt x="8380044" y="3866755"/>
                  <a:pt x="8358382" y="3845089"/>
                </a:cubicBezTo>
                <a:lnTo>
                  <a:pt x="8279902" y="3766483"/>
                </a:lnTo>
                <a:cubicBezTo>
                  <a:pt x="8269006" y="3755585"/>
                  <a:pt x="8254866" y="3750137"/>
                  <a:pt x="8240727" y="3750137"/>
                </a:cubicBezTo>
                <a:lnTo>
                  <a:pt x="8240596" y="3750008"/>
                </a:lnTo>
                <a:cubicBezTo>
                  <a:pt x="8226328" y="3750008"/>
                  <a:pt x="8212190" y="3755457"/>
                  <a:pt x="8201292" y="3766483"/>
                </a:cubicBezTo>
                <a:lnTo>
                  <a:pt x="8136823" y="3831082"/>
                </a:lnTo>
                <a:lnTo>
                  <a:pt x="8072224" y="3766352"/>
                </a:lnTo>
                <a:cubicBezTo>
                  <a:pt x="8061328" y="3755457"/>
                  <a:pt x="8047187" y="3750008"/>
                  <a:pt x="8032919" y="3750008"/>
                </a:cubicBezTo>
                <a:close/>
                <a:moveTo>
                  <a:pt x="5979110" y="3750004"/>
                </a:moveTo>
                <a:cubicBezTo>
                  <a:pt x="5964841" y="3750004"/>
                  <a:pt x="5950702" y="3755453"/>
                  <a:pt x="5939938" y="3766349"/>
                </a:cubicBezTo>
                <a:lnTo>
                  <a:pt x="5861462" y="3845089"/>
                </a:lnTo>
                <a:cubicBezTo>
                  <a:pt x="5839801" y="3866752"/>
                  <a:pt x="5839801" y="3902035"/>
                  <a:pt x="5861462" y="3923701"/>
                </a:cubicBezTo>
                <a:lnTo>
                  <a:pt x="6083006" y="4145783"/>
                </a:lnTo>
                <a:lnTo>
                  <a:pt x="6304562" y="3923701"/>
                </a:lnTo>
                <a:cubicBezTo>
                  <a:pt x="6326226" y="3902035"/>
                  <a:pt x="6326226" y="3866752"/>
                  <a:pt x="6304562" y="3845089"/>
                </a:cubicBezTo>
                <a:lnTo>
                  <a:pt x="6226084" y="3766481"/>
                </a:lnTo>
                <a:cubicBezTo>
                  <a:pt x="6215186" y="3755583"/>
                  <a:pt x="6201048" y="3750135"/>
                  <a:pt x="6186909" y="3750135"/>
                </a:cubicBezTo>
                <a:lnTo>
                  <a:pt x="6186779" y="3750004"/>
                </a:lnTo>
                <a:cubicBezTo>
                  <a:pt x="6172511" y="3750004"/>
                  <a:pt x="6158370" y="3755453"/>
                  <a:pt x="6147474" y="3766481"/>
                </a:cubicBezTo>
                <a:lnTo>
                  <a:pt x="6083006" y="3831082"/>
                </a:lnTo>
                <a:lnTo>
                  <a:pt x="6018412" y="3766349"/>
                </a:lnTo>
                <a:cubicBezTo>
                  <a:pt x="6007516" y="3755453"/>
                  <a:pt x="5993378" y="3750004"/>
                  <a:pt x="5979110" y="3750004"/>
                </a:cubicBezTo>
                <a:close/>
                <a:moveTo>
                  <a:pt x="3925342" y="3750002"/>
                </a:moveTo>
                <a:cubicBezTo>
                  <a:pt x="3911076" y="3750002"/>
                  <a:pt x="3896934" y="3755449"/>
                  <a:pt x="3886165" y="3766347"/>
                </a:cubicBezTo>
                <a:lnTo>
                  <a:pt x="3807684" y="3845087"/>
                </a:lnTo>
                <a:cubicBezTo>
                  <a:pt x="3786020" y="3866750"/>
                  <a:pt x="3786020" y="3902035"/>
                  <a:pt x="3807684" y="3923699"/>
                </a:cubicBezTo>
                <a:lnTo>
                  <a:pt x="4029246" y="4145781"/>
                </a:lnTo>
                <a:lnTo>
                  <a:pt x="4250768" y="3923699"/>
                </a:lnTo>
                <a:cubicBezTo>
                  <a:pt x="4272427" y="3902035"/>
                  <a:pt x="4272427" y="3866750"/>
                  <a:pt x="4250768" y="3845087"/>
                </a:cubicBezTo>
                <a:lnTo>
                  <a:pt x="4172330" y="3766475"/>
                </a:lnTo>
                <a:cubicBezTo>
                  <a:pt x="4161433" y="3755579"/>
                  <a:pt x="4147293" y="3750131"/>
                  <a:pt x="4133156" y="3750131"/>
                </a:cubicBezTo>
                <a:lnTo>
                  <a:pt x="4133025" y="3750002"/>
                </a:lnTo>
                <a:cubicBezTo>
                  <a:pt x="4118756" y="3750002"/>
                  <a:pt x="4104615" y="3755449"/>
                  <a:pt x="4093719" y="3766475"/>
                </a:cubicBezTo>
                <a:lnTo>
                  <a:pt x="4029246" y="3831078"/>
                </a:lnTo>
                <a:lnTo>
                  <a:pt x="3964648" y="3766347"/>
                </a:lnTo>
                <a:cubicBezTo>
                  <a:pt x="3953751" y="3755449"/>
                  <a:pt x="3939611" y="3750002"/>
                  <a:pt x="3925342" y="3750002"/>
                </a:cubicBezTo>
                <a:close/>
                <a:moveTo>
                  <a:pt x="1871369" y="3749999"/>
                </a:moveTo>
                <a:cubicBezTo>
                  <a:pt x="1857102" y="3749999"/>
                  <a:pt x="1842962" y="3755447"/>
                  <a:pt x="1832195" y="3766344"/>
                </a:cubicBezTo>
                <a:lnTo>
                  <a:pt x="1753717" y="3845084"/>
                </a:lnTo>
                <a:cubicBezTo>
                  <a:pt x="1732055" y="3866748"/>
                  <a:pt x="1732055" y="3902033"/>
                  <a:pt x="1753717" y="3923696"/>
                </a:cubicBezTo>
                <a:lnTo>
                  <a:pt x="1975274" y="4145780"/>
                </a:lnTo>
                <a:lnTo>
                  <a:pt x="2196839" y="3923696"/>
                </a:lnTo>
                <a:cubicBezTo>
                  <a:pt x="2218501" y="3902033"/>
                  <a:pt x="2218501" y="3866748"/>
                  <a:pt x="2196839" y="3845084"/>
                </a:cubicBezTo>
                <a:lnTo>
                  <a:pt x="2118360" y="3766474"/>
                </a:lnTo>
                <a:cubicBezTo>
                  <a:pt x="2107463" y="3755579"/>
                  <a:pt x="2093316" y="3750128"/>
                  <a:pt x="2079177" y="3750128"/>
                </a:cubicBezTo>
                <a:lnTo>
                  <a:pt x="2079047" y="3749999"/>
                </a:lnTo>
                <a:cubicBezTo>
                  <a:pt x="2064779" y="3749999"/>
                  <a:pt x="2050639" y="3755447"/>
                  <a:pt x="2039743" y="3766474"/>
                </a:cubicBezTo>
                <a:lnTo>
                  <a:pt x="1975274" y="3831075"/>
                </a:lnTo>
                <a:lnTo>
                  <a:pt x="1910674" y="3766344"/>
                </a:lnTo>
                <a:cubicBezTo>
                  <a:pt x="1899776" y="3755447"/>
                  <a:pt x="1885638" y="3749999"/>
                  <a:pt x="1871369" y="3749999"/>
                </a:cubicBezTo>
                <a:close/>
                <a:moveTo>
                  <a:pt x="0" y="3579814"/>
                </a:moveTo>
                <a:lnTo>
                  <a:pt x="255063" y="3727423"/>
                </a:lnTo>
                <a:lnTo>
                  <a:pt x="255063" y="4113605"/>
                </a:lnTo>
                <a:lnTo>
                  <a:pt x="0" y="4261215"/>
                </a:lnTo>
                <a:lnTo>
                  <a:pt x="0" y="4067025"/>
                </a:lnTo>
                <a:lnTo>
                  <a:pt x="142991" y="3923694"/>
                </a:lnTo>
                <a:cubicBezTo>
                  <a:pt x="164653" y="3902030"/>
                  <a:pt x="164653" y="3866745"/>
                  <a:pt x="142991" y="3845081"/>
                </a:cubicBezTo>
                <a:lnTo>
                  <a:pt x="64510" y="3766470"/>
                </a:lnTo>
                <a:cubicBezTo>
                  <a:pt x="53614" y="3755574"/>
                  <a:pt x="39476" y="3750125"/>
                  <a:pt x="25335" y="3750125"/>
                </a:cubicBezTo>
                <a:lnTo>
                  <a:pt x="25207" y="3749995"/>
                </a:lnTo>
                <a:cubicBezTo>
                  <a:pt x="18073" y="3749995"/>
                  <a:pt x="10971" y="3751358"/>
                  <a:pt x="4290" y="3754099"/>
                </a:cubicBezTo>
                <a:lnTo>
                  <a:pt x="0" y="3756985"/>
                </a:lnTo>
                <a:close/>
                <a:moveTo>
                  <a:pt x="12188651" y="3566587"/>
                </a:moveTo>
                <a:lnTo>
                  <a:pt x="12188651" y="3775035"/>
                </a:lnTo>
                <a:lnTo>
                  <a:pt x="12179990" y="3766359"/>
                </a:lnTo>
                <a:cubicBezTo>
                  <a:pt x="12169092" y="3755462"/>
                  <a:pt x="12154954" y="3750016"/>
                  <a:pt x="12140685" y="3750016"/>
                </a:cubicBezTo>
                <a:cubicBezTo>
                  <a:pt x="12126416" y="3750016"/>
                  <a:pt x="12112276" y="3755462"/>
                  <a:pt x="12101510" y="3766359"/>
                </a:cubicBezTo>
                <a:lnTo>
                  <a:pt x="12023031" y="3845097"/>
                </a:lnTo>
                <a:cubicBezTo>
                  <a:pt x="12001368" y="3866762"/>
                  <a:pt x="12001368" y="3902046"/>
                  <a:pt x="12023031" y="3923710"/>
                </a:cubicBezTo>
                <a:lnTo>
                  <a:pt x="12188651" y="4089721"/>
                </a:lnTo>
                <a:lnTo>
                  <a:pt x="12188651" y="4274463"/>
                </a:lnTo>
                <a:lnTo>
                  <a:pt x="11910696" y="4113620"/>
                </a:lnTo>
                <a:lnTo>
                  <a:pt x="11910696" y="3727442"/>
                </a:lnTo>
                <a:close/>
                <a:moveTo>
                  <a:pt x="10883981" y="3539477"/>
                </a:moveTo>
                <a:lnTo>
                  <a:pt x="11209441" y="3727831"/>
                </a:lnTo>
                <a:lnTo>
                  <a:pt x="11209441" y="4104668"/>
                </a:lnTo>
                <a:lnTo>
                  <a:pt x="10883981" y="3916314"/>
                </a:lnTo>
                <a:close/>
                <a:moveTo>
                  <a:pt x="10867636" y="3539477"/>
                </a:moveTo>
                <a:lnTo>
                  <a:pt x="10867636" y="3916314"/>
                </a:lnTo>
                <a:lnTo>
                  <a:pt x="10542045" y="4104668"/>
                </a:lnTo>
                <a:lnTo>
                  <a:pt x="10542045" y="3727833"/>
                </a:lnTo>
                <a:close/>
                <a:moveTo>
                  <a:pt x="8830033" y="3539477"/>
                </a:moveTo>
                <a:lnTo>
                  <a:pt x="9155493" y="3727828"/>
                </a:lnTo>
                <a:lnTo>
                  <a:pt x="9155493" y="4104664"/>
                </a:lnTo>
                <a:lnTo>
                  <a:pt x="8830033" y="3916306"/>
                </a:lnTo>
                <a:close/>
                <a:moveTo>
                  <a:pt x="8813688" y="3539477"/>
                </a:moveTo>
                <a:lnTo>
                  <a:pt x="8813688" y="3916308"/>
                </a:lnTo>
                <a:lnTo>
                  <a:pt x="8488098" y="4104664"/>
                </a:lnTo>
                <a:lnTo>
                  <a:pt x="8488098" y="3727827"/>
                </a:lnTo>
                <a:close/>
                <a:moveTo>
                  <a:pt x="2652143" y="3539477"/>
                </a:moveTo>
                <a:lnTo>
                  <a:pt x="2652143" y="3916302"/>
                </a:lnTo>
                <a:lnTo>
                  <a:pt x="2326584" y="4104641"/>
                </a:lnTo>
                <a:lnTo>
                  <a:pt x="2326584" y="3727818"/>
                </a:lnTo>
                <a:close/>
                <a:moveTo>
                  <a:pt x="2668516" y="3539475"/>
                </a:moveTo>
                <a:lnTo>
                  <a:pt x="2993952" y="3727816"/>
                </a:lnTo>
                <a:lnTo>
                  <a:pt x="2993952" y="4104644"/>
                </a:lnTo>
                <a:lnTo>
                  <a:pt x="2668516" y="3916304"/>
                </a:lnTo>
                <a:close/>
                <a:moveTo>
                  <a:pt x="598168" y="3539475"/>
                </a:moveTo>
                <a:lnTo>
                  <a:pt x="598168" y="3916299"/>
                </a:lnTo>
                <a:lnTo>
                  <a:pt x="272605" y="4104641"/>
                </a:lnTo>
                <a:lnTo>
                  <a:pt x="272605" y="3727815"/>
                </a:lnTo>
                <a:close/>
                <a:moveTo>
                  <a:pt x="614540" y="3539473"/>
                </a:moveTo>
                <a:lnTo>
                  <a:pt x="939973" y="3727812"/>
                </a:lnTo>
                <a:lnTo>
                  <a:pt x="939973" y="4104643"/>
                </a:lnTo>
                <a:lnTo>
                  <a:pt x="614540" y="3916301"/>
                </a:lnTo>
                <a:close/>
                <a:moveTo>
                  <a:pt x="6776215" y="3539471"/>
                </a:moveTo>
                <a:lnTo>
                  <a:pt x="7101677" y="3727826"/>
                </a:lnTo>
                <a:lnTo>
                  <a:pt x="7101677" y="4104661"/>
                </a:lnTo>
                <a:lnTo>
                  <a:pt x="6776215" y="3916305"/>
                </a:lnTo>
                <a:close/>
                <a:moveTo>
                  <a:pt x="6759871" y="3539471"/>
                </a:moveTo>
                <a:lnTo>
                  <a:pt x="6759871" y="3916305"/>
                </a:lnTo>
                <a:lnTo>
                  <a:pt x="6434280" y="4104661"/>
                </a:lnTo>
                <a:lnTo>
                  <a:pt x="6434280" y="3727826"/>
                </a:lnTo>
                <a:close/>
                <a:moveTo>
                  <a:pt x="4722303" y="3539471"/>
                </a:moveTo>
                <a:lnTo>
                  <a:pt x="5047768" y="3727818"/>
                </a:lnTo>
                <a:lnTo>
                  <a:pt x="5047768" y="4104649"/>
                </a:lnTo>
                <a:lnTo>
                  <a:pt x="4722303" y="3916305"/>
                </a:lnTo>
                <a:close/>
                <a:moveTo>
                  <a:pt x="4705942" y="3539471"/>
                </a:moveTo>
                <a:lnTo>
                  <a:pt x="4705942" y="3916304"/>
                </a:lnTo>
                <a:lnTo>
                  <a:pt x="4380369" y="4104654"/>
                </a:lnTo>
                <a:lnTo>
                  <a:pt x="4380369" y="3727821"/>
                </a:lnTo>
                <a:close/>
                <a:moveTo>
                  <a:pt x="11559549" y="3534681"/>
                </a:moveTo>
                <a:lnTo>
                  <a:pt x="11893312" y="3727831"/>
                </a:lnTo>
                <a:lnTo>
                  <a:pt x="11893312" y="4114138"/>
                </a:lnTo>
                <a:lnTo>
                  <a:pt x="11559679" y="4307278"/>
                </a:lnTo>
                <a:lnTo>
                  <a:pt x="11486870" y="4265143"/>
                </a:lnTo>
                <a:lnTo>
                  <a:pt x="11225916" y="4114138"/>
                </a:lnTo>
                <a:lnTo>
                  <a:pt x="11225916" y="3727833"/>
                </a:lnTo>
                <a:close/>
                <a:moveTo>
                  <a:pt x="9505601" y="3534677"/>
                </a:moveTo>
                <a:lnTo>
                  <a:pt x="9839364" y="3727828"/>
                </a:lnTo>
                <a:lnTo>
                  <a:pt x="9839364" y="4114135"/>
                </a:lnTo>
                <a:lnTo>
                  <a:pt x="9578839" y="4264954"/>
                </a:lnTo>
                <a:lnTo>
                  <a:pt x="9505732" y="4307278"/>
                </a:lnTo>
                <a:lnTo>
                  <a:pt x="9171969" y="4114135"/>
                </a:lnTo>
                <a:lnTo>
                  <a:pt x="9171969" y="3727827"/>
                </a:lnTo>
                <a:close/>
                <a:moveTo>
                  <a:pt x="7451785" y="3534670"/>
                </a:moveTo>
                <a:lnTo>
                  <a:pt x="7785548" y="3727826"/>
                </a:lnTo>
                <a:lnTo>
                  <a:pt x="7785548" y="4114131"/>
                </a:lnTo>
                <a:lnTo>
                  <a:pt x="7451915" y="4307279"/>
                </a:lnTo>
                <a:lnTo>
                  <a:pt x="7118150" y="4114131"/>
                </a:lnTo>
                <a:lnTo>
                  <a:pt x="7118150" y="3727826"/>
                </a:lnTo>
                <a:close/>
                <a:moveTo>
                  <a:pt x="5397881" y="3534670"/>
                </a:moveTo>
                <a:lnTo>
                  <a:pt x="5731616" y="3727818"/>
                </a:lnTo>
                <a:lnTo>
                  <a:pt x="5731616" y="4114128"/>
                </a:lnTo>
                <a:lnTo>
                  <a:pt x="5597792" y="4191609"/>
                </a:lnTo>
                <a:lnTo>
                  <a:pt x="5398006" y="4307274"/>
                </a:lnTo>
                <a:lnTo>
                  <a:pt x="5064269" y="4114131"/>
                </a:lnTo>
                <a:lnTo>
                  <a:pt x="5064269" y="3727821"/>
                </a:lnTo>
                <a:close/>
                <a:moveTo>
                  <a:pt x="3344073" y="3534670"/>
                </a:moveTo>
                <a:lnTo>
                  <a:pt x="3677818" y="3727816"/>
                </a:lnTo>
                <a:lnTo>
                  <a:pt x="3677818" y="4114128"/>
                </a:lnTo>
                <a:lnTo>
                  <a:pt x="3344203" y="4307271"/>
                </a:lnTo>
                <a:lnTo>
                  <a:pt x="3010455" y="4114128"/>
                </a:lnTo>
                <a:lnTo>
                  <a:pt x="3010455" y="3727818"/>
                </a:lnTo>
                <a:close/>
                <a:moveTo>
                  <a:pt x="1290097" y="3534667"/>
                </a:moveTo>
                <a:lnTo>
                  <a:pt x="1623844" y="3727812"/>
                </a:lnTo>
                <a:lnTo>
                  <a:pt x="1623844" y="4114126"/>
                </a:lnTo>
                <a:lnTo>
                  <a:pt x="1290224" y="4307272"/>
                </a:lnTo>
                <a:lnTo>
                  <a:pt x="956474" y="4114128"/>
                </a:lnTo>
                <a:lnTo>
                  <a:pt x="956474" y="3727815"/>
                </a:lnTo>
                <a:close/>
                <a:moveTo>
                  <a:pt x="10190640" y="3534287"/>
                </a:moveTo>
                <a:lnTo>
                  <a:pt x="10524404" y="3727441"/>
                </a:lnTo>
                <a:lnTo>
                  <a:pt x="10524404" y="4113620"/>
                </a:lnTo>
                <a:lnTo>
                  <a:pt x="10190640" y="4306761"/>
                </a:lnTo>
                <a:lnTo>
                  <a:pt x="9856876" y="4113620"/>
                </a:lnTo>
                <a:lnTo>
                  <a:pt x="9856876" y="3727441"/>
                </a:lnTo>
                <a:close/>
                <a:moveTo>
                  <a:pt x="8136693" y="3534283"/>
                </a:moveTo>
                <a:lnTo>
                  <a:pt x="8470456" y="3727435"/>
                </a:lnTo>
                <a:lnTo>
                  <a:pt x="8470456" y="4113615"/>
                </a:lnTo>
                <a:lnTo>
                  <a:pt x="8136693" y="4306761"/>
                </a:lnTo>
                <a:lnTo>
                  <a:pt x="7802930" y="4113615"/>
                </a:lnTo>
                <a:lnTo>
                  <a:pt x="7802930" y="3727435"/>
                </a:lnTo>
                <a:close/>
                <a:moveTo>
                  <a:pt x="6082876" y="3534281"/>
                </a:moveTo>
                <a:lnTo>
                  <a:pt x="6416638" y="3727432"/>
                </a:lnTo>
                <a:lnTo>
                  <a:pt x="6416638" y="4113613"/>
                </a:lnTo>
                <a:lnTo>
                  <a:pt x="6082876" y="4306761"/>
                </a:lnTo>
                <a:lnTo>
                  <a:pt x="5749138" y="4113613"/>
                </a:lnTo>
                <a:lnTo>
                  <a:pt x="5749138" y="3727432"/>
                </a:lnTo>
                <a:close/>
                <a:moveTo>
                  <a:pt x="4029115" y="3534279"/>
                </a:moveTo>
                <a:lnTo>
                  <a:pt x="4362838" y="3727431"/>
                </a:lnTo>
                <a:lnTo>
                  <a:pt x="4362838" y="4113612"/>
                </a:lnTo>
                <a:lnTo>
                  <a:pt x="4029115" y="4306759"/>
                </a:lnTo>
                <a:lnTo>
                  <a:pt x="3695360" y="4113612"/>
                </a:lnTo>
                <a:lnTo>
                  <a:pt x="3695360" y="3727431"/>
                </a:lnTo>
                <a:close/>
                <a:moveTo>
                  <a:pt x="1975142" y="3534274"/>
                </a:moveTo>
                <a:lnTo>
                  <a:pt x="2308909" y="3727426"/>
                </a:lnTo>
                <a:lnTo>
                  <a:pt x="2308909" y="4113608"/>
                </a:lnTo>
                <a:lnTo>
                  <a:pt x="1975142" y="4306759"/>
                </a:lnTo>
                <a:lnTo>
                  <a:pt x="1641383" y="4113608"/>
                </a:lnTo>
                <a:lnTo>
                  <a:pt x="1641383" y="3727426"/>
                </a:lnTo>
                <a:close/>
                <a:moveTo>
                  <a:pt x="11902654" y="3336497"/>
                </a:moveTo>
                <a:lnTo>
                  <a:pt x="12182429" y="3498382"/>
                </a:lnTo>
                <a:lnTo>
                  <a:pt x="12188651" y="3501984"/>
                </a:lnTo>
                <a:lnTo>
                  <a:pt x="12188651" y="3547650"/>
                </a:lnTo>
                <a:lnTo>
                  <a:pt x="11902524" y="3713173"/>
                </a:lnTo>
                <a:lnTo>
                  <a:pt x="11577061" y="3524820"/>
                </a:lnTo>
                <a:close/>
                <a:moveTo>
                  <a:pt x="9848833" y="3336489"/>
                </a:moveTo>
                <a:lnTo>
                  <a:pt x="10174296" y="3524818"/>
                </a:lnTo>
                <a:lnTo>
                  <a:pt x="9848703" y="3713171"/>
                </a:lnTo>
                <a:lnTo>
                  <a:pt x="9523242" y="3524818"/>
                </a:lnTo>
                <a:close/>
                <a:moveTo>
                  <a:pt x="7794888" y="3336477"/>
                </a:moveTo>
                <a:lnTo>
                  <a:pt x="8120348" y="3524813"/>
                </a:lnTo>
                <a:lnTo>
                  <a:pt x="7794758" y="3713167"/>
                </a:lnTo>
                <a:lnTo>
                  <a:pt x="7469297" y="3524813"/>
                </a:lnTo>
                <a:close/>
                <a:moveTo>
                  <a:pt x="5741092" y="3336470"/>
                </a:moveTo>
                <a:lnTo>
                  <a:pt x="6066533" y="3524807"/>
                </a:lnTo>
                <a:lnTo>
                  <a:pt x="5740963" y="3713162"/>
                </a:lnTo>
                <a:lnTo>
                  <a:pt x="5415520" y="3524807"/>
                </a:lnTo>
                <a:close/>
                <a:moveTo>
                  <a:pt x="3687317" y="3336464"/>
                </a:moveTo>
                <a:lnTo>
                  <a:pt x="4012771" y="3524805"/>
                </a:lnTo>
                <a:lnTo>
                  <a:pt x="3687184" y="3713158"/>
                </a:lnTo>
                <a:lnTo>
                  <a:pt x="3361732" y="3524805"/>
                </a:lnTo>
                <a:close/>
                <a:moveTo>
                  <a:pt x="1633340" y="3336454"/>
                </a:moveTo>
                <a:lnTo>
                  <a:pt x="1958796" y="3524804"/>
                </a:lnTo>
                <a:lnTo>
                  <a:pt x="1633208" y="3713156"/>
                </a:lnTo>
                <a:lnTo>
                  <a:pt x="1307751" y="3524804"/>
                </a:lnTo>
                <a:close/>
                <a:moveTo>
                  <a:pt x="11113840" y="3172539"/>
                </a:moveTo>
                <a:cubicBezTo>
                  <a:pt x="11124348" y="3172539"/>
                  <a:pt x="11134206" y="3176691"/>
                  <a:pt x="11141600" y="3184087"/>
                </a:cubicBezTo>
                <a:lnTo>
                  <a:pt x="11206199" y="3248805"/>
                </a:lnTo>
                <a:lnTo>
                  <a:pt x="11217744" y="3260492"/>
                </a:lnTo>
                <a:lnTo>
                  <a:pt x="11229289" y="3248805"/>
                </a:lnTo>
                <a:lnTo>
                  <a:pt x="11293758" y="3184087"/>
                </a:lnTo>
                <a:cubicBezTo>
                  <a:pt x="11301152" y="3176564"/>
                  <a:pt x="11311011" y="3172539"/>
                  <a:pt x="11321517" y="3172539"/>
                </a:cubicBezTo>
                <a:cubicBezTo>
                  <a:pt x="11331896" y="3172539"/>
                  <a:pt x="11341755" y="3176691"/>
                  <a:pt x="11349147" y="3184087"/>
                </a:cubicBezTo>
                <a:lnTo>
                  <a:pt x="11427627" y="3262689"/>
                </a:lnTo>
                <a:lnTo>
                  <a:pt x="11439170" y="3290444"/>
                </a:lnTo>
                <a:lnTo>
                  <a:pt x="11427757" y="3318199"/>
                </a:lnTo>
                <a:lnTo>
                  <a:pt x="11217744" y="3528579"/>
                </a:lnTo>
                <a:lnTo>
                  <a:pt x="11007731" y="3318199"/>
                </a:lnTo>
                <a:lnTo>
                  <a:pt x="10996253" y="3290463"/>
                </a:lnTo>
                <a:lnTo>
                  <a:pt x="11007731" y="3262819"/>
                </a:lnTo>
                <a:lnTo>
                  <a:pt x="11086210" y="3184087"/>
                </a:lnTo>
                <a:cubicBezTo>
                  <a:pt x="11093605" y="3176691"/>
                  <a:pt x="11103333" y="3172539"/>
                  <a:pt x="11113840" y="3172539"/>
                </a:cubicBezTo>
                <a:close/>
                <a:moveTo>
                  <a:pt x="9059892" y="3172530"/>
                </a:moveTo>
                <a:cubicBezTo>
                  <a:pt x="9070398" y="3172530"/>
                  <a:pt x="9080257" y="3176675"/>
                  <a:pt x="9087652" y="3184077"/>
                </a:cubicBezTo>
                <a:lnTo>
                  <a:pt x="9152251" y="3248800"/>
                </a:lnTo>
                <a:lnTo>
                  <a:pt x="9163796" y="3260473"/>
                </a:lnTo>
                <a:lnTo>
                  <a:pt x="9175341" y="3248800"/>
                </a:lnTo>
                <a:lnTo>
                  <a:pt x="9239810" y="3184077"/>
                </a:lnTo>
                <a:cubicBezTo>
                  <a:pt x="9247204" y="3176551"/>
                  <a:pt x="9257062" y="3172530"/>
                  <a:pt x="9267570" y="3172530"/>
                </a:cubicBezTo>
                <a:cubicBezTo>
                  <a:pt x="9277946" y="3172530"/>
                  <a:pt x="9287805" y="3176675"/>
                  <a:pt x="9295200" y="3184077"/>
                </a:cubicBezTo>
                <a:lnTo>
                  <a:pt x="9373678" y="3262679"/>
                </a:lnTo>
                <a:lnTo>
                  <a:pt x="9385222" y="3290436"/>
                </a:lnTo>
                <a:lnTo>
                  <a:pt x="9373809" y="3318189"/>
                </a:lnTo>
                <a:lnTo>
                  <a:pt x="9163797" y="3528578"/>
                </a:lnTo>
                <a:lnTo>
                  <a:pt x="8953784" y="3318189"/>
                </a:lnTo>
                <a:lnTo>
                  <a:pt x="8942306" y="3290451"/>
                </a:lnTo>
                <a:lnTo>
                  <a:pt x="8953783" y="3262809"/>
                </a:lnTo>
                <a:lnTo>
                  <a:pt x="9032263" y="3184077"/>
                </a:lnTo>
                <a:cubicBezTo>
                  <a:pt x="9039655" y="3176675"/>
                  <a:pt x="9049385" y="3172530"/>
                  <a:pt x="9059892" y="3172530"/>
                </a:cubicBezTo>
                <a:close/>
                <a:moveTo>
                  <a:pt x="7006076" y="3172517"/>
                </a:moveTo>
                <a:cubicBezTo>
                  <a:pt x="7016582" y="3172517"/>
                  <a:pt x="7026440" y="3176668"/>
                  <a:pt x="7033834" y="3184064"/>
                </a:cubicBezTo>
                <a:lnTo>
                  <a:pt x="7098434" y="3248792"/>
                </a:lnTo>
                <a:lnTo>
                  <a:pt x="7109978" y="3260467"/>
                </a:lnTo>
                <a:lnTo>
                  <a:pt x="7121523" y="3248792"/>
                </a:lnTo>
                <a:lnTo>
                  <a:pt x="7185994" y="3184064"/>
                </a:lnTo>
                <a:cubicBezTo>
                  <a:pt x="7193387" y="3176541"/>
                  <a:pt x="7203245" y="3172517"/>
                  <a:pt x="7213751" y="3172517"/>
                </a:cubicBezTo>
                <a:cubicBezTo>
                  <a:pt x="7224130" y="3172517"/>
                  <a:pt x="7233989" y="3176668"/>
                  <a:pt x="7241381" y="3184064"/>
                </a:cubicBezTo>
                <a:lnTo>
                  <a:pt x="7319862" y="3262673"/>
                </a:lnTo>
                <a:lnTo>
                  <a:pt x="7331405" y="3290428"/>
                </a:lnTo>
                <a:lnTo>
                  <a:pt x="7319992" y="3318178"/>
                </a:lnTo>
                <a:lnTo>
                  <a:pt x="7109978" y="3528572"/>
                </a:lnTo>
                <a:lnTo>
                  <a:pt x="6899966" y="3318178"/>
                </a:lnTo>
                <a:lnTo>
                  <a:pt x="6888487" y="3290444"/>
                </a:lnTo>
                <a:lnTo>
                  <a:pt x="6899966" y="3262798"/>
                </a:lnTo>
                <a:lnTo>
                  <a:pt x="6978446" y="3184064"/>
                </a:lnTo>
                <a:cubicBezTo>
                  <a:pt x="6985839" y="3176668"/>
                  <a:pt x="6995568" y="3172517"/>
                  <a:pt x="7006076" y="3172517"/>
                </a:cubicBezTo>
                <a:close/>
                <a:moveTo>
                  <a:pt x="4952157" y="3172509"/>
                </a:moveTo>
                <a:lnTo>
                  <a:pt x="4979924" y="3184048"/>
                </a:lnTo>
                <a:lnTo>
                  <a:pt x="5044521" y="3248772"/>
                </a:lnTo>
                <a:lnTo>
                  <a:pt x="5056083" y="3260446"/>
                </a:lnTo>
                <a:lnTo>
                  <a:pt x="5056083" y="3260442"/>
                </a:lnTo>
                <a:lnTo>
                  <a:pt x="5056087" y="3260455"/>
                </a:lnTo>
                <a:lnTo>
                  <a:pt x="5067642" y="3248781"/>
                </a:lnTo>
                <a:lnTo>
                  <a:pt x="5132091" y="3184051"/>
                </a:lnTo>
                <a:cubicBezTo>
                  <a:pt x="5139483" y="3176531"/>
                  <a:pt x="5149330" y="3172509"/>
                  <a:pt x="5159840" y="3172509"/>
                </a:cubicBezTo>
                <a:lnTo>
                  <a:pt x="5187473" y="3184048"/>
                </a:lnTo>
                <a:lnTo>
                  <a:pt x="5265932" y="3262652"/>
                </a:lnTo>
                <a:cubicBezTo>
                  <a:pt x="5273339" y="3270045"/>
                  <a:pt x="5277344" y="3279904"/>
                  <a:pt x="5277479" y="3290410"/>
                </a:cubicBezTo>
                <a:cubicBezTo>
                  <a:pt x="5277479" y="3300919"/>
                  <a:pt x="5273469" y="3310778"/>
                  <a:pt x="5266071" y="3318172"/>
                </a:cubicBezTo>
                <a:lnTo>
                  <a:pt x="5056083" y="3528560"/>
                </a:lnTo>
                <a:lnTo>
                  <a:pt x="4855197" y="3327353"/>
                </a:lnTo>
                <a:lnTo>
                  <a:pt x="4846044" y="3318176"/>
                </a:lnTo>
                <a:lnTo>
                  <a:pt x="4834566" y="3290436"/>
                </a:lnTo>
                <a:cubicBezTo>
                  <a:pt x="4834566" y="3280402"/>
                  <a:pt x="4838398" y="3270380"/>
                  <a:pt x="4846044" y="3262790"/>
                </a:cubicBezTo>
                <a:lnTo>
                  <a:pt x="4924518" y="3184051"/>
                </a:lnTo>
                <a:cubicBezTo>
                  <a:pt x="4931913" y="3176664"/>
                  <a:pt x="4941650" y="3172509"/>
                  <a:pt x="4952157" y="3172509"/>
                </a:cubicBezTo>
                <a:close/>
                <a:moveTo>
                  <a:pt x="2898373" y="3172493"/>
                </a:moveTo>
                <a:lnTo>
                  <a:pt x="2914891" y="3179366"/>
                </a:lnTo>
                <a:lnTo>
                  <a:pt x="2926113" y="3184033"/>
                </a:lnTo>
                <a:lnTo>
                  <a:pt x="2990711" y="3248759"/>
                </a:lnTo>
                <a:lnTo>
                  <a:pt x="3002256" y="3260436"/>
                </a:lnTo>
                <a:lnTo>
                  <a:pt x="3002263" y="3260428"/>
                </a:lnTo>
                <a:lnTo>
                  <a:pt x="3002278" y="3260446"/>
                </a:lnTo>
                <a:lnTo>
                  <a:pt x="3013824" y="3248772"/>
                </a:lnTo>
                <a:lnTo>
                  <a:pt x="3078289" y="3184044"/>
                </a:lnTo>
                <a:lnTo>
                  <a:pt x="3106051" y="3172493"/>
                </a:lnTo>
                <a:lnTo>
                  <a:pt x="3119341" y="3178052"/>
                </a:lnTo>
                <a:lnTo>
                  <a:pt x="3133663" y="3184033"/>
                </a:lnTo>
                <a:lnTo>
                  <a:pt x="3212138" y="3262641"/>
                </a:lnTo>
                <a:cubicBezTo>
                  <a:pt x="3219533" y="3270034"/>
                  <a:pt x="3223554" y="3279898"/>
                  <a:pt x="3223683" y="3290403"/>
                </a:cubicBezTo>
                <a:cubicBezTo>
                  <a:pt x="3223683" y="3300910"/>
                  <a:pt x="3219662" y="3310767"/>
                  <a:pt x="3212269" y="3318161"/>
                </a:cubicBezTo>
                <a:lnTo>
                  <a:pt x="3002266" y="3528555"/>
                </a:lnTo>
                <a:lnTo>
                  <a:pt x="2792268" y="3318172"/>
                </a:lnTo>
                <a:cubicBezTo>
                  <a:pt x="2776958" y="3302864"/>
                  <a:pt x="2776958" y="3277957"/>
                  <a:pt x="2792268" y="3262780"/>
                </a:cubicBezTo>
                <a:lnTo>
                  <a:pt x="2870745" y="3184044"/>
                </a:lnTo>
                <a:close/>
                <a:moveTo>
                  <a:pt x="844397" y="3172485"/>
                </a:moveTo>
                <a:lnTo>
                  <a:pt x="872137" y="3184024"/>
                </a:lnTo>
                <a:lnTo>
                  <a:pt x="936732" y="3248751"/>
                </a:lnTo>
                <a:lnTo>
                  <a:pt x="948278" y="3260428"/>
                </a:lnTo>
                <a:lnTo>
                  <a:pt x="948285" y="3260419"/>
                </a:lnTo>
                <a:lnTo>
                  <a:pt x="948301" y="3260436"/>
                </a:lnTo>
                <a:lnTo>
                  <a:pt x="959846" y="3248759"/>
                </a:lnTo>
                <a:lnTo>
                  <a:pt x="1024315" y="3184033"/>
                </a:lnTo>
                <a:cubicBezTo>
                  <a:pt x="1031711" y="3176508"/>
                  <a:pt x="1041568" y="3172485"/>
                  <a:pt x="1052075" y="3172485"/>
                </a:cubicBezTo>
                <a:lnTo>
                  <a:pt x="1079685" y="3184025"/>
                </a:lnTo>
                <a:lnTo>
                  <a:pt x="1158160" y="3262631"/>
                </a:lnTo>
                <a:cubicBezTo>
                  <a:pt x="1165555" y="3270025"/>
                  <a:pt x="1169576" y="3279886"/>
                  <a:pt x="1169705" y="3290391"/>
                </a:cubicBezTo>
                <a:cubicBezTo>
                  <a:pt x="1169705" y="3300901"/>
                  <a:pt x="1165685" y="3310758"/>
                  <a:pt x="1158290" y="3318153"/>
                </a:cubicBezTo>
                <a:lnTo>
                  <a:pt x="948288" y="3528552"/>
                </a:lnTo>
                <a:lnTo>
                  <a:pt x="738289" y="3318161"/>
                </a:lnTo>
                <a:cubicBezTo>
                  <a:pt x="722982" y="3302855"/>
                  <a:pt x="722982" y="3277949"/>
                  <a:pt x="738289" y="3262772"/>
                </a:cubicBezTo>
                <a:lnTo>
                  <a:pt x="816766" y="3184033"/>
                </a:lnTo>
                <a:cubicBezTo>
                  <a:pt x="824162" y="3176637"/>
                  <a:pt x="833889" y="3172485"/>
                  <a:pt x="844397" y="3172485"/>
                </a:cubicBezTo>
                <a:close/>
                <a:moveTo>
                  <a:pt x="11113840" y="3156060"/>
                </a:moveTo>
                <a:cubicBezTo>
                  <a:pt x="11099571" y="3156060"/>
                  <a:pt x="11085432" y="3161497"/>
                  <a:pt x="11074665" y="3172394"/>
                </a:cubicBezTo>
                <a:lnTo>
                  <a:pt x="10996186" y="3251138"/>
                </a:lnTo>
                <a:cubicBezTo>
                  <a:pt x="10985355" y="3261969"/>
                  <a:pt x="10979939" y="3276205"/>
                  <a:pt x="10979939" y="3290444"/>
                </a:cubicBezTo>
                <a:lnTo>
                  <a:pt x="10979941" y="3290444"/>
                </a:lnTo>
                <a:lnTo>
                  <a:pt x="10979939" y="3290449"/>
                </a:lnTo>
                <a:cubicBezTo>
                  <a:pt x="10979939" y="3304690"/>
                  <a:pt x="10985355" y="3318921"/>
                  <a:pt x="10996186" y="3329751"/>
                </a:cubicBezTo>
                <a:lnTo>
                  <a:pt x="11217744" y="3551803"/>
                </a:lnTo>
                <a:lnTo>
                  <a:pt x="11439301" y="3329751"/>
                </a:lnTo>
                <a:cubicBezTo>
                  <a:pt x="11450132" y="3318921"/>
                  <a:pt x="11455548" y="3304690"/>
                  <a:pt x="11455548" y="3290449"/>
                </a:cubicBezTo>
                <a:lnTo>
                  <a:pt x="11455546" y="3290444"/>
                </a:lnTo>
                <a:lnTo>
                  <a:pt x="11455548" y="3290444"/>
                </a:lnTo>
                <a:cubicBezTo>
                  <a:pt x="11455548" y="3276205"/>
                  <a:pt x="11450132" y="3261969"/>
                  <a:pt x="11439301" y="3251138"/>
                </a:cubicBezTo>
                <a:lnTo>
                  <a:pt x="11360822" y="3172530"/>
                </a:lnTo>
                <a:cubicBezTo>
                  <a:pt x="11349927" y="3161632"/>
                  <a:pt x="11335787" y="3156189"/>
                  <a:pt x="11321647" y="3156189"/>
                </a:cubicBezTo>
                <a:lnTo>
                  <a:pt x="11321517" y="3156060"/>
                </a:lnTo>
                <a:cubicBezTo>
                  <a:pt x="11307249" y="3156060"/>
                  <a:pt x="11293110" y="3161497"/>
                  <a:pt x="11282213" y="3172530"/>
                </a:cubicBezTo>
                <a:lnTo>
                  <a:pt x="11217744" y="3237128"/>
                </a:lnTo>
                <a:lnTo>
                  <a:pt x="11153145" y="3172394"/>
                </a:lnTo>
                <a:cubicBezTo>
                  <a:pt x="11142248" y="3161497"/>
                  <a:pt x="11128108" y="3156060"/>
                  <a:pt x="11113840" y="3156060"/>
                </a:cubicBezTo>
                <a:close/>
                <a:moveTo>
                  <a:pt x="9059893" y="3156047"/>
                </a:moveTo>
                <a:cubicBezTo>
                  <a:pt x="9045624" y="3156047"/>
                  <a:pt x="9031484" y="3161489"/>
                  <a:pt x="9020718" y="3172391"/>
                </a:cubicBezTo>
                <a:lnTo>
                  <a:pt x="8942239" y="3251125"/>
                </a:lnTo>
                <a:cubicBezTo>
                  <a:pt x="8931408" y="3261956"/>
                  <a:pt x="8925992" y="3276194"/>
                  <a:pt x="8925992" y="3290430"/>
                </a:cubicBezTo>
                <a:lnTo>
                  <a:pt x="8925993" y="3290435"/>
                </a:lnTo>
                <a:lnTo>
                  <a:pt x="8925991" y="3290444"/>
                </a:lnTo>
                <a:cubicBezTo>
                  <a:pt x="8925991" y="3304677"/>
                  <a:pt x="8931406" y="3318916"/>
                  <a:pt x="8942238" y="3329746"/>
                </a:cubicBezTo>
                <a:lnTo>
                  <a:pt x="9163796" y="3551798"/>
                </a:lnTo>
                <a:lnTo>
                  <a:pt x="9385353" y="3329746"/>
                </a:lnTo>
                <a:cubicBezTo>
                  <a:pt x="9396184" y="3318916"/>
                  <a:pt x="9401600" y="3304677"/>
                  <a:pt x="9401600" y="3290444"/>
                </a:cubicBezTo>
                <a:lnTo>
                  <a:pt x="9401599" y="3290436"/>
                </a:lnTo>
                <a:lnTo>
                  <a:pt x="9401601" y="3290430"/>
                </a:lnTo>
                <a:cubicBezTo>
                  <a:pt x="9401601" y="3276194"/>
                  <a:pt x="9396186" y="3261956"/>
                  <a:pt x="9385354" y="3251125"/>
                </a:cubicBezTo>
                <a:lnTo>
                  <a:pt x="9306876" y="3172523"/>
                </a:lnTo>
                <a:cubicBezTo>
                  <a:pt x="9295978" y="3161619"/>
                  <a:pt x="9281840" y="3156175"/>
                  <a:pt x="9267701" y="3156175"/>
                </a:cubicBezTo>
                <a:lnTo>
                  <a:pt x="9267571" y="3156047"/>
                </a:lnTo>
                <a:cubicBezTo>
                  <a:pt x="9253303" y="3156047"/>
                  <a:pt x="9239162" y="3161489"/>
                  <a:pt x="9228266" y="3172523"/>
                </a:cubicBezTo>
                <a:lnTo>
                  <a:pt x="9163797" y="3237116"/>
                </a:lnTo>
                <a:lnTo>
                  <a:pt x="9099198" y="3172391"/>
                </a:lnTo>
                <a:cubicBezTo>
                  <a:pt x="9088300" y="3161489"/>
                  <a:pt x="9074162" y="3156047"/>
                  <a:pt x="9059893" y="3156047"/>
                </a:cubicBezTo>
                <a:close/>
                <a:moveTo>
                  <a:pt x="7006076" y="3156035"/>
                </a:moveTo>
                <a:cubicBezTo>
                  <a:pt x="6991805" y="3156035"/>
                  <a:pt x="6977666" y="3161479"/>
                  <a:pt x="6966901" y="3172384"/>
                </a:cubicBezTo>
                <a:lnTo>
                  <a:pt x="6888421" y="3251119"/>
                </a:lnTo>
                <a:cubicBezTo>
                  <a:pt x="6877589" y="3261948"/>
                  <a:pt x="6872174" y="3276185"/>
                  <a:pt x="6872174" y="3290423"/>
                </a:cubicBezTo>
                <a:lnTo>
                  <a:pt x="6872175" y="3290428"/>
                </a:lnTo>
                <a:lnTo>
                  <a:pt x="6872174" y="3290430"/>
                </a:lnTo>
                <a:cubicBezTo>
                  <a:pt x="6872174" y="3304668"/>
                  <a:pt x="6877589" y="3318903"/>
                  <a:pt x="6888421" y="3329734"/>
                </a:cubicBezTo>
                <a:lnTo>
                  <a:pt x="7109978" y="3551795"/>
                </a:lnTo>
                <a:lnTo>
                  <a:pt x="7331537" y="3329734"/>
                </a:lnTo>
                <a:cubicBezTo>
                  <a:pt x="7342368" y="3318903"/>
                  <a:pt x="7347783" y="3304668"/>
                  <a:pt x="7347783" y="3290430"/>
                </a:cubicBezTo>
                <a:lnTo>
                  <a:pt x="7347782" y="3290428"/>
                </a:lnTo>
                <a:lnTo>
                  <a:pt x="7347783" y="3290423"/>
                </a:lnTo>
                <a:cubicBezTo>
                  <a:pt x="7347783" y="3276185"/>
                  <a:pt x="7342368" y="3261948"/>
                  <a:pt x="7331537" y="3251119"/>
                </a:cubicBezTo>
                <a:lnTo>
                  <a:pt x="7253057" y="3172509"/>
                </a:lnTo>
                <a:cubicBezTo>
                  <a:pt x="7242161" y="3161610"/>
                  <a:pt x="7228022" y="3156164"/>
                  <a:pt x="7213882" y="3156164"/>
                </a:cubicBezTo>
                <a:lnTo>
                  <a:pt x="7213751" y="3156035"/>
                </a:lnTo>
                <a:cubicBezTo>
                  <a:pt x="7199483" y="3156035"/>
                  <a:pt x="7185345" y="3161479"/>
                  <a:pt x="7174449" y="3172509"/>
                </a:cubicBezTo>
                <a:lnTo>
                  <a:pt x="7109978" y="3237109"/>
                </a:lnTo>
                <a:lnTo>
                  <a:pt x="7045379" y="3172384"/>
                </a:lnTo>
                <a:cubicBezTo>
                  <a:pt x="7034483" y="3161479"/>
                  <a:pt x="7020344" y="3156035"/>
                  <a:pt x="7006076" y="3156035"/>
                </a:cubicBezTo>
                <a:close/>
                <a:moveTo>
                  <a:pt x="4952148" y="3156022"/>
                </a:moveTo>
                <a:cubicBezTo>
                  <a:pt x="4937875" y="3156022"/>
                  <a:pt x="4923734" y="3161471"/>
                  <a:pt x="4912971" y="3172369"/>
                </a:cubicBezTo>
                <a:lnTo>
                  <a:pt x="4834497" y="3251103"/>
                </a:lnTo>
                <a:cubicBezTo>
                  <a:pt x="4812828" y="3272770"/>
                  <a:pt x="4812828" y="3308054"/>
                  <a:pt x="4834497" y="3329715"/>
                </a:cubicBezTo>
                <a:lnTo>
                  <a:pt x="4834505" y="3329725"/>
                </a:lnTo>
                <a:lnTo>
                  <a:pt x="4843779" y="3339026"/>
                </a:lnTo>
                <a:lnTo>
                  <a:pt x="5056083" y="3551786"/>
                </a:lnTo>
                <a:lnTo>
                  <a:pt x="5056083" y="3551781"/>
                </a:lnTo>
                <a:lnTo>
                  <a:pt x="5056087" y="3551792"/>
                </a:lnTo>
                <a:lnTo>
                  <a:pt x="5277615" y="3329725"/>
                </a:lnTo>
                <a:cubicBezTo>
                  <a:pt x="5299295" y="3308065"/>
                  <a:pt x="5299295" y="3272779"/>
                  <a:pt x="5277615" y="3251119"/>
                </a:cubicBezTo>
                <a:lnTo>
                  <a:pt x="5277613" y="3251108"/>
                </a:lnTo>
                <a:lnTo>
                  <a:pt x="5277613" y="3251103"/>
                </a:lnTo>
                <a:lnTo>
                  <a:pt x="5199129" y="3172495"/>
                </a:lnTo>
                <a:cubicBezTo>
                  <a:pt x="5188240" y="3161597"/>
                  <a:pt x="5174090" y="3156152"/>
                  <a:pt x="5159958" y="3156152"/>
                </a:cubicBezTo>
                <a:lnTo>
                  <a:pt x="5159824" y="3156022"/>
                </a:lnTo>
                <a:cubicBezTo>
                  <a:pt x="5145561" y="3156022"/>
                  <a:pt x="5131424" y="3161471"/>
                  <a:pt x="5120536" y="3172495"/>
                </a:cubicBezTo>
                <a:lnTo>
                  <a:pt x="5056083" y="3237093"/>
                </a:lnTo>
                <a:lnTo>
                  <a:pt x="4991467" y="3172384"/>
                </a:lnTo>
                <a:lnTo>
                  <a:pt x="4991467" y="3172377"/>
                </a:lnTo>
                <a:lnTo>
                  <a:pt x="4991465" y="3172369"/>
                </a:lnTo>
                <a:cubicBezTo>
                  <a:pt x="4980565" y="3161471"/>
                  <a:pt x="4966420" y="3156022"/>
                  <a:pt x="4952148" y="3156022"/>
                </a:cubicBezTo>
                <a:close/>
                <a:moveTo>
                  <a:pt x="2898351" y="3156014"/>
                </a:moveTo>
                <a:cubicBezTo>
                  <a:pt x="2884082" y="3156014"/>
                  <a:pt x="2869941" y="3161460"/>
                  <a:pt x="2859177" y="3172357"/>
                </a:cubicBezTo>
                <a:lnTo>
                  <a:pt x="2780697" y="3251097"/>
                </a:lnTo>
                <a:cubicBezTo>
                  <a:pt x="2759034" y="3272765"/>
                  <a:pt x="2759034" y="3308045"/>
                  <a:pt x="2780697" y="3329707"/>
                </a:cubicBezTo>
                <a:lnTo>
                  <a:pt x="3002256" y="3551785"/>
                </a:lnTo>
                <a:lnTo>
                  <a:pt x="3002266" y="3551776"/>
                </a:lnTo>
                <a:lnTo>
                  <a:pt x="3002278" y="3551786"/>
                </a:lnTo>
                <a:lnTo>
                  <a:pt x="3223834" y="3329715"/>
                </a:lnTo>
                <a:cubicBezTo>
                  <a:pt x="3245501" y="3308054"/>
                  <a:pt x="3245501" y="3272769"/>
                  <a:pt x="3223834" y="3251103"/>
                </a:cubicBezTo>
                <a:lnTo>
                  <a:pt x="3145357" y="3172493"/>
                </a:lnTo>
                <a:cubicBezTo>
                  <a:pt x="3139908" y="3167046"/>
                  <a:pt x="3133650" y="3162961"/>
                  <a:pt x="3126986" y="3160235"/>
                </a:cubicBezTo>
                <a:lnTo>
                  <a:pt x="3126973" y="3160230"/>
                </a:lnTo>
                <a:lnTo>
                  <a:pt x="3126963" y="3160226"/>
                </a:lnTo>
                <a:lnTo>
                  <a:pt x="3106177" y="3156144"/>
                </a:lnTo>
                <a:lnTo>
                  <a:pt x="3106053" y="3156022"/>
                </a:lnTo>
                <a:lnTo>
                  <a:pt x="3106044" y="3156025"/>
                </a:lnTo>
                <a:lnTo>
                  <a:pt x="3106028" y="3156014"/>
                </a:lnTo>
                <a:cubicBezTo>
                  <a:pt x="3091760" y="3156014"/>
                  <a:pt x="3077618" y="3161460"/>
                  <a:pt x="3066725" y="3172485"/>
                </a:cubicBezTo>
                <a:lnTo>
                  <a:pt x="3002263" y="3237081"/>
                </a:lnTo>
                <a:lnTo>
                  <a:pt x="2937680" y="3172367"/>
                </a:lnTo>
                <a:cubicBezTo>
                  <a:pt x="2932232" y="3166917"/>
                  <a:pt x="2925973" y="3162832"/>
                  <a:pt x="2919293" y="3160108"/>
                </a:cubicBezTo>
                <a:lnTo>
                  <a:pt x="2919279" y="3160106"/>
                </a:lnTo>
                <a:lnTo>
                  <a:pt x="2919268" y="3160101"/>
                </a:lnTo>
                <a:cubicBezTo>
                  <a:pt x="2912587" y="3157375"/>
                  <a:pt x="2905485" y="3156014"/>
                  <a:pt x="2898351" y="3156014"/>
                </a:cubicBezTo>
                <a:close/>
                <a:moveTo>
                  <a:pt x="844374" y="3156001"/>
                </a:moveTo>
                <a:cubicBezTo>
                  <a:pt x="830105" y="3156001"/>
                  <a:pt x="815967" y="3161449"/>
                  <a:pt x="805200" y="3172347"/>
                </a:cubicBezTo>
                <a:lnTo>
                  <a:pt x="726720" y="3251087"/>
                </a:lnTo>
                <a:cubicBezTo>
                  <a:pt x="705057" y="3272752"/>
                  <a:pt x="705057" y="3308036"/>
                  <a:pt x="726720" y="3329699"/>
                </a:cubicBezTo>
                <a:lnTo>
                  <a:pt x="948278" y="3551781"/>
                </a:lnTo>
                <a:lnTo>
                  <a:pt x="948288" y="3551770"/>
                </a:lnTo>
                <a:lnTo>
                  <a:pt x="948301" y="3551785"/>
                </a:lnTo>
                <a:lnTo>
                  <a:pt x="1169858" y="3329707"/>
                </a:lnTo>
                <a:cubicBezTo>
                  <a:pt x="1191520" y="3308045"/>
                  <a:pt x="1191520" y="3272765"/>
                  <a:pt x="1169858" y="3251093"/>
                </a:cubicBezTo>
                <a:lnTo>
                  <a:pt x="1091378" y="3172485"/>
                </a:lnTo>
                <a:cubicBezTo>
                  <a:pt x="1085931" y="3167038"/>
                  <a:pt x="1079672" y="3162952"/>
                  <a:pt x="1073007" y="3160226"/>
                </a:cubicBezTo>
                <a:lnTo>
                  <a:pt x="1072995" y="3160222"/>
                </a:lnTo>
                <a:lnTo>
                  <a:pt x="1072985" y="3160218"/>
                </a:lnTo>
                <a:lnTo>
                  <a:pt x="1052200" y="3156135"/>
                </a:lnTo>
                <a:lnTo>
                  <a:pt x="1052075" y="3156010"/>
                </a:lnTo>
                <a:lnTo>
                  <a:pt x="1052063" y="3156012"/>
                </a:lnTo>
                <a:lnTo>
                  <a:pt x="1052052" y="3156001"/>
                </a:lnTo>
                <a:cubicBezTo>
                  <a:pt x="1037783" y="3156001"/>
                  <a:pt x="1023643" y="3161449"/>
                  <a:pt x="1012749" y="3172476"/>
                </a:cubicBezTo>
                <a:lnTo>
                  <a:pt x="948285" y="3237070"/>
                </a:lnTo>
                <a:lnTo>
                  <a:pt x="883702" y="3172357"/>
                </a:lnTo>
                <a:cubicBezTo>
                  <a:pt x="878253" y="3166907"/>
                  <a:pt x="871995" y="3162821"/>
                  <a:pt x="865315" y="3160097"/>
                </a:cubicBezTo>
                <a:lnTo>
                  <a:pt x="865301" y="3160093"/>
                </a:lnTo>
                <a:lnTo>
                  <a:pt x="865290" y="3160088"/>
                </a:lnTo>
                <a:cubicBezTo>
                  <a:pt x="858610" y="3157363"/>
                  <a:pt x="851509" y="3156001"/>
                  <a:pt x="844374" y="3156001"/>
                </a:cubicBezTo>
                <a:close/>
                <a:moveTo>
                  <a:pt x="11910826" y="2945539"/>
                </a:moveTo>
                <a:lnTo>
                  <a:pt x="12188651" y="3106326"/>
                </a:lnTo>
                <a:lnTo>
                  <a:pt x="12188651" y="3483113"/>
                </a:lnTo>
                <a:lnTo>
                  <a:pt x="12179669" y="3477916"/>
                </a:lnTo>
                <a:lnTo>
                  <a:pt x="11910826" y="3322357"/>
                </a:lnTo>
                <a:close/>
                <a:moveTo>
                  <a:pt x="11894481" y="2945539"/>
                </a:moveTo>
                <a:lnTo>
                  <a:pt x="11894481" y="3322357"/>
                </a:lnTo>
                <a:lnTo>
                  <a:pt x="11568890" y="3510681"/>
                </a:lnTo>
                <a:lnTo>
                  <a:pt x="11568890" y="3133883"/>
                </a:lnTo>
                <a:close/>
                <a:moveTo>
                  <a:pt x="9857006" y="2945522"/>
                </a:moveTo>
                <a:lnTo>
                  <a:pt x="10182468" y="3133880"/>
                </a:lnTo>
                <a:lnTo>
                  <a:pt x="10182468" y="3510676"/>
                </a:lnTo>
                <a:lnTo>
                  <a:pt x="9857006" y="3322348"/>
                </a:lnTo>
                <a:close/>
                <a:moveTo>
                  <a:pt x="9840661" y="2945522"/>
                </a:moveTo>
                <a:lnTo>
                  <a:pt x="9840661" y="3322348"/>
                </a:lnTo>
                <a:lnTo>
                  <a:pt x="9515070" y="3510676"/>
                </a:lnTo>
                <a:lnTo>
                  <a:pt x="9515070" y="3133880"/>
                </a:lnTo>
                <a:close/>
                <a:moveTo>
                  <a:pt x="7803060" y="2945507"/>
                </a:moveTo>
                <a:lnTo>
                  <a:pt x="8128521" y="3133865"/>
                </a:lnTo>
                <a:lnTo>
                  <a:pt x="8128521" y="3510673"/>
                </a:lnTo>
                <a:lnTo>
                  <a:pt x="7803060" y="3322337"/>
                </a:lnTo>
                <a:close/>
                <a:moveTo>
                  <a:pt x="7786715" y="2945507"/>
                </a:moveTo>
                <a:lnTo>
                  <a:pt x="7786715" y="3322337"/>
                </a:lnTo>
                <a:lnTo>
                  <a:pt x="7461125" y="3510673"/>
                </a:lnTo>
                <a:lnTo>
                  <a:pt x="7461125" y="3133865"/>
                </a:lnTo>
                <a:close/>
                <a:moveTo>
                  <a:pt x="5732923" y="2945499"/>
                </a:moveTo>
                <a:lnTo>
                  <a:pt x="5732923" y="3322330"/>
                </a:lnTo>
                <a:lnTo>
                  <a:pt x="5407352" y="3510667"/>
                </a:lnTo>
                <a:lnTo>
                  <a:pt x="5407352" y="3133857"/>
                </a:lnTo>
                <a:close/>
                <a:moveTo>
                  <a:pt x="5749264" y="2945497"/>
                </a:moveTo>
                <a:lnTo>
                  <a:pt x="6074705" y="3133857"/>
                </a:lnTo>
                <a:lnTo>
                  <a:pt x="6074705" y="3510669"/>
                </a:lnTo>
                <a:lnTo>
                  <a:pt x="6000145" y="3467515"/>
                </a:lnTo>
                <a:lnTo>
                  <a:pt x="5878454" y="3397098"/>
                </a:lnTo>
                <a:lnTo>
                  <a:pt x="5749264" y="3322330"/>
                </a:lnTo>
                <a:close/>
                <a:moveTo>
                  <a:pt x="3679140" y="2945490"/>
                </a:moveTo>
                <a:lnTo>
                  <a:pt x="3679140" y="3322322"/>
                </a:lnTo>
                <a:lnTo>
                  <a:pt x="3353560" y="3510663"/>
                </a:lnTo>
                <a:lnTo>
                  <a:pt x="3353560" y="3133842"/>
                </a:lnTo>
                <a:close/>
                <a:moveTo>
                  <a:pt x="3695488" y="2945487"/>
                </a:moveTo>
                <a:lnTo>
                  <a:pt x="3801286" y="3006724"/>
                </a:lnTo>
                <a:lnTo>
                  <a:pt x="4009955" y="3127481"/>
                </a:lnTo>
                <a:lnTo>
                  <a:pt x="4020941" y="3133840"/>
                </a:lnTo>
                <a:lnTo>
                  <a:pt x="4020941" y="3510665"/>
                </a:lnTo>
                <a:lnTo>
                  <a:pt x="3719511" y="3336225"/>
                </a:lnTo>
                <a:lnTo>
                  <a:pt x="3695488" y="3322325"/>
                </a:lnTo>
                <a:close/>
                <a:moveTo>
                  <a:pt x="1625162" y="2945478"/>
                </a:moveTo>
                <a:lnTo>
                  <a:pt x="1625162" y="3322313"/>
                </a:lnTo>
                <a:lnTo>
                  <a:pt x="1299579" y="3510659"/>
                </a:lnTo>
                <a:lnTo>
                  <a:pt x="1299579" y="3133831"/>
                </a:lnTo>
                <a:close/>
                <a:moveTo>
                  <a:pt x="1641512" y="2945475"/>
                </a:moveTo>
                <a:lnTo>
                  <a:pt x="1828330" y="3053589"/>
                </a:lnTo>
                <a:lnTo>
                  <a:pt x="1966968" y="3133829"/>
                </a:lnTo>
                <a:lnTo>
                  <a:pt x="1966968" y="3510659"/>
                </a:lnTo>
                <a:lnTo>
                  <a:pt x="1641512" y="3322313"/>
                </a:lnTo>
                <a:close/>
                <a:moveTo>
                  <a:pt x="10532576" y="2940723"/>
                </a:moveTo>
                <a:lnTo>
                  <a:pt x="10866339" y="3133880"/>
                </a:lnTo>
                <a:lnTo>
                  <a:pt x="10866339" y="3520144"/>
                </a:lnTo>
                <a:lnTo>
                  <a:pt x="10532706" y="3713300"/>
                </a:lnTo>
                <a:lnTo>
                  <a:pt x="10198941" y="3520144"/>
                </a:lnTo>
                <a:lnTo>
                  <a:pt x="10198941" y="3133880"/>
                </a:lnTo>
                <a:close/>
                <a:moveTo>
                  <a:pt x="8478628" y="2940707"/>
                </a:moveTo>
                <a:lnTo>
                  <a:pt x="8812392" y="3133865"/>
                </a:lnTo>
                <a:lnTo>
                  <a:pt x="8812392" y="3520144"/>
                </a:lnTo>
                <a:lnTo>
                  <a:pt x="8478758" y="3713296"/>
                </a:lnTo>
                <a:lnTo>
                  <a:pt x="8144995" y="3520144"/>
                </a:lnTo>
                <a:lnTo>
                  <a:pt x="8144995" y="3133865"/>
                </a:lnTo>
                <a:close/>
                <a:moveTo>
                  <a:pt x="6424810" y="2940696"/>
                </a:moveTo>
                <a:lnTo>
                  <a:pt x="6758573" y="3133857"/>
                </a:lnTo>
                <a:lnTo>
                  <a:pt x="6758573" y="3520138"/>
                </a:lnTo>
                <a:lnTo>
                  <a:pt x="6424940" y="3713294"/>
                </a:lnTo>
                <a:lnTo>
                  <a:pt x="6091179" y="3520138"/>
                </a:lnTo>
                <a:lnTo>
                  <a:pt x="6091179" y="3133857"/>
                </a:lnTo>
                <a:close/>
                <a:moveTo>
                  <a:pt x="4371020" y="2940688"/>
                </a:moveTo>
                <a:lnTo>
                  <a:pt x="4704773" y="3133840"/>
                </a:lnTo>
                <a:lnTo>
                  <a:pt x="4704773" y="3520136"/>
                </a:lnTo>
                <a:lnTo>
                  <a:pt x="4371146" y="3713289"/>
                </a:lnTo>
                <a:lnTo>
                  <a:pt x="4037424" y="3520136"/>
                </a:lnTo>
                <a:lnTo>
                  <a:pt x="4037424" y="3133842"/>
                </a:lnTo>
                <a:close/>
                <a:moveTo>
                  <a:pt x="2317088" y="2940676"/>
                </a:moveTo>
                <a:lnTo>
                  <a:pt x="2650840" y="3133829"/>
                </a:lnTo>
                <a:lnTo>
                  <a:pt x="2650840" y="3520133"/>
                </a:lnTo>
                <a:lnTo>
                  <a:pt x="2317216" y="3713283"/>
                </a:lnTo>
                <a:lnTo>
                  <a:pt x="1983450" y="3520133"/>
                </a:lnTo>
                <a:lnTo>
                  <a:pt x="1983450" y="3133831"/>
                </a:lnTo>
                <a:close/>
                <a:moveTo>
                  <a:pt x="263242" y="2940664"/>
                </a:moveTo>
                <a:lnTo>
                  <a:pt x="596998" y="3133814"/>
                </a:lnTo>
                <a:lnTo>
                  <a:pt x="596998" y="3520129"/>
                </a:lnTo>
                <a:lnTo>
                  <a:pt x="263368" y="3713281"/>
                </a:lnTo>
                <a:lnTo>
                  <a:pt x="0" y="3560866"/>
                </a:lnTo>
                <a:lnTo>
                  <a:pt x="0" y="3093067"/>
                </a:lnTo>
                <a:close/>
                <a:moveTo>
                  <a:pt x="11217614" y="2940473"/>
                </a:moveTo>
                <a:lnTo>
                  <a:pt x="11551377" y="3133625"/>
                </a:lnTo>
                <a:lnTo>
                  <a:pt x="11551377" y="3519758"/>
                </a:lnTo>
                <a:lnTo>
                  <a:pt x="11217614" y="3712908"/>
                </a:lnTo>
                <a:lnTo>
                  <a:pt x="10883851" y="3519758"/>
                </a:lnTo>
                <a:lnTo>
                  <a:pt x="10883851" y="3133625"/>
                </a:lnTo>
                <a:close/>
                <a:moveTo>
                  <a:pt x="9163666" y="2940462"/>
                </a:moveTo>
                <a:lnTo>
                  <a:pt x="9497429" y="3133615"/>
                </a:lnTo>
                <a:lnTo>
                  <a:pt x="9497429" y="3519754"/>
                </a:lnTo>
                <a:lnTo>
                  <a:pt x="9163666" y="3712908"/>
                </a:lnTo>
                <a:lnTo>
                  <a:pt x="8829903" y="3519753"/>
                </a:lnTo>
                <a:lnTo>
                  <a:pt x="8829903" y="3133615"/>
                </a:lnTo>
                <a:close/>
                <a:moveTo>
                  <a:pt x="7109850" y="2940450"/>
                </a:moveTo>
                <a:lnTo>
                  <a:pt x="7443613" y="3133605"/>
                </a:lnTo>
                <a:lnTo>
                  <a:pt x="7443613" y="3519749"/>
                </a:lnTo>
                <a:lnTo>
                  <a:pt x="7109850" y="3712903"/>
                </a:lnTo>
                <a:lnTo>
                  <a:pt x="6776085" y="3519749"/>
                </a:lnTo>
                <a:lnTo>
                  <a:pt x="6776085" y="3133605"/>
                </a:lnTo>
                <a:close/>
                <a:moveTo>
                  <a:pt x="5055965" y="2940439"/>
                </a:moveTo>
                <a:lnTo>
                  <a:pt x="5389690" y="3133585"/>
                </a:lnTo>
                <a:lnTo>
                  <a:pt x="5389690" y="3519747"/>
                </a:lnTo>
                <a:lnTo>
                  <a:pt x="5055955" y="3712897"/>
                </a:lnTo>
                <a:lnTo>
                  <a:pt x="4722175" y="3519749"/>
                </a:lnTo>
                <a:lnTo>
                  <a:pt x="4722175" y="3133594"/>
                </a:lnTo>
                <a:close/>
                <a:moveTo>
                  <a:pt x="3002150" y="2940429"/>
                </a:moveTo>
                <a:lnTo>
                  <a:pt x="3335888" y="3133567"/>
                </a:lnTo>
                <a:lnTo>
                  <a:pt x="3335888" y="3519745"/>
                </a:lnTo>
                <a:lnTo>
                  <a:pt x="3002137" y="3712891"/>
                </a:lnTo>
                <a:lnTo>
                  <a:pt x="2668389" y="3519747"/>
                </a:lnTo>
                <a:lnTo>
                  <a:pt x="2668389" y="3133585"/>
                </a:lnTo>
                <a:close/>
                <a:moveTo>
                  <a:pt x="948172" y="2940415"/>
                </a:moveTo>
                <a:lnTo>
                  <a:pt x="1281911" y="3133560"/>
                </a:lnTo>
                <a:lnTo>
                  <a:pt x="1281911" y="3519738"/>
                </a:lnTo>
                <a:lnTo>
                  <a:pt x="948159" y="3712889"/>
                </a:lnTo>
                <a:lnTo>
                  <a:pt x="614412" y="3519745"/>
                </a:lnTo>
                <a:lnTo>
                  <a:pt x="614412" y="3133570"/>
                </a:lnTo>
                <a:close/>
                <a:moveTo>
                  <a:pt x="10875809" y="2742645"/>
                </a:moveTo>
                <a:lnTo>
                  <a:pt x="11201258" y="2930995"/>
                </a:lnTo>
                <a:lnTo>
                  <a:pt x="10875678" y="3119343"/>
                </a:lnTo>
                <a:lnTo>
                  <a:pt x="10550229" y="2930995"/>
                </a:lnTo>
                <a:close/>
                <a:moveTo>
                  <a:pt x="8821860" y="2742638"/>
                </a:moveTo>
                <a:lnTo>
                  <a:pt x="9147310" y="2930991"/>
                </a:lnTo>
                <a:lnTo>
                  <a:pt x="8821731" y="3119333"/>
                </a:lnTo>
                <a:lnTo>
                  <a:pt x="8496280" y="2930985"/>
                </a:lnTo>
                <a:close/>
                <a:moveTo>
                  <a:pt x="6768043" y="2742623"/>
                </a:moveTo>
                <a:lnTo>
                  <a:pt x="7093493" y="2930975"/>
                </a:lnTo>
                <a:lnTo>
                  <a:pt x="6767913" y="3119325"/>
                </a:lnTo>
                <a:lnTo>
                  <a:pt x="6442464" y="2930975"/>
                </a:lnTo>
                <a:close/>
                <a:moveTo>
                  <a:pt x="4714128" y="2742613"/>
                </a:moveTo>
                <a:lnTo>
                  <a:pt x="5016384" y="2917526"/>
                </a:lnTo>
                <a:lnTo>
                  <a:pt x="5039593" y="2930956"/>
                </a:lnTo>
                <a:lnTo>
                  <a:pt x="4713985" y="3119313"/>
                </a:lnTo>
                <a:lnTo>
                  <a:pt x="4388545" y="2930963"/>
                </a:lnTo>
                <a:close/>
                <a:moveTo>
                  <a:pt x="2660343" y="2742602"/>
                </a:moveTo>
                <a:lnTo>
                  <a:pt x="2985782" y="2930946"/>
                </a:lnTo>
                <a:lnTo>
                  <a:pt x="2660193" y="3119300"/>
                </a:lnTo>
                <a:lnTo>
                  <a:pt x="2617605" y="3094653"/>
                </a:lnTo>
                <a:lnTo>
                  <a:pt x="2334759" y="2930956"/>
                </a:lnTo>
                <a:close/>
                <a:moveTo>
                  <a:pt x="606366" y="2742589"/>
                </a:moveTo>
                <a:lnTo>
                  <a:pt x="931803" y="2930932"/>
                </a:lnTo>
                <a:lnTo>
                  <a:pt x="606216" y="3119286"/>
                </a:lnTo>
                <a:lnTo>
                  <a:pt x="280778" y="2930946"/>
                </a:lnTo>
                <a:close/>
                <a:moveTo>
                  <a:pt x="12140685" y="2578699"/>
                </a:moveTo>
                <a:cubicBezTo>
                  <a:pt x="12151191" y="2578699"/>
                  <a:pt x="12161050" y="2582849"/>
                  <a:pt x="12168445" y="2590244"/>
                </a:cubicBezTo>
                <a:lnTo>
                  <a:pt x="12188651" y="2610493"/>
                </a:lnTo>
                <a:lnTo>
                  <a:pt x="12188651" y="2878728"/>
                </a:lnTo>
                <a:lnTo>
                  <a:pt x="12034576" y="2724359"/>
                </a:lnTo>
                <a:cubicBezTo>
                  <a:pt x="12019270" y="2709048"/>
                  <a:pt x="12019270" y="2684139"/>
                  <a:pt x="12034576" y="2668969"/>
                </a:cubicBezTo>
                <a:lnTo>
                  <a:pt x="12113056" y="2590244"/>
                </a:lnTo>
                <a:cubicBezTo>
                  <a:pt x="12120448" y="2582849"/>
                  <a:pt x="12130178" y="2578699"/>
                  <a:pt x="12140685" y="2578699"/>
                </a:cubicBezTo>
                <a:close/>
                <a:moveTo>
                  <a:pt x="10086867" y="2578676"/>
                </a:moveTo>
                <a:cubicBezTo>
                  <a:pt x="10097374" y="2578676"/>
                  <a:pt x="10107232" y="2582834"/>
                  <a:pt x="10114626" y="2590227"/>
                </a:cubicBezTo>
                <a:lnTo>
                  <a:pt x="10179226" y="2654952"/>
                </a:lnTo>
                <a:lnTo>
                  <a:pt x="10190770" y="2666628"/>
                </a:lnTo>
                <a:lnTo>
                  <a:pt x="10202315" y="2654952"/>
                </a:lnTo>
                <a:lnTo>
                  <a:pt x="10266786" y="2590227"/>
                </a:lnTo>
                <a:cubicBezTo>
                  <a:pt x="10274178" y="2582702"/>
                  <a:pt x="10284037" y="2578676"/>
                  <a:pt x="10294543" y="2578676"/>
                </a:cubicBezTo>
                <a:cubicBezTo>
                  <a:pt x="10304922" y="2578676"/>
                  <a:pt x="10314781" y="2582834"/>
                  <a:pt x="10322173" y="2590227"/>
                </a:cubicBezTo>
                <a:lnTo>
                  <a:pt x="10400653" y="2668833"/>
                </a:lnTo>
                <a:cubicBezTo>
                  <a:pt x="10408047" y="2676224"/>
                  <a:pt x="10412068" y="2686069"/>
                  <a:pt x="10412198" y="2696581"/>
                </a:cubicBezTo>
                <a:cubicBezTo>
                  <a:pt x="10412198" y="2707087"/>
                  <a:pt x="10408176" y="2716950"/>
                  <a:pt x="10400783" y="2724349"/>
                </a:cubicBezTo>
                <a:lnTo>
                  <a:pt x="10190770" y="2934758"/>
                </a:lnTo>
                <a:lnTo>
                  <a:pt x="9980757" y="2724349"/>
                </a:lnTo>
                <a:cubicBezTo>
                  <a:pt x="9965450" y="2709025"/>
                  <a:pt x="9965450" y="2684132"/>
                  <a:pt x="9980757" y="2668961"/>
                </a:cubicBezTo>
                <a:lnTo>
                  <a:pt x="10059237" y="2590227"/>
                </a:lnTo>
                <a:cubicBezTo>
                  <a:pt x="10066631" y="2582834"/>
                  <a:pt x="10076359" y="2578676"/>
                  <a:pt x="10086867" y="2578676"/>
                </a:cubicBezTo>
                <a:close/>
                <a:moveTo>
                  <a:pt x="8032919" y="2578668"/>
                </a:moveTo>
                <a:cubicBezTo>
                  <a:pt x="8043427" y="2578668"/>
                  <a:pt x="8053285" y="2582821"/>
                  <a:pt x="8060679" y="2590216"/>
                </a:cubicBezTo>
                <a:lnTo>
                  <a:pt x="8125278" y="2654936"/>
                </a:lnTo>
                <a:lnTo>
                  <a:pt x="8136823" y="2666615"/>
                </a:lnTo>
                <a:lnTo>
                  <a:pt x="8148368" y="2654936"/>
                </a:lnTo>
                <a:lnTo>
                  <a:pt x="8212837" y="2590216"/>
                </a:lnTo>
                <a:cubicBezTo>
                  <a:pt x="8220232" y="2582687"/>
                  <a:pt x="8230090" y="2578668"/>
                  <a:pt x="8240596" y="2578668"/>
                </a:cubicBezTo>
                <a:cubicBezTo>
                  <a:pt x="8250975" y="2578668"/>
                  <a:pt x="8260834" y="2582821"/>
                  <a:pt x="8268226" y="2590216"/>
                </a:cubicBezTo>
                <a:lnTo>
                  <a:pt x="8346707" y="2668813"/>
                </a:lnTo>
                <a:cubicBezTo>
                  <a:pt x="8354100" y="2676206"/>
                  <a:pt x="8358121" y="2686067"/>
                  <a:pt x="8358252" y="2696569"/>
                </a:cubicBezTo>
                <a:cubicBezTo>
                  <a:pt x="8358252" y="2707074"/>
                  <a:pt x="8354229" y="2716935"/>
                  <a:pt x="8346837" y="2724335"/>
                </a:cubicBezTo>
                <a:lnTo>
                  <a:pt x="8136823" y="2934740"/>
                </a:lnTo>
                <a:lnTo>
                  <a:pt x="7926811" y="2724335"/>
                </a:lnTo>
                <a:cubicBezTo>
                  <a:pt x="7911503" y="2709022"/>
                  <a:pt x="7911503" y="2684118"/>
                  <a:pt x="7926811" y="2668949"/>
                </a:cubicBezTo>
                <a:lnTo>
                  <a:pt x="8005289" y="2590216"/>
                </a:lnTo>
                <a:cubicBezTo>
                  <a:pt x="8012684" y="2582821"/>
                  <a:pt x="8022413" y="2578668"/>
                  <a:pt x="8032919" y="2578668"/>
                </a:cubicBezTo>
                <a:close/>
                <a:moveTo>
                  <a:pt x="5979110" y="2578647"/>
                </a:moveTo>
                <a:cubicBezTo>
                  <a:pt x="5989617" y="2578647"/>
                  <a:pt x="5999474" y="2582804"/>
                  <a:pt x="6006867" y="2590201"/>
                </a:cubicBezTo>
                <a:lnTo>
                  <a:pt x="6071463" y="2654925"/>
                </a:lnTo>
                <a:lnTo>
                  <a:pt x="6083008" y="2666599"/>
                </a:lnTo>
                <a:lnTo>
                  <a:pt x="6094550" y="2654925"/>
                </a:lnTo>
                <a:lnTo>
                  <a:pt x="6159019" y="2590201"/>
                </a:lnTo>
                <a:cubicBezTo>
                  <a:pt x="6166413" y="2582677"/>
                  <a:pt x="6176271" y="2578647"/>
                  <a:pt x="6186779" y="2578647"/>
                </a:cubicBezTo>
                <a:cubicBezTo>
                  <a:pt x="6197156" y="2578647"/>
                  <a:pt x="6207014" y="2582804"/>
                  <a:pt x="6214409" y="2590201"/>
                </a:cubicBezTo>
                <a:lnTo>
                  <a:pt x="6292888" y="2668806"/>
                </a:lnTo>
                <a:cubicBezTo>
                  <a:pt x="6300282" y="2676195"/>
                  <a:pt x="6304303" y="2686054"/>
                  <a:pt x="6304433" y="2696558"/>
                </a:cubicBezTo>
                <a:cubicBezTo>
                  <a:pt x="6304433" y="2707064"/>
                  <a:pt x="6300412" y="2716922"/>
                  <a:pt x="6293017" y="2724322"/>
                </a:cubicBezTo>
                <a:lnTo>
                  <a:pt x="6083008" y="2934732"/>
                </a:lnTo>
                <a:lnTo>
                  <a:pt x="5873007" y="2724322"/>
                </a:lnTo>
                <a:cubicBezTo>
                  <a:pt x="5857702" y="2709013"/>
                  <a:pt x="5857702" y="2684109"/>
                  <a:pt x="5873007" y="2668929"/>
                </a:cubicBezTo>
                <a:lnTo>
                  <a:pt x="5951483" y="2590201"/>
                </a:lnTo>
                <a:cubicBezTo>
                  <a:pt x="5958874" y="2582804"/>
                  <a:pt x="5968603" y="2578647"/>
                  <a:pt x="5979110" y="2578647"/>
                </a:cubicBezTo>
                <a:close/>
                <a:moveTo>
                  <a:pt x="3925347" y="2578637"/>
                </a:moveTo>
                <a:cubicBezTo>
                  <a:pt x="3935849" y="2578637"/>
                  <a:pt x="3945711" y="2582791"/>
                  <a:pt x="3953105" y="2590185"/>
                </a:cubicBezTo>
                <a:lnTo>
                  <a:pt x="4017704" y="2654916"/>
                </a:lnTo>
                <a:lnTo>
                  <a:pt x="4029249" y="2666587"/>
                </a:lnTo>
                <a:lnTo>
                  <a:pt x="4040796" y="2654916"/>
                </a:lnTo>
                <a:lnTo>
                  <a:pt x="4105266" y="2590185"/>
                </a:lnTo>
                <a:cubicBezTo>
                  <a:pt x="4112662" y="2582657"/>
                  <a:pt x="4122521" y="2578637"/>
                  <a:pt x="4133029" y="2578637"/>
                </a:cubicBezTo>
                <a:cubicBezTo>
                  <a:pt x="4143402" y="2578637"/>
                  <a:pt x="4153264" y="2582791"/>
                  <a:pt x="4160658" y="2590185"/>
                </a:cubicBezTo>
                <a:lnTo>
                  <a:pt x="4239088" y="2668790"/>
                </a:lnTo>
                <a:cubicBezTo>
                  <a:pt x="4246485" y="2676182"/>
                  <a:pt x="4250503" y="2686043"/>
                  <a:pt x="4250643" y="2696546"/>
                </a:cubicBezTo>
                <a:cubicBezTo>
                  <a:pt x="4250643" y="2707054"/>
                  <a:pt x="4246615" y="2716914"/>
                  <a:pt x="4239218" y="2724312"/>
                </a:cubicBezTo>
                <a:lnTo>
                  <a:pt x="4029249" y="2934721"/>
                </a:lnTo>
                <a:lnTo>
                  <a:pt x="3819228" y="2724312"/>
                </a:lnTo>
                <a:cubicBezTo>
                  <a:pt x="3803920" y="2709004"/>
                  <a:pt x="3803920" y="2684099"/>
                  <a:pt x="3819228" y="2668922"/>
                </a:cubicBezTo>
                <a:lnTo>
                  <a:pt x="3897713" y="2590185"/>
                </a:lnTo>
                <a:cubicBezTo>
                  <a:pt x="3905113" y="2582791"/>
                  <a:pt x="3914841" y="2578637"/>
                  <a:pt x="3925347" y="2578637"/>
                </a:cubicBezTo>
                <a:close/>
                <a:moveTo>
                  <a:pt x="1871372" y="2578623"/>
                </a:moveTo>
                <a:cubicBezTo>
                  <a:pt x="1881880" y="2578623"/>
                  <a:pt x="1891738" y="2582776"/>
                  <a:pt x="1899133" y="2590172"/>
                </a:cubicBezTo>
                <a:lnTo>
                  <a:pt x="1963731" y="2654901"/>
                </a:lnTo>
                <a:lnTo>
                  <a:pt x="1975277" y="2666574"/>
                </a:lnTo>
                <a:lnTo>
                  <a:pt x="1986820" y="2654901"/>
                </a:lnTo>
                <a:lnTo>
                  <a:pt x="2051290" y="2590172"/>
                </a:lnTo>
                <a:cubicBezTo>
                  <a:pt x="2058684" y="2582643"/>
                  <a:pt x="2068543" y="2578623"/>
                  <a:pt x="2079050" y="2578623"/>
                </a:cubicBezTo>
                <a:cubicBezTo>
                  <a:pt x="2089428" y="2578623"/>
                  <a:pt x="2099292" y="2582776"/>
                  <a:pt x="2106688" y="2590172"/>
                </a:cubicBezTo>
                <a:lnTo>
                  <a:pt x="2185169" y="2668781"/>
                </a:lnTo>
                <a:cubicBezTo>
                  <a:pt x="2192563" y="2676170"/>
                  <a:pt x="2196582" y="2686028"/>
                  <a:pt x="2196712" y="2696534"/>
                </a:cubicBezTo>
                <a:cubicBezTo>
                  <a:pt x="2196712" y="2707042"/>
                  <a:pt x="2192692" y="2716901"/>
                  <a:pt x="2185297" y="2724297"/>
                </a:cubicBezTo>
                <a:lnTo>
                  <a:pt x="1975277" y="2934709"/>
                </a:lnTo>
                <a:lnTo>
                  <a:pt x="1765263" y="2724297"/>
                </a:lnTo>
                <a:cubicBezTo>
                  <a:pt x="1749956" y="2708988"/>
                  <a:pt x="1749956" y="2684084"/>
                  <a:pt x="1765263" y="2668910"/>
                </a:cubicBezTo>
                <a:lnTo>
                  <a:pt x="1843742" y="2590172"/>
                </a:lnTo>
                <a:cubicBezTo>
                  <a:pt x="1851137" y="2582776"/>
                  <a:pt x="1860865" y="2578623"/>
                  <a:pt x="1871372" y="2578623"/>
                </a:cubicBezTo>
                <a:close/>
                <a:moveTo>
                  <a:pt x="25211" y="2578608"/>
                </a:moveTo>
                <a:cubicBezTo>
                  <a:pt x="35587" y="2578608"/>
                  <a:pt x="45446" y="2582760"/>
                  <a:pt x="52840" y="2590156"/>
                </a:cubicBezTo>
                <a:lnTo>
                  <a:pt x="131319" y="2668766"/>
                </a:lnTo>
                <a:cubicBezTo>
                  <a:pt x="138713" y="2676158"/>
                  <a:pt x="142735" y="2686019"/>
                  <a:pt x="142863" y="2696524"/>
                </a:cubicBezTo>
                <a:cubicBezTo>
                  <a:pt x="142863" y="2707032"/>
                  <a:pt x="138842" y="2716891"/>
                  <a:pt x="131448" y="2724284"/>
                </a:cubicBezTo>
                <a:lnTo>
                  <a:pt x="0" y="2855984"/>
                </a:lnTo>
                <a:lnTo>
                  <a:pt x="0" y="2589096"/>
                </a:lnTo>
                <a:close/>
                <a:moveTo>
                  <a:pt x="10086867" y="2562208"/>
                </a:moveTo>
                <a:cubicBezTo>
                  <a:pt x="10072597" y="2562208"/>
                  <a:pt x="10058458" y="2567658"/>
                  <a:pt x="10047692" y="2578552"/>
                </a:cubicBezTo>
                <a:lnTo>
                  <a:pt x="9969212" y="2657287"/>
                </a:lnTo>
                <a:cubicBezTo>
                  <a:pt x="9947549" y="2678945"/>
                  <a:pt x="9947549" y="2714223"/>
                  <a:pt x="9969212" y="2735892"/>
                </a:cubicBezTo>
                <a:lnTo>
                  <a:pt x="10190770" y="2957977"/>
                </a:lnTo>
                <a:lnTo>
                  <a:pt x="10412328" y="2735892"/>
                </a:lnTo>
                <a:cubicBezTo>
                  <a:pt x="10433990" y="2714223"/>
                  <a:pt x="10433990" y="2678945"/>
                  <a:pt x="10412328" y="2657287"/>
                </a:cubicBezTo>
                <a:lnTo>
                  <a:pt x="10333848" y="2578676"/>
                </a:lnTo>
                <a:cubicBezTo>
                  <a:pt x="10322953" y="2567787"/>
                  <a:pt x="10308813" y="2562337"/>
                  <a:pt x="10294673" y="2562337"/>
                </a:cubicBezTo>
                <a:lnTo>
                  <a:pt x="10294543" y="2562208"/>
                </a:lnTo>
                <a:cubicBezTo>
                  <a:pt x="10280275" y="2562208"/>
                  <a:pt x="10266136" y="2567658"/>
                  <a:pt x="10255241" y="2578676"/>
                </a:cubicBezTo>
                <a:lnTo>
                  <a:pt x="10190770" y="2643284"/>
                </a:lnTo>
                <a:lnTo>
                  <a:pt x="10126171" y="2578552"/>
                </a:lnTo>
                <a:cubicBezTo>
                  <a:pt x="10115274" y="2567658"/>
                  <a:pt x="10101136" y="2562208"/>
                  <a:pt x="10086867" y="2562208"/>
                </a:cubicBezTo>
                <a:close/>
                <a:moveTo>
                  <a:pt x="8032919" y="2562187"/>
                </a:moveTo>
                <a:cubicBezTo>
                  <a:pt x="8018650" y="2562187"/>
                  <a:pt x="8004511" y="2567640"/>
                  <a:pt x="7993744" y="2578533"/>
                </a:cubicBezTo>
                <a:lnTo>
                  <a:pt x="7915266" y="2657273"/>
                </a:lnTo>
                <a:cubicBezTo>
                  <a:pt x="7893603" y="2678932"/>
                  <a:pt x="7893603" y="2714210"/>
                  <a:pt x="7915266" y="2735878"/>
                </a:cubicBezTo>
                <a:lnTo>
                  <a:pt x="8136823" y="2957963"/>
                </a:lnTo>
                <a:lnTo>
                  <a:pt x="8358382" y="2735878"/>
                </a:lnTo>
                <a:cubicBezTo>
                  <a:pt x="8380044" y="2714210"/>
                  <a:pt x="8380044" y="2678932"/>
                  <a:pt x="8358382" y="2657273"/>
                </a:cubicBezTo>
                <a:lnTo>
                  <a:pt x="8279902" y="2578668"/>
                </a:lnTo>
                <a:cubicBezTo>
                  <a:pt x="8269006" y="2567767"/>
                  <a:pt x="8254866" y="2562324"/>
                  <a:pt x="8240727" y="2562324"/>
                </a:cubicBezTo>
                <a:lnTo>
                  <a:pt x="8240596" y="2562187"/>
                </a:lnTo>
                <a:cubicBezTo>
                  <a:pt x="8226328" y="2562187"/>
                  <a:pt x="8212190" y="2567640"/>
                  <a:pt x="8201292" y="2578668"/>
                </a:cubicBezTo>
                <a:lnTo>
                  <a:pt x="8136823" y="2643266"/>
                </a:lnTo>
                <a:lnTo>
                  <a:pt x="8072224" y="2578533"/>
                </a:lnTo>
                <a:cubicBezTo>
                  <a:pt x="8061328" y="2567640"/>
                  <a:pt x="8047187" y="2562187"/>
                  <a:pt x="8032919" y="2562187"/>
                </a:cubicBezTo>
                <a:close/>
                <a:moveTo>
                  <a:pt x="5979110" y="2562181"/>
                </a:moveTo>
                <a:cubicBezTo>
                  <a:pt x="5964843" y="2562181"/>
                  <a:pt x="5950702" y="2567620"/>
                  <a:pt x="5939938" y="2578524"/>
                </a:cubicBezTo>
                <a:lnTo>
                  <a:pt x="5861462" y="2657262"/>
                </a:lnTo>
                <a:cubicBezTo>
                  <a:pt x="5839806" y="2678919"/>
                  <a:pt x="5839806" y="2714205"/>
                  <a:pt x="5861462" y="2735865"/>
                </a:cubicBezTo>
                <a:lnTo>
                  <a:pt x="6083008" y="2957948"/>
                </a:lnTo>
                <a:lnTo>
                  <a:pt x="6304562" y="2735865"/>
                </a:lnTo>
                <a:cubicBezTo>
                  <a:pt x="6326226" y="2714205"/>
                  <a:pt x="6326226" y="2678919"/>
                  <a:pt x="6304562" y="2657262"/>
                </a:cubicBezTo>
                <a:lnTo>
                  <a:pt x="6226084" y="2578647"/>
                </a:lnTo>
                <a:cubicBezTo>
                  <a:pt x="6215186" y="2567753"/>
                  <a:pt x="6201048" y="2562308"/>
                  <a:pt x="6186909" y="2562308"/>
                </a:cubicBezTo>
                <a:lnTo>
                  <a:pt x="6186779" y="2562181"/>
                </a:lnTo>
                <a:cubicBezTo>
                  <a:pt x="6172511" y="2562181"/>
                  <a:pt x="6158370" y="2567620"/>
                  <a:pt x="6147474" y="2578647"/>
                </a:cubicBezTo>
                <a:lnTo>
                  <a:pt x="6083008" y="2643253"/>
                </a:lnTo>
                <a:lnTo>
                  <a:pt x="6018412" y="2578524"/>
                </a:lnTo>
                <a:cubicBezTo>
                  <a:pt x="6007516" y="2567620"/>
                  <a:pt x="5993378" y="2562181"/>
                  <a:pt x="5979110" y="2562181"/>
                </a:cubicBezTo>
                <a:close/>
                <a:moveTo>
                  <a:pt x="3925347" y="2562165"/>
                </a:moveTo>
                <a:cubicBezTo>
                  <a:pt x="3911078" y="2562165"/>
                  <a:pt x="3896938" y="2567612"/>
                  <a:pt x="3886170" y="2578508"/>
                </a:cubicBezTo>
                <a:lnTo>
                  <a:pt x="3807684" y="2657243"/>
                </a:lnTo>
                <a:cubicBezTo>
                  <a:pt x="3786024" y="2678908"/>
                  <a:pt x="3786024" y="2714191"/>
                  <a:pt x="3807684" y="2735855"/>
                </a:cubicBezTo>
                <a:lnTo>
                  <a:pt x="4029249" y="2957936"/>
                </a:lnTo>
                <a:lnTo>
                  <a:pt x="4250768" y="2735855"/>
                </a:lnTo>
                <a:cubicBezTo>
                  <a:pt x="4272427" y="2714191"/>
                  <a:pt x="4272427" y="2678908"/>
                  <a:pt x="4250768" y="2657243"/>
                </a:cubicBezTo>
                <a:lnTo>
                  <a:pt x="4172332" y="2578637"/>
                </a:lnTo>
                <a:cubicBezTo>
                  <a:pt x="4161436" y="2567737"/>
                  <a:pt x="4147297" y="2562295"/>
                  <a:pt x="4133157" y="2562295"/>
                </a:cubicBezTo>
                <a:lnTo>
                  <a:pt x="4133029" y="2562165"/>
                </a:lnTo>
                <a:cubicBezTo>
                  <a:pt x="4118756" y="2562165"/>
                  <a:pt x="4104617" y="2567612"/>
                  <a:pt x="4093722" y="2578637"/>
                </a:cubicBezTo>
                <a:lnTo>
                  <a:pt x="4029249" y="2643240"/>
                </a:lnTo>
                <a:lnTo>
                  <a:pt x="3964652" y="2578508"/>
                </a:lnTo>
                <a:cubicBezTo>
                  <a:pt x="3953753" y="2567612"/>
                  <a:pt x="3939615" y="2562165"/>
                  <a:pt x="3925347" y="2562165"/>
                </a:cubicBezTo>
                <a:close/>
                <a:moveTo>
                  <a:pt x="1871372" y="2562148"/>
                </a:moveTo>
                <a:cubicBezTo>
                  <a:pt x="1857104" y="2562148"/>
                  <a:pt x="1842964" y="2567596"/>
                  <a:pt x="1832197" y="2578496"/>
                </a:cubicBezTo>
                <a:lnTo>
                  <a:pt x="1753719" y="2657236"/>
                </a:lnTo>
                <a:cubicBezTo>
                  <a:pt x="1732057" y="2678896"/>
                  <a:pt x="1732057" y="2714180"/>
                  <a:pt x="1753719" y="2735841"/>
                </a:cubicBezTo>
                <a:lnTo>
                  <a:pt x="1975277" y="2957928"/>
                </a:lnTo>
                <a:lnTo>
                  <a:pt x="2196842" y="2735841"/>
                </a:lnTo>
                <a:cubicBezTo>
                  <a:pt x="2218507" y="2714180"/>
                  <a:pt x="2218507" y="2678896"/>
                  <a:pt x="2196842" y="2657236"/>
                </a:cubicBezTo>
                <a:lnTo>
                  <a:pt x="2118362" y="2578623"/>
                </a:lnTo>
                <a:cubicBezTo>
                  <a:pt x="2107467" y="2567726"/>
                  <a:pt x="2093319" y="2562279"/>
                  <a:pt x="2079180" y="2562279"/>
                </a:cubicBezTo>
                <a:lnTo>
                  <a:pt x="2079050" y="2562148"/>
                </a:lnTo>
                <a:cubicBezTo>
                  <a:pt x="2064781" y="2562148"/>
                  <a:pt x="2050642" y="2567596"/>
                  <a:pt x="2039746" y="2578623"/>
                </a:cubicBezTo>
                <a:lnTo>
                  <a:pt x="1975277" y="2643223"/>
                </a:lnTo>
                <a:lnTo>
                  <a:pt x="1910677" y="2578496"/>
                </a:lnTo>
                <a:cubicBezTo>
                  <a:pt x="1899779" y="2567596"/>
                  <a:pt x="1885640" y="2562148"/>
                  <a:pt x="1871372" y="2562148"/>
                </a:cubicBezTo>
                <a:close/>
                <a:moveTo>
                  <a:pt x="0" y="2391946"/>
                </a:moveTo>
                <a:lnTo>
                  <a:pt x="255065" y="2539561"/>
                </a:lnTo>
                <a:lnTo>
                  <a:pt x="255065" y="2925743"/>
                </a:lnTo>
                <a:lnTo>
                  <a:pt x="0" y="3073355"/>
                </a:lnTo>
                <a:lnTo>
                  <a:pt x="0" y="2879166"/>
                </a:lnTo>
                <a:lnTo>
                  <a:pt x="142993" y="2735832"/>
                </a:lnTo>
                <a:cubicBezTo>
                  <a:pt x="164657" y="2714167"/>
                  <a:pt x="164657" y="2678883"/>
                  <a:pt x="142993" y="2657222"/>
                </a:cubicBezTo>
                <a:lnTo>
                  <a:pt x="64513" y="2578608"/>
                </a:lnTo>
                <a:cubicBezTo>
                  <a:pt x="53617" y="2567713"/>
                  <a:pt x="39478" y="2562265"/>
                  <a:pt x="25338" y="2562265"/>
                </a:cubicBezTo>
                <a:lnTo>
                  <a:pt x="25211" y="2562134"/>
                </a:lnTo>
                <a:cubicBezTo>
                  <a:pt x="18075" y="2562134"/>
                  <a:pt x="10973" y="2563497"/>
                  <a:pt x="4293" y="2566237"/>
                </a:cubicBezTo>
                <a:lnTo>
                  <a:pt x="0" y="2569125"/>
                </a:lnTo>
                <a:close/>
                <a:moveTo>
                  <a:pt x="12188651" y="2378785"/>
                </a:moveTo>
                <a:lnTo>
                  <a:pt x="12188651" y="2587244"/>
                </a:lnTo>
                <a:lnTo>
                  <a:pt x="12179990" y="2578566"/>
                </a:lnTo>
                <a:cubicBezTo>
                  <a:pt x="12169092" y="2567669"/>
                  <a:pt x="12154954" y="2562222"/>
                  <a:pt x="12140685" y="2562222"/>
                </a:cubicBezTo>
                <a:cubicBezTo>
                  <a:pt x="12126416" y="2562222"/>
                  <a:pt x="12112276" y="2567669"/>
                  <a:pt x="12101510" y="2578566"/>
                </a:cubicBezTo>
                <a:lnTo>
                  <a:pt x="12023031" y="2657304"/>
                </a:lnTo>
                <a:cubicBezTo>
                  <a:pt x="12001368" y="2678954"/>
                  <a:pt x="12001368" y="2714236"/>
                  <a:pt x="12023031" y="2735902"/>
                </a:cubicBezTo>
                <a:lnTo>
                  <a:pt x="12188651" y="2901917"/>
                </a:lnTo>
                <a:lnTo>
                  <a:pt x="12188651" y="3086666"/>
                </a:lnTo>
                <a:lnTo>
                  <a:pt x="11910696" y="2925817"/>
                </a:lnTo>
                <a:lnTo>
                  <a:pt x="11910696" y="2539653"/>
                </a:lnTo>
                <a:close/>
                <a:moveTo>
                  <a:pt x="10883981" y="2351688"/>
                </a:moveTo>
                <a:lnTo>
                  <a:pt x="11209441" y="2540032"/>
                </a:lnTo>
                <a:lnTo>
                  <a:pt x="11209441" y="2916853"/>
                </a:lnTo>
                <a:lnTo>
                  <a:pt x="10883981" y="2728491"/>
                </a:lnTo>
                <a:close/>
                <a:moveTo>
                  <a:pt x="10867636" y="2351688"/>
                </a:moveTo>
                <a:lnTo>
                  <a:pt x="10867636" y="2728491"/>
                </a:lnTo>
                <a:lnTo>
                  <a:pt x="10542045" y="2916853"/>
                </a:lnTo>
                <a:lnTo>
                  <a:pt x="10542045" y="2540032"/>
                </a:lnTo>
                <a:close/>
                <a:moveTo>
                  <a:pt x="8830033" y="2351669"/>
                </a:moveTo>
                <a:lnTo>
                  <a:pt x="9155493" y="2540021"/>
                </a:lnTo>
                <a:lnTo>
                  <a:pt x="9155493" y="2916842"/>
                </a:lnTo>
                <a:lnTo>
                  <a:pt x="8830033" y="2728478"/>
                </a:lnTo>
                <a:close/>
                <a:moveTo>
                  <a:pt x="8813688" y="2351669"/>
                </a:moveTo>
                <a:lnTo>
                  <a:pt x="8813688" y="2728481"/>
                </a:lnTo>
                <a:lnTo>
                  <a:pt x="8488098" y="2916842"/>
                </a:lnTo>
                <a:lnTo>
                  <a:pt x="8488098" y="2540021"/>
                </a:lnTo>
                <a:close/>
                <a:moveTo>
                  <a:pt x="6776215" y="2351657"/>
                </a:moveTo>
                <a:lnTo>
                  <a:pt x="7101677" y="2540012"/>
                </a:lnTo>
                <a:lnTo>
                  <a:pt x="7101677" y="2916827"/>
                </a:lnTo>
                <a:lnTo>
                  <a:pt x="6776215" y="2728471"/>
                </a:lnTo>
                <a:close/>
                <a:moveTo>
                  <a:pt x="6759871" y="2351657"/>
                </a:moveTo>
                <a:lnTo>
                  <a:pt x="6759871" y="2728471"/>
                </a:lnTo>
                <a:lnTo>
                  <a:pt x="6434280" y="2916827"/>
                </a:lnTo>
                <a:lnTo>
                  <a:pt x="6434280" y="2540012"/>
                </a:lnTo>
                <a:close/>
                <a:moveTo>
                  <a:pt x="4705942" y="2351645"/>
                </a:moveTo>
                <a:lnTo>
                  <a:pt x="4705942" y="2728455"/>
                </a:lnTo>
                <a:lnTo>
                  <a:pt x="4380369" y="2916811"/>
                </a:lnTo>
                <a:lnTo>
                  <a:pt x="4380369" y="2539997"/>
                </a:lnTo>
                <a:close/>
                <a:moveTo>
                  <a:pt x="2652144" y="2351640"/>
                </a:moveTo>
                <a:lnTo>
                  <a:pt x="2652144" y="2728447"/>
                </a:lnTo>
                <a:lnTo>
                  <a:pt x="2326587" y="2916788"/>
                </a:lnTo>
                <a:lnTo>
                  <a:pt x="2326587" y="2539980"/>
                </a:lnTo>
                <a:close/>
                <a:moveTo>
                  <a:pt x="4722303" y="2351638"/>
                </a:moveTo>
                <a:lnTo>
                  <a:pt x="5047773" y="2539983"/>
                </a:lnTo>
                <a:lnTo>
                  <a:pt x="5047773" y="2916816"/>
                </a:lnTo>
                <a:lnTo>
                  <a:pt x="4722303" y="2728468"/>
                </a:lnTo>
                <a:close/>
                <a:moveTo>
                  <a:pt x="2668516" y="2351626"/>
                </a:moveTo>
                <a:lnTo>
                  <a:pt x="2748692" y="2398022"/>
                </a:lnTo>
                <a:lnTo>
                  <a:pt x="2939844" y="2508648"/>
                </a:lnTo>
                <a:lnTo>
                  <a:pt x="2993954" y="2539966"/>
                </a:lnTo>
                <a:lnTo>
                  <a:pt x="2993954" y="2916805"/>
                </a:lnTo>
                <a:lnTo>
                  <a:pt x="2938907" y="2884945"/>
                </a:lnTo>
                <a:lnTo>
                  <a:pt x="2668516" y="2728456"/>
                </a:lnTo>
                <a:close/>
                <a:moveTo>
                  <a:pt x="598171" y="2351626"/>
                </a:moveTo>
                <a:lnTo>
                  <a:pt x="598171" y="2728434"/>
                </a:lnTo>
                <a:lnTo>
                  <a:pt x="272607" y="2916778"/>
                </a:lnTo>
                <a:lnTo>
                  <a:pt x="272607" y="2539968"/>
                </a:lnTo>
                <a:close/>
                <a:moveTo>
                  <a:pt x="614543" y="2351612"/>
                </a:moveTo>
                <a:lnTo>
                  <a:pt x="939976" y="2539953"/>
                </a:lnTo>
                <a:lnTo>
                  <a:pt x="939976" y="2916793"/>
                </a:lnTo>
                <a:lnTo>
                  <a:pt x="614543" y="2728448"/>
                </a:lnTo>
                <a:close/>
                <a:moveTo>
                  <a:pt x="11559549" y="2346879"/>
                </a:moveTo>
                <a:lnTo>
                  <a:pt x="11893312" y="2540032"/>
                </a:lnTo>
                <a:lnTo>
                  <a:pt x="11893312" y="2926321"/>
                </a:lnTo>
                <a:lnTo>
                  <a:pt x="11559679" y="3119473"/>
                </a:lnTo>
                <a:lnTo>
                  <a:pt x="11225916" y="2926321"/>
                </a:lnTo>
                <a:lnTo>
                  <a:pt x="11225916" y="2540032"/>
                </a:lnTo>
                <a:close/>
                <a:moveTo>
                  <a:pt x="9505601" y="2346870"/>
                </a:moveTo>
                <a:lnTo>
                  <a:pt x="9839364" y="2540021"/>
                </a:lnTo>
                <a:lnTo>
                  <a:pt x="9839364" y="2926315"/>
                </a:lnTo>
                <a:lnTo>
                  <a:pt x="9505732" y="3119464"/>
                </a:lnTo>
                <a:lnTo>
                  <a:pt x="9171969" y="2926315"/>
                </a:lnTo>
                <a:lnTo>
                  <a:pt x="9171969" y="2540021"/>
                </a:lnTo>
                <a:close/>
                <a:moveTo>
                  <a:pt x="7451785" y="2346860"/>
                </a:moveTo>
                <a:lnTo>
                  <a:pt x="7785548" y="2540012"/>
                </a:lnTo>
                <a:lnTo>
                  <a:pt x="7785548" y="2926298"/>
                </a:lnTo>
                <a:lnTo>
                  <a:pt x="7451915" y="3119455"/>
                </a:lnTo>
                <a:lnTo>
                  <a:pt x="7118150" y="2926298"/>
                </a:lnTo>
                <a:lnTo>
                  <a:pt x="7118150" y="2540012"/>
                </a:lnTo>
                <a:close/>
                <a:moveTo>
                  <a:pt x="5397883" y="2346843"/>
                </a:moveTo>
                <a:lnTo>
                  <a:pt x="5731616" y="2539987"/>
                </a:lnTo>
                <a:lnTo>
                  <a:pt x="5731616" y="2926288"/>
                </a:lnTo>
                <a:lnTo>
                  <a:pt x="5397992" y="3119437"/>
                </a:lnTo>
                <a:lnTo>
                  <a:pt x="5293503" y="3058968"/>
                </a:lnTo>
                <a:lnTo>
                  <a:pt x="5064269" y="2926298"/>
                </a:lnTo>
                <a:lnTo>
                  <a:pt x="5064269" y="2539997"/>
                </a:lnTo>
                <a:close/>
                <a:moveTo>
                  <a:pt x="3344089" y="2346826"/>
                </a:moveTo>
                <a:lnTo>
                  <a:pt x="3412199" y="2386238"/>
                </a:lnTo>
                <a:lnTo>
                  <a:pt x="3665295" y="2532714"/>
                </a:lnTo>
                <a:lnTo>
                  <a:pt x="3677820" y="2539966"/>
                </a:lnTo>
                <a:lnTo>
                  <a:pt x="3677820" y="2926275"/>
                </a:lnTo>
                <a:lnTo>
                  <a:pt x="3344194" y="3119426"/>
                </a:lnTo>
                <a:lnTo>
                  <a:pt x="3184341" y="3026916"/>
                </a:lnTo>
                <a:lnTo>
                  <a:pt x="3010455" y="2926288"/>
                </a:lnTo>
                <a:lnTo>
                  <a:pt x="3010455" y="2539980"/>
                </a:lnTo>
                <a:close/>
                <a:moveTo>
                  <a:pt x="1290108" y="2346810"/>
                </a:moveTo>
                <a:lnTo>
                  <a:pt x="1351079" y="2382092"/>
                </a:lnTo>
                <a:lnTo>
                  <a:pt x="1535796" y="2488993"/>
                </a:lnTo>
                <a:lnTo>
                  <a:pt x="1623847" y="2539954"/>
                </a:lnTo>
                <a:lnTo>
                  <a:pt x="1623847" y="2926261"/>
                </a:lnTo>
                <a:lnTo>
                  <a:pt x="1290218" y="3119416"/>
                </a:lnTo>
                <a:lnTo>
                  <a:pt x="1213315" y="3074912"/>
                </a:lnTo>
                <a:lnTo>
                  <a:pt x="963641" y="2930424"/>
                </a:lnTo>
                <a:lnTo>
                  <a:pt x="956477" y="2926279"/>
                </a:lnTo>
                <a:lnTo>
                  <a:pt x="956477" y="2539968"/>
                </a:lnTo>
                <a:close/>
                <a:moveTo>
                  <a:pt x="10190640" y="2346481"/>
                </a:moveTo>
                <a:lnTo>
                  <a:pt x="10524404" y="2539629"/>
                </a:lnTo>
                <a:lnTo>
                  <a:pt x="10524404" y="2925801"/>
                </a:lnTo>
                <a:lnTo>
                  <a:pt x="10190640" y="3118955"/>
                </a:lnTo>
                <a:lnTo>
                  <a:pt x="9856876" y="2925801"/>
                </a:lnTo>
                <a:lnTo>
                  <a:pt x="9856876" y="2539629"/>
                </a:lnTo>
                <a:close/>
                <a:moveTo>
                  <a:pt x="8136693" y="2346470"/>
                </a:moveTo>
                <a:lnTo>
                  <a:pt x="8470456" y="2539621"/>
                </a:lnTo>
                <a:lnTo>
                  <a:pt x="8470456" y="2925792"/>
                </a:lnTo>
                <a:lnTo>
                  <a:pt x="8136693" y="3118942"/>
                </a:lnTo>
                <a:lnTo>
                  <a:pt x="7802930" y="2925792"/>
                </a:lnTo>
                <a:lnTo>
                  <a:pt x="7802930" y="2539621"/>
                </a:lnTo>
                <a:close/>
                <a:moveTo>
                  <a:pt x="6082876" y="2346447"/>
                </a:moveTo>
                <a:lnTo>
                  <a:pt x="6416638" y="2539608"/>
                </a:lnTo>
                <a:lnTo>
                  <a:pt x="6416638" y="2925780"/>
                </a:lnTo>
                <a:lnTo>
                  <a:pt x="6082876" y="3118929"/>
                </a:lnTo>
                <a:lnTo>
                  <a:pt x="5749138" y="2925780"/>
                </a:lnTo>
                <a:lnTo>
                  <a:pt x="5749138" y="2539608"/>
                </a:lnTo>
                <a:close/>
                <a:moveTo>
                  <a:pt x="4029122" y="2346439"/>
                </a:moveTo>
                <a:lnTo>
                  <a:pt x="4326678" y="2518660"/>
                </a:lnTo>
                <a:lnTo>
                  <a:pt x="4362838" y="2539591"/>
                </a:lnTo>
                <a:lnTo>
                  <a:pt x="4362838" y="2925766"/>
                </a:lnTo>
                <a:lnTo>
                  <a:pt x="4029115" y="3118919"/>
                </a:lnTo>
                <a:lnTo>
                  <a:pt x="3695364" y="2925772"/>
                </a:lnTo>
                <a:lnTo>
                  <a:pt x="3695364" y="2539591"/>
                </a:lnTo>
                <a:close/>
                <a:moveTo>
                  <a:pt x="1975147" y="2346423"/>
                </a:moveTo>
                <a:lnTo>
                  <a:pt x="2308913" y="2539575"/>
                </a:lnTo>
                <a:lnTo>
                  <a:pt x="2308913" y="2925753"/>
                </a:lnTo>
                <a:lnTo>
                  <a:pt x="1975142" y="3118908"/>
                </a:lnTo>
                <a:lnTo>
                  <a:pt x="1641385" y="2925755"/>
                </a:lnTo>
                <a:lnTo>
                  <a:pt x="1641385" y="2539579"/>
                </a:lnTo>
                <a:close/>
                <a:moveTo>
                  <a:pt x="11902654" y="2148664"/>
                </a:moveTo>
                <a:lnTo>
                  <a:pt x="12188651" y="2314149"/>
                </a:lnTo>
                <a:lnTo>
                  <a:pt x="12188651" y="2359849"/>
                </a:lnTo>
                <a:lnTo>
                  <a:pt x="11902524" y="2525372"/>
                </a:lnTo>
                <a:lnTo>
                  <a:pt x="11577065" y="2337021"/>
                </a:lnTo>
                <a:close/>
                <a:moveTo>
                  <a:pt x="9848833" y="2148651"/>
                </a:moveTo>
                <a:lnTo>
                  <a:pt x="10174292" y="2337004"/>
                </a:lnTo>
                <a:lnTo>
                  <a:pt x="9848703" y="2525360"/>
                </a:lnTo>
                <a:lnTo>
                  <a:pt x="9523246" y="2337004"/>
                </a:lnTo>
                <a:close/>
                <a:moveTo>
                  <a:pt x="7794888" y="2148635"/>
                </a:moveTo>
                <a:lnTo>
                  <a:pt x="8120344" y="2336987"/>
                </a:lnTo>
                <a:lnTo>
                  <a:pt x="7794758" y="2525343"/>
                </a:lnTo>
                <a:lnTo>
                  <a:pt x="7469301" y="2336987"/>
                </a:lnTo>
                <a:close/>
                <a:moveTo>
                  <a:pt x="5741092" y="2148623"/>
                </a:moveTo>
                <a:lnTo>
                  <a:pt x="6066529" y="2336977"/>
                </a:lnTo>
                <a:lnTo>
                  <a:pt x="5740963" y="2525334"/>
                </a:lnTo>
                <a:lnTo>
                  <a:pt x="5415529" y="2336977"/>
                </a:lnTo>
                <a:close/>
                <a:moveTo>
                  <a:pt x="3687323" y="2148612"/>
                </a:moveTo>
                <a:lnTo>
                  <a:pt x="4012773" y="2336961"/>
                </a:lnTo>
                <a:lnTo>
                  <a:pt x="3687187" y="2525317"/>
                </a:lnTo>
                <a:lnTo>
                  <a:pt x="3465770" y="2397169"/>
                </a:lnTo>
                <a:lnTo>
                  <a:pt x="3361734" y="2336966"/>
                </a:lnTo>
                <a:close/>
                <a:moveTo>
                  <a:pt x="1633341" y="2148592"/>
                </a:moveTo>
                <a:lnTo>
                  <a:pt x="1958797" y="2336948"/>
                </a:lnTo>
                <a:lnTo>
                  <a:pt x="1633208" y="2525303"/>
                </a:lnTo>
                <a:lnTo>
                  <a:pt x="1561718" y="2483930"/>
                </a:lnTo>
                <a:lnTo>
                  <a:pt x="1307753" y="2336948"/>
                </a:lnTo>
                <a:close/>
                <a:moveTo>
                  <a:pt x="11113840" y="1984709"/>
                </a:moveTo>
                <a:cubicBezTo>
                  <a:pt x="11124348" y="1984709"/>
                  <a:pt x="11134206" y="1988860"/>
                  <a:pt x="11141600" y="1996254"/>
                </a:cubicBezTo>
                <a:lnTo>
                  <a:pt x="11206199" y="2060984"/>
                </a:lnTo>
                <a:lnTo>
                  <a:pt x="11217744" y="2072657"/>
                </a:lnTo>
                <a:lnTo>
                  <a:pt x="11229289" y="2060984"/>
                </a:lnTo>
                <a:lnTo>
                  <a:pt x="11293758" y="1996254"/>
                </a:lnTo>
                <a:cubicBezTo>
                  <a:pt x="11301152" y="1988728"/>
                  <a:pt x="11311011" y="1984709"/>
                  <a:pt x="11321517" y="1984709"/>
                </a:cubicBezTo>
                <a:cubicBezTo>
                  <a:pt x="11331896" y="1984709"/>
                  <a:pt x="11341755" y="1988860"/>
                  <a:pt x="11349147" y="1996254"/>
                </a:cubicBezTo>
                <a:lnTo>
                  <a:pt x="11427627" y="2074862"/>
                </a:lnTo>
                <a:lnTo>
                  <a:pt x="11439169" y="2102615"/>
                </a:lnTo>
                <a:lnTo>
                  <a:pt x="11427757" y="2130362"/>
                </a:lnTo>
                <a:lnTo>
                  <a:pt x="11217744" y="2340772"/>
                </a:lnTo>
                <a:lnTo>
                  <a:pt x="11007731" y="2130362"/>
                </a:lnTo>
                <a:lnTo>
                  <a:pt x="10996254" y="2102632"/>
                </a:lnTo>
                <a:lnTo>
                  <a:pt x="11007731" y="2074992"/>
                </a:lnTo>
                <a:lnTo>
                  <a:pt x="11086210" y="1996254"/>
                </a:lnTo>
                <a:cubicBezTo>
                  <a:pt x="11093605" y="1988860"/>
                  <a:pt x="11103333" y="1984709"/>
                  <a:pt x="11113840" y="1984709"/>
                </a:cubicBezTo>
                <a:close/>
                <a:moveTo>
                  <a:pt x="9059892" y="1984692"/>
                </a:moveTo>
                <a:cubicBezTo>
                  <a:pt x="9070398" y="1984692"/>
                  <a:pt x="9080257" y="1988843"/>
                  <a:pt x="9087652" y="1996238"/>
                </a:cubicBezTo>
                <a:lnTo>
                  <a:pt x="9152251" y="2060967"/>
                </a:lnTo>
                <a:lnTo>
                  <a:pt x="9163796" y="2072641"/>
                </a:lnTo>
                <a:lnTo>
                  <a:pt x="9175341" y="2060967"/>
                </a:lnTo>
                <a:lnTo>
                  <a:pt x="9239810" y="1996238"/>
                </a:lnTo>
                <a:cubicBezTo>
                  <a:pt x="9247204" y="1988714"/>
                  <a:pt x="9257062" y="1984692"/>
                  <a:pt x="9267570" y="1984692"/>
                </a:cubicBezTo>
                <a:cubicBezTo>
                  <a:pt x="9277946" y="1984692"/>
                  <a:pt x="9287805" y="1988843"/>
                  <a:pt x="9295200" y="1996238"/>
                </a:cubicBezTo>
                <a:lnTo>
                  <a:pt x="9373678" y="2074846"/>
                </a:lnTo>
                <a:lnTo>
                  <a:pt x="9385220" y="2102601"/>
                </a:lnTo>
                <a:lnTo>
                  <a:pt x="9373809" y="2130340"/>
                </a:lnTo>
                <a:lnTo>
                  <a:pt x="9163797" y="2340755"/>
                </a:lnTo>
                <a:lnTo>
                  <a:pt x="8953784" y="2130340"/>
                </a:lnTo>
                <a:lnTo>
                  <a:pt x="8942307" y="2102615"/>
                </a:lnTo>
                <a:lnTo>
                  <a:pt x="8953783" y="2074978"/>
                </a:lnTo>
                <a:lnTo>
                  <a:pt x="9032263" y="1996238"/>
                </a:lnTo>
                <a:cubicBezTo>
                  <a:pt x="9039655" y="1988843"/>
                  <a:pt x="9049385" y="1984692"/>
                  <a:pt x="9059892" y="1984692"/>
                </a:cubicBezTo>
                <a:close/>
                <a:moveTo>
                  <a:pt x="7006076" y="1984677"/>
                </a:moveTo>
                <a:cubicBezTo>
                  <a:pt x="7016582" y="1984677"/>
                  <a:pt x="7026440" y="1988828"/>
                  <a:pt x="7033834" y="1996221"/>
                </a:cubicBezTo>
                <a:lnTo>
                  <a:pt x="7098434" y="2060951"/>
                </a:lnTo>
                <a:lnTo>
                  <a:pt x="7109978" y="2072625"/>
                </a:lnTo>
                <a:lnTo>
                  <a:pt x="7121523" y="2060951"/>
                </a:lnTo>
                <a:lnTo>
                  <a:pt x="7185994" y="1996221"/>
                </a:lnTo>
                <a:cubicBezTo>
                  <a:pt x="7193387" y="1988696"/>
                  <a:pt x="7203245" y="1984677"/>
                  <a:pt x="7213751" y="1984677"/>
                </a:cubicBezTo>
                <a:cubicBezTo>
                  <a:pt x="7224130" y="1984677"/>
                  <a:pt x="7233989" y="1988828"/>
                  <a:pt x="7241381" y="1996221"/>
                </a:cubicBezTo>
                <a:lnTo>
                  <a:pt x="7319862" y="2074831"/>
                </a:lnTo>
                <a:lnTo>
                  <a:pt x="7331403" y="2102583"/>
                </a:lnTo>
                <a:lnTo>
                  <a:pt x="7319992" y="2130329"/>
                </a:lnTo>
                <a:lnTo>
                  <a:pt x="7109978" y="2340739"/>
                </a:lnTo>
                <a:lnTo>
                  <a:pt x="6899966" y="2130329"/>
                </a:lnTo>
                <a:lnTo>
                  <a:pt x="6888488" y="2102601"/>
                </a:lnTo>
                <a:lnTo>
                  <a:pt x="6899966" y="2074961"/>
                </a:lnTo>
                <a:lnTo>
                  <a:pt x="6978446" y="1996221"/>
                </a:lnTo>
                <a:cubicBezTo>
                  <a:pt x="6985839" y="1988828"/>
                  <a:pt x="6995568" y="1984677"/>
                  <a:pt x="7006076" y="1984677"/>
                </a:cubicBezTo>
                <a:close/>
                <a:moveTo>
                  <a:pt x="4952163" y="1984659"/>
                </a:moveTo>
                <a:cubicBezTo>
                  <a:pt x="4962672" y="1984659"/>
                  <a:pt x="4972539" y="1988810"/>
                  <a:pt x="4979931" y="1996205"/>
                </a:cubicBezTo>
                <a:lnTo>
                  <a:pt x="5021209" y="2037554"/>
                </a:lnTo>
                <a:lnTo>
                  <a:pt x="5044521" y="2060919"/>
                </a:lnTo>
                <a:lnTo>
                  <a:pt x="5056083" y="2072595"/>
                </a:lnTo>
                <a:lnTo>
                  <a:pt x="5056083" y="2072592"/>
                </a:lnTo>
                <a:lnTo>
                  <a:pt x="5056095" y="2072609"/>
                </a:lnTo>
                <a:lnTo>
                  <a:pt x="5067642" y="2060935"/>
                </a:lnTo>
                <a:lnTo>
                  <a:pt x="5132091" y="1996205"/>
                </a:lnTo>
                <a:cubicBezTo>
                  <a:pt x="5139483" y="1988680"/>
                  <a:pt x="5149338" y="1984659"/>
                  <a:pt x="5159840" y="1984659"/>
                </a:cubicBezTo>
                <a:lnTo>
                  <a:pt x="5187487" y="1996203"/>
                </a:lnTo>
                <a:lnTo>
                  <a:pt x="5234645" y="2043461"/>
                </a:lnTo>
                <a:lnTo>
                  <a:pt x="5265946" y="2074804"/>
                </a:lnTo>
                <a:lnTo>
                  <a:pt x="5277479" y="2102560"/>
                </a:lnTo>
                <a:cubicBezTo>
                  <a:pt x="5277479" y="2113068"/>
                  <a:pt x="5273469" y="2122919"/>
                  <a:pt x="5266071" y="2130322"/>
                </a:cubicBezTo>
                <a:lnTo>
                  <a:pt x="5056083" y="2340720"/>
                </a:lnTo>
                <a:lnTo>
                  <a:pt x="4969669" y="2254172"/>
                </a:lnTo>
                <a:lnTo>
                  <a:pt x="4846040" y="2130322"/>
                </a:lnTo>
                <a:lnTo>
                  <a:pt x="4834566" y="2102591"/>
                </a:lnTo>
                <a:cubicBezTo>
                  <a:pt x="4834566" y="2092554"/>
                  <a:pt x="4838398" y="2082533"/>
                  <a:pt x="4846044" y="2074945"/>
                </a:cubicBezTo>
                <a:lnTo>
                  <a:pt x="4924518" y="1996205"/>
                </a:lnTo>
                <a:cubicBezTo>
                  <a:pt x="4931917" y="1988810"/>
                  <a:pt x="4941650" y="1984659"/>
                  <a:pt x="4952163" y="1984659"/>
                </a:cubicBezTo>
                <a:close/>
                <a:moveTo>
                  <a:pt x="2898379" y="1984642"/>
                </a:moveTo>
                <a:lnTo>
                  <a:pt x="2926124" y="1996183"/>
                </a:lnTo>
                <a:lnTo>
                  <a:pt x="2990712" y="2060903"/>
                </a:lnTo>
                <a:lnTo>
                  <a:pt x="3002260" y="2072579"/>
                </a:lnTo>
                <a:lnTo>
                  <a:pt x="3002262" y="2072574"/>
                </a:lnTo>
                <a:lnTo>
                  <a:pt x="3002282" y="2072593"/>
                </a:lnTo>
                <a:lnTo>
                  <a:pt x="3013824" y="2060919"/>
                </a:lnTo>
                <a:lnTo>
                  <a:pt x="3078292" y="1996188"/>
                </a:lnTo>
                <a:cubicBezTo>
                  <a:pt x="3085693" y="1988664"/>
                  <a:pt x="3095547" y="1984642"/>
                  <a:pt x="3106058" y="1984642"/>
                </a:cubicBezTo>
                <a:lnTo>
                  <a:pt x="3133671" y="1996183"/>
                </a:lnTo>
                <a:lnTo>
                  <a:pt x="3212141" y="2074784"/>
                </a:lnTo>
                <a:cubicBezTo>
                  <a:pt x="3219535" y="2082179"/>
                  <a:pt x="3223556" y="2092036"/>
                  <a:pt x="3223687" y="2102544"/>
                </a:cubicBezTo>
                <a:cubicBezTo>
                  <a:pt x="3223687" y="2113052"/>
                  <a:pt x="3219666" y="2122906"/>
                  <a:pt x="3212272" y="2130304"/>
                </a:cubicBezTo>
                <a:lnTo>
                  <a:pt x="3002263" y="2340706"/>
                </a:lnTo>
                <a:lnTo>
                  <a:pt x="2792272" y="2130322"/>
                </a:lnTo>
                <a:cubicBezTo>
                  <a:pt x="2776962" y="2115013"/>
                  <a:pt x="2776962" y="2090107"/>
                  <a:pt x="2792272" y="2074929"/>
                </a:cubicBezTo>
                <a:lnTo>
                  <a:pt x="2870746" y="1996188"/>
                </a:lnTo>
                <a:cubicBezTo>
                  <a:pt x="2878142" y="1988794"/>
                  <a:pt x="2887867" y="1984642"/>
                  <a:pt x="2898379" y="1984642"/>
                </a:cubicBezTo>
                <a:close/>
                <a:moveTo>
                  <a:pt x="844398" y="1984626"/>
                </a:moveTo>
                <a:lnTo>
                  <a:pt x="872148" y="1996168"/>
                </a:lnTo>
                <a:lnTo>
                  <a:pt x="936736" y="2060888"/>
                </a:lnTo>
                <a:lnTo>
                  <a:pt x="948281" y="2072562"/>
                </a:lnTo>
                <a:lnTo>
                  <a:pt x="948285" y="2072558"/>
                </a:lnTo>
                <a:lnTo>
                  <a:pt x="948304" y="2072577"/>
                </a:lnTo>
                <a:lnTo>
                  <a:pt x="959848" y="2060903"/>
                </a:lnTo>
                <a:lnTo>
                  <a:pt x="1024318" y="1996172"/>
                </a:lnTo>
                <a:cubicBezTo>
                  <a:pt x="1031712" y="1988648"/>
                  <a:pt x="1041571" y="1984626"/>
                  <a:pt x="1052077" y="1984626"/>
                </a:cubicBezTo>
                <a:lnTo>
                  <a:pt x="1079695" y="1996168"/>
                </a:lnTo>
                <a:lnTo>
                  <a:pt x="1158163" y="2074768"/>
                </a:lnTo>
                <a:cubicBezTo>
                  <a:pt x="1165557" y="2082163"/>
                  <a:pt x="1169579" y="2092021"/>
                  <a:pt x="1169708" y="2102528"/>
                </a:cubicBezTo>
                <a:cubicBezTo>
                  <a:pt x="1169708" y="2113036"/>
                  <a:pt x="1165688" y="2122893"/>
                  <a:pt x="1158294" y="2130289"/>
                </a:cubicBezTo>
                <a:lnTo>
                  <a:pt x="948285" y="2340695"/>
                </a:lnTo>
                <a:lnTo>
                  <a:pt x="738292" y="2130304"/>
                </a:lnTo>
                <a:cubicBezTo>
                  <a:pt x="722985" y="2114996"/>
                  <a:pt x="722985" y="2090090"/>
                  <a:pt x="738292" y="2074914"/>
                </a:cubicBezTo>
                <a:lnTo>
                  <a:pt x="816770" y="1996172"/>
                </a:lnTo>
                <a:cubicBezTo>
                  <a:pt x="824164" y="1988778"/>
                  <a:pt x="833892" y="1984626"/>
                  <a:pt x="844398" y="1984626"/>
                </a:cubicBezTo>
                <a:close/>
                <a:moveTo>
                  <a:pt x="11113840" y="1968219"/>
                </a:moveTo>
                <a:cubicBezTo>
                  <a:pt x="11099571" y="1968219"/>
                  <a:pt x="11085432" y="1973667"/>
                  <a:pt x="11074665" y="1984563"/>
                </a:cubicBezTo>
                <a:lnTo>
                  <a:pt x="10996186" y="2063301"/>
                </a:lnTo>
                <a:cubicBezTo>
                  <a:pt x="10985354" y="2074134"/>
                  <a:pt x="10979939" y="2088370"/>
                  <a:pt x="10979939" y="2102607"/>
                </a:cubicBezTo>
                <a:lnTo>
                  <a:pt x="10979942" y="2102615"/>
                </a:lnTo>
                <a:lnTo>
                  <a:pt x="10979939" y="2102624"/>
                </a:lnTo>
                <a:cubicBezTo>
                  <a:pt x="10979939" y="2116849"/>
                  <a:pt x="10985354" y="2131085"/>
                  <a:pt x="10996186" y="2141922"/>
                </a:cubicBezTo>
                <a:lnTo>
                  <a:pt x="11217744" y="2364005"/>
                </a:lnTo>
                <a:lnTo>
                  <a:pt x="11439301" y="2141922"/>
                </a:lnTo>
                <a:cubicBezTo>
                  <a:pt x="11450132" y="2131085"/>
                  <a:pt x="11455548" y="2116849"/>
                  <a:pt x="11455548" y="2102624"/>
                </a:cubicBezTo>
                <a:lnTo>
                  <a:pt x="11455545" y="2102615"/>
                </a:lnTo>
                <a:lnTo>
                  <a:pt x="11455548" y="2102607"/>
                </a:lnTo>
                <a:cubicBezTo>
                  <a:pt x="11455548" y="2088370"/>
                  <a:pt x="11450132" y="2074134"/>
                  <a:pt x="11439301" y="2063301"/>
                </a:cubicBezTo>
                <a:lnTo>
                  <a:pt x="11360822" y="1984693"/>
                </a:lnTo>
                <a:cubicBezTo>
                  <a:pt x="11349927" y="1973797"/>
                  <a:pt x="11335787" y="1968348"/>
                  <a:pt x="11321647" y="1968348"/>
                </a:cubicBezTo>
                <a:lnTo>
                  <a:pt x="11321517" y="1968219"/>
                </a:lnTo>
                <a:cubicBezTo>
                  <a:pt x="11307249" y="1968219"/>
                  <a:pt x="11293110" y="1973667"/>
                  <a:pt x="11282213" y="1984693"/>
                </a:cubicBezTo>
                <a:lnTo>
                  <a:pt x="11217744" y="2049294"/>
                </a:lnTo>
                <a:lnTo>
                  <a:pt x="11153145" y="1984563"/>
                </a:lnTo>
                <a:cubicBezTo>
                  <a:pt x="11142248" y="1973667"/>
                  <a:pt x="11128108" y="1968219"/>
                  <a:pt x="11113840" y="1968219"/>
                </a:cubicBezTo>
                <a:close/>
                <a:moveTo>
                  <a:pt x="9059893" y="1968203"/>
                </a:moveTo>
                <a:cubicBezTo>
                  <a:pt x="9045624" y="1968203"/>
                  <a:pt x="9031484" y="1973653"/>
                  <a:pt x="9020718" y="1984547"/>
                </a:cubicBezTo>
                <a:lnTo>
                  <a:pt x="8942239" y="2063287"/>
                </a:lnTo>
                <a:cubicBezTo>
                  <a:pt x="8931408" y="2074118"/>
                  <a:pt x="8925992" y="2088355"/>
                  <a:pt x="8925992" y="2102593"/>
                </a:cubicBezTo>
                <a:lnTo>
                  <a:pt x="8925994" y="2102598"/>
                </a:lnTo>
                <a:lnTo>
                  <a:pt x="8925991" y="2102606"/>
                </a:lnTo>
                <a:cubicBezTo>
                  <a:pt x="8925991" y="2116838"/>
                  <a:pt x="8931406" y="2131068"/>
                  <a:pt x="8942238" y="2141902"/>
                </a:cubicBezTo>
                <a:lnTo>
                  <a:pt x="9163796" y="2363983"/>
                </a:lnTo>
                <a:lnTo>
                  <a:pt x="9385353" y="2141902"/>
                </a:lnTo>
                <a:cubicBezTo>
                  <a:pt x="9396185" y="2131068"/>
                  <a:pt x="9401600" y="2116838"/>
                  <a:pt x="9401600" y="2102606"/>
                </a:cubicBezTo>
                <a:lnTo>
                  <a:pt x="9401598" y="2102601"/>
                </a:lnTo>
                <a:lnTo>
                  <a:pt x="9401601" y="2102593"/>
                </a:lnTo>
                <a:cubicBezTo>
                  <a:pt x="9401601" y="2088355"/>
                  <a:pt x="9396185" y="2074118"/>
                  <a:pt x="9385354" y="2063287"/>
                </a:cubicBezTo>
                <a:lnTo>
                  <a:pt x="9306876" y="1984677"/>
                </a:lnTo>
                <a:cubicBezTo>
                  <a:pt x="9295978" y="1973780"/>
                  <a:pt x="9281840" y="1968333"/>
                  <a:pt x="9267701" y="1968333"/>
                </a:cubicBezTo>
                <a:lnTo>
                  <a:pt x="9267571" y="1968203"/>
                </a:lnTo>
                <a:cubicBezTo>
                  <a:pt x="9253303" y="1968203"/>
                  <a:pt x="9239162" y="1973653"/>
                  <a:pt x="9228266" y="1984677"/>
                </a:cubicBezTo>
                <a:lnTo>
                  <a:pt x="9163797" y="2049278"/>
                </a:lnTo>
                <a:lnTo>
                  <a:pt x="9099198" y="1984547"/>
                </a:lnTo>
                <a:cubicBezTo>
                  <a:pt x="9088300" y="1973653"/>
                  <a:pt x="9074162" y="1968203"/>
                  <a:pt x="9059893" y="1968203"/>
                </a:cubicBezTo>
                <a:close/>
                <a:moveTo>
                  <a:pt x="7006076" y="1968186"/>
                </a:moveTo>
                <a:cubicBezTo>
                  <a:pt x="6991805" y="1968186"/>
                  <a:pt x="6977666" y="1973634"/>
                  <a:pt x="6966901" y="1984530"/>
                </a:cubicBezTo>
                <a:lnTo>
                  <a:pt x="6888421" y="2063270"/>
                </a:lnTo>
                <a:cubicBezTo>
                  <a:pt x="6877589" y="2074102"/>
                  <a:pt x="6872173" y="2088339"/>
                  <a:pt x="6872173" y="2102577"/>
                </a:cubicBezTo>
                <a:lnTo>
                  <a:pt x="6872176" y="2102583"/>
                </a:lnTo>
                <a:lnTo>
                  <a:pt x="6872173" y="2102591"/>
                </a:lnTo>
                <a:cubicBezTo>
                  <a:pt x="6872173" y="2116819"/>
                  <a:pt x="6877589" y="2131060"/>
                  <a:pt x="6888421" y="2141896"/>
                </a:cubicBezTo>
                <a:lnTo>
                  <a:pt x="7109978" y="2363976"/>
                </a:lnTo>
                <a:lnTo>
                  <a:pt x="7331537" y="2141896"/>
                </a:lnTo>
                <a:cubicBezTo>
                  <a:pt x="7342368" y="2131060"/>
                  <a:pt x="7347783" y="2116819"/>
                  <a:pt x="7347783" y="2102591"/>
                </a:cubicBezTo>
                <a:lnTo>
                  <a:pt x="7347780" y="2102583"/>
                </a:lnTo>
                <a:lnTo>
                  <a:pt x="7347783" y="2102577"/>
                </a:lnTo>
                <a:cubicBezTo>
                  <a:pt x="7347783" y="2088339"/>
                  <a:pt x="7342368" y="2074102"/>
                  <a:pt x="7331537" y="2063270"/>
                </a:cubicBezTo>
                <a:lnTo>
                  <a:pt x="7253057" y="1984660"/>
                </a:lnTo>
                <a:cubicBezTo>
                  <a:pt x="7242161" y="1973763"/>
                  <a:pt x="7228022" y="1968316"/>
                  <a:pt x="7213882" y="1968316"/>
                </a:cubicBezTo>
                <a:lnTo>
                  <a:pt x="7213751" y="1968186"/>
                </a:lnTo>
                <a:cubicBezTo>
                  <a:pt x="7199483" y="1968186"/>
                  <a:pt x="7185345" y="1973634"/>
                  <a:pt x="7174449" y="1984660"/>
                </a:cubicBezTo>
                <a:lnTo>
                  <a:pt x="7109978" y="2049261"/>
                </a:lnTo>
                <a:lnTo>
                  <a:pt x="7045379" y="1984530"/>
                </a:lnTo>
                <a:cubicBezTo>
                  <a:pt x="7034483" y="1973634"/>
                  <a:pt x="7020344" y="1968186"/>
                  <a:pt x="7006076" y="1968186"/>
                </a:cubicBezTo>
                <a:close/>
                <a:moveTo>
                  <a:pt x="4952154" y="1968169"/>
                </a:moveTo>
                <a:cubicBezTo>
                  <a:pt x="4937883" y="1968169"/>
                  <a:pt x="4923734" y="1973618"/>
                  <a:pt x="4912971" y="1984514"/>
                </a:cubicBezTo>
                <a:lnTo>
                  <a:pt x="4834497" y="2063254"/>
                </a:lnTo>
                <a:cubicBezTo>
                  <a:pt x="4812828" y="2084919"/>
                  <a:pt x="4812828" y="2120198"/>
                  <a:pt x="4834497" y="2141866"/>
                </a:cubicBezTo>
                <a:lnTo>
                  <a:pt x="4834505" y="2141879"/>
                </a:lnTo>
                <a:lnTo>
                  <a:pt x="4969761" y="2277444"/>
                </a:lnTo>
                <a:lnTo>
                  <a:pt x="5056083" y="2363949"/>
                </a:lnTo>
                <a:lnTo>
                  <a:pt x="5056083" y="2363940"/>
                </a:lnTo>
                <a:lnTo>
                  <a:pt x="5056095" y="2363964"/>
                </a:lnTo>
                <a:lnTo>
                  <a:pt x="5277619" y="2141879"/>
                </a:lnTo>
                <a:cubicBezTo>
                  <a:pt x="5299295" y="2120214"/>
                  <a:pt x="5299295" y="2084933"/>
                  <a:pt x="5277619" y="2063270"/>
                </a:cubicBezTo>
                <a:lnTo>
                  <a:pt x="5277615" y="2063260"/>
                </a:lnTo>
                <a:lnTo>
                  <a:pt x="5277613" y="2063254"/>
                </a:lnTo>
                <a:lnTo>
                  <a:pt x="5199129" y="1984644"/>
                </a:lnTo>
                <a:cubicBezTo>
                  <a:pt x="5188240" y="1973748"/>
                  <a:pt x="5174094" y="1968300"/>
                  <a:pt x="5159958" y="1968300"/>
                </a:cubicBezTo>
                <a:lnTo>
                  <a:pt x="5159834" y="1968169"/>
                </a:lnTo>
                <a:cubicBezTo>
                  <a:pt x="5145563" y="1968169"/>
                  <a:pt x="5131430" y="1973618"/>
                  <a:pt x="5120536" y="1984644"/>
                </a:cubicBezTo>
                <a:lnTo>
                  <a:pt x="5056083" y="2049243"/>
                </a:lnTo>
                <a:lnTo>
                  <a:pt x="5013371" y="2006464"/>
                </a:lnTo>
                <a:lnTo>
                  <a:pt x="4991465" y="1984514"/>
                </a:lnTo>
                <a:cubicBezTo>
                  <a:pt x="4980565" y="1973618"/>
                  <a:pt x="4966420" y="1968169"/>
                  <a:pt x="4952154" y="1968169"/>
                </a:cubicBezTo>
                <a:close/>
                <a:moveTo>
                  <a:pt x="2898356" y="1968153"/>
                </a:moveTo>
                <a:cubicBezTo>
                  <a:pt x="2884084" y="1968153"/>
                  <a:pt x="2869945" y="1973601"/>
                  <a:pt x="2859181" y="1984498"/>
                </a:cubicBezTo>
                <a:lnTo>
                  <a:pt x="2780699" y="2063238"/>
                </a:lnTo>
                <a:cubicBezTo>
                  <a:pt x="2759037" y="2084901"/>
                  <a:pt x="2759037" y="2120185"/>
                  <a:pt x="2780699" y="2141849"/>
                </a:cubicBezTo>
                <a:lnTo>
                  <a:pt x="3002260" y="2363931"/>
                </a:lnTo>
                <a:lnTo>
                  <a:pt x="3002263" y="2363925"/>
                </a:lnTo>
                <a:lnTo>
                  <a:pt x="3002282" y="2363946"/>
                </a:lnTo>
                <a:lnTo>
                  <a:pt x="3223840" y="2141866"/>
                </a:lnTo>
                <a:cubicBezTo>
                  <a:pt x="3245503" y="2120198"/>
                  <a:pt x="3245503" y="2084918"/>
                  <a:pt x="3223840" y="2063254"/>
                </a:cubicBezTo>
                <a:lnTo>
                  <a:pt x="3145359" y="1984642"/>
                </a:lnTo>
                <a:cubicBezTo>
                  <a:pt x="3139911" y="1979194"/>
                  <a:pt x="3133652" y="1975108"/>
                  <a:pt x="3126988" y="1972385"/>
                </a:cubicBezTo>
                <a:lnTo>
                  <a:pt x="3126965" y="1972369"/>
                </a:lnTo>
                <a:lnTo>
                  <a:pt x="3106173" y="1968284"/>
                </a:lnTo>
                <a:lnTo>
                  <a:pt x="3106058" y="1968169"/>
                </a:lnTo>
                <a:lnTo>
                  <a:pt x="3106050" y="1968170"/>
                </a:lnTo>
                <a:lnTo>
                  <a:pt x="3106032" y="1968153"/>
                </a:lnTo>
                <a:cubicBezTo>
                  <a:pt x="3091763" y="1968153"/>
                  <a:pt x="3077624" y="1973601"/>
                  <a:pt x="3066728" y="1984627"/>
                </a:cubicBezTo>
                <a:lnTo>
                  <a:pt x="3002263" y="2049224"/>
                </a:lnTo>
                <a:lnTo>
                  <a:pt x="2937683" y="1984514"/>
                </a:lnTo>
                <a:cubicBezTo>
                  <a:pt x="2932237" y="1979065"/>
                  <a:pt x="2925973" y="1974980"/>
                  <a:pt x="2919295" y="1972255"/>
                </a:cubicBezTo>
                <a:lnTo>
                  <a:pt x="2919269" y="1972239"/>
                </a:lnTo>
                <a:cubicBezTo>
                  <a:pt x="2912591" y="1969515"/>
                  <a:pt x="2905489" y="1968153"/>
                  <a:pt x="2898356" y="1968153"/>
                </a:cubicBezTo>
                <a:close/>
                <a:moveTo>
                  <a:pt x="844377" y="1968136"/>
                </a:moveTo>
                <a:cubicBezTo>
                  <a:pt x="830108" y="1968136"/>
                  <a:pt x="815969" y="1973585"/>
                  <a:pt x="805203" y="1984482"/>
                </a:cubicBezTo>
                <a:lnTo>
                  <a:pt x="726723" y="2063222"/>
                </a:lnTo>
                <a:cubicBezTo>
                  <a:pt x="705060" y="2084887"/>
                  <a:pt x="705060" y="2120170"/>
                  <a:pt x="726723" y="2141834"/>
                </a:cubicBezTo>
                <a:lnTo>
                  <a:pt x="948281" y="2363918"/>
                </a:lnTo>
                <a:lnTo>
                  <a:pt x="948286" y="2363911"/>
                </a:lnTo>
                <a:lnTo>
                  <a:pt x="948304" y="2363931"/>
                </a:lnTo>
                <a:lnTo>
                  <a:pt x="1169859" y="2141849"/>
                </a:lnTo>
                <a:cubicBezTo>
                  <a:pt x="1191522" y="2120185"/>
                  <a:pt x="1191522" y="2084901"/>
                  <a:pt x="1169859" y="2063237"/>
                </a:cubicBezTo>
                <a:lnTo>
                  <a:pt x="1091381" y="1984626"/>
                </a:lnTo>
                <a:lnTo>
                  <a:pt x="1087230" y="1981855"/>
                </a:lnTo>
                <a:lnTo>
                  <a:pt x="1072988" y="1972352"/>
                </a:lnTo>
                <a:lnTo>
                  <a:pt x="1052193" y="1968268"/>
                </a:lnTo>
                <a:lnTo>
                  <a:pt x="1052077" y="1968152"/>
                </a:lnTo>
                <a:lnTo>
                  <a:pt x="1052071" y="1968153"/>
                </a:lnTo>
                <a:lnTo>
                  <a:pt x="1052055" y="1968136"/>
                </a:lnTo>
                <a:cubicBezTo>
                  <a:pt x="1037785" y="1968136"/>
                  <a:pt x="1023647" y="1973585"/>
                  <a:pt x="1012751" y="1984611"/>
                </a:cubicBezTo>
                <a:lnTo>
                  <a:pt x="948285" y="2049209"/>
                </a:lnTo>
                <a:lnTo>
                  <a:pt x="883704" y="1984497"/>
                </a:lnTo>
                <a:lnTo>
                  <a:pt x="883682" y="1984482"/>
                </a:lnTo>
                <a:lnTo>
                  <a:pt x="883681" y="1984482"/>
                </a:lnTo>
                <a:cubicBezTo>
                  <a:pt x="872785" y="1973585"/>
                  <a:pt x="858645" y="1968136"/>
                  <a:pt x="844377" y="1968136"/>
                </a:cubicBezTo>
                <a:close/>
                <a:moveTo>
                  <a:pt x="11910826" y="1757693"/>
                </a:moveTo>
                <a:lnTo>
                  <a:pt x="12188651" y="1918485"/>
                </a:lnTo>
                <a:lnTo>
                  <a:pt x="12188651" y="2295294"/>
                </a:lnTo>
                <a:lnTo>
                  <a:pt x="11910826" y="2134524"/>
                </a:lnTo>
                <a:close/>
                <a:moveTo>
                  <a:pt x="11894481" y="1757693"/>
                </a:moveTo>
                <a:lnTo>
                  <a:pt x="11894481" y="2134524"/>
                </a:lnTo>
                <a:lnTo>
                  <a:pt x="11568890" y="2322864"/>
                </a:lnTo>
                <a:lnTo>
                  <a:pt x="11568890" y="1946054"/>
                </a:lnTo>
                <a:close/>
                <a:moveTo>
                  <a:pt x="9857006" y="1757678"/>
                </a:moveTo>
                <a:lnTo>
                  <a:pt x="10182468" y="1946038"/>
                </a:lnTo>
                <a:lnTo>
                  <a:pt x="10182468" y="2322844"/>
                </a:lnTo>
                <a:lnTo>
                  <a:pt x="9857006" y="2134505"/>
                </a:lnTo>
                <a:close/>
                <a:moveTo>
                  <a:pt x="9840661" y="1757678"/>
                </a:moveTo>
                <a:lnTo>
                  <a:pt x="9840661" y="2134505"/>
                </a:lnTo>
                <a:lnTo>
                  <a:pt x="9515070" y="2322844"/>
                </a:lnTo>
                <a:lnTo>
                  <a:pt x="9515070" y="1946038"/>
                </a:lnTo>
                <a:close/>
                <a:moveTo>
                  <a:pt x="7803060" y="1757662"/>
                </a:moveTo>
                <a:lnTo>
                  <a:pt x="8128521" y="1946022"/>
                </a:lnTo>
                <a:lnTo>
                  <a:pt x="8128521" y="2322839"/>
                </a:lnTo>
                <a:lnTo>
                  <a:pt x="7803060" y="2134492"/>
                </a:lnTo>
                <a:close/>
                <a:moveTo>
                  <a:pt x="7786715" y="1757662"/>
                </a:moveTo>
                <a:lnTo>
                  <a:pt x="7786715" y="2134492"/>
                </a:lnTo>
                <a:lnTo>
                  <a:pt x="7461125" y="2322839"/>
                </a:lnTo>
                <a:lnTo>
                  <a:pt x="7461125" y="1946022"/>
                </a:lnTo>
                <a:close/>
                <a:moveTo>
                  <a:pt x="5732923" y="1757647"/>
                </a:moveTo>
                <a:lnTo>
                  <a:pt x="5732923" y="2134484"/>
                </a:lnTo>
                <a:lnTo>
                  <a:pt x="5407352" y="2322830"/>
                </a:lnTo>
                <a:lnTo>
                  <a:pt x="5407352" y="1946005"/>
                </a:lnTo>
                <a:close/>
                <a:moveTo>
                  <a:pt x="5749266" y="1757646"/>
                </a:moveTo>
                <a:lnTo>
                  <a:pt x="6074705" y="1946005"/>
                </a:lnTo>
                <a:lnTo>
                  <a:pt x="6074705" y="2322830"/>
                </a:lnTo>
                <a:lnTo>
                  <a:pt x="5749266" y="2134484"/>
                </a:lnTo>
                <a:close/>
                <a:moveTo>
                  <a:pt x="3679144" y="1757633"/>
                </a:moveTo>
                <a:lnTo>
                  <a:pt x="3679144" y="2134464"/>
                </a:lnTo>
                <a:lnTo>
                  <a:pt x="3353563" y="2322807"/>
                </a:lnTo>
                <a:lnTo>
                  <a:pt x="3353563" y="1945988"/>
                </a:lnTo>
                <a:close/>
                <a:moveTo>
                  <a:pt x="3695494" y="1757631"/>
                </a:moveTo>
                <a:lnTo>
                  <a:pt x="4020945" y="1945986"/>
                </a:lnTo>
                <a:lnTo>
                  <a:pt x="4020945" y="2322809"/>
                </a:lnTo>
                <a:lnTo>
                  <a:pt x="3733755" y="2156613"/>
                </a:lnTo>
                <a:lnTo>
                  <a:pt x="3695494" y="2134468"/>
                </a:lnTo>
                <a:close/>
                <a:moveTo>
                  <a:pt x="1625166" y="1757617"/>
                </a:moveTo>
                <a:lnTo>
                  <a:pt x="1625166" y="2134450"/>
                </a:lnTo>
                <a:lnTo>
                  <a:pt x="1299581" y="2322797"/>
                </a:lnTo>
                <a:lnTo>
                  <a:pt x="1299581" y="1945972"/>
                </a:lnTo>
                <a:close/>
                <a:moveTo>
                  <a:pt x="1641515" y="1757615"/>
                </a:moveTo>
                <a:lnTo>
                  <a:pt x="1966969" y="1945969"/>
                </a:lnTo>
                <a:lnTo>
                  <a:pt x="1966969" y="2322802"/>
                </a:lnTo>
                <a:lnTo>
                  <a:pt x="1914926" y="2292686"/>
                </a:lnTo>
                <a:lnTo>
                  <a:pt x="1641515" y="2134455"/>
                </a:lnTo>
                <a:close/>
                <a:moveTo>
                  <a:pt x="10532576" y="1752878"/>
                </a:moveTo>
                <a:lnTo>
                  <a:pt x="10866339" y="1946038"/>
                </a:lnTo>
                <a:lnTo>
                  <a:pt x="10866339" y="2332329"/>
                </a:lnTo>
                <a:lnTo>
                  <a:pt x="10532706" y="2525485"/>
                </a:lnTo>
                <a:lnTo>
                  <a:pt x="10198941" y="2332329"/>
                </a:lnTo>
                <a:lnTo>
                  <a:pt x="10198941" y="1946038"/>
                </a:lnTo>
                <a:close/>
                <a:moveTo>
                  <a:pt x="8478628" y="1752864"/>
                </a:moveTo>
                <a:lnTo>
                  <a:pt x="8812392" y="1946022"/>
                </a:lnTo>
                <a:lnTo>
                  <a:pt x="8812392" y="2332319"/>
                </a:lnTo>
                <a:lnTo>
                  <a:pt x="8478758" y="2525474"/>
                </a:lnTo>
                <a:lnTo>
                  <a:pt x="8144995" y="2332319"/>
                </a:lnTo>
                <a:lnTo>
                  <a:pt x="8144995" y="1946022"/>
                </a:lnTo>
                <a:close/>
                <a:moveTo>
                  <a:pt x="6424810" y="1752847"/>
                </a:moveTo>
                <a:lnTo>
                  <a:pt x="6758573" y="1946005"/>
                </a:lnTo>
                <a:lnTo>
                  <a:pt x="6758573" y="2332304"/>
                </a:lnTo>
                <a:lnTo>
                  <a:pt x="6424940" y="2525464"/>
                </a:lnTo>
                <a:lnTo>
                  <a:pt x="6091179" y="2332304"/>
                </a:lnTo>
                <a:lnTo>
                  <a:pt x="6091179" y="1946005"/>
                </a:lnTo>
                <a:close/>
                <a:moveTo>
                  <a:pt x="4371020" y="1752830"/>
                </a:moveTo>
                <a:lnTo>
                  <a:pt x="4704777" y="1945988"/>
                </a:lnTo>
                <a:lnTo>
                  <a:pt x="4704777" y="2332286"/>
                </a:lnTo>
                <a:lnTo>
                  <a:pt x="4371146" y="2525446"/>
                </a:lnTo>
                <a:lnTo>
                  <a:pt x="4037427" y="2332293"/>
                </a:lnTo>
                <a:lnTo>
                  <a:pt x="4037427" y="1945988"/>
                </a:lnTo>
                <a:close/>
                <a:moveTo>
                  <a:pt x="2317092" y="1752815"/>
                </a:moveTo>
                <a:lnTo>
                  <a:pt x="2650846" y="1945968"/>
                </a:lnTo>
                <a:lnTo>
                  <a:pt x="2650846" y="2332273"/>
                </a:lnTo>
                <a:lnTo>
                  <a:pt x="2317216" y="2525431"/>
                </a:lnTo>
                <a:lnTo>
                  <a:pt x="2153844" y="2430884"/>
                </a:lnTo>
                <a:lnTo>
                  <a:pt x="1983452" y="2332275"/>
                </a:lnTo>
                <a:lnTo>
                  <a:pt x="1983452" y="1945972"/>
                </a:lnTo>
                <a:close/>
                <a:moveTo>
                  <a:pt x="263245" y="1752799"/>
                </a:moveTo>
                <a:lnTo>
                  <a:pt x="597001" y="1945952"/>
                </a:lnTo>
                <a:lnTo>
                  <a:pt x="597001" y="2332264"/>
                </a:lnTo>
                <a:lnTo>
                  <a:pt x="263368" y="2525419"/>
                </a:lnTo>
                <a:lnTo>
                  <a:pt x="83447" y="2421295"/>
                </a:lnTo>
                <a:lnTo>
                  <a:pt x="0" y="2373002"/>
                </a:lnTo>
                <a:lnTo>
                  <a:pt x="0" y="1905204"/>
                </a:lnTo>
                <a:close/>
                <a:moveTo>
                  <a:pt x="11217614" y="1752635"/>
                </a:moveTo>
                <a:lnTo>
                  <a:pt x="11551377" y="1945795"/>
                </a:lnTo>
                <a:lnTo>
                  <a:pt x="11551377" y="2331944"/>
                </a:lnTo>
                <a:lnTo>
                  <a:pt x="11217614" y="2525105"/>
                </a:lnTo>
                <a:lnTo>
                  <a:pt x="10883851" y="2331944"/>
                </a:lnTo>
                <a:lnTo>
                  <a:pt x="10883851" y="1945795"/>
                </a:lnTo>
                <a:close/>
                <a:moveTo>
                  <a:pt x="9163666" y="1752617"/>
                </a:moveTo>
                <a:lnTo>
                  <a:pt x="9497429" y="1945779"/>
                </a:lnTo>
                <a:lnTo>
                  <a:pt x="9497429" y="2331929"/>
                </a:lnTo>
                <a:lnTo>
                  <a:pt x="9163666" y="2525089"/>
                </a:lnTo>
                <a:lnTo>
                  <a:pt x="8829903" y="2331929"/>
                </a:lnTo>
                <a:lnTo>
                  <a:pt x="8829903" y="1945778"/>
                </a:lnTo>
                <a:close/>
                <a:moveTo>
                  <a:pt x="7109850" y="1752603"/>
                </a:moveTo>
                <a:lnTo>
                  <a:pt x="7443613" y="1945761"/>
                </a:lnTo>
                <a:lnTo>
                  <a:pt x="7443613" y="2331916"/>
                </a:lnTo>
                <a:lnTo>
                  <a:pt x="7109850" y="2525078"/>
                </a:lnTo>
                <a:lnTo>
                  <a:pt x="6776085" y="2331916"/>
                </a:lnTo>
                <a:lnTo>
                  <a:pt x="6776085" y="1945761"/>
                </a:lnTo>
                <a:close/>
                <a:moveTo>
                  <a:pt x="5055971" y="1752586"/>
                </a:moveTo>
                <a:lnTo>
                  <a:pt x="5262114" y="1871903"/>
                </a:lnTo>
                <a:lnTo>
                  <a:pt x="5389698" y="1945736"/>
                </a:lnTo>
                <a:lnTo>
                  <a:pt x="5389698" y="2331901"/>
                </a:lnTo>
                <a:lnTo>
                  <a:pt x="5055949" y="2525062"/>
                </a:lnTo>
                <a:lnTo>
                  <a:pt x="4722181" y="2331905"/>
                </a:lnTo>
                <a:lnTo>
                  <a:pt x="4722181" y="1945745"/>
                </a:lnTo>
                <a:close/>
                <a:moveTo>
                  <a:pt x="3002152" y="1752570"/>
                </a:moveTo>
                <a:lnTo>
                  <a:pt x="3335890" y="1945712"/>
                </a:lnTo>
                <a:lnTo>
                  <a:pt x="3335890" y="2331889"/>
                </a:lnTo>
                <a:lnTo>
                  <a:pt x="3002127" y="2525047"/>
                </a:lnTo>
                <a:lnTo>
                  <a:pt x="2731183" y="2368243"/>
                </a:lnTo>
                <a:lnTo>
                  <a:pt x="2668390" y="2331903"/>
                </a:lnTo>
                <a:lnTo>
                  <a:pt x="2668390" y="1945729"/>
                </a:lnTo>
                <a:close/>
                <a:moveTo>
                  <a:pt x="948175" y="1752555"/>
                </a:moveTo>
                <a:lnTo>
                  <a:pt x="1281914" y="1945698"/>
                </a:lnTo>
                <a:lnTo>
                  <a:pt x="1281914" y="2331876"/>
                </a:lnTo>
                <a:lnTo>
                  <a:pt x="948153" y="2525032"/>
                </a:lnTo>
                <a:lnTo>
                  <a:pt x="940570" y="2520648"/>
                </a:lnTo>
                <a:lnTo>
                  <a:pt x="614414" y="2331889"/>
                </a:lnTo>
                <a:lnTo>
                  <a:pt x="614414" y="1945713"/>
                </a:lnTo>
                <a:close/>
                <a:moveTo>
                  <a:pt x="10875809" y="1554804"/>
                </a:moveTo>
                <a:lnTo>
                  <a:pt x="11201255" y="1743155"/>
                </a:lnTo>
                <a:lnTo>
                  <a:pt x="10875678" y="1931508"/>
                </a:lnTo>
                <a:lnTo>
                  <a:pt x="10550231" y="1743155"/>
                </a:lnTo>
                <a:close/>
                <a:moveTo>
                  <a:pt x="8821860" y="1554788"/>
                </a:moveTo>
                <a:lnTo>
                  <a:pt x="9147308" y="1743140"/>
                </a:lnTo>
                <a:lnTo>
                  <a:pt x="8821731" y="1931491"/>
                </a:lnTo>
                <a:lnTo>
                  <a:pt x="8496282" y="1743140"/>
                </a:lnTo>
                <a:close/>
                <a:moveTo>
                  <a:pt x="6768043" y="1554775"/>
                </a:moveTo>
                <a:lnTo>
                  <a:pt x="7093491" y="1743124"/>
                </a:lnTo>
                <a:lnTo>
                  <a:pt x="6767913" y="1931475"/>
                </a:lnTo>
                <a:lnTo>
                  <a:pt x="6442466" y="1743125"/>
                </a:lnTo>
                <a:close/>
                <a:moveTo>
                  <a:pt x="4714128" y="1554758"/>
                </a:moveTo>
                <a:lnTo>
                  <a:pt x="4997319" y="1718649"/>
                </a:lnTo>
                <a:lnTo>
                  <a:pt x="5039593" y="1743102"/>
                </a:lnTo>
                <a:lnTo>
                  <a:pt x="4713993" y="1931459"/>
                </a:lnTo>
                <a:lnTo>
                  <a:pt x="4512543" y="1814871"/>
                </a:lnTo>
                <a:lnTo>
                  <a:pt x="4388549" y="1743112"/>
                </a:lnTo>
                <a:close/>
                <a:moveTo>
                  <a:pt x="2660349" y="1554742"/>
                </a:moveTo>
                <a:lnTo>
                  <a:pt x="2985784" y="1743084"/>
                </a:lnTo>
                <a:lnTo>
                  <a:pt x="2660193" y="1931442"/>
                </a:lnTo>
                <a:lnTo>
                  <a:pt x="2334764" y="1743101"/>
                </a:lnTo>
                <a:close/>
                <a:moveTo>
                  <a:pt x="606372" y="1554728"/>
                </a:moveTo>
                <a:lnTo>
                  <a:pt x="931804" y="1743069"/>
                </a:lnTo>
                <a:lnTo>
                  <a:pt x="606216" y="1931425"/>
                </a:lnTo>
                <a:lnTo>
                  <a:pt x="280783" y="1743083"/>
                </a:lnTo>
                <a:close/>
                <a:moveTo>
                  <a:pt x="12140685" y="1390835"/>
                </a:moveTo>
                <a:cubicBezTo>
                  <a:pt x="12151191" y="1390835"/>
                  <a:pt x="12161050" y="1394985"/>
                  <a:pt x="12168445" y="1402380"/>
                </a:cubicBezTo>
                <a:lnTo>
                  <a:pt x="12188651" y="1422630"/>
                </a:lnTo>
                <a:lnTo>
                  <a:pt x="12188651" y="1690880"/>
                </a:lnTo>
                <a:lnTo>
                  <a:pt x="12034576" y="1536513"/>
                </a:lnTo>
                <a:cubicBezTo>
                  <a:pt x="12019270" y="1521207"/>
                  <a:pt x="12019270" y="1496299"/>
                  <a:pt x="12034576" y="1481120"/>
                </a:cubicBezTo>
                <a:lnTo>
                  <a:pt x="12113056" y="1402380"/>
                </a:lnTo>
                <a:cubicBezTo>
                  <a:pt x="12120448" y="1394985"/>
                  <a:pt x="12130178" y="1390835"/>
                  <a:pt x="12140685" y="1390835"/>
                </a:cubicBezTo>
                <a:close/>
                <a:moveTo>
                  <a:pt x="10086867" y="1390817"/>
                </a:moveTo>
                <a:cubicBezTo>
                  <a:pt x="10097374" y="1390817"/>
                  <a:pt x="10107232" y="1394971"/>
                  <a:pt x="10114626" y="1402365"/>
                </a:cubicBezTo>
                <a:lnTo>
                  <a:pt x="10179226" y="1467099"/>
                </a:lnTo>
                <a:lnTo>
                  <a:pt x="10190770" y="1478768"/>
                </a:lnTo>
                <a:lnTo>
                  <a:pt x="10202315" y="1467099"/>
                </a:lnTo>
                <a:lnTo>
                  <a:pt x="10266786" y="1402365"/>
                </a:lnTo>
                <a:cubicBezTo>
                  <a:pt x="10274178" y="1394840"/>
                  <a:pt x="10284037" y="1390817"/>
                  <a:pt x="10294543" y="1390817"/>
                </a:cubicBezTo>
                <a:cubicBezTo>
                  <a:pt x="10304922" y="1390817"/>
                  <a:pt x="10314781" y="1394971"/>
                  <a:pt x="10322173" y="1402365"/>
                </a:cubicBezTo>
                <a:lnTo>
                  <a:pt x="10400653" y="1480975"/>
                </a:lnTo>
                <a:cubicBezTo>
                  <a:pt x="10408047" y="1488369"/>
                  <a:pt x="10412068" y="1498230"/>
                  <a:pt x="10412198" y="1508734"/>
                </a:cubicBezTo>
                <a:cubicBezTo>
                  <a:pt x="10412198" y="1519244"/>
                  <a:pt x="10408176" y="1529101"/>
                  <a:pt x="10400783" y="1536497"/>
                </a:cubicBezTo>
                <a:lnTo>
                  <a:pt x="10190770" y="1746909"/>
                </a:lnTo>
                <a:lnTo>
                  <a:pt x="9980757" y="1536497"/>
                </a:lnTo>
                <a:cubicBezTo>
                  <a:pt x="9965450" y="1521189"/>
                  <a:pt x="9965450" y="1496283"/>
                  <a:pt x="9980757" y="1481104"/>
                </a:cubicBezTo>
                <a:lnTo>
                  <a:pt x="10059237" y="1402365"/>
                </a:lnTo>
                <a:cubicBezTo>
                  <a:pt x="10066631" y="1394971"/>
                  <a:pt x="10076359" y="1390817"/>
                  <a:pt x="10086867" y="1390817"/>
                </a:cubicBezTo>
                <a:close/>
                <a:moveTo>
                  <a:pt x="8032919" y="1390801"/>
                </a:moveTo>
                <a:cubicBezTo>
                  <a:pt x="8043427" y="1390801"/>
                  <a:pt x="8053285" y="1394955"/>
                  <a:pt x="8060679" y="1402350"/>
                </a:cubicBezTo>
                <a:lnTo>
                  <a:pt x="8125278" y="1467080"/>
                </a:lnTo>
                <a:lnTo>
                  <a:pt x="8136823" y="1478755"/>
                </a:lnTo>
                <a:lnTo>
                  <a:pt x="8148368" y="1467080"/>
                </a:lnTo>
                <a:lnTo>
                  <a:pt x="8212837" y="1402350"/>
                </a:lnTo>
                <a:cubicBezTo>
                  <a:pt x="8220232" y="1394825"/>
                  <a:pt x="8230090" y="1390801"/>
                  <a:pt x="8240596" y="1390801"/>
                </a:cubicBezTo>
                <a:cubicBezTo>
                  <a:pt x="8250975" y="1390801"/>
                  <a:pt x="8260834" y="1394955"/>
                  <a:pt x="8268226" y="1402350"/>
                </a:cubicBezTo>
                <a:lnTo>
                  <a:pt x="8346707" y="1480959"/>
                </a:lnTo>
                <a:cubicBezTo>
                  <a:pt x="8354100" y="1488355"/>
                  <a:pt x="8358121" y="1498213"/>
                  <a:pt x="8358252" y="1508720"/>
                </a:cubicBezTo>
                <a:cubicBezTo>
                  <a:pt x="8358252" y="1519228"/>
                  <a:pt x="8354229" y="1529085"/>
                  <a:pt x="8346837" y="1536482"/>
                </a:cubicBezTo>
                <a:lnTo>
                  <a:pt x="8136823" y="1746895"/>
                </a:lnTo>
                <a:lnTo>
                  <a:pt x="7926811" y="1536482"/>
                </a:lnTo>
                <a:cubicBezTo>
                  <a:pt x="7911503" y="1521173"/>
                  <a:pt x="7911503" y="1496269"/>
                  <a:pt x="7926811" y="1481089"/>
                </a:cubicBezTo>
                <a:lnTo>
                  <a:pt x="8005289" y="1402350"/>
                </a:lnTo>
                <a:cubicBezTo>
                  <a:pt x="8012684" y="1394955"/>
                  <a:pt x="8022413" y="1390801"/>
                  <a:pt x="8032919" y="1390801"/>
                </a:cubicBezTo>
                <a:close/>
                <a:moveTo>
                  <a:pt x="5979110" y="1390787"/>
                </a:moveTo>
                <a:cubicBezTo>
                  <a:pt x="5989617" y="1390787"/>
                  <a:pt x="5999474" y="1394939"/>
                  <a:pt x="6006869" y="1402333"/>
                </a:cubicBezTo>
                <a:lnTo>
                  <a:pt x="6071463" y="1467065"/>
                </a:lnTo>
                <a:lnTo>
                  <a:pt x="6083008" y="1478738"/>
                </a:lnTo>
                <a:lnTo>
                  <a:pt x="6094550" y="1467065"/>
                </a:lnTo>
                <a:lnTo>
                  <a:pt x="6159019" y="1402333"/>
                </a:lnTo>
                <a:cubicBezTo>
                  <a:pt x="6166413" y="1394810"/>
                  <a:pt x="6176271" y="1390787"/>
                  <a:pt x="6186779" y="1390787"/>
                </a:cubicBezTo>
                <a:cubicBezTo>
                  <a:pt x="6197156" y="1390787"/>
                  <a:pt x="6207014" y="1394939"/>
                  <a:pt x="6214409" y="1402333"/>
                </a:cubicBezTo>
                <a:lnTo>
                  <a:pt x="6292888" y="1480945"/>
                </a:lnTo>
                <a:cubicBezTo>
                  <a:pt x="6300282" y="1488339"/>
                  <a:pt x="6304303" y="1498198"/>
                  <a:pt x="6304433" y="1508704"/>
                </a:cubicBezTo>
                <a:cubicBezTo>
                  <a:pt x="6304433" y="1519214"/>
                  <a:pt x="6300412" y="1529070"/>
                  <a:pt x="6293017" y="1536467"/>
                </a:cubicBezTo>
                <a:lnTo>
                  <a:pt x="6083008" y="1746878"/>
                </a:lnTo>
                <a:lnTo>
                  <a:pt x="5873007" y="1536467"/>
                </a:lnTo>
                <a:cubicBezTo>
                  <a:pt x="5857705" y="1521159"/>
                  <a:pt x="5857705" y="1496252"/>
                  <a:pt x="5873007" y="1481074"/>
                </a:cubicBezTo>
                <a:lnTo>
                  <a:pt x="5951483" y="1402333"/>
                </a:lnTo>
                <a:cubicBezTo>
                  <a:pt x="5958875" y="1394939"/>
                  <a:pt x="5968603" y="1390787"/>
                  <a:pt x="5979110" y="1390787"/>
                </a:cubicBezTo>
                <a:close/>
                <a:moveTo>
                  <a:pt x="3925347" y="1390772"/>
                </a:moveTo>
                <a:cubicBezTo>
                  <a:pt x="3935853" y="1390772"/>
                  <a:pt x="3945714" y="1394924"/>
                  <a:pt x="3953107" y="1402317"/>
                </a:cubicBezTo>
                <a:lnTo>
                  <a:pt x="4017707" y="1467050"/>
                </a:lnTo>
                <a:lnTo>
                  <a:pt x="4029252" y="1478722"/>
                </a:lnTo>
                <a:lnTo>
                  <a:pt x="4040800" y="1467050"/>
                </a:lnTo>
                <a:lnTo>
                  <a:pt x="4105268" y="1402317"/>
                </a:lnTo>
                <a:cubicBezTo>
                  <a:pt x="4112666" y="1394793"/>
                  <a:pt x="4122523" y="1390772"/>
                  <a:pt x="4133031" y="1390772"/>
                </a:cubicBezTo>
                <a:cubicBezTo>
                  <a:pt x="4143406" y="1390772"/>
                  <a:pt x="4153268" y="1394924"/>
                  <a:pt x="4160659" y="1402317"/>
                </a:cubicBezTo>
                <a:lnTo>
                  <a:pt x="4239088" y="1480930"/>
                </a:lnTo>
                <a:cubicBezTo>
                  <a:pt x="4246485" y="1488324"/>
                  <a:pt x="4250503" y="1498183"/>
                  <a:pt x="4250643" y="1508688"/>
                </a:cubicBezTo>
                <a:cubicBezTo>
                  <a:pt x="4250643" y="1519197"/>
                  <a:pt x="4246615" y="1529056"/>
                  <a:pt x="4239218" y="1536452"/>
                </a:cubicBezTo>
                <a:lnTo>
                  <a:pt x="4029252" y="1746862"/>
                </a:lnTo>
                <a:lnTo>
                  <a:pt x="3819232" y="1536452"/>
                </a:lnTo>
                <a:cubicBezTo>
                  <a:pt x="3803923" y="1521143"/>
                  <a:pt x="3803923" y="1496236"/>
                  <a:pt x="3819232" y="1481059"/>
                </a:cubicBezTo>
                <a:lnTo>
                  <a:pt x="3897719" y="1402317"/>
                </a:lnTo>
                <a:cubicBezTo>
                  <a:pt x="3905115" y="1394924"/>
                  <a:pt x="3914843" y="1390772"/>
                  <a:pt x="3925347" y="1390772"/>
                </a:cubicBezTo>
                <a:close/>
                <a:moveTo>
                  <a:pt x="1871374" y="1390756"/>
                </a:moveTo>
                <a:cubicBezTo>
                  <a:pt x="1881884" y="1390756"/>
                  <a:pt x="1891739" y="1394908"/>
                  <a:pt x="1899135" y="1402302"/>
                </a:cubicBezTo>
                <a:lnTo>
                  <a:pt x="1963733" y="1467034"/>
                </a:lnTo>
                <a:lnTo>
                  <a:pt x="1975278" y="1478707"/>
                </a:lnTo>
                <a:lnTo>
                  <a:pt x="1986823" y="1467034"/>
                </a:lnTo>
                <a:lnTo>
                  <a:pt x="2051293" y="1402302"/>
                </a:lnTo>
                <a:cubicBezTo>
                  <a:pt x="2058686" y="1394779"/>
                  <a:pt x="2068545" y="1390756"/>
                  <a:pt x="2079052" y="1390756"/>
                </a:cubicBezTo>
                <a:cubicBezTo>
                  <a:pt x="2089431" y="1390756"/>
                  <a:pt x="2099298" y="1394908"/>
                  <a:pt x="2106690" y="1402302"/>
                </a:cubicBezTo>
                <a:lnTo>
                  <a:pt x="2185169" y="1480915"/>
                </a:lnTo>
                <a:cubicBezTo>
                  <a:pt x="2192565" y="1488309"/>
                  <a:pt x="2196587" y="1498167"/>
                  <a:pt x="2196714" y="1508674"/>
                </a:cubicBezTo>
                <a:cubicBezTo>
                  <a:pt x="2196714" y="1519182"/>
                  <a:pt x="2192696" y="1529039"/>
                  <a:pt x="2185300" y="1536435"/>
                </a:cubicBezTo>
                <a:lnTo>
                  <a:pt x="1975278" y="1746846"/>
                </a:lnTo>
                <a:lnTo>
                  <a:pt x="1765266" y="1536435"/>
                </a:lnTo>
                <a:cubicBezTo>
                  <a:pt x="1749958" y="1521128"/>
                  <a:pt x="1749958" y="1496221"/>
                  <a:pt x="1765266" y="1481044"/>
                </a:cubicBezTo>
                <a:lnTo>
                  <a:pt x="1843744" y="1402302"/>
                </a:lnTo>
                <a:cubicBezTo>
                  <a:pt x="1851138" y="1394908"/>
                  <a:pt x="1860867" y="1390756"/>
                  <a:pt x="1871374" y="1390756"/>
                </a:cubicBezTo>
                <a:close/>
                <a:moveTo>
                  <a:pt x="25213" y="1390741"/>
                </a:moveTo>
                <a:cubicBezTo>
                  <a:pt x="35590" y="1390741"/>
                  <a:pt x="45448" y="1394893"/>
                  <a:pt x="52843" y="1402286"/>
                </a:cubicBezTo>
                <a:lnTo>
                  <a:pt x="131322" y="1480899"/>
                </a:lnTo>
                <a:cubicBezTo>
                  <a:pt x="138716" y="1488293"/>
                  <a:pt x="142738" y="1498151"/>
                  <a:pt x="142866" y="1508658"/>
                </a:cubicBezTo>
                <a:cubicBezTo>
                  <a:pt x="142866" y="1519167"/>
                  <a:pt x="138845" y="1529025"/>
                  <a:pt x="131451" y="1536419"/>
                </a:cubicBezTo>
                <a:lnTo>
                  <a:pt x="0" y="1668120"/>
                </a:lnTo>
                <a:lnTo>
                  <a:pt x="0" y="1401227"/>
                </a:lnTo>
                <a:close/>
                <a:moveTo>
                  <a:pt x="10086867" y="1374341"/>
                </a:moveTo>
                <a:cubicBezTo>
                  <a:pt x="10072597" y="1374341"/>
                  <a:pt x="10058458" y="1379791"/>
                  <a:pt x="10047692" y="1390688"/>
                </a:cubicBezTo>
                <a:lnTo>
                  <a:pt x="9969212" y="1469432"/>
                </a:lnTo>
                <a:cubicBezTo>
                  <a:pt x="9947549" y="1491094"/>
                  <a:pt x="9947549" y="1526379"/>
                  <a:pt x="9969212" y="1548042"/>
                </a:cubicBezTo>
                <a:lnTo>
                  <a:pt x="10190770" y="1770130"/>
                </a:lnTo>
                <a:lnTo>
                  <a:pt x="10412328" y="1548042"/>
                </a:lnTo>
                <a:cubicBezTo>
                  <a:pt x="10433990" y="1526379"/>
                  <a:pt x="10433990" y="1491094"/>
                  <a:pt x="10412328" y="1469432"/>
                </a:cubicBezTo>
                <a:lnTo>
                  <a:pt x="10333848" y="1390817"/>
                </a:lnTo>
                <a:cubicBezTo>
                  <a:pt x="10322953" y="1379920"/>
                  <a:pt x="10308813" y="1374473"/>
                  <a:pt x="10294673" y="1374473"/>
                </a:cubicBezTo>
                <a:lnTo>
                  <a:pt x="10294543" y="1374341"/>
                </a:lnTo>
                <a:cubicBezTo>
                  <a:pt x="10280275" y="1374341"/>
                  <a:pt x="10266136" y="1379791"/>
                  <a:pt x="10255241" y="1390817"/>
                </a:cubicBezTo>
                <a:lnTo>
                  <a:pt x="10190770" y="1455423"/>
                </a:lnTo>
                <a:lnTo>
                  <a:pt x="10126171" y="1390688"/>
                </a:lnTo>
                <a:cubicBezTo>
                  <a:pt x="10115274" y="1379791"/>
                  <a:pt x="10101136" y="1374341"/>
                  <a:pt x="10086867" y="1374341"/>
                </a:cubicBezTo>
                <a:close/>
                <a:moveTo>
                  <a:pt x="8032919" y="1374327"/>
                </a:moveTo>
                <a:cubicBezTo>
                  <a:pt x="8018650" y="1374327"/>
                  <a:pt x="8004511" y="1379776"/>
                  <a:pt x="7993744" y="1390674"/>
                </a:cubicBezTo>
                <a:lnTo>
                  <a:pt x="7915266" y="1469418"/>
                </a:lnTo>
                <a:cubicBezTo>
                  <a:pt x="7893603" y="1491079"/>
                  <a:pt x="7893603" y="1526364"/>
                  <a:pt x="7915266" y="1548027"/>
                </a:cubicBezTo>
                <a:lnTo>
                  <a:pt x="8136823" y="1770114"/>
                </a:lnTo>
                <a:lnTo>
                  <a:pt x="8358382" y="1548027"/>
                </a:lnTo>
                <a:cubicBezTo>
                  <a:pt x="8380044" y="1526364"/>
                  <a:pt x="8380044" y="1491079"/>
                  <a:pt x="8358382" y="1469418"/>
                </a:cubicBezTo>
                <a:lnTo>
                  <a:pt x="8279902" y="1390801"/>
                </a:lnTo>
                <a:cubicBezTo>
                  <a:pt x="8269006" y="1379905"/>
                  <a:pt x="8254866" y="1374457"/>
                  <a:pt x="8240727" y="1374457"/>
                </a:cubicBezTo>
                <a:lnTo>
                  <a:pt x="8240596" y="1374327"/>
                </a:lnTo>
                <a:cubicBezTo>
                  <a:pt x="8226328" y="1374327"/>
                  <a:pt x="8212190" y="1379776"/>
                  <a:pt x="8201292" y="1390801"/>
                </a:cubicBezTo>
                <a:lnTo>
                  <a:pt x="8136823" y="1455407"/>
                </a:lnTo>
                <a:lnTo>
                  <a:pt x="8072224" y="1390674"/>
                </a:lnTo>
                <a:cubicBezTo>
                  <a:pt x="8061328" y="1379776"/>
                  <a:pt x="8047187" y="1374327"/>
                  <a:pt x="8032919" y="1374327"/>
                </a:cubicBezTo>
                <a:close/>
                <a:moveTo>
                  <a:pt x="5979110" y="1374312"/>
                </a:moveTo>
                <a:cubicBezTo>
                  <a:pt x="5964843" y="1374312"/>
                  <a:pt x="5950704" y="1379761"/>
                  <a:pt x="5939938" y="1390658"/>
                </a:cubicBezTo>
                <a:lnTo>
                  <a:pt x="5861464" y="1469401"/>
                </a:lnTo>
                <a:cubicBezTo>
                  <a:pt x="5839806" y="1491064"/>
                  <a:pt x="5839806" y="1526348"/>
                  <a:pt x="5861464" y="1548011"/>
                </a:cubicBezTo>
                <a:lnTo>
                  <a:pt x="6083008" y="1770098"/>
                </a:lnTo>
                <a:lnTo>
                  <a:pt x="6304562" y="1548011"/>
                </a:lnTo>
                <a:cubicBezTo>
                  <a:pt x="6326226" y="1526348"/>
                  <a:pt x="6326226" y="1491064"/>
                  <a:pt x="6304562" y="1469401"/>
                </a:cubicBezTo>
                <a:lnTo>
                  <a:pt x="6226084" y="1390787"/>
                </a:lnTo>
                <a:cubicBezTo>
                  <a:pt x="6215186" y="1379889"/>
                  <a:pt x="6201048" y="1374443"/>
                  <a:pt x="6186909" y="1374443"/>
                </a:cubicBezTo>
                <a:lnTo>
                  <a:pt x="6186779" y="1374312"/>
                </a:lnTo>
                <a:cubicBezTo>
                  <a:pt x="6172511" y="1374312"/>
                  <a:pt x="6158370" y="1379761"/>
                  <a:pt x="6147474" y="1390787"/>
                </a:cubicBezTo>
                <a:lnTo>
                  <a:pt x="6083008" y="1455390"/>
                </a:lnTo>
                <a:lnTo>
                  <a:pt x="6018412" y="1390658"/>
                </a:lnTo>
                <a:cubicBezTo>
                  <a:pt x="6007516" y="1379761"/>
                  <a:pt x="5993378" y="1374312"/>
                  <a:pt x="5979110" y="1374312"/>
                </a:cubicBezTo>
                <a:close/>
                <a:moveTo>
                  <a:pt x="3925347" y="1374297"/>
                </a:moveTo>
                <a:cubicBezTo>
                  <a:pt x="3911080" y="1374297"/>
                  <a:pt x="3896940" y="1379746"/>
                  <a:pt x="3886173" y="1390643"/>
                </a:cubicBezTo>
                <a:lnTo>
                  <a:pt x="3807688" y="1469387"/>
                </a:lnTo>
                <a:cubicBezTo>
                  <a:pt x="3786026" y="1491048"/>
                  <a:pt x="3786026" y="1526333"/>
                  <a:pt x="3807688" y="1547996"/>
                </a:cubicBezTo>
                <a:lnTo>
                  <a:pt x="4029252" y="1770082"/>
                </a:lnTo>
                <a:lnTo>
                  <a:pt x="4250768" y="1547996"/>
                </a:lnTo>
                <a:cubicBezTo>
                  <a:pt x="4272427" y="1526333"/>
                  <a:pt x="4272427" y="1491048"/>
                  <a:pt x="4250768" y="1469387"/>
                </a:cubicBezTo>
                <a:lnTo>
                  <a:pt x="4172334" y="1390772"/>
                </a:lnTo>
                <a:cubicBezTo>
                  <a:pt x="4161438" y="1379874"/>
                  <a:pt x="4147299" y="1374426"/>
                  <a:pt x="4133161" y="1374426"/>
                </a:cubicBezTo>
                <a:lnTo>
                  <a:pt x="4133031" y="1374297"/>
                </a:lnTo>
                <a:cubicBezTo>
                  <a:pt x="4118761" y="1374297"/>
                  <a:pt x="4104622" y="1379746"/>
                  <a:pt x="4093725" y="1390772"/>
                </a:cubicBezTo>
                <a:lnTo>
                  <a:pt x="4029252" y="1455376"/>
                </a:lnTo>
                <a:lnTo>
                  <a:pt x="3964654" y="1390643"/>
                </a:lnTo>
                <a:cubicBezTo>
                  <a:pt x="3953756" y="1379746"/>
                  <a:pt x="3939615" y="1374297"/>
                  <a:pt x="3925347" y="1374297"/>
                </a:cubicBezTo>
                <a:close/>
                <a:moveTo>
                  <a:pt x="1871374" y="1374282"/>
                </a:moveTo>
                <a:cubicBezTo>
                  <a:pt x="1857106" y="1374282"/>
                  <a:pt x="1842966" y="1379731"/>
                  <a:pt x="1832200" y="1390627"/>
                </a:cubicBezTo>
                <a:lnTo>
                  <a:pt x="1753721" y="1469369"/>
                </a:lnTo>
                <a:cubicBezTo>
                  <a:pt x="1732059" y="1491033"/>
                  <a:pt x="1732059" y="1526317"/>
                  <a:pt x="1753721" y="1547980"/>
                </a:cubicBezTo>
                <a:lnTo>
                  <a:pt x="1975278" y="1770066"/>
                </a:lnTo>
                <a:lnTo>
                  <a:pt x="2196846" y="1547980"/>
                </a:lnTo>
                <a:cubicBezTo>
                  <a:pt x="2218508" y="1526317"/>
                  <a:pt x="2218508" y="1491033"/>
                  <a:pt x="2196846" y="1469369"/>
                </a:cubicBezTo>
                <a:lnTo>
                  <a:pt x="2118368" y="1390756"/>
                </a:lnTo>
                <a:cubicBezTo>
                  <a:pt x="2107469" y="1379859"/>
                  <a:pt x="2093321" y="1374411"/>
                  <a:pt x="2079181" y="1374411"/>
                </a:cubicBezTo>
                <a:lnTo>
                  <a:pt x="2079052" y="1374282"/>
                </a:lnTo>
                <a:cubicBezTo>
                  <a:pt x="2064784" y="1374282"/>
                  <a:pt x="2050643" y="1379731"/>
                  <a:pt x="2039748" y="1390756"/>
                </a:cubicBezTo>
                <a:lnTo>
                  <a:pt x="1975278" y="1455359"/>
                </a:lnTo>
                <a:lnTo>
                  <a:pt x="1910679" y="1390627"/>
                </a:lnTo>
                <a:cubicBezTo>
                  <a:pt x="1899781" y="1379731"/>
                  <a:pt x="1885643" y="1374282"/>
                  <a:pt x="1871374" y="1374282"/>
                </a:cubicBezTo>
                <a:close/>
                <a:moveTo>
                  <a:pt x="0" y="1204081"/>
                </a:moveTo>
                <a:lnTo>
                  <a:pt x="186352" y="1311926"/>
                </a:lnTo>
                <a:lnTo>
                  <a:pt x="255068" y="1351694"/>
                </a:lnTo>
                <a:lnTo>
                  <a:pt x="255068" y="1737878"/>
                </a:lnTo>
                <a:lnTo>
                  <a:pt x="0" y="1885492"/>
                </a:lnTo>
                <a:lnTo>
                  <a:pt x="0" y="1691301"/>
                </a:lnTo>
                <a:lnTo>
                  <a:pt x="142995" y="1547965"/>
                </a:lnTo>
                <a:cubicBezTo>
                  <a:pt x="164660" y="1526302"/>
                  <a:pt x="164660" y="1491018"/>
                  <a:pt x="142995" y="1469353"/>
                </a:cubicBezTo>
                <a:lnTo>
                  <a:pt x="64516" y="1390741"/>
                </a:lnTo>
                <a:cubicBezTo>
                  <a:pt x="53620" y="1379844"/>
                  <a:pt x="39481" y="1374396"/>
                  <a:pt x="25341" y="1374396"/>
                </a:cubicBezTo>
                <a:lnTo>
                  <a:pt x="25213" y="1374267"/>
                </a:lnTo>
                <a:cubicBezTo>
                  <a:pt x="18079" y="1374267"/>
                  <a:pt x="10976" y="1375628"/>
                  <a:pt x="4296" y="1378369"/>
                </a:cubicBezTo>
                <a:lnTo>
                  <a:pt x="0" y="1381259"/>
                </a:lnTo>
                <a:close/>
                <a:moveTo>
                  <a:pt x="12188651" y="1190935"/>
                </a:moveTo>
                <a:lnTo>
                  <a:pt x="12188651" y="1399384"/>
                </a:lnTo>
                <a:lnTo>
                  <a:pt x="12179990" y="1390703"/>
                </a:lnTo>
                <a:cubicBezTo>
                  <a:pt x="12169092" y="1379806"/>
                  <a:pt x="12154954" y="1374358"/>
                  <a:pt x="12140685" y="1374358"/>
                </a:cubicBezTo>
                <a:cubicBezTo>
                  <a:pt x="12126416" y="1374358"/>
                  <a:pt x="12112276" y="1379806"/>
                  <a:pt x="12101510" y="1390703"/>
                </a:cubicBezTo>
                <a:lnTo>
                  <a:pt x="12023031" y="1469451"/>
                </a:lnTo>
                <a:cubicBezTo>
                  <a:pt x="12001368" y="1491111"/>
                  <a:pt x="12001368" y="1526394"/>
                  <a:pt x="12023031" y="1548057"/>
                </a:cubicBezTo>
                <a:lnTo>
                  <a:pt x="12188651" y="1714074"/>
                </a:lnTo>
                <a:lnTo>
                  <a:pt x="12188651" y="1898836"/>
                </a:lnTo>
                <a:lnTo>
                  <a:pt x="11910696" y="1737973"/>
                </a:lnTo>
                <a:lnTo>
                  <a:pt x="11910696" y="1351792"/>
                </a:lnTo>
                <a:close/>
                <a:moveTo>
                  <a:pt x="10883981" y="1163824"/>
                </a:moveTo>
                <a:lnTo>
                  <a:pt x="11209441" y="1352175"/>
                </a:lnTo>
                <a:lnTo>
                  <a:pt x="11209441" y="1729007"/>
                </a:lnTo>
                <a:lnTo>
                  <a:pt x="10883981" y="1540647"/>
                </a:lnTo>
                <a:close/>
                <a:moveTo>
                  <a:pt x="10867636" y="1163824"/>
                </a:moveTo>
                <a:lnTo>
                  <a:pt x="10867636" y="1540647"/>
                </a:lnTo>
                <a:lnTo>
                  <a:pt x="10542045" y="1729007"/>
                </a:lnTo>
                <a:lnTo>
                  <a:pt x="10542045" y="1352175"/>
                </a:lnTo>
                <a:close/>
                <a:moveTo>
                  <a:pt x="8830033" y="1163807"/>
                </a:moveTo>
                <a:lnTo>
                  <a:pt x="9155493" y="1352160"/>
                </a:lnTo>
                <a:lnTo>
                  <a:pt x="9155493" y="1728992"/>
                </a:lnTo>
                <a:lnTo>
                  <a:pt x="8830033" y="1540632"/>
                </a:lnTo>
                <a:close/>
                <a:moveTo>
                  <a:pt x="8813688" y="1163807"/>
                </a:moveTo>
                <a:lnTo>
                  <a:pt x="8813688" y="1540632"/>
                </a:lnTo>
                <a:lnTo>
                  <a:pt x="8488098" y="1728992"/>
                </a:lnTo>
                <a:lnTo>
                  <a:pt x="8488098" y="1352159"/>
                </a:lnTo>
                <a:close/>
                <a:moveTo>
                  <a:pt x="6776215" y="1163791"/>
                </a:moveTo>
                <a:lnTo>
                  <a:pt x="7101677" y="1352145"/>
                </a:lnTo>
                <a:lnTo>
                  <a:pt x="7101677" y="1728975"/>
                </a:lnTo>
                <a:lnTo>
                  <a:pt x="6776215" y="1540617"/>
                </a:lnTo>
                <a:close/>
                <a:moveTo>
                  <a:pt x="6759871" y="1163791"/>
                </a:moveTo>
                <a:lnTo>
                  <a:pt x="6759871" y="1540617"/>
                </a:lnTo>
                <a:lnTo>
                  <a:pt x="6434280" y="1728975"/>
                </a:lnTo>
                <a:lnTo>
                  <a:pt x="6434280" y="1352145"/>
                </a:lnTo>
                <a:close/>
                <a:moveTo>
                  <a:pt x="4705942" y="1163780"/>
                </a:moveTo>
                <a:lnTo>
                  <a:pt x="4705942" y="1540601"/>
                </a:lnTo>
                <a:lnTo>
                  <a:pt x="4380369" y="1728954"/>
                </a:lnTo>
                <a:lnTo>
                  <a:pt x="4380369" y="1352132"/>
                </a:lnTo>
                <a:close/>
                <a:moveTo>
                  <a:pt x="4722303" y="1163775"/>
                </a:moveTo>
                <a:lnTo>
                  <a:pt x="5047773" y="1352118"/>
                </a:lnTo>
                <a:lnTo>
                  <a:pt x="5047773" y="1728959"/>
                </a:lnTo>
                <a:lnTo>
                  <a:pt x="5020104" y="1712952"/>
                </a:lnTo>
                <a:lnTo>
                  <a:pt x="4722303" y="1540609"/>
                </a:lnTo>
                <a:close/>
                <a:moveTo>
                  <a:pt x="2652150" y="1163775"/>
                </a:moveTo>
                <a:lnTo>
                  <a:pt x="2652150" y="1540587"/>
                </a:lnTo>
                <a:lnTo>
                  <a:pt x="2326589" y="1728927"/>
                </a:lnTo>
                <a:lnTo>
                  <a:pt x="2326589" y="1352115"/>
                </a:lnTo>
                <a:close/>
                <a:moveTo>
                  <a:pt x="2668521" y="1163761"/>
                </a:moveTo>
                <a:lnTo>
                  <a:pt x="2993956" y="1352102"/>
                </a:lnTo>
                <a:lnTo>
                  <a:pt x="2993956" y="1728943"/>
                </a:lnTo>
                <a:lnTo>
                  <a:pt x="2668521" y="1540601"/>
                </a:lnTo>
                <a:close/>
                <a:moveTo>
                  <a:pt x="598173" y="1163759"/>
                </a:moveTo>
                <a:lnTo>
                  <a:pt x="598173" y="1540571"/>
                </a:lnTo>
                <a:lnTo>
                  <a:pt x="272611" y="1728912"/>
                </a:lnTo>
                <a:lnTo>
                  <a:pt x="272611" y="1352101"/>
                </a:lnTo>
                <a:close/>
                <a:moveTo>
                  <a:pt x="614544" y="1163745"/>
                </a:moveTo>
                <a:lnTo>
                  <a:pt x="939978" y="1352086"/>
                </a:lnTo>
                <a:lnTo>
                  <a:pt x="939978" y="1728928"/>
                </a:lnTo>
                <a:lnTo>
                  <a:pt x="614544" y="1540585"/>
                </a:lnTo>
                <a:close/>
                <a:moveTo>
                  <a:pt x="11559549" y="1159023"/>
                </a:moveTo>
                <a:lnTo>
                  <a:pt x="11893312" y="1352175"/>
                </a:lnTo>
                <a:lnTo>
                  <a:pt x="11893312" y="1738478"/>
                </a:lnTo>
                <a:lnTo>
                  <a:pt x="11559679" y="1931637"/>
                </a:lnTo>
                <a:lnTo>
                  <a:pt x="11225916" y="1738478"/>
                </a:lnTo>
                <a:lnTo>
                  <a:pt x="11225916" y="1352175"/>
                </a:lnTo>
                <a:close/>
                <a:moveTo>
                  <a:pt x="9505601" y="1159008"/>
                </a:moveTo>
                <a:lnTo>
                  <a:pt x="9839364" y="1352160"/>
                </a:lnTo>
                <a:lnTo>
                  <a:pt x="9839364" y="1738464"/>
                </a:lnTo>
                <a:lnTo>
                  <a:pt x="9505732" y="1931620"/>
                </a:lnTo>
                <a:lnTo>
                  <a:pt x="9171969" y="1738463"/>
                </a:lnTo>
                <a:lnTo>
                  <a:pt x="9171969" y="1352159"/>
                </a:lnTo>
                <a:close/>
                <a:moveTo>
                  <a:pt x="7451785" y="1158991"/>
                </a:moveTo>
                <a:lnTo>
                  <a:pt x="7785548" y="1352145"/>
                </a:lnTo>
                <a:lnTo>
                  <a:pt x="7785548" y="1738447"/>
                </a:lnTo>
                <a:lnTo>
                  <a:pt x="7451915" y="1931604"/>
                </a:lnTo>
                <a:lnTo>
                  <a:pt x="7118150" y="1738447"/>
                </a:lnTo>
                <a:lnTo>
                  <a:pt x="7118150" y="1352145"/>
                </a:lnTo>
                <a:close/>
                <a:moveTo>
                  <a:pt x="5397886" y="1158976"/>
                </a:moveTo>
                <a:lnTo>
                  <a:pt x="5452129" y="1190368"/>
                </a:lnTo>
                <a:lnTo>
                  <a:pt x="5731616" y="1352126"/>
                </a:lnTo>
                <a:lnTo>
                  <a:pt x="5731616" y="1738431"/>
                </a:lnTo>
                <a:lnTo>
                  <a:pt x="5397992" y="1931587"/>
                </a:lnTo>
                <a:lnTo>
                  <a:pt x="5182218" y="1806716"/>
                </a:lnTo>
                <a:lnTo>
                  <a:pt x="5064275" y="1738445"/>
                </a:lnTo>
                <a:lnTo>
                  <a:pt x="5064275" y="1352132"/>
                </a:lnTo>
                <a:close/>
                <a:moveTo>
                  <a:pt x="3344093" y="1158962"/>
                </a:moveTo>
                <a:lnTo>
                  <a:pt x="3677824" y="1352102"/>
                </a:lnTo>
                <a:lnTo>
                  <a:pt x="3677824" y="1738415"/>
                </a:lnTo>
                <a:lnTo>
                  <a:pt x="3344194" y="1931571"/>
                </a:lnTo>
                <a:lnTo>
                  <a:pt x="3010459" y="1738430"/>
                </a:lnTo>
                <a:lnTo>
                  <a:pt x="3010459" y="1352115"/>
                </a:lnTo>
                <a:close/>
                <a:moveTo>
                  <a:pt x="1290110" y="1158945"/>
                </a:moveTo>
                <a:lnTo>
                  <a:pt x="1623849" y="1352087"/>
                </a:lnTo>
                <a:lnTo>
                  <a:pt x="1623849" y="1738399"/>
                </a:lnTo>
                <a:lnTo>
                  <a:pt x="1290217" y="1931555"/>
                </a:lnTo>
                <a:lnTo>
                  <a:pt x="956479" y="1738413"/>
                </a:lnTo>
                <a:lnTo>
                  <a:pt x="956479" y="1352101"/>
                </a:lnTo>
                <a:close/>
                <a:moveTo>
                  <a:pt x="10190640" y="1158620"/>
                </a:moveTo>
                <a:lnTo>
                  <a:pt x="10524404" y="1351774"/>
                </a:lnTo>
                <a:lnTo>
                  <a:pt x="10524404" y="1737958"/>
                </a:lnTo>
                <a:lnTo>
                  <a:pt x="10190640" y="1931118"/>
                </a:lnTo>
                <a:lnTo>
                  <a:pt x="9856876" y="1737958"/>
                </a:lnTo>
                <a:lnTo>
                  <a:pt x="9856876" y="1351774"/>
                </a:lnTo>
                <a:close/>
                <a:moveTo>
                  <a:pt x="8136693" y="1158604"/>
                </a:moveTo>
                <a:lnTo>
                  <a:pt x="8470456" y="1351760"/>
                </a:lnTo>
                <a:lnTo>
                  <a:pt x="8470456" y="1737941"/>
                </a:lnTo>
                <a:lnTo>
                  <a:pt x="8136693" y="1931100"/>
                </a:lnTo>
                <a:lnTo>
                  <a:pt x="7802930" y="1737941"/>
                </a:lnTo>
                <a:lnTo>
                  <a:pt x="7802930" y="1351760"/>
                </a:lnTo>
                <a:close/>
                <a:moveTo>
                  <a:pt x="6082876" y="1158588"/>
                </a:moveTo>
                <a:lnTo>
                  <a:pt x="6416638" y="1351744"/>
                </a:lnTo>
                <a:lnTo>
                  <a:pt x="6416638" y="1737925"/>
                </a:lnTo>
                <a:lnTo>
                  <a:pt x="6082876" y="1931085"/>
                </a:lnTo>
                <a:lnTo>
                  <a:pt x="5749138" y="1737927"/>
                </a:lnTo>
                <a:lnTo>
                  <a:pt x="5749138" y="1351744"/>
                </a:lnTo>
                <a:close/>
                <a:moveTo>
                  <a:pt x="4029124" y="1158575"/>
                </a:moveTo>
                <a:lnTo>
                  <a:pt x="4362838" y="1351727"/>
                </a:lnTo>
                <a:lnTo>
                  <a:pt x="4362838" y="1737910"/>
                </a:lnTo>
                <a:lnTo>
                  <a:pt x="4029120" y="1931068"/>
                </a:lnTo>
                <a:lnTo>
                  <a:pt x="3695368" y="1737913"/>
                </a:lnTo>
                <a:lnTo>
                  <a:pt x="3695368" y="1351729"/>
                </a:lnTo>
                <a:close/>
                <a:moveTo>
                  <a:pt x="1975151" y="1158559"/>
                </a:moveTo>
                <a:lnTo>
                  <a:pt x="2252090" y="1318821"/>
                </a:lnTo>
                <a:lnTo>
                  <a:pt x="2308917" y="1351709"/>
                </a:lnTo>
                <a:lnTo>
                  <a:pt x="2308917" y="1737894"/>
                </a:lnTo>
                <a:lnTo>
                  <a:pt x="1975144" y="1931051"/>
                </a:lnTo>
                <a:lnTo>
                  <a:pt x="1641388" y="1737898"/>
                </a:lnTo>
                <a:lnTo>
                  <a:pt x="1641388" y="1351714"/>
                </a:lnTo>
                <a:close/>
                <a:moveTo>
                  <a:pt x="11902654" y="960799"/>
                </a:moveTo>
                <a:lnTo>
                  <a:pt x="12188651" y="1126327"/>
                </a:lnTo>
                <a:lnTo>
                  <a:pt x="12188651" y="1171992"/>
                </a:lnTo>
                <a:lnTo>
                  <a:pt x="11902524" y="1337516"/>
                </a:lnTo>
                <a:lnTo>
                  <a:pt x="11577065" y="1149161"/>
                </a:lnTo>
                <a:close/>
                <a:moveTo>
                  <a:pt x="9848833" y="960784"/>
                </a:moveTo>
                <a:lnTo>
                  <a:pt x="10174292" y="1149145"/>
                </a:lnTo>
                <a:lnTo>
                  <a:pt x="9848703" y="1337499"/>
                </a:lnTo>
                <a:lnTo>
                  <a:pt x="9523246" y="1149145"/>
                </a:lnTo>
                <a:close/>
                <a:moveTo>
                  <a:pt x="7794888" y="960771"/>
                </a:moveTo>
                <a:lnTo>
                  <a:pt x="8120344" y="1149132"/>
                </a:lnTo>
                <a:lnTo>
                  <a:pt x="7794758" y="1337484"/>
                </a:lnTo>
                <a:lnTo>
                  <a:pt x="7469301" y="1149132"/>
                </a:lnTo>
                <a:close/>
                <a:moveTo>
                  <a:pt x="5741094" y="960756"/>
                </a:moveTo>
                <a:lnTo>
                  <a:pt x="6066529" y="1149115"/>
                </a:lnTo>
                <a:lnTo>
                  <a:pt x="5740963" y="1337471"/>
                </a:lnTo>
                <a:lnTo>
                  <a:pt x="5504553" y="1200643"/>
                </a:lnTo>
                <a:lnTo>
                  <a:pt x="5415532" y="1149117"/>
                </a:lnTo>
                <a:close/>
                <a:moveTo>
                  <a:pt x="3687323" y="960742"/>
                </a:moveTo>
                <a:lnTo>
                  <a:pt x="4012774" y="1149098"/>
                </a:lnTo>
                <a:lnTo>
                  <a:pt x="3687188" y="1337454"/>
                </a:lnTo>
                <a:lnTo>
                  <a:pt x="3361738" y="1149102"/>
                </a:lnTo>
                <a:close/>
                <a:moveTo>
                  <a:pt x="1633346" y="960729"/>
                </a:moveTo>
                <a:lnTo>
                  <a:pt x="1958798" y="1149083"/>
                </a:lnTo>
                <a:lnTo>
                  <a:pt x="1633210" y="1337440"/>
                </a:lnTo>
                <a:lnTo>
                  <a:pt x="1307756" y="1149086"/>
                </a:lnTo>
                <a:close/>
                <a:moveTo>
                  <a:pt x="11113840" y="796828"/>
                </a:moveTo>
                <a:cubicBezTo>
                  <a:pt x="11124348" y="796828"/>
                  <a:pt x="11134206" y="800978"/>
                  <a:pt x="11141600" y="808373"/>
                </a:cubicBezTo>
                <a:lnTo>
                  <a:pt x="11206199" y="873104"/>
                </a:lnTo>
                <a:lnTo>
                  <a:pt x="11217744" y="884778"/>
                </a:lnTo>
                <a:lnTo>
                  <a:pt x="11229289" y="873104"/>
                </a:lnTo>
                <a:lnTo>
                  <a:pt x="11293758" y="808373"/>
                </a:lnTo>
                <a:cubicBezTo>
                  <a:pt x="11301152" y="800848"/>
                  <a:pt x="11311011" y="796828"/>
                  <a:pt x="11321517" y="796828"/>
                </a:cubicBezTo>
                <a:cubicBezTo>
                  <a:pt x="11331896" y="796828"/>
                  <a:pt x="11341755" y="800978"/>
                  <a:pt x="11349147" y="808373"/>
                </a:cubicBezTo>
                <a:lnTo>
                  <a:pt x="11427627" y="886983"/>
                </a:lnTo>
                <a:lnTo>
                  <a:pt x="11439169" y="914736"/>
                </a:lnTo>
                <a:lnTo>
                  <a:pt x="11427757" y="942490"/>
                </a:lnTo>
                <a:lnTo>
                  <a:pt x="11217744" y="1152909"/>
                </a:lnTo>
                <a:lnTo>
                  <a:pt x="11007731" y="942490"/>
                </a:lnTo>
                <a:lnTo>
                  <a:pt x="10996253" y="914754"/>
                </a:lnTo>
                <a:lnTo>
                  <a:pt x="11007731" y="887113"/>
                </a:lnTo>
                <a:lnTo>
                  <a:pt x="11086210" y="808373"/>
                </a:lnTo>
                <a:cubicBezTo>
                  <a:pt x="11093605" y="800978"/>
                  <a:pt x="11103333" y="796828"/>
                  <a:pt x="11113840" y="796828"/>
                </a:cubicBezTo>
                <a:close/>
                <a:moveTo>
                  <a:pt x="9059892" y="796812"/>
                </a:moveTo>
                <a:cubicBezTo>
                  <a:pt x="9070398" y="796812"/>
                  <a:pt x="9080257" y="800965"/>
                  <a:pt x="9087652" y="808358"/>
                </a:cubicBezTo>
                <a:lnTo>
                  <a:pt x="9152251" y="873089"/>
                </a:lnTo>
                <a:lnTo>
                  <a:pt x="9163796" y="884763"/>
                </a:lnTo>
                <a:lnTo>
                  <a:pt x="9175341" y="873089"/>
                </a:lnTo>
                <a:lnTo>
                  <a:pt x="9239810" y="808358"/>
                </a:lnTo>
                <a:cubicBezTo>
                  <a:pt x="9247204" y="800835"/>
                  <a:pt x="9257062" y="796812"/>
                  <a:pt x="9267570" y="796812"/>
                </a:cubicBezTo>
                <a:cubicBezTo>
                  <a:pt x="9277946" y="796812"/>
                  <a:pt x="9287805" y="800965"/>
                  <a:pt x="9295200" y="808358"/>
                </a:cubicBezTo>
                <a:lnTo>
                  <a:pt x="9373678" y="886967"/>
                </a:lnTo>
                <a:lnTo>
                  <a:pt x="9385221" y="914725"/>
                </a:lnTo>
                <a:lnTo>
                  <a:pt x="9373809" y="942476"/>
                </a:lnTo>
                <a:lnTo>
                  <a:pt x="9163797" y="1152894"/>
                </a:lnTo>
                <a:lnTo>
                  <a:pt x="8953784" y="942476"/>
                </a:lnTo>
                <a:lnTo>
                  <a:pt x="8942307" y="914737"/>
                </a:lnTo>
                <a:lnTo>
                  <a:pt x="8953783" y="887100"/>
                </a:lnTo>
                <a:lnTo>
                  <a:pt x="9032263" y="808358"/>
                </a:lnTo>
                <a:cubicBezTo>
                  <a:pt x="9039655" y="800965"/>
                  <a:pt x="9049385" y="796812"/>
                  <a:pt x="9059892" y="796812"/>
                </a:cubicBezTo>
                <a:close/>
                <a:moveTo>
                  <a:pt x="7006076" y="796800"/>
                </a:moveTo>
                <a:cubicBezTo>
                  <a:pt x="7016582" y="796800"/>
                  <a:pt x="7026440" y="800950"/>
                  <a:pt x="7033834" y="808345"/>
                </a:cubicBezTo>
                <a:lnTo>
                  <a:pt x="7098434" y="873075"/>
                </a:lnTo>
                <a:lnTo>
                  <a:pt x="7109978" y="884750"/>
                </a:lnTo>
                <a:lnTo>
                  <a:pt x="7121523" y="873075"/>
                </a:lnTo>
                <a:lnTo>
                  <a:pt x="7185994" y="808345"/>
                </a:lnTo>
                <a:cubicBezTo>
                  <a:pt x="7193387" y="800820"/>
                  <a:pt x="7203245" y="796800"/>
                  <a:pt x="7213751" y="796800"/>
                </a:cubicBezTo>
                <a:cubicBezTo>
                  <a:pt x="7224130" y="796800"/>
                  <a:pt x="7233989" y="800950"/>
                  <a:pt x="7241381" y="808345"/>
                </a:cubicBezTo>
                <a:lnTo>
                  <a:pt x="7319862" y="886956"/>
                </a:lnTo>
                <a:lnTo>
                  <a:pt x="7331404" y="914710"/>
                </a:lnTo>
                <a:lnTo>
                  <a:pt x="7319992" y="942463"/>
                </a:lnTo>
                <a:lnTo>
                  <a:pt x="7109978" y="1152879"/>
                </a:lnTo>
                <a:lnTo>
                  <a:pt x="6899966" y="942463"/>
                </a:lnTo>
                <a:lnTo>
                  <a:pt x="6888488" y="914725"/>
                </a:lnTo>
                <a:lnTo>
                  <a:pt x="6899966" y="887085"/>
                </a:lnTo>
                <a:lnTo>
                  <a:pt x="6978446" y="808345"/>
                </a:lnTo>
                <a:cubicBezTo>
                  <a:pt x="6985839" y="800950"/>
                  <a:pt x="6995568" y="796800"/>
                  <a:pt x="7006076" y="796800"/>
                </a:cubicBezTo>
                <a:close/>
                <a:moveTo>
                  <a:pt x="4952163" y="796785"/>
                </a:moveTo>
                <a:cubicBezTo>
                  <a:pt x="4962672" y="796785"/>
                  <a:pt x="4972539" y="800935"/>
                  <a:pt x="4979931" y="808330"/>
                </a:cubicBezTo>
                <a:lnTo>
                  <a:pt x="4999601" y="828037"/>
                </a:lnTo>
                <a:lnTo>
                  <a:pt x="5044528" y="873049"/>
                </a:lnTo>
                <a:lnTo>
                  <a:pt x="5056083" y="884723"/>
                </a:lnTo>
                <a:lnTo>
                  <a:pt x="5056083" y="884718"/>
                </a:lnTo>
                <a:lnTo>
                  <a:pt x="5056096" y="884737"/>
                </a:lnTo>
                <a:lnTo>
                  <a:pt x="5067648" y="873062"/>
                </a:lnTo>
                <a:lnTo>
                  <a:pt x="5132091" y="808330"/>
                </a:lnTo>
                <a:cubicBezTo>
                  <a:pt x="5139483" y="800806"/>
                  <a:pt x="5149338" y="796785"/>
                  <a:pt x="5159840" y="796785"/>
                </a:cubicBezTo>
                <a:lnTo>
                  <a:pt x="5187487" y="808327"/>
                </a:lnTo>
                <a:lnTo>
                  <a:pt x="5260329" y="881304"/>
                </a:lnTo>
                <a:lnTo>
                  <a:pt x="5265946" y="886927"/>
                </a:lnTo>
                <a:lnTo>
                  <a:pt x="5277479" y="914688"/>
                </a:lnTo>
                <a:cubicBezTo>
                  <a:pt x="5277479" y="925196"/>
                  <a:pt x="5273469" y="935054"/>
                  <a:pt x="5266075" y="942448"/>
                </a:cubicBezTo>
                <a:lnTo>
                  <a:pt x="5056083" y="1152860"/>
                </a:lnTo>
                <a:lnTo>
                  <a:pt x="4940608" y="1037194"/>
                </a:lnTo>
                <a:lnTo>
                  <a:pt x="4846044" y="942452"/>
                </a:lnTo>
                <a:lnTo>
                  <a:pt x="4834566" y="914718"/>
                </a:lnTo>
                <a:cubicBezTo>
                  <a:pt x="4834566" y="904680"/>
                  <a:pt x="4838398" y="894660"/>
                  <a:pt x="4846044" y="887070"/>
                </a:cubicBezTo>
                <a:lnTo>
                  <a:pt x="4924518" y="808330"/>
                </a:lnTo>
                <a:cubicBezTo>
                  <a:pt x="4931917" y="800935"/>
                  <a:pt x="4941652" y="796785"/>
                  <a:pt x="4952163" y="796785"/>
                </a:cubicBezTo>
                <a:close/>
                <a:moveTo>
                  <a:pt x="2898379" y="796772"/>
                </a:moveTo>
                <a:lnTo>
                  <a:pt x="2926124" y="808309"/>
                </a:lnTo>
                <a:lnTo>
                  <a:pt x="2990715" y="873034"/>
                </a:lnTo>
                <a:lnTo>
                  <a:pt x="3002260" y="884709"/>
                </a:lnTo>
                <a:lnTo>
                  <a:pt x="3002266" y="884703"/>
                </a:lnTo>
                <a:lnTo>
                  <a:pt x="3002284" y="884723"/>
                </a:lnTo>
                <a:lnTo>
                  <a:pt x="3013828" y="873046"/>
                </a:lnTo>
                <a:lnTo>
                  <a:pt x="3078300" y="808316"/>
                </a:lnTo>
                <a:cubicBezTo>
                  <a:pt x="3085695" y="800793"/>
                  <a:pt x="3095551" y="796772"/>
                  <a:pt x="3106059" y="796772"/>
                </a:cubicBezTo>
                <a:lnTo>
                  <a:pt x="3133671" y="808309"/>
                </a:lnTo>
                <a:lnTo>
                  <a:pt x="3212143" y="886914"/>
                </a:lnTo>
                <a:cubicBezTo>
                  <a:pt x="3219537" y="894308"/>
                  <a:pt x="3223561" y="904167"/>
                  <a:pt x="3223689" y="914674"/>
                </a:cubicBezTo>
                <a:cubicBezTo>
                  <a:pt x="3223689" y="925182"/>
                  <a:pt x="3219668" y="935041"/>
                  <a:pt x="3212274" y="942434"/>
                </a:cubicBezTo>
                <a:lnTo>
                  <a:pt x="3002266" y="1152843"/>
                </a:lnTo>
                <a:lnTo>
                  <a:pt x="2792274" y="942447"/>
                </a:lnTo>
                <a:cubicBezTo>
                  <a:pt x="2776962" y="927141"/>
                  <a:pt x="2776962" y="902234"/>
                  <a:pt x="2792274" y="887057"/>
                </a:cubicBezTo>
                <a:lnTo>
                  <a:pt x="2870749" y="808316"/>
                </a:lnTo>
                <a:cubicBezTo>
                  <a:pt x="2878144" y="800921"/>
                  <a:pt x="2887873" y="796772"/>
                  <a:pt x="2898379" y="796772"/>
                </a:cubicBezTo>
                <a:close/>
                <a:moveTo>
                  <a:pt x="844401" y="796757"/>
                </a:moveTo>
                <a:lnTo>
                  <a:pt x="872145" y="808295"/>
                </a:lnTo>
                <a:lnTo>
                  <a:pt x="936739" y="873020"/>
                </a:lnTo>
                <a:lnTo>
                  <a:pt x="948284" y="884695"/>
                </a:lnTo>
                <a:lnTo>
                  <a:pt x="948289" y="884690"/>
                </a:lnTo>
                <a:lnTo>
                  <a:pt x="948306" y="884708"/>
                </a:lnTo>
                <a:lnTo>
                  <a:pt x="959851" y="873033"/>
                </a:lnTo>
                <a:lnTo>
                  <a:pt x="1024320" y="808302"/>
                </a:lnTo>
                <a:cubicBezTo>
                  <a:pt x="1031715" y="800778"/>
                  <a:pt x="1041574" y="796757"/>
                  <a:pt x="1052080" y="796757"/>
                </a:cubicBezTo>
                <a:lnTo>
                  <a:pt x="1079695" y="808295"/>
                </a:lnTo>
                <a:lnTo>
                  <a:pt x="1158166" y="886900"/>
                </a:lnTo>
                <a:cubicBezTo>
                  <a:pt x="1165560" y="894294"/>
                  <a:pt x="1169581" y="904152"/>
                  <a:pt x="1169710" y="914660"/>
                </a:cubicBezTo>
                <a:cubicBezTo>
                  <a:pt x="1169710" y="925168"/>
                  <a:pt x="1165691" y="935027"/>
                  <a:pt x="1158298" y="942421"/>
                </a:cubicBezTo>
                <a:lnTo>
                  <a:pt x="948288" y="1152829"/>
                </a:lnTo>
                <a:lnTo>
                  <a:pt x="738294" y="942434"/>
                </a:lnTo>
                <a:cubicBezTo>
                  <a:pt x="722988" y="927127"/>
                  <a:pt x="722988" y="902221"/>
                  <a:pt x="738294" y="887043"/>
                </a:cubicBezTo>
                <a:lnTo>
                  <a:pt x="816772" y="808302"/>
                </a:lnTo>
                <a:cubicBezTo>
                  <a:pt x="824166" y="800907"/>
                  <a:pt x="833895" y="796757"/>
                  <a:pt x="844401" y="796757"/>
                </a:cubicBezTo>
                <a:close/>
                <a:moveTo>
                  <a:pt x="11113840" y="780338"/>
                </a:moveTo>
                <a:cubicBezTo>
                  <a:pt x="11099571" y="780338"/>
                  <a:pt x="11085432" y="785787"/>
                  <a:pt x="11074665" y="796683"/>
                </a:cubicBezTo>
                <a:lnTo>
                  <a:pt x="10996186" y="875425"/>
                </a:lnTo>
                <a:cubicBezTo>
                  <a:pt x="10985355" y="886258"/>
                  <a:pt x="10979939" y="900495"/>
                  <a:pt x="10979939" y="914730"/>
                </a:cubicBezTo>
                <a:lnTo>
                  <a:pt x="10979942" y="914736"/>
                </a:lnTo>
                <a:lnTo>
                  <a:pt x="10979939" y="914744"/>
                </a:lnTo>
                <a:cubicBezTo>
                  <a:pt x="10979939" y="928981"/>
                  <a:pt x="10985355" y="943218"/>
                  <a:pt x="10996186" y="954050"/>
                </a:cubicBezTo>
                <a:lnTo>
                  <a:pt x="11217744" y="1176145"/>
                </a:lnTo>
                <a:lnTo>
                  <a:pt x="11439301" y="954050"/>
                </a:lnTo>
                <a:cubicBezTo>
                  <a:pt x="11450132" y="943218"/>
                  <a:pt x="11455548" y="928981"/>
                  <a:pt x="11455548" y="914744"/>
                </a:cubicBezTo>
                <a:lnTo>
                  <a:pt x="11455545" y="914736"/>
                </a:lnTo>
                <a:lnTo>
                  <a:pt x="11455548" y="914730"/>
                </a:lnTo>
                <a:cubicBezTo>
                  <a:pt x="11455548" y="900495"/>
                  <a:pt x="11450132" y="886258"/>
                  <a:pt x="11439301" y="875425"/>
                </a:cubicBezTo>
                <a:lnTo>
                  <a:pt x="11360822" y="796812"/>
                </a:lnTo>
                <a:cubicBezTo>
                  <a:pt x="11349927" y="785916"/>
                  <a:pt x="11335787" y="780468"/>
                  <a:pt x="11321647" y="780468"/>
                </a:cubicBezTo>
                <a:lnTo>
                  <a:pt x="11321517" y="780338"/>
                </a:lnTo>
                <a:cubicBezTo>
                  <a:pt x="11307249" y="780338"/>
                  <a:pt x="11293110" y="785787"/>
                  <a:pt x="11282213" y="796812"/>
                </a:cubicBezTo>
                <a:lnTo>
                  <a:pt x="11217744" y="861415"/>
                </a:lnTo>
                <a:lnTo>
                  <a:pt x="11153145" y="796683"/>
                </a:lnTo>
                <a:cubicBezTo>
                  <a:pt x="11142248" y="785787"/>
                  <a:pt x="11128108" y="780338"/>
                  <a:pt x="11113840" y="780338"/>
                </a:cubicBezTo>
                <a:close/>
                <a:moveTo>
                  <a:pt x="9059893" y="780324"/>
                </a:moveTo>
                <a:cubicBezTo>
                  <a:pt x="9045624" y="780324"/>
                  <a:pt x="9031484" y="785773"/>
                  <a:pt x="9020718" y="796669"/>
                </a:cubicBezTo>
                <a:lnTo>
                  <a:pt x="8942239" y="875411"/>
                </a:lnTo>
                <a:cubicBezTo>
                  <a:pt x="8931408" y="886243"/>
                  <a:pt x="8925992" y="900480"/>
                  <a:pt x="8925992" y="914717"/>
                </a:cubicBezTo>
                <a:lnTo>
                  <a:pt x="8925994" y="914722"/>
                </a:lnTo>
                <a:lnTo>
                  <a:pt x="8925991" y="914730"/>
                </a:lnTo>
                <a:cubicBezTo>
                  <a:pt x="8925991" y="928969"/>
                  <a:pt x="8931406" y="943203"/>
                  <a:pt x="8942238" y="954035"/>
                </a:cubicBezTo>
                <a:lnTo>
                  <a:pt x="9163796" y="1176130"/>
                </a:lnTo>
                <a:lnTo>
                  <a:pt x="9385353" y="954035"/>
                </a:lnTo>
                <a:cubicBezTo>
                  <a:pt x="9396184" y="943203"/>
                  <a:pt x="9401600" y="928969"/>
                  <a:pt x="9401600" y="914730"/>
                </a:cubicBezTo>
                <a:lnTo>
                  <a:pt x="9401598" y="914725"/>
                </a:lnTo>
                <a:lnTo>
                  <a:pt x="9401601" y="914717"/>
                </a:lnTo>
                <a:cubicBezTo>
                  <a:pt x="9401601" y="900480"/>
                  <a:pt x="9396185" y="886243"/>
                  <a:pt x="9385354" y="875411"/>
                </a:cubicBezTo>
                <a:lnTo>
                  <a:pt x="9306876" y="796800"/>
                </a:lnTo>
                <a:cubicBezTo>
                  <a:pt x="9295978" y="785903"/>
                  <a:pt x="9281840" y="780454"/>
                  <a:pt x="9267701" y="780454"/>
                </a:cubicBezTo>
                <a:lnTo>
                  <a:pt x="9267571" y="780324"/>
                </a:lnTo>
                <a:cubicBezTo>
                  <a:pt x="9253303" y="780324"/>
                  <a:pt x="9239162" y="785773"/>
                  <a:pt x="9228266" y="796800"/>
                </a:cubicBezTo>
                <a:lnTo>
                  <a:pt x="9163797" y="861401"/>
                </a:lnTo>
                <a:lnTo>
                  <a:pt x="9099198" y="796669"/>
                </a:lnTo>
                <a:cubicBezTo>
                  <a:pt x="9088300" y="785773"/>
                  <a:pt x="9074162" y="780324"/>
                  <a:pt x="9059893" y="780324"/>
                </a:cubicBezTo>
                <a:close/>
                <a:moveTo>
                  <a:pt x="7006076" y="780310"/>
                </a:moveTo>
                <a:cubicBezTo>
                  <a:pt x="6991805" y="780310"/>
                  <a:pt x="6977666" y="785759"/>
                  <a:pt x="6966901" y="796656"/>
                </a:cubicBezTo>
                <a:lnTo>
                  <a:pt x="6888421" y="875397"/>
                </a:lnTo>
                <a:cubicBezTo>
                  <a:pt x="6877589" y="886228"/>
                  <a:pt x="6872174" y="900465"/>
                  <a:pt x="6872174" y="914703"/>
                </a:cubicBezTo>
                <a:lnTo>
                  <a:pt x="6872176" y="914710"/>
                </a:lnTo>
                <a:lnTo>
                  <a:pt x="6872174" y="914717"/>
                </a:lnTo>
                <a:cubicBezTo>
                  <a:pt x="6872174" y="928953"/>
                  <a:pt x="6877589" y="943189"/>
                  <a:pt x="6888421" y="954021"/>
                </a:cubicBezTo>
                <a:lnTo>
                  <a:pt x="7109978" y="1176113"/>
                </a:lnTo>
                <a:lnTo>
                  <a:pt x="7331537" y="954021"/>
                </a:lnTo>
                <a:cubicBezTo>
                  <a:pt x="7342368" y="943189"/>
                  <a:pt x="7347783" y="928953"/>
                  <a:pt x="7347783" y="914717"/>
                </a:cubicBezTo>
                <a:lnTo>
                  <a:pt x="7347780" y="914710"/>
                </a:lnTo>
                <a:lnTo>
                  <a:pt x="7347783" y="914703"/>
                </a:lnTo>
                <a:cubicBezTo>
                  <a:pt x="7347783" y="900465"/>
                  <a:pt x="7342368" y="886228"/>
                  <a:pt x="7331537" y="875397"/>
                </a:cubicBezTo>
                <a:lnTo>
                  <a:pt x="7253057" y="796785"/>
                </a:lnTo>
                <a:cubicBezTo>
                  <a:pt x="7242161" y="785888"/>
                  <a:pt x="7228022" y="780440"/>
                  <a:pt x="7213882" y="780440"/>
                </a:cubicBezTo>
                <a:lnTo>
                  <a:pt x="7213751" y="780310"/>
                </a:lnTo>
                <a:cubicBezTo>
                  <a:pt x="7199483" y="780310"/>
                  <a:pt x="7185345" y="785759"/>
                  <a:pt x="7174449" y="796785"/>
                </a:cubicBezTo>
                <a:lnTo>
                  <a:pt x="7109978" y="861387"/>
                </a:lnTo>
                <a:lnTo>
                  <a:pt x="7045379" y="796656"/>
                </a:lnTo>
                <a:cubicBezTo>
                  <a:pt x="7034483" y="785759"/>
                  <a:pt x="7020344" y="780310"/>
                  <a:pt x="7006076" y="780310"/>
                </a:cubicBezTo>
                <a:close/>
                <a:moveTo>
                  <a:pt x="4952154" y="780296"/>
                </a:moveTo>
                <a:cubicBezTo>
                  <a:pt x="4937883" y="780296"/>
                  <a:pt x="4923734" y="785745"/>
                  <a:pt x="4912973" y="796641"/>
                </a:cubicBezTo>
                <a:lnTo>
                  <a:pt x="4834497" y="875382"/>
                </a:lnTo>
                <a:cubicBezTo>
                  <a:pt x="4812828" y="897046"/>
                  <a:pt x="4812828" y="932332"/>
                  <a:pt x="4834497" y="953994"/>
                </a:cubicBezTo>
                <a:lnTo>
                  <a:pt x="4834505" y="954001"/>
                </a:lnTo>
                <a:lnTo>
                  <a:pt x="4834511" y="954008"/>
                </a:lnTo>
                <a:lnTo>
                  <a:pt x="4925572" y="1045292"/>
                </a:lnTo>
                <a:lnTo>
                  <a:pt x="5056083" y="1176084"/>
                </a:lnTo>
                <a:lnTo>
                  <a:pt x="5056083" y="1176081"/>
                </a:lnTo>
                <a:lnTo>
                  <a:pt x="5056096" y="1176099"/>
                </a:lnTo>
                <a:lnTo>
                  <a:pt x="5277619" y="954008"/>
                </a:lnTo>
                <a:cubicBezTo>
                  <a:pt x="5299298" y="932344"/>
                  <a:pt x="5299298" y="897060"/>
                  <a:pt x="5277619" y="875395"/>
                </a:cubicBezTo>
                <a:lnTo>
                  <a:pt x="5277613" y="875386"/>
                </a:lnTo>
                <a:lnTo>
                  <a:pt x="5277613" y="875382"/>
                </a:lnTo>
                <a:lnTo>
                  <a:pt x="5199129" y="796772"/>
                </a:lnTo>
                <a:cubicBezTo>
                  <a:pt x="5188240" y="785874"/>
                  <a:pt x="5174094" y="780426"/>
                  <a:pt x="5159958" y="780426"/>
                </a:cubicBezTo>
                <a:lnTo>
                  <a:pt x="5159834" y="780296"/>
                </a:lnTo>
                <a:cubicBezTo>
                  <a:pt x="5145563" y="780296"/>
                  <a:pt x="5131434" y="785745"/>
                  <a:pt x="5120536" y="796772"/>
                </a:cubicBezTo>
                <a:lnTo>
                  <a:pt x="5056083" y="861369"/>
                </a:lnTo>
                <a:lnTo>
                  <a:pt x="5001140" y="806336"/>
                </a:lnTo>
                <a:lnTo>
                  <a:pt x="4991465" y="796641"/>
                </a:lnTo>
                <a:cubicBezTo>
                  <a:pt x="4980570" y="785745"/>
                  <a:pt x="4966424" y="780296"/>
                  <a:pt x="4952154" y="780296"/>
                </a:cubicBezTo>
                <a:close/>
                <a:moveTo>
                  <a:pt x="2898359" y="780282"/>
                </a:moveTo>
                <a:cubicBezTo>
                  <a:pt x="2884086" y="780282"/>
                  <a:pt x="2869949" y="785730"/>
                  <a:pt x="2859182" y="796627"/>
                </a:cubicBezTo>
                <a:lnTo>
                  <a:pt x="2780702" y="875369"/>
                </a:lnTo>
                <a:cubicBezTo>
                  <a:pt x="2759040" y="897032"/>
                  <a:pt x="2759040" y="932316"/>
                  <a:pt x="2780702" y="953981"/>
                </a:cubicBezTo>
                <a:lnTo>
                  <a:pt x="3002260" y="1176068"/>
                </a:lnTo>
                <a:lnTo>
                  <a:pt x="3002266" y="1176063"/>
                </a:lnTo>
                <a:lnTo>
                  <a:pt x="3002284" y="1176082"/>
                </a:lnTo>
                <a:lnTo>
                  <a:pt x="3223843" y="953994"/>
                </a:lnTo>
                <a:cubicBezTo>
                  <a:pt x="3245509" y="932331"/>
                  <a:pt x="3245509" y="897046"/>
                  <a:pt x="3223843" y="875382"/>
                </a:cubicBezTo>
                <a:lnTo>
                  <a:pt x="3145363" y="796772"/>
                </a:lnTo>
                <a:cubicBezTo>
                  <a:pt x="3139913" y="791323"/>
                  <a:pt x="3133654" y="787234"/>
                  <a:pt x="3126992" y="784512"/>
                </a:cubicBezTo>
                <a:lnTo>
                  <a:pt x="3126986" y="784511"/>
                </a:lnTo>
                <a:lnTo>
                  <a:pt x="3126967" y="784499"/>
                </a:lnTo>
                <a:lnTo>
                  <a:pt x="3106177" y="780415"/>
                </a:lnTo>
                <a:lnTo>
                  <a:pt x="3106059" y="780295"/>
                </a:lnTo>
                <a:lnTo>
                  <a:pt x="3106051" y="780298"/>
                </a:lnTo>
                <a:lnTo>
                  <a:pt x="3106034" y="780282"/>
                </a:lnTo>
                <a:cubicBezTo>
                  <a:pt x="3091767" y="780282"/>
                  <a:pt x="3077626" y="785730"/>
                  <a:pt x="3066731" y="796757"/>
                </a:cubicBezTo>
                <a:lnTo>
                  <a:pt x="3002266" y="861353"/>
                </a:lnTo>
                <a:lnTo>
                  <a:pt x="2937685" y="796641"/>
                </a:lnTo>
                <a:cubicBezTo>
                  <a:pt x="2932238" y="791192"/>
                  <a:pt x="2925979" y="787106"/>
                  <a:pt x="2919300" y="784382"/>
                </a:cubicBezTo>
                <a:lnTo>
                  <a:pt x="2919293" y="784381"/>
                </a:lnTo>
                <a:lnTo>
                  <a:pt x="2919273" y="784369"/>
                </a:lnTo>
                <a:cubicBezTo>
                  <a:pt x="2912591" y="781644"/>
                  <a:pt x="2905489" y="780282"/>
                  <a:pt x="2898359" y="780282"/>
                </a:cubicBezTo>
                <a:close/>
                <a:moveTo>
                  <a:pt x="844379" y="780268"/>
                </a:moveTo>
                <a:cubicBezTo>
                  <a:pt x="830112" y="780268"/>
                  <a:pt x="815972" y="785717"/>
                  <a:pt x="805206" y="796613"/>
                </a:cubicBezTo>
                <a:lnTo>
                  <a:pt x="726726" y="875355"/>
                </a:lnTo>
                <a:cubicBezTo>
                  <a:pt x="705063" y="897019"/>
                  <a:pt x="705063" y="932303"/>
                  <a:pt x="726726" y="953966"/>
                </a:cubicBezTo>
                <a:lnTo>
                  <a:pt x="948284" y="1176053"/>
                </a:lnTo>
                <a:lnTo>
                  <a:pt x="948288" y="1176048"/>
                </a:lnTo>
                <a:lnTo>
                  <a:pt x="948306" y="1176067"/>
                </a:lnTo>
                <a:lnTo>
                  <a:pt x="1169863" y="953980"/>
                </a:lnTo>
                <a:cubicBezTo>
                  <a:pt x="1191525" y="932316"/>
                  <a:pt x="1191525" y="897032"/>
                  <a:pt x="1169863" y="875369"/>
                </a:cubicBezTo>
                <a:lnTo>
                  <a:pt x="1091384" y="796757"/>
                </a:lnTo>
                <a:cubicBezTo>
                  <a:pt x="1085937" y="791309"/>
                  <a:pt x="1079676" y="787222"/>
                  <a:pt x="1073012" y="784498"/>
                </a:cubicBezTo>
                <a:lnTo>
                  <a:pt x="1073010" y="784497"/>
                </a:lnTo>
                <a:lnTo>
                  <a:pt x="1072991" y="784484"/>
                </a:lnTo>
                <a:lnTo>
                  <a:pt x="1052198" y="780401"/>
                </a:lnTo>
                <a:lnTo>
                  <a:pt x="1052080" y="780282"/>
                </a:lnTo>
                <a:lnTo>
                  <a:pt x="1052072" y="780283"/>
                </a:lnTo>
                <a:lnTo>
                  <a:pt x="1052057" y="780268"/>
                </a:lnTo>
                <a:cubicBezTo>
                  <a:pt x="1037789" y="780268"/>
                  <a:pt x="1023649" y="785717"/>
                  <a:pt x="1012754" y="796743"/>
                </a:cubicBezTo>
                <a:lnTo>
                  <a:pt x="948290" y="861340"/>
                </a:lnTo>
                <a:lnTo>
                  <a:pt x="883707" y="796627"/>
                </a:lnTo>
                <a:cubicBezTo>
                  <a:pt x="878259" y="791178"/>
                  <a:pt x="872000" y="787092"/>
                  <a:pt x="865320" y="784368"/>
                </a:cubicBezTo>
                <a:lnTo>
                  <a:pt x="865315" y="784367"/>
                </a:lnTo>
                <a:lnTo>
                  <a:pt x="865296" y="784354"/>
                </a:lnTo>
                <a:cubicBezTo>
                  <a:pt x="858616" y="781630"/>
                  <a:pt x="851515" y="780268"/>
                  <a:pt x="844379" y="780268"/>
                </a:cubicBezTo>
                <a:close/>
                <a:moveTo>
                  <a:pt x="11910826" y="569816"/>
                </a:moveTo>
                <a:lnTo>
                  <a:pt x="12188651" y="730603"/>
                </a:lnTo>
                <a:lnTo>
                  <a:pt x="12188651" y="1107455"/>
                </a:lnTo>
                <a:lnTo>
                  <a:pt x="11910826" y="946654"/>
                </a:lnTo>
                <a:close/>
                <a:moveTo>
                  <a:pt x="11894481" y="569816"/>
                </a:moveTo>
                <a:lnTo>
                  <a:pt x="11894481" y="946654"/>
                </a:lnTo>
                <a:lnTo>
                  <a:pt x="11568890" y="1135023"/>
                </a:lnTo>
                <a:lnTo>
                  <a:pt x="11568890" y="758171"/>
                </a:lnTo>
                <a:close/>
                <a:moveTo>
                  <a:pt x="9857006" y="569803"/>
                </a:moveTo>
                <a:lnTo>
                  <a:pt x="10182468" y="758157"/>
                </a:lnTo>
                <a:lnTo>
                  <a:pt x="10182468" y="1135005"/>
                </a:lnTo>
                <a:lnTo>
                  <a:pt x="9857006" y="946640"/>
                </a:lnTo>
                <a:close/>
                <a:moveTo>
                  <a:pt x="9840661" y="569803"/>
                </a:moveTo>
                <a:lnTo>
                  <a:pt x="9840661" y="946640"/>
                </a:lnTo>
                <a:lnTo>
                  <a:pt x="9515070" y="1135005"/>
                </a:lnTo>
                <a:lnTo>
                  <a:pt x="9515070" y="758157"/>
                </a:lnTo>
                <a:close/>
                <a:moveTo>
                  <a:pt x="7803060" y="569788"/>
                </a:moveTo>
                <a:lnTo>
                  <a:pt x="8128521" y="758143"/>
                </a:lnTo>
                <a:lnTo>
                  <a:pt x="8128521" y="1134990"/>
                </a:lnTo>
                <a:lnTo>
                  <a:pt x="7803060" y="946626"/>
                </a:lnTo>
                <a:close/>
                <a:moveTo>
                  <a:pt x="7786715" y="569788"/>
                </a:moveTo>
                <a:lnTo>
                  <a:pt x="7786715" y="946626"/>
                </a:lnTo>
                <a:lnTo>
                  <a:pt x="7461125" y="1134990"/>
                </a:lnTo>
                <a:lnTo>
                  <a:pt x="7461125" y="758143"/>
                </a:lnTo>
                <a:close/>
                <a:moveTo>
                  <a:pt x="5749267" y="569774"/>
                </a:moveTo>
                <a:lnTo>
                  <a:pt x="6074705" y="758130"/>
                </a:lnTo>
                <a:lnTo>
                  <a:pt x="6074705" y="1134975"/>
                </a:lnTo>
                <a:lnTo>
                  <a:pt x="5749267" y="946613"/>
                </a:lnTo>
                <a:close/>
                <a:moveTo>
                  <a:pt x="5732923" y="569774"/>
                </a:moveTo>
                <a:lnTo>
                  <a:pt x="5732923" y="946611"/>
                </a:lnTo>
                <a:lnTo>
                  <a:pt x="5407356" y="1134972"/>
                </a:lnTo>
                <a:lnTo>
                  <a:pt x="5407356" y="758130"/>
                </a:lnTo>
                <a:close/>
                <a:moveTo>
                  <a:pt x="3679146" y="569764"/>
                </a:moveTo>
                <a:lnTo>
                  <a:pt x="3679146" y="946598"/>
                </a:lnTo>
                <a:lnTo>
                  <a:pt x="3353565" y="1134955"/>
                </a:lnTo>
                <a:lnTo>
                  <a:pt x="3353565" y="758117"/>
                </a:lnTo>
                <a:close/>
                <a:moveTo>
                  <a:pt x="3695498" y="569759"/>
                </a:moveTo>
                <a:lnTo>
                  <a:pt x="4020947" y="758112"/>
                </a:lnTo>
                <a:lnTo>
                  <a:pt x="4020947" y="1134957"/>
                </a:lnTo>
                <a:lnTo>
                  <a:pt x="3695498" y="946601"/>
                </a:lnTo>
                <a:close/>
                <a:moveTo>
                  <a:pt x="1625167" y="569748"/>
                </a:moveTo>
                <a:lnTo>
                  <a:pt x="1625167" y="946584"/>
                </a:lnTo>
                <a:lnTo>
                  <a:pt x="1299584" y="1134940"/>
                </a:lnTo>
                <a:lnTo>
                  <a:pt x="1299584" y="758102"/>
                </a:lnTo>
                <a:close/>
                <a:moveTo>
                  <a:pt x="1641516" y="569745"/>
                </a:moveTo>
                <a:lnTo>
                  <a:pt x="1966972" y="758098"/>
                </a:lnTo>
                <a:lnTo>
                  <a:pt x="1966972" y="1134943"/>
                </a:lnTo>
                <a:lnTo>
                  <a:pt x="1641516" y="946587"/>
                </a:lnTo>
                <a:close/>
                <a:moveTo>
                  <a:pt x="10532576" y="565003"/>
                </a:moveTo>
                <a:lnTo>
                  <a:pt x="10866339" y="758157"/>
                </a:lnTo>
                <a:lnTo>
                  <a:pt x="10866339" y="1144474"/>
                </a:lnTo>
                <a:lnTo>
                  <a:pt x="10532706" y="1337629"/>
                </a:lnTo>
                <a:lnTo>
                  <a:pt x="10198941" y="1144474"/>
                </a:lnTo>
                <a:lnTo>
                  <a:pt x="10198941" y="758157"/>
                </a:lnTo>
                <a:close/>
                <a:moveTo>
                  <a:pt x="8478628" y="564988"/>
                </a:moveTo>
                <a:lnTo>
                  <a:pt x="8812392" y="758143"/>
                </a:lnTo>
                <a:lnTo>
                  <a:pt x="8812392" y="1144459"/>
                </a:lnTo>
                <a:lnTo>
                  <a:pt x="8478758" y="1337616"/>
                </a:lnTo>
                <a:lnTo>
                  <a:pt x="8144995" y="1144459"/>
                </a:lnTo>
                <a:lnTo>
                  <a:pt x="8144995" y="758143"/>
                </a:lnTo>
                <a:close/>
                <a:moveTo>
                  <a:pt x="6424810" y="564974"/>
                </a:moveTo>
                <a:lnTo>
                  <a:pt x="6758573" y="758130"/>
                </a:lnTo>
                <a:lnTo>
                  <a:pt x="6758573" y="1144443"/>
                </a:lnTo>
                <a:lnTo>
                  <a:pt x="6424940" y="1337600"/>
                </a:lnTo>
                <a:lnTo>
                  <a:pt x="6091179" y="1144443"/>
                </a:lnTo>
                <a:lnTo>
                  <a:pt x="6091179" y="758130"/>
                </a:lnTo>
                <a:close/>
                <a:moveTo>
                  <a:pt x="4371020" y="564960"/>
                </a:moveTo>
                <a:lnTo>
                  <a:pt x="4704777" y="758114"/>
                </a:lnTo>
                <a:lnTo>
                  <a:pt x="4704777" y="1144429"/>
                </a:lnTo>
                <a:lnTo>
                  <a:pt x="4371146" y="1337586"/>
                </a:lnTo>
                <a:lnTo>
                  <a:pt x="4203813" y="1240748"/>
                </a:lnTo>
                <a:lnTo>
                  <a:pt x="4037427" y="1144432"/>
                </a:lnTo>
                <a:lnTo>
                  <a:pt x="4037427" y="758117"/>
                </a:lnTo>
                <a:close/>
                <a:moveTo>
                  <a:pt x="2317096" y="564946"/>
                </a:moveTo>
                <a:lnTo>
                  <a:pt x="2650849" y="758098"/>
                </a:lnTo>
                <a:lnTo>
                  <a:pt x="2650849" y="1144413"/>
                </a:lnTo>
                <a:lnTo>
                  <a:pt x="2317220" y="1337570"/>
                </a:lnTo>
                <a:lnTo>
                  <a:pt x="1983454" y="1144417"/>
                </a:lnTo>
                <a:lnTo>
                  <a:pt x="1983454" y="758102"/>
                </a:lnTo>
                <a:close/>
                <a:moveTo>
                  <a:pt x="263248" y="564931"/>
                </a:moveTo>
                <a:lnTo>
                  <a:pt x="597003" y="758084"/>
                </a:lnTo>
                <a:lnTo>
                  <a:pt x="597003" y="1144398"/>
                </a:lnTo>
                <a:lnTo>
                  <a:pt x="263372" y="1337554"/>
                </a:lnTo>
                <a:lnTo>
                  <a:pt x="0" y="1185135"/>
                </a:lnTo>
                <a:lnTo>
                  <a:pt x="0" y="717338"/>
                </a:lnTo>
                <a:close/>
                <a:moveTo>
                  <a:pt x="11217614" y="564628"/>
                </a:moveTo>
                <a:lnTo>
                  <a:pt x="11551377" y="757782"/>
                </a:lnTo>
                <a:lnTo>
                  <a:pt x="11551377" y="1143957"/>
                </a:lnTo>
                <a:lnTo>
                  <a:pt x="11217614" y="1337111"/>
                </a:lnTo>
                <a:lnTo>
                  <a:pt x="10883851" y="1143959"/>
                </a:lnTo>
                <a:lnTo>
                  <a:pt x="10883851" y="757782"/>
                </a:lnTo>
                <a:close/>
                <a:moveTo>
                  <a:pt x="9163666" y="564614"/>
                </a:moveTo>
                <a:lnTo>
                  <a:pt x="9497429" y="757768"/>
                </a:lnTo>
                <a:lnTo>
                  <a:pt x="9497429" y="1143944"/>
                </a:lnTo>
                <a:lnTo>
                  <a:pt x="9163666" y="1337098"/>
                </a:lnTo>
                <a:lnTo>
                  <a:pt x="8829903" y="1143941"/>
                </a:lnTo>
                <a:lnTo>
                  <a:pt x="8829903" y="757768"/>
                </a:lnTo>
                <a:close/>
                <a:moveTo>
                  <a:pt x="7109850" y="564599"/>
                </a:moveTo>
                <a:lnTo>
                  <a:pt x="7443613" y="757755"/>
                </a:lnTo>
                <a:lnTo>
                  <a:pt x="7443613" y="1143928"/>
                </a:lnTo>
                <a:lnTo>
                  <a:pt x="7109850" y="1337082"/>
                </a:lnTo>
                <a:lnTo>
                  <a:pt x="6776085" y="1143928"/>
                </a:lnTo>
                <a:lnTo>
                  <a:pt x="6776085" y="757755"/>
                </a:lnTo>
                <a:close/>
                <a:moveTo>
                  <a:pt x="5055971" y="564585"/>
                </a:moveTo>
                <a:lnTo>
                  <a:pt x="5143887" y="615477"/>
                </a:lnTo>
                <a:lnTo>
                  <a:pt x="5389701" y="757730"/>
                </a:lnTo>
                <a:lnTo>
                  <a:pt x="5389701" y="1143911"/>
                </a:lnTo>
                <a:lnTo>
                  <a:pt x="5055949" y="1337066"/>
                </a:lnTo>
                <a:lnTo>
                  <a:pt x="4722183" y="1143920"/>
                </a:lnTo>
                <a:lnTo>
                  <a:pt x="4722183" y="757740"/>
                </a:lnTo>
                <a:close/>
                <a:moveTo>
                  <a:pt x="3002159" y="564571"/>
                </a:moveTo>
                <a:lnTo>
                  <a:pt x="3016027" y="572597"/>
                </a:lnTo>
                <a:lnTo>
                  <a:pt x="3335897" y="757711"/>
                </a:lnTo>
                <a:lnTo>
                  <a:pt x="3335897" y="1143896"/>
                </a:lnTo>
                <a:lnTo>
                  <a:pt x="3002127" y="1337052"/>
                </a:lnTo>
                <a:lnTo>
                  <a:pt x="2668394" y="1143911"/>
                </a:lnTo>
                <a:lnTo>
                  <a:pt x="2668394" y="757727"/>
                </a:lnTo>
                <a:close/>
                <a:moveTo>
                  <a:pt x="948179" y="564556"/>
                </a:moveTo>
                <a:lnTo>
                  <a:pt x="1281917" y="757697"/>
                </a:lnTo>
                <a:lnTo>
                  <a:pt x="1281917" y="1143881"/>
                </a:lnTo>
                <a:lnTo>
                  <a:pt x="948154" y="1337037"/>
                </a:lnTo>
                <a:lnTo>
                  <a:pt x="740385" y="1216797"/>
                </a:lnTo>
                <a:lnTo>
                  <a:pt x="614417" y="1143897"/>
                </a:lnTo>
                <a:lnTo>
                  <a:pt x="614417" y="757713"/>
                </a:lnTo>
                <a:close/>
                <a:moveTo>
                  <a:pt x="10875809" y="366803"/>
                </a:moveTo>
                <a:lnTo>
                  <a:pt x="11201256" y="555149"/>
                </a:lnTo>
                <a:lnTo>
                  <a:pt x="10875678" y="743498"/>
                </a:lnTo>
                <a:lnTo>
                  <a:pt x="10550231" y="555149"/>
                </a:lnTo>
                <a:close/>
                <a:moveTo>
                  <a:pt x="8821860" y="366789"/>
                </a:moveTo>
                <a:lnTo>
                  <a:pt x="9147308" y="555135"/>
                </a:lnTo>
                <a:lnTo>
                  <a:pt x="8821731" y="743485"/>
                </a:lnTo>
                <a:lnTo>
                  <a:pt x="8496282" y="555135"/>
                </a:lnTo>
                <a:close/>
                <a:moveTo>
                  <a:pt x="6768043" y="366774"/>
                </a:moveTo>
                <a:lnTo>
                  <a:pt x="7093491" y="555121"/>
                </a:lnTo>
                <a:lnTo>
                  <a:pt x="6767913" y="743469"/>
                </a:lnTo>
                <a:lnTo>
                  <a:pt x="6442466" y="555121"/>
                </a:lnTo>
                <a:close/>
                <a:moveTo>
                  <a:pt x="4714128" y="366759"/>
                </a:moveTo>
                <a:lnTo>
                  <a:pt x="5039593" y="555101"/>
                </a:lnTo>
                <a:lnTo>
                  <a:pt x="4713993" y="743455"/>
                </a:lnTo>
                <a:lnTo>
                  <a:pt x="4388549" y="555110"/>
                </a:lnTo>
                <a:close/>
                <a:moveTo>
                  <a:pt x="2660353" y="366745"/>
                </a:moveTo>
                <a:lnTo>
                  <a:pt x="2961041" y="540764"/>
                </a:lnTo>
                <a:lnTo>
                  <a:pt x="2985786" y="555084"/>
                </a:lnTo>
                <a:lnTo>
                  <a:pt x="2660196" y="743441"/>
                </a:lnTo>
                <a:lnTo>
                  <a:pt x="2334766" y="555101"/>
                </a:lnTo>
                <a:close/>
                <a:moveTo>
                  <a:pt x="606375" y="366730"/>
                </a:moveTo>
                <a:lnTo>
                  <a:pt x="931808" y="555071"/>
                </a:lnTo>
                <a:lnTo>
                  <a:pt x="606218" y="743426"/>
                </a:lnTo>
                <a:lnTo>
                  <a:pt x="280784" y="555086"/>
                </a:lnTo>
                <a:close/>
                <a:moveTo>
                  <a:pt x="12140685" y="202966"/>
                </a:moveTo>
                <a:cubicBezTo>
                  <a:pt x="12151191" y="202966"/>
                  <a:pt x="12161050" y="207115"/>
                  <a:pt x="12168445" y="214509"/>
                </a:cubicBezTo>
                <a:lnTo>
                  <a:pt x="12188651" y="234757"/>
                </a:lnTo>
                <a:lnTo>
                  <a:pt x="12188651" y="503007"/>
                </a:lnTo>
                <a:lnTo>
                  <a:pt x="12034576" y="348641"/>
                </a:lnTo>
                <a:cubicBezTo>
                  <a:pt x="12019270" y="333336"/>
                  <a:pt x="12019270" y="308429"/>
                  <a:pt x="12034576" y="293253"/>
                </a:cubicBezTo>
                <a:lnTo>
                  <a:pt x="12113056" y="214509"/>
                </a:lnTo>
                <a:cubicBezTo>
                  <a:pt x="12120448" y="207115"/>
                  <a:pt x="12130178" y="202966"/>
                  <a:pt x="12140685" y="202966"/>
                </a:cubicBezTo>
                <a:close/>
                <a:moveTo>
                  <a:pt x="10086867" y="202950"/>
                </a:moveTo>
                <a:cubicBezTo>
                  <a:pt x="10097374" y="202950"/>
                  <a:pt x="10107232" y="207102"/>
                  <a:pt x="10114626" y="214495"/>
                </a:cubicBezTo>
                <a:lnTo>
                  <a:pt x="10179226" y="279226"/>
                </a:lnTo>
                <a:lnTo>
                  <a:pt x="10190770" y="290903"/>
                </a:lnTo>
                <a:lnTo>
                  <a:pt x="10202315" y="279226"/>
                </a:lnTo>
                <a:lnTo>
                  <a:pt x="10266786" y="214495"/>
                </a:lnTo>
                <a:cubicBezTo>
                  <a:pt x="10274178" y="206971"/>
                  <a:pt x="10284037" y="202950"/>
                  <a:pt x="10294543" y="202950"/>
                </a:cubicBezTo>
                <a:cubicBezTo>
                  <a:pt x="10304922" y="202950"/>
                  <a:pt x="10314781" y="207102"/>
                  <a:pt x="10322173" y="214495"/>
                </a:cubicBezTo>
                <a:lnTo>
                  <a:pt x="10400653" y="293106"/>
                </a:lnTo>
                <a:cubicBezTo>
                  <a:pt x="10408047" y="300500"/>
                  <a:pt x="10412068" y="310360"/>
                  <a:pt x="10412198" y="320867"/>
                </a:cubicBezTo>
                <a:cubicBezTo>
                  <a:pt x="10412198" y="331375"/>
                  <a:pt x="10408176" y="341234"/>
                  <a:pt x="10400783" y="348627"/>
                </a:cubicBezTo>
                <a:lnTo>
                  <a:pt x="10190770" y="559036"/>
                </a:lnTo>
                <a:lnTo>
                  <a:pt x="9980757" y="348627"/>
                </a:lnTo>
                <a:cubicBezTo>
                  <a:pt x="9965450" y="333321"/>
                  <a:pt x="9965450" y="308414"/>
                  <a:pt x="9980757" y="293236"/>
                </a:cubicBezTo>
                <a:lnTo>
                  <a:pt x="10059237" y="214495"/>
                </a:lnTo>
                <a:cubicBezTo>
                  <a:pt x="10066631" y="207102"/>
                  <a:pt x="10076359" y="202950"/>
                  <a:pt x="10086867" y="202950"/>
                </a:cubicBezTo>
                <a:close/>
                <a:moveTo>
                  <a:pt x="8032919" y="202936"/>
                </a:moveTo>
                <a:cubicBezTo>
                  <a:pt x="8043427" y="202936"/>
                  <a:pt x="8053285" y="207087"/>
                  <a:pt x="8060679" y="214481"/>
                </a:cubicBezTo>
                <a:lnTo>
                  <a:pt x="8125278" y="279212"/>
                </a:lnTo>
                <a:lnTo>
                  <a:pt x="8136823" y="290888"/>
                </a:lnTo>
                <a:lnTo>
                  <a:pt x="8148368" y="279212"/>
                </a:lnTo>
                <a:lnTo>
                  <a:pt x="8212837" y="214481"/>
                </a:lnTo>
                <a:cubicBezTo>
                  <a:pt x="8220232" y="206957"/>
                  <a:pt x="8230090" y="202936"/>
                  <a:pt x="8240596" y="202936"/>
                </a:cubicBezTo>
                <a:cubicBezTo>
                  <a:pt x="8250975" y="202936"/>
                  <a:pt x="8260834" y="207087"/>
                  <a:pt x="8268226" y="214481"/>
                </a:cubicBezTo>
                <a:lnTo>
                  <a:pt x="8346707" y="293091"/>
                </a:lnTo>
                <a:cubicBezTo>
                  <a:pt x="8354100" y="300487"/>
                  <a:pt x="8358121" y="310344"/>
                  <a:pt x="8358252" y="320853"/>
                </a:cubicBezTo>
                <a:cubicBezTo>
                  <a:pt x="8358252" y="331360"/>
                  <a:pt x="8354229" y="341220"/>
                  <a:pt x="8346837" y="348613"/>
                </a:cubicBezTo>
                <a:lnTo>
                  <a:pt x="8136823" y="559021"/>
                </a:lnTo>
                <a:lnTo>
                  <a:pt x="7926811" y="348613"/>
                </a:lnTo>
                <a:cubicBezTo>
                  <a:pt x="7911503" y="333305"/>
                  <a:pt x="7911503" y="308399"/>
                  <a:pt x="7926811" y="293223"/>
                </a:cubicBezTo>
                <a:lnTo>
                  <a:pt x="8005289" y="214481"/>
                </a:lnTo>
                <a:cubicBezTo>
                  <a:pt x="8012684" y="207087"/>
                  <a:pt x="8022413" y="202936"/>
                  <a:pt x="8032919" y="202936"/>
                </a:cubicBezTo>
                <a:close/>
                <a:moveTo>
                  <a:pt x="5979111" y="202922"/>
                </a:moveTo>
                <a:cubicBezTo>
                  <a:pt x="5989617" y="202922"/>
                  <a:pt x="5999474" y="207071"/>
                  <a:pt x="6006869" y="214466"/>
                </a:cubicBezTo>
                <a:lnTo>
                  <a:pt x="6071463" y="279197"/>
                </a:lnTo>
                <a:lnTo>
                  <a:pt x="6083008" y="290872"/>
                </a:lnTo>
                <a:lnTo>
                  <a:pt x="6094550" y="279197"/>
                </a:lnTo>
                <a:lnTo>
                  <a:pt x="6159019" y="214466"/>
                </a:lnTo>
                <a:cubicBezTo>
                  <a:pt x="6166413" y="206942"/>
                  <a:pt x="6176271" y="202922"/>
                  <a:pt x="6186779" y="202922"/>
                </a:cubicBezTo>
                <a:cubicBezTo>
                  <a:pt x="6197156" y="202922"/>
                  <a:pt x="6207014" y="207071"/>
                  <a:pt x="6214409" y="214466"/>
                </a:cubicBezTo>
                <a:lnTo>
                  <a:pt x="6292888" y="293078"/>
                </a:lnTo>
                <a:cubicBezTo>
                  <a:pt x="6300282" y="300473"/>
                  <a:pt x="6304303" y="310331"/>
                  <a:pt x="6304433" y="320838"/>
                </a:cubicBezTo>
                <a:cubicBezTo>
                  <a:pt x="6304433" y="331345"/>
                  <a:pt x="6300412" y="341204"/>
                  <a:pt x="6293017" y="348599"/>
                </a:cubicBezTo>
                <a:lnTo>
                  <a:pt x="6083008" y="559007"/>
                </a:lnTo>
                <a:lnTo>
                  <a:pt x="5873007" y="348599"/>
                </a:lnTo>
                <a:cubicBezTo>
                  <a:pt x="5857705" y="333290"/>
                  <a:pt x="5857705" y="308385"/>
                  <a:pt x="5873007" y="293208"/>
                </a:cubicBezTo>
                <a:lnTo>
                  <a:pt x="5951485" y="214466"/>
                </a:lnTo>
                <a:cubicBezTo>
                  <a:pt x="5958875" y="207071"/>
                  <a:pt x="5968605" y="202922"/>
                  <a:pt x="5979111" y="202922"/>
                </a:cubicBezTo>
                <a:close/>
                <a:moveTo>
                  <a:pt x="3925350" y="202907"/>
                </a:moveTo>
                <a:cubicBezTo>
                  <a:pt x="3935853" y="202907"/>
                  <a:pt x="3945719" y="207057"/>
                  <a:pt x="3953107" y="214451"/>
                </a:cubicBezTo>
                <a:lnTo>
                  <a:pt x="4017710" y="279184"/>
                </a:lnTo>
                <a:lnTo>
                  <a:pt x="4029255" y="290858"/>
                </a:lnTo>
                <a:lnTo>
                  <a:pt x="4040802" y="279184"/>
                </a:lnTo>
                <a:lnTo>
                  <a:pt x="4105272" y="214451"/>
                </a:lnTo>
                <a:cubicBezTo>
                  <a:pt x="4112668" y="206928"/>
                  <a:pt x="4122525" y="202907"/>
                  <a:pt x="4133033" y="202907"/>
                </a:cubicBezTo>
                <a:cubicBezTo>
                  <a:pt x="4143410" y="202907"/>
                  <a:pt x="4153270" y="207057"/>
                  <a:pt x="4160664" y="214451"/>
                </a:cubicBezTo>
                <a:lnTo>
                  <a:pt x="4239091" y="293063"/>
                </a:lnTo>
                <a:cubicBezTo>
                  <a:pt x="4246485" y="300458"/>
                  <a:pt x="4250509" y="310316"/>
                  <a:pt x="4250643" y="320823"/>
                </a:cubicBezTo>
                <a:cubicBezTo>
                  <a:pt x="4250643" y="331330"/>
                  <a:pt x="4246615" y="341189"/>
                  <a:pt x="4239218" y="348583"/>
                </a:cubicBezTo>
                <a:lnTo>
                  <a:pt x="4029255" y="558992"/>
                </a:lnTo>
                <a:lnTo>
                  <a:pt x="3819236" y="348583"/>
                </a:lnTo>
                <a:cubicBezTo>
                  <a:pt x="3803926" y="333277"/>
                  <a:pt x="3803926" y="308369"/>
                  <a:pt x="3819236" y="293193"/>
                </a:cubicBezTo>
                <a:lnTo>
                  <a:pt x="3897721" y="214451"/>
                </a:lnTo>
                <a:cubicBezTo>
                  <a:pt x="3905117" y="207057"/>
                  <a:pt x="3914844" y="202907"/>
                  <a:pt x="3925350" y="202907"/>
                </a:cubicBezTo>
                <a:close/>
                <a:moveTo>
                  <a:pt x="1871377" y="202891"/>
                </a:moveTo>
                <a:cubicBezTo>
                  <a:pt x="1881884" y="202891"/>
                  <a:pt x="1891742" y="207042"/>
                  <a:pt x="1899135" y="214436"/>
                </a:cubicBezTo>
                <a:lnTo>
                  <a:pt x="1963735" y="279169"/>
                </a:lnTo>
                <a:lnTo>
                  <a:pt x="1975281" y="290844"/>
                </a:lnTo>
                <a:lnTo>
                  <a:pt x="1986824" y="279169"/>
                </a:lnTo>
                <a:lnTo>
                  <a:pt x="2051295" y="214436"/>
                </a:lnTo>
                <a:cubicBezTo>
                  <a:pt x="2058689" y="206913"/>
                  <a:pt x="2068548" y="202891"/>
                  <a:pt x="2079054" y="202891"/>
                </a:cubicBezTo>
                <a:cubicBezTo>
                  <a:pt x="2089433" y="202891"/>
                  <a:pt x="2099298" y="207042"/>
                  <a:pt x="2106692" y="214436"/>
                </a:cubicBezTo>
                <a:lnTo>
                  <a:pt x="2185175" y="293048"/>
                </a:lnTo>
                <a:cubicBezTo>
                  <a:pt x="2192567" y="300443"/>
                  <a:pt x="2196589" y="310301"/>
                  <a:pt x="2196719" y="320809"/>
                </a:cubicBezTo>
                <a:cubicBezTo>
                  <a:pt x="2196719" y="331317"/>
                  <a:pt x="2192698" y="341175"/>
                  <a:pt x="2185303" y="348569"/>
                </a:cubicBezTo>
                <a:lnTo>
                  <a:pt x="1975281" y="558978"/>
                </a:lnTo>
                <a:lnTo>
                  <a:pt x="1765268" y="348569"/>
                </a:lnTo>
                <a:cubicBezTo>
                  <a:pt x="1749960" y="333262"/>
                  <a:pt x="1749960" y="308355"/>
                  <a:pt x="1765268" y="293179"/>
                </a:cubicBezTo>
                <a:lnTo>
                  <a:pt x="1843747" y="214436"/>
                </a:lnTo>
                <a:cubicBezTo>
                  <a:pt x="1851141" y="207042"/>
                  <a:pt x="1860869" y="202891"/>
                  <a:pt x="1871377" y="202891"/>
                </a:cubicBezTo>
                <a:close/>
                <a:moveTo>
                  <a:pt x="25217" y="202877"/>
                </a:moveTo>
                <a:cubicBezTo>
                  <a:pt x="35592" y="202877"/>
                  <a:pt x="45451" y="207028"/>
                  <a:pt x="52846" y="214422"/>
                </a:cubicBezTo>
                <a:lnTo>
                  <a:pt x="131324" y="293033"/>
                </a:lnTo>
                <a:cubicBezTo>
                  <a:pt x="138719" y="300428"/>
                  <a:pt x="142740" y="310286"/>
                  <a:pt x="142867" y="320794"/>
                </a:cubicBezTo>
                <a:cubicBezTo>
                  <a:pt x="142867" y="331302"/>
                  <a:pt x="138848" y="341161"/>
                  <a:pt x="131454" y="348554"/>
                </a:cubicBezTo>
                <a:lnTo>
                  <a:pt x="0" y="480257"/>
                </a:lnTo>
                <a:lnTo>
                  <a:pt x="0" y="213364"/>
                </a:lnTo>
                <a:close/>
                <a:moveTo>
                  <a:pt x="10086867" y="186475"/>
                </a:moveTo>
                <a:cubicBezTo>
                  <a:pt x="10072597" y="186475"/>
                  <a:pt x="10058458" y="191923"/>
                  <a:pt x="10047692" y="202821"/>
                </a:cubicBezTo>
                <a:lnTo>
                  <a:pt x="9969212" y="281561"/>
                </a:lnTo>
                <a:cubicBezTo>
                  <a:pt x="9947549" y="303225"/>
                  <a:pt x="9947549" y="338510"/>
                  <a:pt x="9969212" y="360173"/>
                </a:cubicBezTo>
                <a:lnTo>
                  <a:pt x="10190770" y="582255"/>
                </a:lnTo>
                <a:lnTo>
                  <a:pt x="10412328" y="360173"/>
                </a:lnTo>
                <a:cubicBezTo>
                  <a:pt x="10433990" y="338510"/>
                  <a:pt x="10433990" y="303225"/>
                  <a:pt x="10412328" y="281561"/>
                </a:cubicBezTo>
                <a:lnTo>
                  <a:pt x="10333848" y="202950"/>
                </a:lnTo>
                <a:cubicBezTo>
                  <a:pt x="10322953" y="192053"/>
                  <a:pt x="10308813" y="186606"/>
                  <a:pt x="10294673" y="186606"/>
                </a:cubicBezTo>
                <a:lnTo>
                  <a:pt x="10294543" y="186475"/>
                </a:lnTo>
                <a:cubicBezTo>
                  <a:pt x="10280275" y="186475"/>
                  <a:pt x="10266136" y="191923"/>
                  <a:pt x="10255241" y="202950"/>
                </a:cubicBezTo>
                <a:lnTo>
                  <a:pt x="10190770" y="267553"/>
                </a:lnTo>
                <a:lnTo>
                  <a:pt x="10126171" y="202821"/>
                </a:lnTo>
                <a:cubicBezTo>
                  <a:pt x="10115274" y="191923"/>
                  <a:pt x="10101136" y="186475"/>
                  <a:pt x="10086867" y="186475"/>
                </a:cubicBezTo>
                <a:close/>
                <a:moveTo>
                  <a:pt x="8032919" y="186461"/>
                </a:moveTo>
                <a:cubicBezTo>
                  <a:pt x="8018650" y="186461"/>
                  <a:pt x="8004511" y="191909"/>
                  <a:pt x="7993744" y="202806"/>
                </a:cubicBezTo>
                <a:lnTo>
                  <a:pt x="7915266" y="281547"/>
                </a:lnTo>
                <a:cubicBezTo>
                  <a:pt x="7893603" y="303211"/>
                  <a:pt x="7893603" y="338495"/>
                  <a:pt x="7915266" y="360159"/>
                </a:cubicBezTo>
                <a:lnTo>
                  <a:pt x="8136823" y="582242"/>
                </a:lnTo>
                <a:lnTo>
                  <a:pt x="8358382" y="360159"/>
                </a:lnTo>
                <a:cubicBezTo>
                  <a:pt x="8380044" y="338495"/>
                  <a:pt x="8380044" y="303211"/>
                  <a:pt x="8358382" y="281547"/>
                </a:cubicBezTo>
                <a:lnTo>
                  <a:pt x="8279902" y="202936"/>
                </a:lnTo>
                <a:cubicBezTo>
                  <a:pt x="8269006" y="192038"/>
                  <a:pt x="8254866" y="186591"/>
                  <a:pt x="8240727" y="186591"/>
                </a:cubicBezTo>
                <a:lnTo>
                  <a:pt x="8240596" y="186461"/>
                </a:lnTo>
                <a:cubicBezTo>
                  <a:pt x="8226328" y="186461"/>
                  <a:pt x="8212190" y="191909"/>
                  <a:pt x="8201292" y="202936"/>
                </a:cubicBezTo>
                <a:lnTo>
                  <a:pt x="8136823" y="267537"/>
                </a:lnTo>
                <a:lnTo>
                  <a:pt x="8072224" y="202806"/>
                </a:lnTo>
                <a:cubicBezTo>
                  <a:pt x="8061328" y="191909"/>
                  <a:pt x="8047187" y="186461"/>
                  <a:pt x="8032919" y="186461"/>
                </a:cubicBezTo>
                <a:close/>
                <a:moveTo>
                  <a:pt x="5979111" y="186446"/>
                </a:moveTo>
                <a:cubicBezTo>
                  <a:pt x="5964843" y="186446"/>
                  <a:pt x="5950704" y="191896"/>
                  <a:pt x="5939940" y="202790"/>
                </a:cubicBezTo>
                <a:lnTo>
                  <a:pt x="5861464" y="281532"/>
                </a:lnTo>
                <a:cubicBezTo>
                  <a:pt x="5839806" y="303196"/>
                  <a:pt x="5839806" y="338481"/>
                  <a:pt x="5861464" y="360144"/>
                </a:cubicBezTo>
                <a:lnTo>
                  <a:pt x="6083008" y="582227"/>
                </a:lnTo>
                <a:lnTo>
                  <a:pt x="6304562" y="360144"/>
                </a:lnTo>
                <a:cubicBezTo>
                  <a:pt x="6326226" y="338481"/>
                  <a:pt x="6326226" y="303196"/>
                  <a:pt x="6304562" y="281532"/>
                </a:cubicBezTo>
                <a:lnTo>
                  <a:pt x="6226084" y="202922"/>
                </a:lnTo>
                <a:cubicBezTo>
                  <a:pt x="6215186" y="192023"/>
                  <a:pt x="6201048" y="186576"/>
                  <a:pt x="6186909" y="186576"/>
                </a:cubicBezTo>
                <a:lnTo>
                  <a:pt x="6186779" y="186446"/>
                </a:lnTo>
                <a:cubicBezTo>
                  <a:pt x="6172511" y="186446"/>
                  <a:pt x="6158370" y="191896"/>
                  <a:pt x="6147474" y="202922"/>
                </a:cubicBezTo>
                <a:lnTo>
                  <a:pt x="6083008" y="267522"/>
                </a:lnTo>
                <a:lnTo>
                  <a:pt x="6018412" y="202790"/>
                </a:lnTo>
                <a:cubicBezTo>
                  <a:pt x="6007516" y="191896"/>
                  <a:pt x="5993380" y="186446"/>
                  <a:pt x="5979111" y="186446"/>
                </a:cubicBezTo>
                <a:close/>
                <a:moveTo>
                  <a:pt x="3925350" y="186431"/>
                </a:moveTo>
                <a:cubicBezTo>
                  <a:pt x="3911082" y="186431"/>
                  <a:pt x="3896942" y="191880"/>
                  <a:pt x="3886173" y="202777"/>
                </a:cubicBezTo>
                <a:lnTo>
                  <a:pt x="3807690" y="281518"/>
                </a:lnTo>
                <a:cubicBezTo>
                  <a:pt x="3786026" y="303181"/>
                  <a:pt x="3786026" y="338465"/>
                  <a:pt x="3807690" y="360128"/>
                </a:cubicBezTo>
                <a:lnTo>
                  <a:pt x="4029255" y="582213"/>
                </a:lnTo>
                <a:lnTo>
                  <a:pt x="4250768" y="360128"/>
                </a:lnTo>
                <a:cubicBezTo>
                  <a:pt x="4272427" y="338465"/>
                  <a:pt x="4272427" y="303181"/>
                  <a:pt x="4250768" y="281518"/>
                </a:cubicBezTo>
                <a:lnTo>
                  <a:pt x="4172338" y="202907"/>
                </a:lnTo>
                <a:cubicBezTo>
                  <a:pt x="4161440" y="192009"/>
                  <a:pt x="4147303" y="186561"/>
                  <a:pt x="4133162" y="186561"/>
                </a:cubicBezTo>
                <a:lnTo>
                  <a:pt x="4133033" y="186431"/>
                </a:lnTo>
                <a:cubicBezTo>
                  <a:pt x="4118762" y="186431"/>
                  <a:pt x="4104625" y="191880"/>
                  <a:pt x="4093728" y="202907"/>
                </a:cubicBezTo>
                <a:lnTo>
                  <a:pt x="4029255" y="267508"/>
                </a:lnTo>
                <a:lnTo>
                  <a:pt x="3964656" y="202777"/>
                </a:lnTo>
                <a:cubicBezTo>
                  <a:pt x="3953756" y="191880"/>
                  <a:pt x="3939617" y="186431"/>
                  <a:pt x="3925350" y="186431"/>
                </a:cubicBezTo>
                <a:close/>
                <a:moveTo>
                  <a:pt x="1871377" y="186416"/>
                </a:moveTo>
                <a:cubicBezTo>
                  <a:pt x="1857110" y="186416"/>
                  <a:pt x="1842970" y="191865"/>
                  <a:pt x="1832202" y="202761"/>
                </a:cubicBezTo>
                <a:lnTo>
                  <a:pt x="1753725" y="281503"/>
                </a:lnTo>
                <a:cubicBezTo>
                  <a:pt x="1732061" y="303167"/>
                  <a:pt x="1732061" y="338451"/>
                  <a:pt x="1753725" y="360115"/>
                </a:cubicBezTo>
                <a:lnTo>
                  <a:pt x="1975281" y="582199"/>
                </a:lnTo>
                <a:lnTo>
                  <a:pt x="2196847" y="360115"/>
                </a:lnTo>
                <a:cubicBezTo>
                  <a:pt x="2218511" y="338451"/>
                  <a:pt x="2218511" y="303167"/>
                  <a:pt x="2196847" y="281503"/>
                </a:cubicBezTo>
                <a:lnTo>
                  <a:pt x="2118368" y="202891"/>
                </a:lnTo>
                <a:cubicBezTo>
                  <a:pt x="2107471" y="191994"/>
                  <a:pt x="2093325" y="186547"/>
                  <a:pt x="2079182" y="186547"/>
                </a:cubicBezTo>
                <a:lnTo>
                  <a:pt x="2079054" y="186416"/>
                </a:lnTo>
                <a:cubicBezTo>
                  <a:pt x="2064785" y="186416"/>
                  <a:pt x="2050647" y="191865"/>
                  <a:pt x="2039750" y="202891"/>
                </a:cubicBezTo>
                <a:lnTo>
                  <a:pt x="1975281" y="267493"/>
                </a:lnTo>
                <a:lnTo>
                  <a:pt x="1910682" y="202761"/>
                </a:lnTo>
                <a:cubicBezTo>
                  <a:pt x="1899785" y="191865"/>
                  <a:pt x="1885645" y="186416"/>
                  <a:pt x="1871377" y="186416"/>
                </a:cubicBezTo>
                <a:close/>
                <a:moveTo>
                  <a:pt x="0" y="16212"/>
                </a:moveTo>
                <a:lnTo>
                  <a:pt x="255071" y="163827"/>
                </a:lnTo>
                <a:lnTo>
                  <a:pt x="255071" y="550010"/>
                </a:lnTo>
                <a:lnTo>
                  <a:pt x="0" y="697625"/>
                </a:lnTo>
                <a:lnTo>
                  <a:pt x="0" y="503439"/>
                </a:lnTo>
                <a:lnTo>
                  <a:pt x="143000" y="360100"/>
                </a:lnTo>
                <a:cubicBezTo>
                  <a:pt x="164663" y="338436"/>
                  <a:pt x="164663" y="303152"/>
                  <a:pt x="143000" y="281489"/>
                </a:cubicBezTo>
                <a:lnTo>
                  <a:pt x="64519" y="202877"/>
                </a:lnTo>
                <a:cubicBezTo>
                  <a:pt x="53623" y="191979"/>
                  <a:pt x="39484" y="186532"/>
                  <a:pt x="25344" y="186532"/>
                </a:cubicBezTo>
                <a:lnTo>
                  <a:pt x="25217" y="186401"/>
                </a:lnTo>
                <a:cubicBezTo>
                  <a:pt x="18081" y="186401"/>
                  <a:pt x="10979" y="187764"/>
                  <a:pt x="4299" y="190504"/>
                </a:cubicBezTo>
                <a:lnTo>
                  <a:pt x="0" y="193396"/>
                </a:lnTo>
                <a:close/>
                <a:moveTo>
                  <a:pt x="12188651" y="3063"/>
                </a:moveTo>
                <a:lnTo>
                  <a:pt x="12188651" y="211515"/>
                </a:lnTo>
                <a:lnTo>
                  <a:pt x="12179990" y="202835"/>
                </a:lnTo>
                <a:cubicBezTo>
                  <a:pt x="12169092" y="191938"/>
                  <a:pt x="12154954" y="186490"/>
                  <a:pt x="12140685" y="186490"/>
                </a:cubicBezTo>
                <a:cubicBezTo>
                  <a:pt x="12126416" y="186490"/>
                  <a:pt x="12112276" y="191938"/>
                  <a:pt x="12101510" y="202835"/>
                </a:cubicBezTo>
                <a:lnTo>
                  <a:pt x="12023031" y="281576"/>
                </a:lnTo>
                <a:cubicBezTo>
                  <a:pt x="12001368" y="303240"/>
                  <a:pt x="12001368" y="338524"/>
                  <a:pt x="12023031" y="360188"/>
                </a:cubicBezTo>
                <a:lnTo>
                  <a:pt x="12188651" y="526200"/>
                </a:lnTo>
                <a:lnTo>
                  <a:pt x="12188651" y="710954"/>
                </a:lnTo>
                <a:lnTo>
                  <a:pt x="11910696" y="550094"/>
                </a:lnTo>
                <a:lnTo>
                  <a:pt x="11910696" y="163920"/>
                </a:lnTo>
                <a:close/>
                <a:moveTo>
                  <a:pt x="11643950" y="0"/>
                </a:moveTo>
                <a:lnTo>
                  <a:pt x="12161201" y="0"/>
                </a:lnTo>
                <a:lnTo>
                  <a:pt x="11902524" y="149646"/>
                </a:lnTo>
                <a:close/>
                <a:moveTo>
                  <a:pt x="11509496" y="0"/>
                </a:moveTo>
                <a:lnTo>
                  <a:pt x="11609622" y="0"/>
                </a:lnTo>
                <a:lnTo>
                  <a:pt x="11893312" y="164177"/>
                </a:lnTo>
                <a:lnTo>
                  <a:pt x="11893312" y="550471"/>
                </a:lnTo>
                <a:lnTo>
                  <a:pt x="11559679" y="743626"/>
                </a:lnTo>
                <a:lnTo>
                  <a:pt x="11225916" y="550471"/>
                </a:lnTo>
                <a:lnTo>
                  <a:pt x="11225916" y="164178"/>
                </a:lnTo>
                <a:close/>
                <a:moveTo>
                  <a:pt x="10959725" y="0"/>
                </a:moveTo>
                <a:lnTo>
                  <a:pt x="11475502" y="0"/>
                </a:lnTo>
                <a:lnTo>
                  <a:pt x="11217614" y="149246"/>
                </a:lnTo>
                <a:close/>
                <a:moveTo>
                  <a:pt x="10883981" y="0"/>
                </a:moveTo>
                <a:lnTo>
                  <a:pt x="10925760" y="0"/>
                </a:lnTo>
                <a:lnTo>
                  <a:pt x="11209441" y="164177"/>
                </a:lnTo>
                <a:lnTo>
                  <a:pt x="11209441" y="541003"/>
                </a:lnTo>
                <a:lnTo>
                  <a:pt x="10883981" y="352647"/>
                </a:lnTo>
                <a:close/>
                <a:moveTo>
                  <a:pt x="10825841" y="0"/>
                </a:moveTo>
                <a:lnTo>
                  <a:pt x="10867636" y="0"/>
                </a:lnTo>
                <a:lnTo>
                  <a:pt x="10867636" y="352647"/>
                </a:lnTo>
                <a:lnTo>
                  <a:pt x="10542045" y="541003"/>
                </a:lnTo>
                <a:lnTo>
                  <a:pt x="10542045" y="164178"/>
                </a:lnTo>
                <a:close/>
                <a:moveTo>
                  <a:pt x="10273927" y="0"/>
                </a:moveTo>
                <a:lnTo>
                  <a:pt x="10791383" y="0"/>
                </a:lnTo>
                <a:lnTo>
                  <a:pt x="10532706" y="149760"/>
                </a:lnTo>
                <a:close/>
                <a:moveTo>
                  <a:pt x="10140095" y="0"/>
                </a:moveTo>
                <a:lnTo>
                  <a:pt x="10241185" y="0"/>
                </a:lnTo>
                <a:lnTo>
                  <a:pt x="10524404" y="163905"/>
                </a:lnTo>
                <a:lnTo>
                  <a:pt x="10524404" y="550081"/>
                </a:lnTo>
                <a:lnTo>
                  <a:pt x="10190640" y="743237"/>
                </a:lnTo>
                <a:lnTo>
                  <a:pt x="9856876" y="550081"/>
                </a:lnTo>
                <a:lnTo>
                  <a:pt x="9856876" y="163905"/>
                </a:lnTo>
                <a:close/>
                <a:moveTo>
                  <a:pt x="9590156" y="0"/>
                </a:moveTo>
                <a:lnTo>
                  <a:pt x="10107355" y="0"/>
                </a:lnTo>
                <a:lnTo>
                  <a:pt x="9848703" y="149632"/>
                </a:lnTo>
                <a:close/>
                <a:moveTo>
                  <a:pt x="9455523" y="0"/>
                </a:moveTo>
                <a:lnTo>
                  <a:pt x="9555699" y="0"/>
                </a:lnTo>
                <a:lnTo>
                  <a:pt x="9839364" y="164163"/>
                </a:lnTo>
                <a:lnTo>
                  <a:pt x="9839364" y="550457"/>
                </a:lnTo>
                <a:lnTo>
                  <a:pt x="9505732" y="743612"/>
                </a:lnTo>
                <a:lnTo>
                  <a:pt x="9171969" y="550457"/>
                </a:lnTo>
                <a:lnTo>
                  <a:pt x="9171969" y="164163"/>
                </a:lnTo>
                <a:close/>
                <a:moveTo>
                  <a:pt x="8905803" y="0"/>
                </a:moveTo>
                <a:lnTo>
                  <a:pt x="9421530" y="0"/>
                </a:lnTo>
                <a:lnTo>
                  <a:pt x="9163666" y="149231"/>
                </a:lnTo>
                <a:close/>
                <a:moveTo>
                  <a:pt x="8830033" y="0"/>
                </a:moveTo>
                <a:lnTo>
                  <a:pt x="8871836" y="0"/>
                </a:lnTo>
                <a:lnTo>
                  <a:pt x="9155493" y="164163"/>
                </a:lnTo>
                <a:lnTo>
                  <a:pt x="9155493" y="540989"/>
                </a:lnTo>
                <a:lnTo>
                  <a:pt x="8830033" y="352632"/>
                </a:lnTo>
                <a:close/>
                <a:moveTo>
                  <a:pt x="8771868" y="0"/>
                </a:moveTo>
                <a:lnTo>
                  <a:pt x="8813688" y="0"/>
                </a:lnTo>
                <a:lnTo>
                  <a:pt x="8813688" y="352633"/>
                </a:lnTo>
                <a:lnTo>
                  <a:pt x="8488098" y="540989"/>
                </a:lnTo>
                <a:lnTo>
                  <a:pt x="8488098" y="164163"/>
                </a:lnTo>
                <a:close/>
                <a:moveTo>
                  <a:pt x="8220006" y="0"/>
                </a:moveTo>
                <a:lnTo>
                  <a:pt x="8737411" y="0"/>
                </a:lnTo>
                <a:lnTo>
                  <a:pt x="8478758" y="149746"/>
                </a:lnTo>
                <a:close/>
                <a:moveTo>
                  <a:pt x="8086123" y="0"/>
                </a:moveTo>
                <a:lnTo>
                  <a:pt x="8187263" y="0"/>
                </a:lnTo>
                <a:lnTo>
                  <a:pt x="8470456" y="163890"/>
                </a:lnTo>
                <a:lnTo>
                  <a:pt x="8470456" y="550066"/>
                </a:lnTo>
                <a:lnTo>
                  <a:pt x="8136693" y="743223"/>
                </a:lnTo>
                <a:lnTo>
                  <a:pt x="7802930" y="550066"/>
                </a:lnTo>
                <a:lnTo>
                  <a:pt x="7802930" y="163890"/>
                </a:lnTo>
                <a:close/>
                <a:moveTo>
                  <a:pt x="7536237" y="0"/>
                </a:moveTo>
                <a:lnTo>
                  <a:pt x="8053383" y="0"/>
                </a:lnTo>
                <a:lnTo>
                  <a:pt x="7794758" y="149616"/>
                </a:lnTo>
                <a:close/>
                <a:moveTo>
                  <a:pt x="7401681" y="0"/>
                </a:moveTo>
                <a:lnTo>
                  <a:pt x="7501908" y="0"/>
                </a:lnTo>
                <a:lnTo>
                  <a:pt x="7785548" y="164149"/>
                </a:lnTo>
                <a:lnTo>
                  <a:pt x="7785548" y="550443"/>
                </a:lnTo>
                <a:lnTo>
                  <a:pt x="7451915" y="743599"/>
                </a:lnTo>
                <a:lnTo>
                  <a:pt x="7118150" y="550443"/>
                </a:lnTo>
                <a:lnTo>
                  <a:pt x="7118150" y="164149"/>
                </a:lnTo>
                <a:close/>
                <a:moveTo>
                  <a:pt x="6852010" y="0"/>
                </a:moveTo>
                <a:lnTo>
                  <a:pt x="7367688" y="0"/>
                </a:lnTo>
                <a:lnTo>
                  <a:pt x="7109850" y="149217"/>
                </a:lnTo>
                <a:close/>
                <a:moveTo>
                  <a:pt x="6776215" y="0"/>
                </a:moveTo>
                <a:lnTo>
                  <a:pt x="6818044" y="0"/>
                </a:lnTo>
                <a:lnTo>
                  <a:pt x="7101677" y="164149"/>
                </a:lnTo>
                <a:lnTo>
                  <a:pt x="7101677" y="540974"/>
                </a:lnTo>
                <a:lnTo>
                  <a:pt x="6776215" y="352617"/>
                </a:lnTo>
                <a:close/>
                <a:moveTo>
                  <a:pt x="6718025" y="0"/>
                </a:moveTo>
                <a:lnTo>
                  <a:pt x="6759871" y="0"/>
                </a:lnTo>
                <a:lnTo>
                  <a:pt x="6759871" y="352617"/>
                </a:lnTo>
                <a:lnTo>
                  <a:pt x="6434280" y="540974"/>
                </a:lnTo>
                <a:lnTo>
                  <a:pt x="6434280" y="164149"/>
                </a:lnTo>
                <a:close/>
                <a:moveTo>
                  <a:pt x="6166213" y="0"/>
                </a:moveTo>
                <a:lnTo>
                  <a:pt x="6683567" y="0"/>
                </a:lnTo>
                <a:lnTo>
                  <a:pt x="6424940" y="149731"/>
                </a:lnTo>
                <a:close/>
                <a:moveTo>
                  <a:pt x="6032286" y="0"/>
                </a:moveTo>
                <a:lnTo>
                  <a:pt x="6133471" y="0"/>
                </a:lnTo>
                <a:lnTo>
                  <a:pt x="6416638" y="163875"/>
                </a:lnTo>
                <a:lnTo>
                  <a:pt x="6416638" y="550053"/>
                </a:lnTo>
                <a:lnTo>
                  <a:pt x="6082876" y="743207"/>
                </a:lnTo>
                <a:lnTo>
                  <a:pt x="5749140" y="550054"/>
                </a:lnTo>
                <a:lnTo>
                  <a:pt x="5749140" y="163875"/>
                </a:lnTo>
                <a:close/>
                <a:moveTo>
                  <a:pt x="5482485" y="0"/>
                </a:moveTo>
                <a:lnTo>
                  <a:pt x="5999546" y="0"/>
                </a:lnTo>
                <a:lnTo>
                  <a:pt x="5740963" y="149601"/>
                </a:lnTo>
                <a:close/>
                <a:moveTo>
                  <a:pt x="5347761" y="0"/>
                </a:moveTo>
                <a:lnTo>
                  <a:pt x="5448034" y="0"/>
                </a:lnTo>
                <a:lnTo>
                  <a:pt x="5731618" y="164130"/>
                </a:lnTo>
                <a:lnTo>
                  <a:pt x="5731618" y="550429"/>
                </a:lnTo>
                <a:lnTo>
                  <a:pt x="5398000" y="743584"/>
                </a:lnTo>
                <a:lnTo>
                  <a:pt x="5064275" y="550443"/>
                </a:lnTo>
                <a:lnTo>
                  <a:pt x="5064275" y="164134"/>
                </a:lnTo>
                <a:close/>
                <a:moveTo>
                  <a:pt x="4798110" y="0"/>
                </a:moveTo>
                <a:lnTo>
                  <a:pt x="5313753" y="0"/>
                </a:lnTo>
                <a:lnTo>
                  <a:pt x="5055955" y="149201"/>
                </a:lnTo>
                <a:lnTo>
                  <a:pt x="4816718" y="10771"/>
                </a:lnTo>
                <a:close/>
                <a:moveTo>
                  <a:pt x="4722313" y="0"/>
                </a:moveTo>
                <a:lnTo>
                  <a:pt x="4764172" y="0"/>
                </a:lnTo>
                <a:lnTo>
                  <a:pt x="5047775" y="164120"/>
                </a:lnTo>
                <a:lnTo>
                  <a:pt x="5047775" y="540960"/>
                </a:lnTo>
                <a:lnTo>
                  <a:pt x="4722313" y="352611"/>
                </a:lnTo>
                <a:close/>
                <a:moveTo>
                  <a:pt x="4664088" y="0"/>
                </a:moveTo>
                <a:lnTo>
                  <a:pt x="4705942" y="0"/>
                </a:lnTo>
                <a:lnTo>
                  <a:pt x="4705942" y="352603"/>
                </a:lnTo>
                <a:lnTo>
                  <a:pt x="4380369" y="540954"/>
                </a:lnTo>
                <a:lnTo>
                  <a:pt x="4380369" y="164134"/>
                </a:lnTo>
                <a:close/>
                <a:moveTo>
                  <a:pt x="4112484" y="0"/>
                </a:moveTo>
                <a:lnTo>
                  <a:pt x="4629754" y="0"/>
                </a:lnTo>
                <a:lnTo>
                  <a:pt x="4371146" y="149717"/>
                </a:lnTo>
                <a:close/>
                <a:moveTo>
                  <a:pt x="3978507" y="0"/>
                </a:moveTo>
                <a:lnTo>
                  <a:pt x="4079738" y="0"/>
                </a:lnTo>
                <a:lnTo>
                  <a:pt x="4207107" y="73731"/>
                </a:lnTo>
                <a:lnTo>
                  <a:pt x="4362838" y="163859"/>
                </a:lnTo>
                <a:lnTo>
                  <a:pt x="4362838" y="550038"/>
                </a:lnTo>
                <a:lnTo>
                  <a:pt x="4029120" y="743194"/>
                </a:lnTo>
                <a:lnTo>
                  <a:pt x="3695368" y="550042"/>
                </a:lnTo>
                <a:lnTo>
                  <a:pt x="3695368" y="163860"/>
                </a:lnTo>
                <a:close/>
                <a:moveTo>
                  <a:pt x="3428727" y="0"/>
                </a:moveTo>
                <a:lnTo>
                  <a:pt x="3945759" y="0"/>
                </a:lnTo>
                <a:lnTo>
                  <a:pt x="3687190" y="149586"/>
                </a:lnTo>
                <a:close/>
                <a:moveTo>
                  <a:pt x="3293942" y="0"/>
                </a:moveTo>
                <a:lnTo>
                  <a:pt x="3394267" y="0"/>
                </a:lnTo>
                <a:lnTo>
                  <a:pt x="3677828" y="164102"/>
                </a:lnTo>
                <a:lnTo>
                  <a:pt x="3677828" y="550415"/>
                </a:lnTo>
                <a:lnTo>
                  <a:pt x="3344198" y="743570"/>
                </a:lnTo>
                <a:lnTo>
                  <a:pt x="3010461" y="550429"/>
                </a:lnTo>
                <a:lnTo>
                  <a:pt x="3010461" y="164119"/>
                </a:lnTo>
                <a:close/>
                <a:moveTo>
                  <a:pt x="2744346" y="0"/>
                </a:moveTo>
                <a:lnTo>
                  <a:pt x="3259920" y="0"/>
                </a:lnTo>
                <a:lnTo>
                  <a:pt x="3002133" y="149187"/>
                </a:lnTo>
                <a:lnTo>
                  <a:pt x="2867142" y="71063"/>
                </a:lnTo>
                <a:close/>
                <a:moveTo>
                  <a:pt x="2668523" y="0"/>
                </a:moveTo>
                <a:lnTo>
                  <a:pt x="2710404" y="0"/>
                </a:lnTo>
                <a:lnTo>
                  <a:pt x="2993958" y="164103"/>
                </a:lnTo>
                <a:lnTo>
                  <a:pt x="2993958" y="540944"/>
                </a:lnTo>
                <a:lnTo>
                  <a:pt x="2778118" y="416029"/>
                </a:lnTo>
                <a:lnTo>
                  <a:pt x="2737216" y="392357"/>
                </a:lnTo>
                <a:lnTo>
                  <a:pt x="2734179" y="390600"/>
                </a:lnTo>
                <a:lnTo>
                  <a:pt x="2668523" y="352604"/>
                </a:lnTo>
                <a:close/>
                <a:moveTo>
                  <a:pt x="2610283" y="0"/>
                </a:moveTo>
                <a:lnTo>
                  <a:pt x="2652154" y="0"/>
                </a:lnTo>
                <a:lnTo>
                  <a:pt x="2652154" y="352589"/>
                </a:lnTo>
                <a:lnTo>
                  <a:pt x="2326593" y="540928"/>
                </a:lnTo>
                <a:lnTo>
                  <a:pt x="2326593" y="164119"/>
                </a:lnTo>
                <a:close/>
                <a:moveTo>
                  <a:pt x="2058538" y="0"/>
                </a:moveTo>
                <a:lnTo>
                  <a:pt x="2575794" y="0"/>
                </a:lnTo>
                <a:lnTo>
                  <a:pt x="2317223" y="149702"/>
                </a:lnTo>
                <a:lnTo>
                  <a:pt x="2260282" y="116749"/>
                </a:lnTo>
                <a:close/>
                <a:moveTo>
                  <a:pt x="1924507" y="0"/>
                </a:moveTo>
                <a:lnTo>
                  <a:pt x="2025801" y="0"/>
                </a:lnTo>
                <a:lnTo>
                  <a:pt x="2308919" y="163842"/>
                </a:lnTo>
                <a:lnTo>
                  <a:pt x="2308919" y="550024"/>
                </a:lnTo>
                <a:lnTo>
                  <a:pt x="1975146" y="743180"/>
                </a:lnTo>
                <a:lnTo>
                  <a:pt x="1641391" y="550028"/>
                </a:lnTo>
                <a:lnTo>
                  <a:pt x="1641391" y="163846"/>
                </a:lnTo>
                <a:close/>
                <a:moveTo>
                  <a:pt x="1374768" y="0"/>
                </a:moveTo>
                <a:lnTo>
                  <a:pt x="1891761" y="0"/>
                </a:lnTo>
                <a:lnTo>
                  <a:pt x="1633212" y="149572"/>
                </a:lnTo>
                <a:close/>
                <a:moveTo>
                  <a:pt x="1239933" y="0"/>
                </a:moveTo>
                <a:lnTo>
                  <a:pt x="1340313" y="0"/>
                </a:lnTo>
                <a:lnTo>
                  <a:pt x="1623852" y="164090"/>
                </a:lnTo>
                <a:lnTo>
                  <a:pt x="1623852" y="550400"/>
                </a:lnTo>
                <a:lnTo>
                  <a:pt x="1290219" y="743557"/>
                </a:lnTo>
                <a:lnTo>
                  <a:pt x="956480" y="550415"/>
                </a:lnTo>
                <a:lnTo>
                  <a:pt x="956480" y="164104"/>
                </a:lnTo>
                <a:close/>
                <a:moveTo>
                  <a:pt x="690398" y="0"/>
                </a:moveTo>
                <a:lnTo>
                  <a:pt x="1205918" y="0"/>
                </a:lnTo>
                <a:lnTo>
                  <a:pt x="948156" y="149172"/>
                </a:lnTo>
                <a:close/>
                <a:moveTo>
                  <a:pt x="614547" y="0"/>
                </a:moveTo>
                <a:lnTo>
                  <a:pt x="656453" y="0"/>
                </a:lnTo>
                <a:lnTo>
                  <a:pt x="939981" y="164089"/>
                </a:lnTo>
                <a:lnTo>
                  <a:pt x="939981" y="540931"/>
                </a:lnTo>
                <a:lnTo>
                  <a:pt x="760662" y="437152"/>
                </a:lnTo>
                <a:lnTo>
                  <a:pt x="614547" y="352589"/>
                </a:lnTo>
                <a:close/>
                <a:moveTo>
                  <a:pt x="556281" y="0"/>
                </a:moveTo>
                <a:lnTo>
                  <a:pt x="598177" y="0"/>
                </a:lnTo>
                <a:lnTo>
                  <a:pt x="598177" y="352574"/>
                </a:lnTo>
                <a:lnTo>
                  <a:pt x="272612" y="540915"/>
                </a:lnTo>
                <a:lnTo>
                  <a:pt x="272612" y="164104"/>
                </a:lnTo>
                <a:close/>
                <a:moveTo>
                  <a:pt x="4723" y="0"/>
                </a:moveTo>
                <a:lnTo>
                  <a:pt x="521923" y="0"/>
                </a:lnTo>
                <a:lnTo>
                  <a:pt x="263373" y="149687"/>
                </a:lnTo>
                <a:close/>
              </a:path>
            </a:pathLst>
          </a:custGeom>
          <a:solidFill>
            <a:srgbClr val="0073E3"/>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4" name="Title 1">
            <a:extLst>
              <a:ext uri="{FF2B5EF4-FFF2-40B4-BE49-F238E27FC236}">
                <a16:creationId xmlns:a16="http://schemas.microsoft.com/office/drawing/2014/main" id="{B2007753-D7EB-4BFE-A27E-3FBBFEDE22CE}"/>
              </a:ext>
            </a:extLst>
          </p:cNvPr>
          <p:cNvSpPr>
            <a:spLocks noGrp="1"/>
          </p:cNvSpPr>
          <p:nvPr>
            <p:ph type="title" hasCustomPrompt="1"/>
          </p:nvPr>
        </p:nvSpPr>
        <p:spPr>
          <a:xfrm>
            <a:off x="3101212" y="3022967"/>
            <a:ext cx="5989577" cy="812066"/>
          </a:xfrm>
        </p:spPr>
        <p:txBody>
          <a:bodyPr rIns="0" anchor="ctr"/>
          <a:lstStyle>
            <a:lvl1pPr algn="ctr" defTabSz="457200" rtl="0" eaLnBrk="1" latinLnBrk="0" hangingPunct="1">
              <a:lnSpc>
                <a:spcPct val="90000"/>
              </a:lnSpc>
              <a:spcBef>
                <a:spcPct val="0"/>
              </a:spcBef>
              <a:buNone/>
              <a:defRPr lang="en-US" sz="3600" b="0" kern="1200" dirty="0">
                <a:solidFill>
                  <a:schemeClr val="bg1"/>
                </a:solidFill>
                <a:latin typeface="+mj-lt"/>
                <a:ea typeface="+mj-ea"/>
                <a:cs typeface="+mj-cs"/>
              </a:defRPr>
            </a:lvl1pPr>
          </a:lstStyle>
          <a:p>
            <a:r>
              <a:rPr lang="en-US" dirty="0"/>
              <a:t>Click to edit title for divider</a:t>
            </a:r>
          </a:p>
        </p:txBody>
      </p:sp>
    </p:spTree>
    <p:extLst>
      <p:ext uri="{BB962C8B-B14F-4D97-AF65-F5344CB8AC3E}">
        <p14:creationId xmlns:p14="http://schemas.microsoft.com/office/powerpoint/2010/main" val="24769678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733FC2-2B80-DC54-F0BF-A50CDF53431E}"/>
              </a:ext>
            </a:extLst>
          </p:cNvPr>
          <p:cNvSpPr/>
          <p:nvPr userDrawn="1"/>
        </p:nvSpPr>
        <p:spPr bwMode="gray">
          <a:xfrm>
            <a:off x="1" y="0"/>
            <a:ext cx="12192000"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5" name="Freeform: Shape 4">
            <a:extLst>
              <a:ext uri="{FF2B5EF4-FFF2-40B4-BE49-F238E27FC236}">
                <a16:creationId xmlns:a16="http://schemas.microsoft.com/office/drawing/2014/main" id="{01E46C6A-4792-612A-B2F7-D804C4FCEE18}"/>
              </a:ext>
            </a:extLst>
          </p:cNvPr>
          <p:cNvSpPr/>
          <p:nvPr userDrawn="1"/>
        </p:nvSpPr>
        <p:spPr bwMode="gray">
          <a:xfrm>
            <a:off x="0" y="0"/>
            <a:ext cx="12191826" cy="6858000"/>
          </a:xfrm>
          <a:custGeom>
            <a:avLst/>
            <a:gdLst>
              <a:gd name="connsiteX0" fmla="*/ 2898356 w 12188651"/>
              <a:gd name="connsiteY0" fmla="*/ 6736207 h 6858000"/>
              <a:gd name="connsiteX1" fmla="*/ 2926103 w 12188651"/>
              <a:gd name="connsiteY1" fmla="*/ 6747747 h 6858000"/>
              <a:gd name="connsiteX2" fmla="*/ 2990703 w 12188651"/>
              <a:gd name="connsiteY2" fmla="*/ 6812479 h 6858000"/>
              <a:gd name="connsiteX3" fmla="*/ 3002247 w 12188651"/>
              <a:gd name="connsiteY3" fmla="*/ 6824154 h 6858000"/>
              <a:gd name="connsiteX4" fmla="*/ 3002260 w 12188651"/>
              <a:gd name="connsiteY4" fmla="*/ 6824142 h 6858000"/>
              <a:gd name="connsiteX5" fmla="*/ 3002268 w 12188651"/>
              <a:gd name="connsiteY5" fmla="*/ 6824154 h 6858000"/>
              <a:gd name="connsiteX6" fmla="*/ 3013815 w 12188651"/>
              <a:gd name="connsiteY6" fmla="*/ 6812479 h 6858000"/>
              <a:gd name="connsiteX7" fmla="*/ 3078283 w 12188651"/>
              <a:gd name="connsiteY7" fmla="*/ 6747747 h 6858000"/>
              <a:gd name="connsiteX8" fmla="*/ 3106032 w 12188651"/>
              <a:gd name="connsiteY8" fmla="*/ 6736207 h 6858000"/>
              <a:gd name="connsiteX9" fmla="*/ 3133652 w 12188651"/>
              <a:gd name="connsiteY9" fmla="*/ 6747747 h 6858000"/>
              <a:gd name="connsiteX10" fmla="*/ 3212130 w 12188651"/>
              <a:gd name="connsiteY10" fmla="*/ 6826359 h 6858000"/>
              <a:gd name="connsiteX11" fmla="*/ 3223674 w 12188651"/>
              <a:gd name="connsiteY11" fmla="*/ 6854120 h 6858000"/>
              <a:gd name="connsiteX12" fmla="*/ 3222078 w 12188651"/>
              <a:gd name="connsiteY12" fmla="*/ 6858000 h 6858000"/>
              <a:gd name="connsiteX13" fmla="*/ 2782374 w 12188651"/>
              <a:gd name="connsiteY13" fmla="*/ 6858000 h 6858000"/>
              <a:gd name="connsiteX14" fmla="*/ 2780774 w 12188651"/>
              <a:gd name="connsiteY14" fmla="*/ 6854136 h 6858000"/>
              <a:gd name="connsiteX15" fmla="*/ 2792259 w 12188651"/>
              <a:gd name="connsiteY15" fmla="*/ 6826489 h 6858000"/>
              <a:gd name="connsiteX16" fmla="*/ 2870736 w 12188651"/>
              <a:gd name="connsiteY16" fmla="*/ 6747747 h 6858000"/>
              <a:gd name="connsiteX17" fmla="*/ 844377 w 12188651"/>
              <a:gd name="connsiteY17" fmla="*/ 6736207 h 6858000"/>
              <a:gd name="connsiteX18" fmla="*/ 872125 w 12188651"/>
              <a:gd name="connsiteY18" fmla="*/ 6747747 h 6858000"/>
              <a:gd name="connsiteX19" fmla="*/ 936724 w 12188651"/>
              <a:gd name="connsiteY19" fmla="*/ 6812479 h 6858000"/>
              <a:gd name="connsiteX20" fmla="*/ 948269 w 12188651"/>
              <a:gd name="connsiteY20" fmla="*/ 6824154 h 6858000"/>
              <a:gd name="connsiteX21" fmla="*/ 948282 w 12188651"/>
              <a:gd name="connsiteY21" fmla="*/ 6824142 h 6858000"/>
              <a:gd name="connsiteX22" fmla="*/ 948294 w 12188651"/>
              <a:gd name="connsiteY22" fmla="*/ 6824154 h 6858000"/>
              <a:gd name="connsiteX23" fmla="*/ 959838 w 12188651"/>
              <a:gd name="connsiteY23" fmla="*/ 6812479 h 6858000"/>
              <a:gd name="connsiteX24" fmla="*/ 1024306 w 12188651"/>
              <a:gd name="connsiteY24" fmla="*/ 6747747 h 6858000"/>
              <a:gd name="connsiteX25" fmla="*/ 1052055 w 12188651"/>
              <a:gd name="connsiteY25" fmla="*/ 6736207 h 6858000"/>
              <a:gd name="connsiteX26" fmla="*/ 1079674 w 12188651"/>
              <a:gd name="connsiteY26" fmla="*/ 6747747 h 6858000"/>
              <a:gd name="connsiteX27" fmla="*/ 1158152 w 12188651"/>
              <a:gd name="connsiteY27" fmla="*/ 6826359 h 6858000"/>
              <a:gd name="connsiteX28" fmla="*/ 1169697 w 12188651"/>
              <a:gd name="connsiteY28" fmla="*/ 6854120 h 6858000"/>
              <a:gd name="connsiteX29" fmla="*/ 1168102 w 12188651"/>
              <a:gd name="connsiteY29" fmla="*/ 6858000 h 6858000"/>
              <a:gd name="connsiteX30" fmla="*/ 728400 w 12188651"/>
              <a:gd name="connsiteY30" fmla="*/ 6858000 h 6858000"/>
              <a:gd name="connsiteX31" fmla="*/ 726801 w 12188651"/>
              <a:gd name="connsiteY31" fmla="*/ 6854136 h 6858000"/>
              <a:gd name="connsiteX32" fmla="*/ 738281 w 12188651"/>
              <a:gd name="connsiteY32" fmla="*/ 6826489 h 6858000"/>
              <a:gd name="connsiteX33" fmla="*/ 816760 w 12188651"/>
              <a:gd name="connsiteY33" fmla="*/ 6747747 h 6858000"/>
              <a:gd name="connsiteX34" fmla="*/ 4952154 w 12188651"/>
              <a:gd name="connsiteY34" fmla="*/ 6736204 h 6858000"/>
              <a:gd name="connsiteX35" fmla="*/ 4979914 w 12188651"/>
              <a:gd name="connsiteY35" fmla="*/ 6747747 h 6858000"/>
              <a:gd name="connsiteX36" fmla="*/ 5044520 w 12188651"/>
              <a:gd name="connsiteY36" fmla="*/ 6812479 h 6858000"/>
              <a:gd name="connsiteX37" fmla="*/ 5056064 w 12188651"/>
              <a:gd name="connsiteY37" fmla="*/ 6824154 h 6858000"/>
              <a:gd name="connsiteX38" fmla="*/ 5056083 w 12188651"/>
              <a:gd name="connsiteY38" fmla="*/ 6824144 h 6858000"/>
              <a:gd name="connsiteX39" fmla="*/ 5056087 w 12188651"/>
              <a:gd name="connsiteY39" fmla="*/ 6824154 h 6858000"/>
              <a:gd name="connsiteX40" fmla="*/ 5067633 w 12188651"/>
              <a:gd name="connsiteY40" fmla="*/ 6812479 h 6858000"/>
              <a:gd name="connsiteX41" fmla="*/ 5132089 w 12188651"/>
              <a:gd name="connsiteY41" fmla="*/ 6747747 h 6858000"/>
              <a:gd name="connsiteX42" fmla="*/ 5159834 w 12188651"/>
              <a:gd name="connsiteY42" fmla="*/ 6736204 h 6858000"/>
              <a:gd name="connsiteX43" fmla="*/ 5187464 w 12188651"/>
              <a:gd name="connsiteY43" fmla="*/ 6747747 h 6858000"/>
              <a:gd name="connsiteX44" fmla="*/ 5265932 w 12188651"/>
              <a:gd name="connsiteY44" fmla="*/ 6826359 h 6858000"/>
              <a:gd name="connsiteX45" fmla="*/ 5277479 w 12188651"/>
              <a:gd name="connsiteY45" fmla="*/ 6854120 h 6858000"/>
              <a:gd name="connsiteX46" fmla="*/ 5275883 w 12188651"/>
              <a:gd name="connsiteY46" fmla="*/ 6858000 h 6858000"/>
              <a:gd name="connsiteX47" fmla="*/ 4836166 w 12188651"/>
              <a:gd name="connsiteY47" fmla="*/ 6858000 h 6858000"/>
              <a:gd name="connsiteX48" fmla="*/ 4834566 w 12188651"/>
              <a:gd name="connsiteY48" fmla="*/ 6854136 h 6858000"/>
              <a:gd name="connsiteX49" fmla="*/ 4846044 w 12188651"/>
              <a:gd name="connsiteY49" fmla="*/ 6826489 h 6858000"/>
              <a:gd name="connsiteX50" fmla="*/ 4924518 w 12188651"/>
              <a:gd name="connsiteY50" fmla="*/ 6747747 h 6858000"/>
              <a:gd name="connsiteX51" fmla="*/ 11113840 w 12188651"/>
              <a:gd name="connsiteY51" fmla="*/ 6736202 h 6858000"/>
              <a:gd name="connsiteX52" fmla="*/ 11141600 w 12188651"/>
              <a:gd name="connsiteY52" fmla="*/ 6747747 h 6858000"/>
              <a:gd name="connsiteX53" fmla="*/ 11206199 w 12188651"/>
              <a:gd name="connsiteY53" fmla="*/ 6812479 h 6858000"/>
              <a:gd name="connsiteX54" fmla="*/ 11217744 w 12188651"/>
              <a:gd name="connsiteY54" fmla="*/ 6824154 h 6858000"/>
              <a:gd name="connsiteX55" fmla="*/ 11229289 w 12188651"/>
              <a:gd name="connsiteY55" fmla="*/ 6812479 h 6858000"/>
              <a:gd name="connsiteX56" fmla="*/ 11293758 w 12188651"/>
              <a:gd name="connsiteY56" fmla="*/ 6747747 h 6858000"/>
              <a:gd name="connsiteX57" fmla="*/ 11321517 w 12188651"/>
              <a:gd name="connsiteY57" fmla="*/ 6736202 h 6858000"/>
              <a:gd name="connsiteX58" fmla="*/ 11349147 w 12188651"/>
              <a:gd name="connsiteY58" fmla="*/ 6747747 h 6858000"/>
              <a:gd name="connsiteX59" fmla="*/ 11427627 w 12188651"/>
              <a:gd name="connsiteY59" fmla="*/ 6826359 h 6858000"/>
              <a:gd name="connsiteX60" fmla="*/ 11439172 w 12188651"/>
              <a:gd name="connsiteY60" fmla="*/ 6854120 h 6858000"/>
              <a:gd name="connsiteX61" fmla="*/ 11437577 w 12188651"/>
              <a:gd name="connsiteY61" fmla="*/ 6858000 h 6858000"/>
              <a:gd name="connsiteX62" fmla="*/ 10997850 w 12188651"/>
              <a:gd name="connsiteY62" fmla="*/ 6858000 h 6858000"/>
              <a:gd name="connsiteX63" fmla="*/ 10996251 w 12188651"/>
              <a:gd name="connsiteY63" fmla="*/ 6854136 h 6858000"/>
              <a:gd name="connsiteX64" fmla="*/ 11007731 w 12188651"/>
              <a:gd name="connsiteY64" fmla="*/ 6826489 h 6858000"/>
              <a:gd name="connsiteX65" fmla="*/ 11086210 w 12188651"/>
              <a:gd name="connsiteY65" fmla="*/ 6747747 h 6858000"/>
              <a:gd name="connsiteX66" fmla="*/ 11113840 w 12188651"/>
              <a:gd name="connsiteY66" fmla="*/ 6736202 h 6858000"/>
              <a:gd name="connsiteX67" fmla="*/ 9059892 w 12188651"/>
              <a:gd name="connsiteY67" fmla="*/ 6736202 h 6858000"/>
              <a:gd name="connsiteX68" fmla="*/ 9087652 w 12188651"/>
              <a:gd name="connsiteY68" fmla="*/ 6747747 h 6858000"/>
              <a:gd name="connsiteX69" fmla="*/ 9152251 w 12188651"/>
              <a:gd name="connsiteY69" fmla="*/ 6812479 h 6858000"/>
              <a:gd name="connsiteX70" fmla="*/ 9163796 w 12188651"/>
              <a:gd name="connsiteY70" fmla="*/ 6824154 h 6858000"/>
              <a:gd name="connsiteX71" fmla="*/ 9163797 w 12188651"/>
              <a:gd name="connsiteY71" fmla="*/ 6824154 h 6858000"/>
              <a:gd name="connsiteX72" fmla="*/ 9175342 w 12188651"/>
              <a:gd name="connsiteY72" fmla="*/ 6812479 h 6858000"/>
              <a:gd name="connsiteX73" fmla="*/ 9239811 w 12188651"/>
              <a:gd name="connsiteY73" fmla="*/ 6747747 h 6858000"/>
              <a:gd name="connsiteX74" fmla="*/ 9267570 w 12188651"/>
              <a:gd name="connsiteY74" fmla="*/ 6736202 h 6858000"/>
              <a:gd name="connsiteX75" fmla="*/ 9295200 w 12188651"/>
              <a:gd name="connsiteY75" fmla="*/ 6747747 h 6858000"/>
              <a:gd name="connsiteX76" fmla="*/ 9373678 w 12188651"/>
              <a:gd name="connsiteY76" fmla="*/ 6826359 h 6858000"/>
              <a:gd name="connsiteX77" fmla="*/ 9385223 w 12188651"/>
              <a:gd name="connsiteY77" fmla="*/ 6854120 h 6858000"/>
              <a:gd name="connsiteX78" fmla="*/ 9383628 w 12188651"/>
              <a:gd name="connsiteY78" fmla="*/ 6858000 h 6858000"/>
              <a:gd name="connsiteX79" fmla="*/ 8943904 w 12188651"/>
              <a:gd name="connsiteY79" fmla="*/ 6858000 h 6858000"/>
              <a:gd name="connsiteX80" fmla="*/ 8942305 w 12188651"/>
              <a:gd name="connsiteY80" fmla="*/ 6854136 h 6858000"/>
              <a:gd name="connsiteX81" fmla="*/ 8953784 w 12188651"/>
              <a:gd name="connsiteY81" fmla="*/ 6826489 h 6858000"/>
              <a:gd name="connsiteX82" fmla="*/ 9032264 w 12188651"/>
              <a:gd name="connsiteY82" fmla="*/ 6747747 h 6858000"/>
              <a:gd name="connsiteX83" fmla="*/ 7006076 w 12188651"/>
              <a:gd name="connsiteY83" fmla="*/ 6736202 h 6858000"/>
              <a:gd name="connsiteX84" fmla="*/ 7033834 w 12188651"/>
              <a:gd name="connsiteY84" fmla="*/ 6747747 h 6858000"/>
              <a:gd name="connsiteX85" fmla="*/ 7098434 w 12188651"/>
              <a:gd name="connsiteY85" fmla="*/ 6812479 h 6858000"/>
              <a:gd name="connsiteX86" fmla="*/ 7109978 w 12188651"/>
              <a:gd name="connsiteY86" fmla="*/ 6824154 h 6858000"/>
              <a:gd name="connsiteX87" fmla="*/ 7121523 w 12188651"/>
              <a:gd name="connsiteY87" fmla="*/ 6812479 h 6858000"/>
              <a:gd name="connsiteX88" fmla="*/ 7185994 w 12188651"/>
              <a:gd name="connsiteY88" fmla="*/ 6747747 h 6858000"/>
              <a:gd name="connsiteX89" fmla="*/ 7213751 w 12188651"/>
              <a:gd name="connsiteY89" fmla="*/ 6736202 h 6858000"/>
              <a:gd name="connsiteX90" fmla="*/ 7241381 w 12188651"/>
              <a:gd name="connsiteY90" fmla="*/ 6747747 h 6858000"/>
              <a:gd name="connsiteX91" fmla="*/ 7319862 w 12188651"/>
              <a:gd name="connsiteY91" fmla="*/ 6826359 h 6858000"/>
              <a:gd name="connsiteX92" fmla="*/ 7331407 w 12188651"/>
              <a:gd name="connsiteY92" fmla="*/ 6854120 h 6858000"/>
              <a:gd name="connsiteX93" fmla="*/ 7329812 w 12188651"/>
              <a:gd name="connsiteY93" fmla="*/ 6858000 h 6858000"/>
              <a:gd name="connsiteX94" fmla="*/ 6890084 w 12188651"/>
              <a:gd name="connsiteY94" fmla="*/ 6858000 h 6858000"/>
              <a:gd name="connsiteX95" fmla="*/ 6888485 w 12188651"/>
              <a:gd name="connsiteY95" fmla="*/ 6854136 h 6858000"/>
              <a:gd name="connsiteX96" fmla="*/ 6899966 w 12188651"/>
              <a:gd name="connsiteY96" fmla="*/ 6826489 h 6858000"/>
              <a:gd name="connsiteX97" fmla="*/ 6978446 w 12188651"/>
              <a:gd name="connsiteY97" fmla="*/ 6747747 h 6858000"/>
              <a:gd name="connsiteX98" fmla="*/ 7006076 w 12188651"/>
              <a:gd name="connsiteY98" fmla="*/ 6736202 h 6858000"/>
              <a:gd name="connsiteX99" fmla="*/ 3679133 w 12188651"/>
              <a:gd name="connsiteY99" fmla="*/ 6509063 h 6858000"/>
              <a:gd name="connsiteX100" fmla="*/ 3679133 w 12188651"/>
              <a:gd name="connsiteY100" fmla="*/ 6858000 h 6858000"/>
              <a:gd name="connsiteX101" fmla="*/ 3353551 w 12188651"/>
              <a:gd name="connsiteY101" fmla="*/ 6858000 h 6858000"/>
              <a:gd name="connsiteX102" fmla="*/ 3353551 w 12188651"/>
              <a:gd name="connsiteY102" fmla="*/ 6697415 h 6858000"/>
              <a:gd name="connsiteX103" fmla="*/ 3695482 w 12188651"/>
              <a:gd name="connsiteY103" fmla="*/ 6509061 h 6858000"/>
              <a:gd name="connsiteX104" fmla="*/ 4020937 w 12188651"/>
              <a:gd name="connsiteY104" fmla="*/ 6697415 h 6858000"/>
              <a:gd name="connsiteX105" fmla="*/ 4020937 w 12188651"/>
              <a:gd name="connsiteY105" fmla="*/ 6858000 h 6858000"/>
              <a:gd name="connsiteX106" fmla="*/ 3695482 w 12188651"/>
              <a:gd name="connsiteY106" fmla="*/ 6858000 h 6858000"/>
              <a:gd name="connsiteX107" fmla="*/ 1641506 w 12188651"/>
              <a:gd name="connsiteY107" fmla="*/ 6509061 h 6858000"/>
              <a:gd name="connsiteX108" fmla="*/ 1966962 w 12188651"/>
              <a:gd name="connsiteY108" fmla="*/ 6697415 h 6858000"/>
              <a:gd name="connsiteX109" fmla="*/ 1966962 w 12188651"/>
              <a:gd name="connsiteY109" fmla="*/ 6858000 h 6858000"/>
              <a:gd name="connsiteX110" fmla="*/ 1641506 w 12188651"/>
              <a:gd name="connsiteY110" fmla="*/ 6858000 h 6858000"/>
              <a:gd name="connsiteX111" fmla="*/ 1625155 w 12188651"/>
              <a:gd name="connsiteY111" fmla="*/ 6509061 h 6858000"/>
              <a:gd name="connsiteX112" fmla="*/ 1625155 w 12188651"/>
              <a:gd name="connsiteY112" fmla="*/ 6858000 h 6858000"/>
              <a:gd name="connsiteX113" fmla="*/ 1299571 w 12188651"/>
              <a:gd name="connsiteY113" fmla="*/ 6858000 h 6858000"/>
              <a:gd name="connsiteX114" fmla="*/ 1299571 w 12188651"/>
              <a:gd name="connsiteY114" fmla="*/ 6697415 h 6858000"/>
              <a:gd name="connsiteX115" fmla="*/ 5749262 w 12188651"/>
              <a:gd name="connsiteY115" fmla="*/ 6509059 h 6858000"/>
              <a:gd name="connsiteX116" fmla="*/ 6074705 w 12188651"/>
              <a:gd name="connsiteY116" fmla="*/ 6697415 h 6858000"/>
              <a:gd name="connsiteX117" fmla="*/ 6074705 w 12188651"/>
              <a:gd name="connsiteY117" fmla="*/ 6858000 h 6858000"/>
              <a:gd name="connsiteX118" fmla="*/ 5749262 w 12188651"/>
              <a:gd name="connsiteY118" fmla="*/ 6858000 h 6858000"/>
              <a:gd name="connsiteX119" fmla="*/ 5732919 w 12188651"/>
              <a:gd name="connsiteY119" fmla="*/ 6509059 h 6858000"/>
              <a:gd name="connsiteX120" fmla="*/ 5732919 w 12188651"/>
              <a:gd name="connsiteY120" fmla="*/ 6858000 h 6858000"/>
              <a:gd name="connsiteX121" fmla="*/ 5407350 w 12188651"/>
              <a:gd name="connsiteY121" fmla="*/ 6858000 h 6858000"/>
              <a:gd name="connsiteX122" fmla="*/ 5407350 w 12188651"/>
              <a:gd name="connsiteY122" fmla="*/ 6697415 h 6858000"/>
              <a:gd name="connsiteX123" fmla="*/ 11910826 w 12188651"/>
              <a:gd name="connsiteY123" fmla="*/ 6509058 h 6858000"/>
              <a:gd name="connsiteX124" fmla="*/ 12188651 w 12188651"/>
              <a:gd name="connsiteY124" fmla="*/ 6669846 h 6858000"/>
              <a:gd name="connsiteX125" fmla="*/ 12188651 w 12188651"/>
              <a:gd name="connsiteY125" fmla="*/ 6858000 h 6858000"/>
              <a:gd name="connsiteX126" fmla="*/ 11910826 w 12188651"/>
              <a:gd name="connsiteY126" fmla="*/ 6858000 h 6858000"/>
              <a:gd name="connsiteX127" fmla="*/ 11894481 w 12188651"/>
              <a:gd name="connsiteY127" fmla="*/ 6509058 h 6858000"/>
              <a:gd name="connsiteX128" fmla="*/ 11894481 w 12188651"/>
              <a:gd name="connsiteY128" fmla="*/ 6858000 h 6858000"/>
              <a:gd name="connsiteX129" fmla="*/ 11568890 w 12188651"/>
              <a:gd name="connsiteY129" fmla="*/ 6858000 h 6858000"/>
              <a:gd name="connsiteX130" fmla="*/ 11568890 w 12188651"/>
              <a:gd name="connsiteY130" fmla="*/ 6697415 h 6858000"/>
              <a:gd name="connsiteX131" fmla="*/ 9857006 w 12188651"/>
              <a:gd name="connsiteY131" fmla="*/ 6509058 h 6858000"/>
              <a:gd name="connsiteX132" fmla="*/ 10182468 w 12188651"/>
              <a:gd name="connsiteY132" fmla="*/ 6697415 h 6858000"/>
              <a:gd name="connsiteX133" fmla="*/ 10182468 w 12188651"/>
              <a:gd name="connsiteY133" fmla="*/ 6858000 h 6858000"/>
              <a:gd name="connsiteX134" fmla="*/ 9857006 w 12188651"/>
              <a:gd name="connsiteY134" fmla="*/ 6858000 h 6858000"/>
              <a:gd name="connsiteX135" fmla="*/ 9840661 w 12188651"/>
              <a:gd name="connsiteY135" fmla="*/ 6509058 h 6858000"/>
              <a:gd name="connsiteX136" fmla="*/ 9840661 w 12188651"/>
              <a:gd name="connsiteY136" fmla="*/ 6858000 h 6858000"/>
              <a:gd name="connsiteX137" fmla="*/ 9515070 w 12188651"/>
              <a:gd name="connsiteY137" fmla="*/ 6858000 h 6858000"/>
              <a:gd name="connsiteX138" fmla="*/ 9515070 w 12188651"/>
              <a:gd name="connsiteY138" fmla="*/ 6697415 h 6858000"/>
              <a:gd name="connsiteX139" fmla="*/ 7803060 w 12188651"/>
              <a:gd name="connsiteY139" fmla="*/ 6509058 h 6858000"/>
              <a:gd name="connsiteX140" fmla="*/ 8128521 w 12188651"/>
              <a:gd name="connsiteY140" fmla="*/ 6697415 h 6858000"/>
              <a:gd name="connsiteX141" fmla="*/ 8128521 w 12188651"/>
              <a:gd name="connsiteY141" fmla="*/ 6858000 h 6858000"/>
              <a:gd name="connsiteX142" fmla="*/ 7803060 w 12188651"/>
              <a:gd name="connsiteY142" fmla="*/ 6858000 h 6858000"/>
              <a:gd name="connsiteX143" fmla="*/ 7786715 w 12188651"/>
              <a:gd name="connsiteY143" fmla="*/ 6509058 h 6858000"/>
              <a:gd name="connsiteX144" fmla="*/ 7786715 w 12188651"/>
              <a:gd name="connsiteY144" fmla="*/ 6858000 h 6858000"/>
              <a:gd name="connsiteX145" fmla="*/ 7461125 w 12188651"/>
              <a:gd name="connsiteY145" fmla="*/ 6858000 h 6858000"/>
              <a:gd name="connsiteX146" fmla="*/ 7461125 w 12188651"/>
              <a:gd name="connsiteY146" fmla="*/ 6697415 h 6858000"/>
              <a:gd name="connsiteX147" fmla="*/ 2317076 w 12188651"/>
              <a:gd name="connsiteY147" fmla="*/ 6504260 h 6858000"/>
              <a:gd name="connsiteX148" fmla="*/ 2650835 w 12188651"/>
              <a:gd name="connsiteY148" fmla="*/ 6697415 h 6858000"/>
              <a:gd name="connsiteX149" fmla="*/ 2650835 w 12188651"/>
              <a:gd name="connsiteY149" fmla="*/ 6858000 h 6858000"/>
              <a:gd name="connsiteX150" fmla="*/ 1983442 w 12188651"/>
              <a:gd name="connsiteY150" fmla="*/ 6858000 h 6858000"/>
              <a:gd name="connsiteX151" fmla="*/ 1983442 w 12188651"/>
              <a:gd name="connsiteY151" fmla="*/ 6697415 h 6858000"/>
              <a:gd name="connsiteX152" fmla="*/ 263230 w 12188651"/>
              <a:gd name="connsiteY152" fmla="*/ 6504260 h 6858000"/>
              <a:gd name="connsiteX153" fmla="*/ 596989 w 12188651"/>
              <a:gd name="connsiteY153" fmla="*/ 6697415 h 6858000"/>
              <a:gd name="connsiteX154" fmla="*/ 596989 w 12188651"/>
              <a:gd name="connsiteY154" fmla="*/ 6858000 h 6858000"/>
              <a:gd name="connsiteX155" fmla="*/ 0 w 12188651"/>
              <a:gd name="connsiteY155" fmla="*/ 6858000 h 6858000"/>
              <a:gd name="connsiteX156" fmla="*/ 0 w 12188651"/>
              <a:gd name="connsiteY156" fmla="*/ 6656657 h 6858000"/>
              <a:gd name="connsiteX157" fmla="*/ 10532576 w 12188651"/>
              <a:gd name="connsiteY157" fmla="*/ 6504258 h 6858000"/>
              <a:gd name="connsiteX158" fmla="*/ 10866339 w 12188651"/>
              <a:gd name="connsiteY158" fmla="*/ 6697415 h 6858000"/>
              <a:gd name="connsiteX159" fmla="*/ 10866339 w 12188651"/>
              <a:gd name="connsiteY159" fmla="*/ 6858000 h 6858000"/>
              <a:gd name="connsiteX160" fmla="*/ 10198941 w 12188651"/>
              <a:gd name="connsiteY160" fmla="*/ 6858000 h 6858000"/>
              <a:gd name="connsiteX161" fmla="*/ 10198941 w 12188651"/>
              <a:gd name="connsiteY161" fmla="*/ 6697415 h 6858000"/>
              <a:gd name="connsiteX162" fmla="*/ 8478628 w 12188651"/>
              <a:gd name="connsiteY162" fmla="*/ 6504258 h 6858000"/>
              <a:gd name="connsiteX163" fmla="*/ 8812392 w 12188651"/>
              <a:gd name="connsiteY163" fmla="*/ 6697415 h 6858000"/>
              <a:gd name="connsiteX164" fmla="*/ 8812392 w 12188651"/>
              <a:gd name="connsiteY164" fmla="*/ 6858000 h 6858000"/>
              <a:gd name="connsiteX165" fmla="*/ 8144995 w 12188651"/>
              <a:gd name="connsiteY165" fmla="*/ 6858000 h 6858000"/>
              <a:gd name="connsiteX166" fmla="*/ 8144995 w 12188651"/>
              <a:gd name="connsiteY166" fmla="*/ 6697415 h 6858000"/>
              <a:gd name="connsiteX167" fmla="*/ 6424810 w 12188651"/>
              <a:gd name="connsiteY167" fmla="*/ 6504258 h 6858000"/>
              <a:gd name="connsiteX168" fmla="*/ 6758573 w 12188651"/>
              <a:gd name="connsiteY168" fmla="*/ 6697415 h 6858000"/>
              <a:gd name="connsiteX169" fmla="*/ 6758573 w 12188651"/>
              <a:gd name="connsiteY169" fmla="*/ 6858000 h 6858000"/>
              <a:gd name="connsiteX170" fmla="*/ 6091179 w 12188651"/>
              <a:gd name="connsiteY170" fmla="*/ 6858000 h 6858000"/>
              <a:gd name="connsiteX171" fmla="*/ 6091179 w 12188651"/>
              <a:gd name="connsiteY171" fmla="*/ 6697415 h 6858000"/>
              <a:gd name="connsiteX172" fmla="*/ 4371009 w 12188651"/>
              <a:gd name="connsiteY172" fmla="*/ 6504258 h 6858000"/>
              <a:gd name="connsiteX173" fmla="*/ 4704773 w 12188651"/>
              <a:gd name="connsiteY173" fmla="*/ 6697415 h 6858000"/>
              <a:gd name="connsiteX174" fmla="*/ 4704773 w 12188651"/>
              <a:gd name="connsiteY174" fmla="*/ 6858000 h 6858000"/>
              <a:gd name="connsiteX175" fmla="*/ 4037417 w 12188651"/>
              <a:gd name="connsiteY175" fmla="*/ 6858000 h 6858000"/>
              <a:gd name="connsiteX176" fmla="*/ 4037417 w 12188651"/>
              <a:gd name="connsiteY176" fmla="*/ 6697415 h 6858000"/>
              <a:gd name="connsiteX177" fmla="*/ 3002127 w 12188651"/>
              <a:gd name="connsiteY177" fmla="*/ 6504006 h 6858000"/>
              <a:gd name="connsiteX178" fmla="*/ 3335880 w 12188651"/>
              <a:gd name="connsiteY178" fmla="*/ 6697155 h 6858000"/>
              <a:gd name="connsiteX179" fmla="*/ 3335880 w 12188651"/>
              <a:gd name="connsiteY179" fmla="*/ 6858000 h 6858000"/>
              <a:gd name="connsiteX180" fmla="*/ 3238471 w 12188651"/>
              <a:gd name="connsiteY180" fmla="*/ 6858000 h 6858000"/>
              <a:gd name="connsiteX181" fmla="*/ 3240074 w 12188651"/>
              <a:gd name="connsiteY181" fmla="*/ 6854120 h 6858000"/>
              <a:gd name="connsiteX182" fmla="*/ 3223830 w 12188651"/>
              <a:gd name="connsiteY182" fmla="*/ 6814814 h 6858000"/>
              <a:gd name="connsiteX183" fmla="*/ 3145351 w 12188651"/>
              <a:gd name="connsiteY183" fmla="*/ 6736202 h 6858000"/>
              <a:gd name="connsiteX184" fmla="*/ 3106173 w 12188651"/>
              <a:gd name="connsiteY184" fmla="*/ 6719857 h 6858000"/>
              <a:gd name="connsiteX185" fmla="*/ 3106046 w 12188651"/>
              <a:gd name="connsiteY185" fmla="*/ 6719727 h 6858000"/>
              <a:gd name="connsiteX186" fmla="*/ 3106024 w 12188651"/>
              <a:gd name="connsiteY186" fmla="*/ 6719731 h 6858000"/>
              <a:gd name="connsiteX187" fmla="*/ 3106018 w 12188651"/>
              <a:gd name="connsiteY187" fmla="*/ 6719727 h 6858000"/>
              <a:gd name="connsiteX188" fmla="*/ 3066715 w 12188651"/>
              <a:gd name="connsiteY188" fmla="*/ 6736202 h 6858000"/>
              <a:gd name="connsiteX189" fmla="*/ 3002260 w 12188651"/>
              <a:gd name="connsiteY189" fmla="*/ 6800792 h 6858000"/>
              <a:gd name="connsiteX190" fmla="*/ 2937672 w 12188651"/>
              <a:gd name="connsiteY190" fmla="*/ 6736072 h 6858000"/>
              <a:gd name="connsiteX191" fmla="*/ 2898367 w 12188651"/>
              <a:gd name="connsiteY191" fmla="*/ 6719727 h 6858000"/>
              <a:gd name="connsiteX192" fmla="*/ 2898356 w 12188651"/>
              <a:gd name="connsiteY192" fmla="*/ 6719730 h 6858000"/>
              <a:gd name="connsiteX193" fmla="*/ 2898342 w 12188651"/>
              <a:gd name="connsiteY193" fmla="*/ 6719727 h 6858000"/>
              <a:gd name="connsiteX194" fmla="*/ 2859168 w 12188651"/>
              <a:gd name="connsiteY194" fmla="*/ 6736072 h 6858000"/>
              <a:gd name="connsiteX195" fmla="*/ 2780689 w 12188651"/>
              <a:gd name="connsiteY195" fmla="*/ 6814814 h 6858000"/>
              <a:gd name="connsiteX196" fmla="*/ 2764442 w 12188651"/>
              <a:gd name="connsiteY196" fmla="*/ 6854120 h 6858000"/>
              <a:gd name="connsiteX197" fmla="*/ 2766045 w 12188651"/>
              <a:gd name="connsiteY197" fmla="*/ 6858000 h 6858000"/>
              <a:gd name="connsiteX198" fmla="*/ 2668379 w 12188651"/>
              <a:gd name="connsiteY198" fmla="*/ 6858000 h 6858000"/>
              <a:gd name="connsiteX199" fmla="*/ 2668379 w 12188651"/>
              <a:gd name="connsiteY199" fmla="*/ 6697155 h 6858000"/>
              <a:gd name="connsiteX200" fmla="*/ 948152 w 12188651"/>
              <a:gd name="connsiteY200" fmla="*/ 6504006 h 6858000"/>
              <a:gd name="connsiteX201" fmla="*/ 1281903 w 12188651"/>
              <a:gd name="connsiteY201" fmla="*/ 6697155 h 6858000"/>
              <a:gd name="connsiteX202" fmla="*/ 1281903 w 12188651"/>
              <a:gd name="connsiteY202" fmla="*/ 6858000 h 6858000"/>
              <a:gd name="connsiteX203" fmla="*/ 1184494 w 12188651"/>
              <a:gd name="connsiteY203" fmla="*/ 6858000 h 6858000"/>
              <a:gd name="connsiteX204" fmla="*/ 1186097 w 12188651"/>
              <a:gd name="connsiteY204" fmla="*/ 6854120 h 6858000"/>
              <a:gd name="connsiteX205" fmla="*/ 1169850 w 12188651"/>
              <a:gd name="connsiteY205" fmla="*/ 6814814 h 6858000"/>
              <a:gd name="connsiteX206" fmla="*/ 1091372 w 12188651"/>
              <a:gd name="connsiteY206" fmla="*/ 6736202 h 6858000"/>
              <a:gd name="connsiteX207" fmla="*/ 1052196 w 12188651"/>
              <a:gd name="connsiteY207" fmla="*/ 6719857 h 6858000"/>
              <a:gd name="connsiteX208" fmla="*/ 1052065 w 12188651"/>
              <a:gd name="connsiteY208" fmla="*/ 6719727 h 6858000"/>
              <a:gd name="connsiteX209" fmla="*/ 1052048 w 12188651"/>
              <a:gd name="connsiteY209" fmla="*/ 6719731 h 6858000"/>
              <a:gd name="connsiteX210" fmla="*/ 1052044 w 12188651"/>
              <a:gd name="connsiteY210" fmla="*/ 6719727 h 6858000"/>
              <a:gd name="connsiteX211" fmla="*/ 1012740 w 12188651"/>
              <a:gd name="connsiteY211" fmla="*/ 6736202 h 6858000"/>
              <a:gd name="connsiteX212" fmla="*/ 948282 w 12188651"/>
              <a:gd name="connsiteY212" fmla="*/ 6800792 h 6858000"/>
              <a:gd name="connsiteX213" fmla="*/ 883695 w 12188651"/>
              <a:gd name="connsiteY213" fmla="*/ 6736072 h 6858000"/>
              <a:gd name="connsiteX214" fmla="*/ 844389 w 12188651"/>
              <a:gd name="connsiteY214" fmla="*/ 6719727 h 6858000"/>
              <a:gd name="connsiteX215" fmla="*/ 844377 w 12188651"/>
              <a:gd name="connsiteY215" fmla="*/ 6719730 h 6858000"/>
              <a:gd name="connsiteX216" fmla="*/ 844365 w 12188651"/>
              <a:gd name="connsiteY216" fmla="*/ 6719727 h 6858000"/>
              <a:gd name="connsiteX217" fmla="*/ 805191 w 12188651"/>
              <a:gd name="connsiteY217" fmla="*/ 6736072 h 6858000"/>
              <a:gd name="connsiteX218" fmla="*/ 726712 w 12188651"/>
              <a:gd name="connsiteY218" fmla="*/ 6814814 h 6858000"/>
              <a:gd name="connsiteX219" fmla="*/ 710465 w 12188651"/>
              <a:gd name="connsiteY219" fmla="*/ 6854120 h 6858000"/>
              <a:gd name="connsiteX220" fmla="*/ 712069 w 12188651"/>
              <a:gd name="connsiteY220" fmla="*/ 6858000 h 6858000"/>
              <a:gd name="connsiteX221" fmla="*/ 614404 w 12188651"/>
              <a:gd name="connsiteY221" fmla="*/ 6858000 h 6858000"/>
              <a:gd name="connsiteX222" fmla="*/ 614404 w 12188651"/>
              <a:gd name="connsiteY222" fmla="*/ 6697155 h 6858000"/>
              <a:gd name="connsiteX223" fmla="*/ 5055949 w 12188651"/>
              <a:gd name="connsiteY223" fmla="*/ 6504005 h 6858000"/>
              <a:gd name="connsiteX224" fmla="*/ 5389688 w 12188651"/>
              <a:gd name="connsiteY224" fmla="*/ 6697155 h 6858000"/>
              <a:gd name="connsiteX225" fmla="*/ 5389688 w 12188651"/>
              <a:gd name="connsiteY225" fmla="*/ 6858000 h 6858000"/>
              <a:gd name="connsiteX226" fmla="*/ 5292268 w 12188651"/>
              <a:gd name="connsiteY226" fmla="*/ 6858000 h 6858000"/>
              <a:gd name="connsiteX227" fmla="*/ 5293870 w 12188651"/>
              <a:gd name="connsiteY227" fmla="*/ 6854120 h 6858000"/>
              <a:gd name="connsiteX228" fmla="*/ 5277615 w 12188651"/>
              <a:gd name="connsiteY228" fmla="*/ 6814814 h 6858000"/>
              <a:gd name="connsiteX229" fmla="*/ 5199142 w 12188651"/>
              <a:gd name="connsiteY229" fmla="*/ 6736202 h 6858000"/>
              <a:gd name="connsiteX230" fmla="*/ 5159966 w 12188651"/>
              <a:gd name="connsiteY230" fmla="*/ 6719857 h 6858000"/>
              <a:gd name="connsiteX231" fmla="*/ 5159837 w 12188651"/>
              <a:gd name="connsiteY231" fmla="*/ 6719727 h 6858000"/>
              <a:gd name="connsiteX232" fmla="*/ 5159824 w 12188651"/>
              <a:gd name="connsiteY232" fmla="*/ 6719729 h 6858000"/>
              <a:gd name="connsiteX233" fmla="*/ 5159824 w 12188651"/>
              <a:gd name="connsiteY233" fmla="*/ 6719727 h 6858000"/>
              <a:gd name="connsiteX234" fmla="*/ 5120526 w 12188651"/>
              <a:gd name="connsiteY234" fmla="*/ 6736202 h 6858000"/>
              <a:gd name="connsiteX235" fmla="*/ 5056083 w 12188651"/>
              <a:gd name="connsiteY235" fmla="*/ 6800794 h 6858000"/>
              <a:gd name="connsiteX236" fmla="*/ 4991465 w 12188651"/>
              <a:gd name="connsiteY236" fmla="*/ 6736072 h 6858000"/>
              <a:gd name="connsiteX237" fmla="*/ 4952157 w 12188651"/>
              <a:gd name="connsiteY237" fmla="*/ 6719727 h 6858000"/>
              <a:gd name="connsiteX238" fmla="*/ 4952154 w 12188651"/>
              <a:gd name="connsiteY238" fmla="*/ 6719728 h 6858000"/>
              <a:gd name="connsiteX239" fmla="*/ 4952148 w 12188651"/>
              <a:gd name="connsiteY239" fmla="*/ 6719727 h 6858000"/>
              <a:gd name="connsiteX240" fmla="*/ 4912971 w 12188651"/>
              <a:gd name="connsiteY240" fmla="*/ 6736072 h 6858000"/>
              <a:gd name="connsiteX241" fmla="*/ 4834495 w 12188651"/>
              <a:gd name="connsiteY241" fmla="*/ 6814814 h 6858000"/>
              <a:gd name="connsiteX242" fmla="*/ 4818244 w 12188651"/>
              <a:gd name="connsiteY242" fmla="*/ 6854120 h 6858000"/>
              <a:gd name="connsiteX243" fmla="*/ 4819847 w 12188651"/>
              <a:gd name="connsiteY243" fmla="*/ 6858000 h 6858000"/>
              <a:gd name="connsiteX244" fmla="*/ 4722171 w 12188651"/>
              <a:gd name="connsiteY244" fmla="*/ 6858000 h 6858000"/>
              <a:gd name="connsiteX245" fmla="*/ 4722171 w 12188651"/>
              <a:gd name="connsiteY245" fmla="*/ 6697155 h 6858000"/>
              <a:gd name="connsiteX246" fmla="*/ 11217614 w 12188651"/>
              <a:gd name="connsiteY246" fmla="*/ 6503998 h 6858000"/>
              <a:gd name="connsiteX247" fmla="*/ 11551377 w 12188651"/>
              <a:gd name="connsiteY247" fmla="*/ 6697155 h 6858000"/>
              <a:gd name="connsiteX248" fmla="*/ 11551377 w 12188651"/>
              <a:gd name="connsiteY248" fmla="*/ 6858000 h 6858000"/>
              <a:gd name="connsiteX249" fmla="*/ 11453944 w 12188651"/>
              <a:gd name="connsiteY249" fmla="*/ 6858000 h 6858000"/>
              <a:gd name="connsiteX250" fmla="*/ 11455548 w 12188651"/>
              <a:gd name="connsiteY250" fmla="*/ 6854120 h 6858000"/>
              <a:gd name="connsiteX251" fmla="*/ 11439301 w 12188651"/>
              <a:gd name="connsiteY251" fmla="*/ 6814814 h 6858000"/>
              <a:gd name="connsiteX252" fmla="*/ 11360822 w 12188651"/>
              <a:gd name="connsiteY252" fmla="*/ 6736202 h 6858000"/>
              <a:gd name="connsiteX253" fmla="*/ 11321647 w 12188651"/>
              <a:gd name="connsiteY253" fmla="*/ 6719857 h 6858000"/>
              <a:gd name="connsiteX254" fmla="*/ 11321517 w 12188651"/>
              <a:gd name="connsiteY254" fmla="*/ 6719727 h 6858000"/>
              <a:gd name="connsiteX255" fmla="*/ 11282213 w 12188651"/>
              <a:gd name="connsiteY255" fmla="*/ 6736202 h 6858000"/>
              <a:gd name="connsiteX256" fmla="*/ 11217744 w 12188651"/>
              <a:gd name="connsiteY256" fmla="*/ 6800804 h 6858000"/>
              <a:gd name="connsiteX257" fmla="*/ 11153145 w 12188651"/>
              <a:gd name="connsiteY257" fmla="*/ 6736072 h 6858000"/>
              <a:gd name="connsiteX258" fmla="*/ 11113840 w 12188651"/>
              <a:gd name="connsiteY258" fmla="*/ 6719727 h 6858000"/>
              <a:gd name="connsiteX259" fmla="*/ 11074665 w 12188651"/>
              <a:gd name="connsiteY259" fmla="*/ 6736072 h 6858000"/>
              <a:gd name="connsiteX260" fmla="*/ 10996186 w 12188651"/>
              <a:gd name="connsiteY260" fmla="*/ 6814814 h 6858000"/>
              <a:gd name="connsiteX261" fmla="*/ 10979939 w 12188651"/>
              <a:gd name="connsiteY261" fmla="*/ 6854120 h 6858000"/>
              <a:gd name="connsiteX262" fmla="*/ 10981543 w 12188651"/>
              <a:gd name="connsiteY262" fmla="*/ 6858000 h 6858000"/>
              <a:gd name="connsiteX263" fmla="*/ 10883851 w 12188651"/>
              <a:gd name="connsiteY263" fmla="*/ 6858000 h 6858000"/>
              <a:gd name="connsiteX264" fmla="*/ 10883851 w 12188651"/>
              <a:gd name="connsiteY264" fmla="*/ 6697155 h 6858000"/>
              <a:gd name="connsiteX265" fmla="*/ 9163666 w 12188651"/>
              <a:gd name="connsiteY265" fmla="*/ 6503998 h 6858000"/>
              <a:gd name="connsiteX266" fmla="*/ 9497429 w 12188651"/>
              <a:gd name="connsiteY266" fmla="*/ 6697155 h 6858000"/>
              <a:gd name="connsiteX267" fmla="*/ 9497429 w 12188651"/>
              <a:gd name="connsiteY267" fmla="*/ 6858000 h 6858000"/>
              <a:gd name="connsiteX268" fmla="*/ 9399997 w 12188651"/>
              <a:gd name="connsiteY268" fmla="*/ 6858000 h 6858000"/>
              <a:gd name="connsiteX269" fmla="*/ 9401601 w 12188651"/>
              <a:gd name="connsiteY269" fmla="*/ 6854120 h 6858000"/>
              <a:gd name="connsiteX270" fmla="*/ 9385354 w 12188651"/>
              <a:gd name="connsiteY270" fmla="*/ 6814814 h 6858000"/>
              <a:gd name="connsiteX271" fmla="*/ 9306876 w 12188651"/>
              <a:gd name="connsiteY271" fmla="*/ 6736202 h 6858000"/>
              <a:gd name="connsiteX272" fmla="*/ 9267701 w 12188651"/>
              <a:gd name="connsiteY272" fmla="*/ 6719857 h 6858000"/>
              <a:gd name="connsiteX273" fmla="*/ 9267571 w 12188651"/>
              <a:gd name="connsiteY273" fmla="*/ 6719727 h 6858000"/>
              <a:gd name="connsiteX274" fmla="*/ 9267570 w 12188651"/>
              <a:gd name="connsiteY274" fmla="*/ 6719727 h 6858000"/>
              <a:gd name="connsiteX275" fmla="*/ 9228265 w 12188651"/>
              <a:gd name="connsiteY275" fmla="*/ 6736202 h 6858000"/>
              <a:gd name="connsiteX276" fmla="*/ 9163796 w 12188651"/>
              <a:gd name="connsiteY276" fmla="*/ 6800804 h 6858000"/>
              <a:gd name="connsiteX277" fmla="*/ 9099198 w 12188651"/>
              <a:gd name="connsiteY277" fmla="*/ 6736072 h 6858000"/>
              <a:gd name="connsiteX278" fmla="*/ 9059893 w 12188651"/>
              <a:gd name="connsiteY278" fmla="*/ 6719727 h 6858000"/>
              <a:gd name="connsiteX279" fmla="*/ 9059892 w 12188651"/>
              <a:gd name="connsiteY279" fmla="*/ 6719727 h 6858000"/>
              <a:gd name="connsiteX280" fmla="*/ 9020717 w 12188651"/>
              <a:gd name="connsiteY280" fmla="*/ 6736072 h 6858000"/>
              <a:gd name="connsiteX281" fmla="*/ 8942238 w 12188651"/>
              <a:gd name="connsiteY281" fmla="*/ 6814814 h 6858000"/>
              <a:gd name="connsiteX282" fmla="*/ 8925991 w 12188651"/>
              <a:gd name="connsiteY282" fmla="*/ 6854120 h 6858000"/>
              <a:gd name="connsiteX283" fmla="*/ 8927595 w 12188651"/>
              <a:gd name="connsiteY283" fmla="*/ 6858000 h 6858000"/>
              <a:gd name="connsiteX284" fmla="*/ 8829903 w 12188651"/>
              <a:gd name="connsiteY284" fmla="*/ 6858000 h 6858000"/>
              <a:gd name="connsiteX285" fmla="*/ 8829903 w 12188651"/>
              <a:gd name="connsiteY285" fmla="*/ 6697155 h 6858000"/>
              <a:gd name="connsiteX286" fmla="*/ 7109850 w 12188651"/>
              <a:gd name="connsiteY286" fmla="*/ 6503998 h 6858000"/>
              <a:gd name="connsiteX287" fmla="*/ 7443613 w 12188651"/>
              <a:gd name="connsiteY287" fmla="*/ 6697155 h 6858000"/>
              <a:gd name="connsiteX288" fmla="*/ 7443613 w 12188651"/>
              <a:gd name="connsiteY288" fmla="*/ 6858000 h 6858000"/>
              <a:gd name="connsiteX289" fmla="*/ 7346179 w 12188651"/>
              <a:gd name="connsiteY289" fmla="*/ 6858000 h 6858000"/>
              <a:gd name="connsiteX290" fmla="*/ 7347783 w 12188651"/>
              <a:gd name="connsiteY290" fmla="*/ 6854120 h 6858000"/>
              <a:gd name="connsiteX291" fmla="*/ 7331537 w 12188651"/>
              <a:gd name="connsiteY291" fmla="*/ 6814814 h 6858000"/>
              <a:gd name="connsiteX292" fmla="*/ 7253057 w 12188651"/>
              <a:gd name="connsiteY292" fmla="*/ 6736202 h 6858000"/>
              <a:gd name="connsiteX293" fmla="*/ 7213882 w 12188651"/>
              <a:gd name="connsiteY293" fmla="*/ 6719857 h 6858000"/>
              <a:gd name="connsiteX294" fmla="*/ 7213751 w 12188651"/>
              <a:gd name="connsiteY294" fmla="*/ 6719727 h 6858000"/>
              <a:gd name="connsiteX295" fmla="*/ 7174449 w 12188651"/>
              <a:gd name="connsiteY295" fmla="*/ 6736202 h 6858000"/>
              <a:gd name="connsiteX296" fmla="*/ 7109978 w 12188651"/>
              <a:gd name="connsiteY296" fmla="*/ 6800804 h 6858000"/>
              <a:gd name="connsiteX297" fmla="*/ 7045379 w 12188651"/>
              <a:gd name="connsiteY297" fmla="*/ 6736072 h 6858000"/>
              <a:gd name="connsiteX298" fmla="*/ 7006076 w 12188651"/>
              <a:gd name="connsiteY298" fmla="*/ 6719727 h 6858000"/>
              <a:gd name="connsiteX299" fmla="*/ 6966901 w 12188651"/>
              <a:gd name="connsiteY299" fmla="*/ 6736072 h 6858000"/>
              <a:gd name="connsiteX300" fmla="*/ 6888421 w 12188651"/>
              <a:gd name="connsiteY300" fmla="*/ 6814814 h 6858000"/>
              <a:gd name="connsiteX301" fmla="*/ 6872173 w 12188651"/>
              <a:gd name="connsiteY301" fmla="*/ 6854120 h 6858000"/>
              <a:gd name="connsiteX302" fmla="*/ 6873777 w 12188651"/>
              <a:gd name="connsiteY302" fmla="*/ 6858000 h 6858000"/>
              <a:gd name="connsiteX303" fmla="*/ 6776085 w 12188651"/>
              <a:gd name="connsiteY303" fmla="*/ 6858000 h 6858000"/>
              <a:gd name="connsiteX304" fmla="*/ 6776085 w 12188651"/>
              <a:gd name="connsiteY304" fmla="*/ 6697155 h 6858000"/>
              <a:gd name="connsiteX305" fmla="*/ 2660324 w 12188651"/>
              <a:gd name="connsiteY305" fmla="*/ 6306179 h 6858000"/>
              <a:gd name="connsiteX306" fmla="*/ 2985774 w 12188651"/>
              <a:gd name="connsiteY306" fmla="*/ 6494528 h 6858000"/>
              <a:gd name="connsiteX307" fmla="*/ 2660196 w 12188651"/>
              <a:gd name="connsiteY307" fmla="*/ 6682877 h 6858000"/>
              <a:gd name="connsiteX308" fmla="*/ 2334751 w 12188651"/>
              <a:gd name="connsiteY308" fmla="*/ 6494528 h 6858000"/>
              <a:gd name="connsiteX309" fmla="*/ 606349 w 12188651"/>
              <a:gd name="connsiteY309" fmla="*/ 6306179 h 6858000"/>
              <a:gd name="connsiteX310" fmla="*/ 931795 w 12188651"/>
              <a:gd name="connsiteY310" fmla="*/ 6494528 h 6858000"/>
              <a:gd name="connsiteX311" fmla="*/ 606218 w 12188651"/>
              <a:gd name="connsiteY311" fmla="*/ 6682877 h 6858000"/>
              <a:gd name="connsiteX312" fmla="*/ 280770 w 12188651"/>
              <a:gd name="connsiteY312" fmla="*/ 6494528 h 6858000"/>
              <a:gd name="connsiteX313" fmla="*/ 4714117 w 12188651"/>
              <a:gd name="connsiteY313" fmla="*/ 6306174 h 6858000"/>
              <a:gd name="connsiteX314" fmla="*/ 5039591 w 12188651"/>
              <a:gd name="connsiteY314" fmla="*/ 6494528 h 6858000"/>
              <a:gd name="connsiteX315" fmla="*/ 4713993 w 12188651"/>
              <a:gd name="connsiteY315" fmla="*/ 6682882 h 6858000"/>
              <a:gd name="connsiteX316" fmla="*/ 4388541 w 12188651"/>
              <a:gd name="connsiteY316" fmla="*/ 6494528 h 6858000"/>
              <a:gd name="connsiteX317" fmla="*/ 10875808 w 12188651"/>
              <a:gd name="connsiteY317" fmla="*/ 6306171 h 6858000"/>
              <a:gd name="connsiteX318" fmla="*/ 11201269 w 12188651"/>
              <a:gd name="connsiteY318" fmla="*/ 6494528 h 6858000"/>
              <a:gd name="connsiteX319" fmla="*/ 10875679 w 12188651"/>
              <a:gd name="connsiteY319" fmla="*/ 6682885 h 6858000"/>
              <a:gd name="connsiteX320" fmla="*/ 10550217 w 12188651"/>
              <a:gd name="connsiteY320" fmla="*/ 6494528 h 6858000"/>
              <a:gd name="connsiteX321" fmla="*/ 8821860 w 12188651"/>
              <a:gd name="connsiteY321" fmla="*/ 6306171 h 6858000"/>
              <a:gd name="connsiteX322" fmla="*/ 9147321 w 12188651"/>
              <a:gd name="connsiteY322" fmla="*/ 6494528 h 6858000"/>
              <a:gd name="connsiteX323" fmla="*/ 8821731 w 12188651"/>
              <a:gd name="connsiteY323" fmla="*/ 6682885 h 6858000"/>
              <a:gd name="connsiteX324" fmla="*/ 8496269 w 12188651"/>
              <a:gd name="connsiteY324" fmla="*/ 6494528 h 6858000"/>
              <a:gd name="connsiteX325" fmla="*/ 6768043 w 12188651"/>
              <a:gd name="connsiteY325" fmla="*/ 6306171 h 6858000"/>
              <a:gd name="connsiteX326" fmla="*/ 7093505 w 12188651"/>
              <a:gd name="connsiteY326" fmla="*/ 6494528 h 6858000"/>
              <a:gd name="connsiteX327" fmla="*/ 6767913 w 12188651"/>
              <a:gd name="connsiteY327" fmla="*/ 6682885 h 6858000"/>
              <a:gd name="connsiteX328" fmla="*/ 6442452 w 12188651"/>
              <a:gd name="connsiteY328" fmla="*/ 6494528 h 6858000"/>
              <a:gd name="connsiteX329" fmla="*/ 12140685 w 12188651"/>
              <a:gd name="connsiteY329" fmla="*/ 6142204 h 6858000"/>
              <a:gd name="connsiteX330" fmla="*/ 12168445 w 12188651"/>
              <a:gd name="connsiteY330" fmla="*/ 6153749 h 6858000"/>
              <a:gd name="connsiteX331" fmla="*/ 12188651 w 12188651"/>
              <a:gd name="connsiteY331" fmla="*/ 6173997 h 6858000"/>
              <a:gd name="connsiteX332" fmla="*/ 12188651 w 12188651"/>
              <a:gd name="connsiteY332" fmla="*/ 6442248 h 6858000"/>
              <a:gd name="connsiteX333" fmla="*/ 12034576 w 12188651"/>
              <a:gd name="connsiteY333" fmla="*/ 6287882 h 6858000"/>
              <a:gd name="connsiteX334" fmla="*/ 12034576 w 12188651"/>
              <a:gd name="connsiteY334" fmla="*/ 6232490 h 6858000"/>
              <a:gd name="connsiteX335" fmla="*/ 12113056 w 12188651"/>
              <a:gd name="connsiteY335" fmla="*/ 6153749 h 6858000"/>
              <a:gd name="connsiteX336" fmla="*/ 12140685 w 12188651"/>
              <a:gd name="connsiteY336" fmla="*/ 6142204 h 6858000"/>
              <a:gd name="connsiteX337" fmla="*/ 10086867 w 12188651"/>
              <a:gd name="connsiteY337" fmla="*/ 6142204 h 6858000"/>
              <a:gd name="connsiteX338" fmla="*/ 10114626 w 12188651"/>
              <a:gd name="connsiteY338" fmla="*/ 6153749 h 6858000"/>
              <a:gd name="connsiteX339" fmla="*/ 10179226 w 12188651"/>
              <a:gd name="connsiteY339" fmla="*/ 6218481 h 6858000"/>
              <a:gd name="connsiteX340" fmla="*/ 10190770 w 12188651"/>
              <a:gd name="connsiteY340" fmla="*/ 6230155 h 6858000"/>
              <a:gd name="connsiteX341" fmla="*/ 10202315 w 12188651"/>
              <a:gd name="connsiteY341" fmla="*/ 6218481 h 6858000"/>
              <a:gd name="connsiteX342" fmla="*/ 10266786 w 12188651"/>
              <a:gd name="connsiteY342" fmla="*/ 6153749 h 6858000"/>
              <a:gd name="connsiteX343" fmla="*/ 10294543 w 12188651"/>
              <a:gd name="connsiteY343" fmla="*/ 6142204 h 6858000"/>
              <a:gd name="connsiteX344" fmla="*/ 10322173 w 12188651"/>
              <a:gd name="connsiteY344" fmla="*/ 6153749 h 6858000"/>
              <a:gd name="connsiteX345" fmla="*/ 10400653 w 12188651"/>
              <a:gd name="connsiteY345" fmla="*/ 6232360 h 6858000"/>
              <a:gd name="connsiteX346" fmla="*/ 10412198 w 12188651"/>
              <a:gd name="connsiteY346" fmla="*/ 6260121 h 6858000"/>
              <a:gd name="connsiteX347" fmla="*/ 10400783 w 12188651"/>
              <a:gd name="connsiteY347" fmla="*/ 6287882 h 6858000"/>
              <a:gd name="connsiteX348" fmla="*/ 10190770 w 12188651"/>
              <a:gd name="connsiteY348" fmla="*/ 6498291 h 6858000"/>
              <a:gd name="connsiteX349" fmla="*/ 9980757 w 12188651"/>
              <a:gd name="connsiteY349" fmla="*/ 6287882 h 6858000"/>
              <a:gd name="connsiteX350" fmla="*/ 9980757 w 12188651"/>
              <a:gd name="connsiteY350" fmla="*/ 6232490 h 6858000"/>
              <a:gd name="connsiteX351" fmla="*/ 10059237 w 12188651"/>
              <a:gd name="connsiteY351" fmla="*/ 6153749 h 6858000"/>
              <a:gd name="connsiteX352" fmla="*/ 10086867 w 12188651"/>
              <a:gd name="connsiteY352" fmla="*/ 6142204 h 6858000"/>
              <a:gd name="connsiteX353" fmla="*/ 8032919 w 12188651"/>
              <a:gd name="connsiteY353" fmla="*/ 6142204 h 6858000"/>
              <a:gd name="connsiteX354" fmla="*/ 8060679 w 12188651"/>
              <a:gd name="connsiteY354" fmla="*/ 6153749 h 6858000"/>
              <a:gd name="connsiteX355" fmla="*/ 8125278 w 12188651"/>
              <a:gd name="connsiteY355" fmla="*/ 6218481 h 6858000"/>
              <a:gd name="connsiteX356" fmla="*/ 8136823 w 12188651"/>
              <a:gd name="connsiteY356" fmla="*/ 6230155 h 6858000"/>
              <a:gd name="connsiteX357" fmla="*/ 8148368 w 12188651"/>
              <a:gd name="connsiteY357" fmla="*/ 6218481 h 6858000"/>
              <a:gd name="connsiteX358" fmla="*/ 8212837 w 12188651"/>
              <a:gd name="connsiteY358" fmla="*/ 6153749 h 6858000"/>
              <a:gd name="connsiteX359" fmla="*/ 8240596 w 12188651"/>
              <a:gd name="connsiteY359" fmla="*/ 6142204 h 6858000"/>
              <a:gd name="connsiteX360" fmla="*/ 8268226 w 12188651"/>
              <a:gd name="connsiteY360" fmla="*/ 6153749 h 6858000"/>
              <a:gd name="connsiteX361" fmla="*/ 8346707 w 12188651"/>
              <a:gd name="connsiteY361" fmla="*/ 6232360 h 6858000"/>
              <a:gd name="connsiteX362" fmla="*/ 8358252 w 12188651"/>
              <a:gd name="connsiteY362" fmla="*/ 6260121 h 6858000"/>
              <a:gd name="connsiteX363" fmla="*/ 8346837 w 12188651"/>
              <a:gd name="connsiteY363" fmla="*/ 6287882 h 6858000"/>
              <a:gd name="connsiteX364" fmla="*/ 8136823 w 12188651"/>
              <a:gd name="connsiteY364" fmla="*/ 6498291 h 6858000"/>
              <a:gd name="connsiteX365" fmla="*/ 7926811 w 12188651"/>
              <a:gd name="connsiteY365" fmla="*/ 6287882 h 6858000"/>
              <a:gd name="connsiteX366" fmla="*/ 7926811 w 12188651"/>
              <a:gd name="connsiteY366" fmla="*/ 6232490 h 6858000"/>
              <a:gd name="connsiteX367" fmla="*/ 8005289 w 12188651"/>
              <a:gd name="connsiteY367" fmla="*/ 6153749 h 6858000"/>
              <a:gd name="connsiteX368" fmla="*/ 8032919 w 12188651"/>
              <a:gd name="connsiteY368" fmla="*/ 6142204 h 6858000"/>
              <a:gd name="connsiteX369" fmla="*/ 5979109 w 12188651"/>
              <a:gd name="connsiteY369" fmla="*/ 6142204 h 6858000"/>
              <a:gd name="connsiteX370" fmla="*/ 6006867 w 12188651"/>
              <a:gd name="connsiteY370" fmla="*/ 6153749 h 6858000"/>
              <a:gd name="connsiteX371" fmla="*/ 6071463 w 12188651"/>
              <a:gd name="connsiteY371" fmla="*/ 6218481 h 6858000"/>
              <a:gd name="connsiteX372" fmla="*/ 6083006 w 12188651"/>
              <a:gd name="connsiteY372" fmla="*/ 6230155 h 6858000"/>
              <a:gd name="connsiteX373" fmla="*/ 6094550 w 12188651"/>
              <a:gd name="connsiteY373" fmla="*/ 6218481 h 6858000"/>
              <a:gd name="connsiteX374" fmla="*/ 6159019 w 12188651"/>
              <a:gd name="connsiteY374" fmla="*/ 6153749 h 6858000"/>
              <a:gd name="connsiteX375" fmla="*/ 6186779 w 12188651"/>
              <a:gd name="connsiteY375" fmla="*/ 6142204 h 6858000"/>
              <a:gd name="connsiteX376" fmla="*/ 6214409 w 12188651"/>
              <a:gd name="connsiteY376" fmla="*/ 6153749 h 6858000"/>
              <a:gd name="connsiteX377" fmla="*/ 6292888 w 12188651"/>
              <a:gd name="connsiteY377" fmla="*/ 6232360 h 6858000"/>
              <a:gd name="connsiteX378" fmla="*/ 6304433 w 12188651"/>
              <a:gd name="connsiteY378" fmla="*/ 6260121 h 6858000"/>
              <a:gd name="connsiteX379" fmla="*/ 6293017 w 12188651"/>
              <a:gd name="connsiteY379" fmla="*/ 6287882 h 6858000"/>
              <a:gd name="connsiteX380" fmla="*/ 6083006 w 12188651"/>
              <a:gd name="connsiteY380" fmla="*/ 6498291 h 6858000"/>
              <a:gd name="connsiteX381" fmla="*/ 5873007 w 12188651"/>
              <a:gd name="connsiteY381" fmla="*/ 6287882 h 6858000"/>
              <a:gd name="connsiteX382" fmla="*/ 5873007 w 12188651"/>
              <a:gd name="connsiteY382" fmla="*/ 6232490 h 6858000"/>
              <a:gd name="connsiteX383" fmla="*/ 5951483 w 12188651"/>
              <a:gd name="connsiteY383" fmla="*/ 6153749 h 6858000"/>
              <a:gd name="connsiteX384" fmla="*/ 5979109 w 12188651"/>
              <a:gd name="connsiteY384" fmla="*/ 6142204 h 6858000"/>
              <a:gd name="connsiteX385" fmla="*/ 3925340 w 12188651"/>
              <a:gd name="connsiteY385" fmla="*/ 6142204 h 6858000"/>
              <a:gd name="connsiteX386" fmla="*/ 3953098 w 12188651"/>
              <a:gd name="connsiteY386" fmla="*/ 6153749 h 6858000"/>
              <a:gd name="connsiteX387" fmla="*/ 4017696 w 12188651"/>
              <a:gd name="connsiteY387" fmla="*/ 6218481 h 6858000"/>
              <a:gd name="connsiteX388" fmla="*/ 4029239 w 12188651"/>
              <a:gd name="connsiteY388" fmla="*/ 6230155 h 6858000"/>
              <a:gd name="connsiteX389" fmla="*/ 4040788 w 12188651"/>
              <a:gd name="connsiteY389" fmla="*/ 6218481 h 6858000"/>
              <a:gd name="connsiteX390" fmla="*/ 4105258 w 12188651"/>
              <a:gd name="connsiteY390" fmla="*/ 6153749 h 6858000"/>
              <a:gd name="connsiteX391" fmla="*/ 4133019 w 12188651"/>
              <a:gd name="connsiteY391" fmla="*/ 6142204 h 6858000"/>
              <a:gd name="connsiteX392" fmla="*/ 4160649 w 12188651"/>
              <a:gd name="connsiteY392" fmla="*/ 6153749 h 6858000"/>
              <a:gd name="connsiteX393" fmla="*/ 4239088 w 12188651"/>
              <a:gd name="connsiteY393" fmla="*/ 6232360 h 6858000"/>
              <a:gd name="connsiteX394" fmla="*/ 4250634 w 12188651"/>
              <a:gd name="connsiteY394" fmla="*/ 6260121 h 6858000"/>
              <a:gd name="connsiteX395" fmla="*/ 4239218 w 12188651"/>
              <a:gd name="connsiteY395" fmla="*/ 6287882 h 6858000"/>
              <a:gd name="connsiteX396" fmla="*/ 4029239 w 12188651"/>
              <a:gd name="connsiteY396" fmla="*/ 6498291 h 6858000"/>
              <a:gd name="connsiteX397" fmla="*/ 3819224 w 12188651"/>
              <a:gd name="connsiteY397" fmla="*/ 6287882 h 6858000"/>
              <a:gd name="connsiteX398" fmla="*/ 3819224 w 12188651"/>
              <a:gd name="connsiteY398" fmla="*/ 6232490 h 6858000"/>
              <a:gd name="connsiteX399" fmla="*/ 3897706 w 12188651"/>
              <a:gd name="connsiteY399" fmla="*/ 6153749 h 6858000"/>
              <a:gd name="connsiteX400" fmla="*/ 3925340 w 12188651"/>
              <a:gd name="connsiteY400" fmla="*/ 6142204 h 6858000"/>
              <a:gd name="connsiteX401" fmla="*/ 1871365 w 12188651"/>
              <a:gd name="connsiteY401" fmla="*/ 6142204 h 6858000"/>
              <a:gd name="connsiteX402" fmla="*/ 1899125 w 12188651"/>
              <a:gd name="connsiteY402" fmla="*/ 6153749 h 6858000"/>
              <a:gd name="connsiteX403" fmla="*/ 1963725 w 12188651"/>
              <a:gd name="connsiteY403" fmla="*/ 6218481 h 6858000"/>
              <a:gd name="connsiteX404" fmla="*/ 1975268 w 12188651"/>
              <a:gd name="connsiteY404" fmla="*/ 6230155 h 6858000"/>
              <a:gd name="connsiteX405" fmla="*/ 1986815 w 12188651"/>
              <a:gd name="connsiteY405" fmla="*/ 6218481 h 6858000"/>
              <a:gd name="connsiteX406" fmla="*/ 2051282 w 12188651"/>
              <a:gd name="connsiteY406" fmla="*/ 6153749 h 6858000"/>
              <a:gd name="connsiteX407" fmla="*/ 2079043 w 12188651"/>
              <a:gd name="connsiteY407" fmla="*/ 6142204 h 6858000"/>
              <a:gd name="connsiteX408" fmla="*/ 2106680 w 12188651"/>
              <a:gd name="connsiteY408" fmla="*/ 6153749 h 6858000"/>
              <a:gd name="connsiteX409" fmla="*/ 2185159 w 12188651"/>
              <a:gd name="connsiteY409" fmla="*/ 6232360 h 6858000"/>
              <a:gd name="connsiteX410" fmla="*/ 2196704 w 12188651"/>
              <a:gd name="connsiteY410" fmla="*/ 6260121 h 6858000"/>
              <a:gd name="connsiteX411" fmla="*/ 2185289 w 12188651"/>
              <a:gd name="connsiteY411" fmla="*/ 6287882 h 6858000"/>
              <a:gd name="connsiteX412" fmla="*/ 1975268 w 12188651"/>
              <a:gd name="connsiteY412" fmla="*/ 6498291 h 6858000"/>
              <a:gd name="connsiteX413" fmla="*/ 1765256 w 12188651"/>
              <a:gd name="connsiteY413" fmla="*/ 6287882 h 6858000"/>
              <a:gd name="connsiteX414" fmla="*/ 1765256 w 12188651"/>
              <a:gd name="connsiteY414" fmla="*/ 6232490 h 6858000"/>
              <a:gd name="connsiteX415" fmla="*/ 1843735 w 12188651"/>
              <a:gd name="connsiteY415" fmla="*/ 6153749 h 6858000"/>
              <a:gd name="connsiteX416" fmla="*/ 1871365 w 12188651"/>
              <a:gd name="connsiteY416" fmla="*/ 6142204 h 6858000"/>
              <a:gd name="connsiteX417" fmla="*/ 25201 w 12188651"/>
              <a:gd name="connsiteY417" fmla="*/ 6142204 h 6858000"/>
              <a:gd name="connsiteX418" fmla="*/ 52832 w 12188651"/>
              <a:gd name="connsiteY418" fmla="*/ 6153749 h 6858000"/>
              <a:gd name="connsiteX419" fmla="*/ 131310 w 12188651"/>
              <a:gd name="connsiteY419" fmla="*/ 6232360 h 6858000"/>
              <a:gd name="connsiteX420" fmla="*/ 142854 w 12188651"/>
              <a:gd name="connsiteY420" fmla="*/ 6260121 h 6858000"/>
              <a:gd name="connsiteX421" fmla="*/ 131440 w 12188651"/>
              <a:gd name="connsiteY421" fmla="*/ 6287882 h 6858000"/>
              <a:gd name="connsiteX422" fmla="*/ 0 w 12188651"/>
              <a:gd name="connsiteY422" fmla="*/ 6419570 h 6858000"/>
              <a:gd name="connsiteX423" fmla="*/ 0 w 12188651"/>
              <a:gd name="connsiteY423" fmla="*/ 6152685 h 6858000"/>
              <a:gd name="connsiteX424" fmla="*/ 10086867 w 12188651"/>
              <a:gd name="connsiteY424" fmla="*/ 6125729 h 6858000"/>
              <a:gd name="connsiteX425" fmla="*/ 10047692 w 12188651"/>
              <a:gd name="connsiteY425" fmla="*/ 6142074 h 6858000"/>
              <a:gd name="connsiteX426" fmla="*/ 9969212 w 12188651"/>
              <a:gd name="connsiteY426" fmla="*/ 6220816 h 6858000"/>
              <a:gd name="connsiteX427" fmla="*/ 9969212 w 12188651"/>
              <a:gd name="connsiteY427" fmla="*/ 6299428 h 6858000"/>
              <a:gd name="connsiteX428" fmla="*/ 10190770 w 12188651"/>
              <a:gd name="connsiteY428" fmla="*/ 6521512 h 6858000"/>
              <a:gd name="connsiteX429" fmla="*/ 10412328 w 12188651"/>
              <a:gd name="connsiteY429" fmla="*/ 6299428 h 6858000"/>
              <a:gd name="connsiteX430" fmla="*/ 10412328 w 12188651"/>
              <a:gd name="connsiteY430" fmla="*/ 6220816 h 6858000"/>
              <a:gd name="connsiteX431" fmla="*/ 10333848 w 12188651"/>
              <a:gd name="connsiteY431" fmla="*/ 6142204 h 6858000"/>
              <a:gd name="connsiteX432" fmla="*/ 10294673 w 12188651"/>
              <a:gd name="connsiteY432" fmla="*/ 6125859 h 6858000"/>
              <a:gd name="connsiteX433" fmla="*/ 10294543 w 12188651"/>
              <a:gd name="connsiteY433" fmla="*/ 6125729 h 6858000"/>
              <a:gd name="connsiteX434" fmla="*/ 10255241 w 12188651"/>
              <a:gd name="connsiteY434" fmla="*/ 6142204 h 6858000"/>
              <a:gd name="connsiteX435" fmla="*/ 10190770 w 12188651"/>
              <a:gd name="connsiteY435" fmla="*/ 6206806 h 6858000"/>
              <a:gd name="connsiteX436" fmla="*/ 10126171 w 12188651"/>
              <a:gd name="connsiteY436" fmla="*/ 6142074 h 6858000"/>
              <a:gd name="connsiteX437" fmla="*/ 10086867 w 12188651"/>
              <a:gd name="connsiteY437" fmla="*/ 6125729 h 6858000"/>
              <a:gd name="connsiteX438" fmla="*/ 8032919 w 12188651"/>
              <a:gd name="connsiteY438" fmla="*/ 6125729 h 6858000"/>
              <a:gd name="connsiteX439" fmla="*/ 7993744 w 12188651"/>
              <a:gd name="connsiteY439" fmla="*/ 6142074 h 6858000"/>
              <a:gd name="connsiteX440" fmla="*/ 7915266 w 12188651"/>
              <a:gd name="connsiteY440" fmla="*/ 6220816 h 6858000"/>
              <a:gd name="connsiteX441" fmla="*/ 7915266 w 12188651"/>
              <a:gd name="connsiteY441" fmla="*/ 6299428 h 6858000"/>
              <a:gd name="connsiteX442" fmla="*/ 8136823 w 12188651"/>
              <a:gd name="connsiteY442" fmla="*/ 6521512 h 6858000"/>
              <a:gd name="connsiteX443" fmla="*/ 8358382 w 12188651"/>
              <a:gd name="connsiteY443" fmla="*/ 6299428 h 6858000"/>
              <a:gd name="connsiteX444" fmla="*/ 8358382 w 12188651"/>
              <a:gd name="connsiteY444" fmla="*/ 6220816 h 6858000"/>
              <a:gd name="connsiteX445" fmla="*/ 8279902 w 12188651"/>
              <a:gd name="connsiteY445" fmla="*/ 6142204 h 6858000"/>
              <a:gd name="connsiteX446" fmla="*/ 8240727 w 12188651"/>
              <a:gd name="connsiteY446" fmla="*/ 6125859 h 6858000"/>
              <a:gd name="connsiteX447" fmla="*/ 8240596 w 12188651"/>
              <a:gd name="connsiteY447" fmla="*/ 6125729 h 6858000"/>
              <a:gd name="connsiteX448" fmla="*/ 8201292 w 12188651"/>
              <a:gd name="connsiteY448" fmla="*/ 6142204 h 6858000"/>
              <a:gd name="connsiteX449" fmla="*/ 8136823 w 12188651"/>
              <a:gd name="connsiteY449" fmla="*/ 6206806 h 6858000"/>
              <a:gd name="connsiteX450" fmla="*/ 8072224 w 12188651"/>
              <a:gd name="connsiteY450" fmla="*/ 6142074 h 6858000"/>
              <a:gd name="connsiteX451" fmla="*/ 8032919 w 12188651"/>
              <a:gd name="connsiteY451" fmla="*/ 6125729 h 6858000"/>
              <a:gd name="connsiteX452" fmla="*/ 5979109 w 12188651"/>
              <a:gd name="connsiteY452" fmla="*/ 6125729 h 6858000"/>
              <a:gd name="connsiteX453" fmla="*/ 5939936 w 12188651"/>
              <a:gd name="connsiteY453" fmla="*/ 6142074 h 6858000"/>
              <a:gd name="connsiteX454" fmla="*/ 5861462 w 12188651"/>
              <a:gd name="connsiteY454" fmla="*/ 6220816 h 6858000"/>
              <a:gd name="connsiteX455" fmla="*/ 5861462 w 12188651"/>
              <a:gd name="connsiteY455" fmla="*/ 6299428 h 6858000"/>
              <a:gd name="connsiteX456" fmla="*/ 6083006 w 12188651"/>
              <a:gd name="connsiteY456" fmla="*/ 6521512 h 6858000"/>
              <a:gd name="connsiteX457" fmla="*/ 6304562 w 12188651"/>
              <a:gd name="connsiteY457" fmla="*/ 6299428 h 6858000"/>
              <a:gd name="connsiteX458" fmla="*/ 6304562 w 12188651"/>
              <a:gd name="connsiteY458" fmla="*/ 6220816 h 6858000"/>
              <a:gd name="connsiteX459" fmla="*/ 6226084 w 12188651"/>
              <a:gd name="connsiteY459" fmla="*/ 6142204 h 6858000"/>
              <a:gd name="connsiteX460" fmla="*/ 6186909 w 12188651"/>
              <a:gd name="connsiteY460" fmla="*/ 6125859 h 6858000"/>
              <a:gd name="connsiteX461" fmla="*/ 6186779 w 12188651"/>
              <a:gd name="connsiteY461" fmla="*/ 6125729 h 6858000"/>
              <a:gd name="connsiteX462" fmla="*/ 6147474 w 12188651"/>
              <a:gd name="connsiteY462" fmla="*/ 6142204 h 6858000"/>
              <a:gd name="connsiteX463" fmla="*/ 6083006 w 12188651"/>
              <a:gd name="connsiteY463" fmla="*/ 6206806 h 6858000"/>
              <a:gd name="connsiteX464" fmla="*/ 6018412 w 12188651"/>
              <a:gd name="connsiteY464" fmla="*/ 6142074 h 6858000"/>
              <a:gd name="connsiteX465" fmla="*/ 5979109 w 12188651"/>
              <a:gd name="connsiteY465" fmla="*/ 6125729 h 6858000"/>
              <a:gd name="connsiteX466" fmla="*/ 3925340 w 12188651"/>
              <a:gd name="connsiteY466" fmla="*/ 6125729 h 6858000"/>
              <a:gd name="connsiteX467" fmla="*/ 3886162 w 12188651"/>
              <a:gd name="connsiteY467" fmla="*/ 6142074 h 6858000"/>
              <a:gd name="connsiteX468" fmla="*/ 3807680 w 12188651"/>
              <a:gd name="connsiteY468" fmla="*/ 6220816 h 6858000"/>
              <a:gd name="connsiteX469" fmla="*/ 3807680 w 12188651"/>
              <a:gd name="connsiteY469" fmla="*/ 6299428 h 6858000"/>
              <a:gd name="connsiteX470" fmla="*/ 4029239 w 12188651"/>
              <a:gd name="connsiteY470" fmla="*/ 6521512 h 6858000"/>
              <a:gd name="connsiteX471" fmla="*/ 4250759 w 12188651"/>
              <a:gd name="connsiteY471" fmla="*/ 6299428 h 6858000"/>
              <a:gd name="connsiteX472" fmla="*/ 4250759 w 12188651"/>
              <a:gd name="connsiteY472" fmla="*/ 6220816 h 6858000"/>
              <a:gd name="connsiteX473" fmla="*/ 4172324 w 12188651"/>
              <a:gd name="connsiteY473" fmla="*/ 6142204 h 6858000"/>
              <a:gd name="connsiteX474" fmla="*/ 4133150 w 12188651"/>
              <a:gd name="connsiteY474" fmla="*/ 6125859 h 6858000"/>
              <a:gd name="connsiteX475" fmla="*/ 4133019 w 12188651"/>
              <a:gd name="connsiteY475" fmla="*/ 6125729 h 6858000"/>
              <a:gd name="connsiteX476" fmla="*/ 4093716 w 12188651"/>
              <a:gd name="connsiteY476" fmla="*/ 6142204 h 6858000"/>
              <a:gd name="connsiteX477" fmla="*/ 4029239 w 12188651"/>
              <a:gd name="connsiteY477" fmla="*/ 6206806 h 6858000"/>
              <a:gd name="connsiteX478" fmla="*/ 3964640 w 12188651"/>
              <a:gd name="connsiteY478" fmla="*/ 6142074 h 6858000"/>
              <a:gd name="connsiteX479" fmla="*/ 3925340 w 12188651"/>
              <a:gd name="connsiteY479" fmla="*/ 6125729 h 6858000"/>
              <a:gd name="connsiteX480" fmla="*/ 1871365 w 12188651"/>
              <a:gd name="connsiteY480" fmla="*/ 6125729 h 6858000"/>
              <a:gd name="connsiteX481" fmla="*/ 1832190 w 12188651"/>
              <a:gd name="connsiteY481" fmla="*/ 6142074 h 6858000"/>
              <a:gd name="connsiteX482" fmla="*/ 1753712 w 12188651"/>
              <a:gd name="connsiteY482" fmla="*/ 6220816 h 6858000"/>
              <a:gd name="connsiteX483" fmla="*/ 1753712 w 12188651"/>
              <a:gd name="connsiteY483" fmla="*/ 6299428 h 6858000"/>
              <a:gd name="connsiteX484" fmla="*/ 1975268 w 12188651"/>
              <a:gd name="connsiteY484" fmla="*/ 6521512 h 6858000"/>
              <a:gd name="connsiteX485" fmla="*/ 2196833 w 12188651"/>
              <a:gd name="connsiteY485" fmla="*/ 6299428 h 6858000"/>
              <a:gd name="connsiteX486" fmla="*/ 2196833 w 12188651"/>
              <a:gd name="connsiteY486" fmla="*/ 6220816 h 6858000"/>
              <a:gd name="connsiteX487" fmla="*/ 2118354 w 12188651"/>
              <a:gd name="connsiteY487" fmla="*/ 6142204 h 6858000"/>
              <a:gd name="connsiteX488" fmla="*/ 2079172 w 12188651"/>
              <a:gd name="connsiteY488" fmla="*/ 6125859 h 6858000"/>
              <a:gd name="connsiteX489" fmla="*/ 2079043 w 12188651"/>
              <a:gd name="connsiteY489" fmla="*/ 6125729 h 6858000"/>
              <a:gd name="connsiteX490" fmla="*/ 2039739 w 12188651"/>
              <a:gd name="connsiteY490" fmla="*/ 6142204 h 6858000"/>
              <a:gd name="connsiteX491" fmla="*/ 1975268 w 12188651"/>
              <a:gd name="connsiteY491" fmla="*/ 6206806 h 6858000"/>
              <a:gd name="connsiteX492" fmla="*/ 1910670 w 12188651"/>
              <a:gd name="connsiteY492" fmla="*/ 6142074 h 6858000"/>
              <a:gd name="connsiteX493" fmla="*/ 1871365 w 12188651"/>
              <a:gd name="connsiteY493" fmla="*/ 6125729 h 6858000"/>
              <a:gd name="connsiteX494" fmla="*/ 0 w 12188651"/>
              <a:gd name="connsiteY494" fmla="*/ 5955550 h 6858000"/>
              <a:gd name="connsiteX495" fmla="*/ 255057 w 12188651"/>
              <a:gd name="connsiteY495" fmla="*/ 6103157 h 6858000"/>
              <a:gd name="connsiteX496" fmla="*/ 255057 w 12188651"/>
              <a:gd name="connsiteY496" fmla="*/ 6489340 h 6858000"/>
              <a:gd name="connsiteX497" fmla="*/ 0 w 12188651"/>
              <a:gd name="connsiteY497" fmla="*/ 6636947 h 6858000"/>
              <a:gd name="connsiteX498" fmla="*/ 0 w 12188651"/>
              <a:gd name="connsiteY498" fmla="*/ 6442752 h 6858000"/>
              <a:gd name="connsiteX499" fmla="*/ 142984 w 12188651"/>
              <a:gd name="connsiteY499" fmla="*/ 6299428 h 6858000"/>
              <a:gd name="connsiteX500" fmla="*/ 142984 w 12188651"/>
              <a:gd name="connsiteY500" fmla="*/ 6220816 h 6858000"/>
              <a:gd name="connsiteX501" fmla="*/ 64505 w 12188651"/>
              <a:gd name="connsiteY501" fmla="*/ 6142204 h 6858000"/>
              <a:gd name="connsiteX502" fmla="*/ 25329 w 12188651"/>
              <a:gd name="connsiteY502" fmla="*/ 6125859 h 6858000"/>
              <a:gd name="connsiteX503" fmla="*/ 25201 w 12188651"/>
              <a:gd name="connsiteY503" fmla="*/ 6125729 h 6858000"/>
              <a:gd name="connsiteX504" fmla="*/ 4284 w 12188651"/>
              <a:gd name="connsiteY504" fmla="*/ 6129832 h 6858000"/>
              <a:gd name="connsiteX505" fmla="*/ 0 w 12188651"/>
              <a:gd name="connsiteY505" fmla="*/ 6132714 h 6858000"/>
              <a:gd name="connsiteX506" fmla="*/ 12188651 w 12188651"/>
              <a:gd name="connsiteY506" fmla="*/ 5942299 h 6858000"/>
              <a:gd name="connsiteX507" fmla="*/ 12188651 w 12188651"/>
              <a:gd name="connsiteY507" fmla="*/ 6150753 h 6858000"/>
              <a:gd name="connsiteX508" fmla="*/ 12179990 w 12188651"/>
              <a:gd name="connsiteY508" fmla="*/ 6142074 h 6858000"/>
              <a:gd name="connsiteX509" fmla="*/ 12140685 w 12188651"/>
              <a:gd name="connsiteY509" fmla="*/ 6125729 h 6858000"/>
              <a:gd name="connsiteX510" fmla="*/ 12101510 w 12188651"/>
              <a:gd name="connsiteY510" fmla="*/ 6142074 h 6858000"/>
              <a:gd name="connsiteX511" fmla="*/ 12023031 w 12188651"/>
              <a:gd name="connsiteY511" fmla="*/ 6220816 h 6858000"/>
              <a:gd name="connsiteX512" fmla="*/ 12023031 w 12188651"/>
              <a:gd name="connsiteY512" fmla="*/ 6299428 h 6858000"/>
              <a:gd name="connsiteX513" fmla="*/ 12188651 w 12188651"/>
              <a:gd name="connsiteY513" fmla="*/ 6465441 h 6858000"/>
              <a:gd name="connsiteX514" fmla="*/ 12188651 w 12188651"/>
              <a:gd name="connsiteY514" fmla="*/ 6650199 h 6858000"/>
              <a:gd name="connsiteX515" fmla="*/ 11910696 w 12188651"/>
              <a:gd name="connsiteY515" fmla="*/ 6489340 h 6858000"/>
              <a:gd name="connsiteX516" fmla="*/ 11910696 w 12188651"/>
              <a:gd name="connsiteY516" fmla="*/ 6103158 h 6858000"/>
              <a:gd name="connsiteX517" fmla="*/ 2668510 w 12188651"/>
              <a:gd name="connsiteY517" fmla="*/ 5915205 h 6858000"/>
              <a:gd name="connsiteX518" fmla="*/ 2993944 w 12188651"/>
              <a:gd name="connsiteY518" fmla="*/ 6103545 h 6858000"/>
              <a:gd name="connsiteX519" fmla="*/ 2993944 w 12188651"/>
              <a:gd name="connsiteY519" fmla="*/ 6480372 h 6858000"/>
              <a:gd name="connsiteX520" fmla="*/ 2668510 w 12188651"/>
              <a:gd name="connsiteY520" fmla="*/ 6292032 h 6858000"/>
              <a:gd name="connsiteX521" fmla="*/ 2652138 w 12188651"/>
              <a:gd name="connsiteY521" fmla="*/ 5915205 h 6858000"/>
              <a:gd name="connsiteX522" fmla="*/ 2652138 w 12188651"/>
              <a:gd name="connsiteY522" fmla="*/ 6292032 h 6858000"/>
              <a:gd name="connsiteX523" fmla="*/ 2326578 w 12188651"/>
              <a:gd name="connsiteY523" fmla="*/ 6480371 h 6858000"/>
              <a:gd name="connsiteX524" fmla="*/ 2326578 w 12188651"/>
              <a:gd name="connsiteY524" fmla="*/ 6103545 h 6858000"/>
              <a:gd name="connsiteX525" fmla="*/ 614534 w 12188651"/>
              <a:gd name="connsiteY525" fmla="*/ 5915205 h 6858000"/>
              <a:gd name="connsiteX526" fmla="*/ 939967 w 12188651"/>
              <a:gd name="connsiteY526" fmla="*/ 6103545 h 6858000"/>
              <a:gd name="connsiteX527" fmla="*/ 939967 w 12188651"/>
              <a:gd name="connsiteY527" fmla="*/ 6480373 h 6858000"/>
              <a:gd name="connsiteX528" fmla="*/ 614534 w 12188651"/>
              <a:gd name="connsiteY528" fmla="*/ 6292032 h 6858000"/>
              <a:gd name="connsiteX529" fmla="*/ 598162 w 12188651"/>
              <a:gd name="connsiteY529" fmla="*/ 5915205 h 6858000"/>
              <a:gd name="connsiteX530" fmla="*/ 598162 w 12188651"/>
              <a:gd name="connsiteY530" fmla="*/ 6292032 h 6858000"/>
              <a:gd name="connsiteX531" fmla="*/ 272599 w 12188651"/>
              <a:gd name="connsiteY531" fmla="*/ 6480372 h 6858000"/>
              <a:gd name="connsiteX532" fmla="*/ 272599 w 12188651"/>
              <a:gd name="connsiteY532" fmla="*/ 6103545 h 6858000"/>
              <a:gd name="connsiteX533" fmla="*/ 4722303 w 12188651"/>
              <a:gd name="connsiteY533" fmla="*/ 5915196 h 6858000"/>
              <a:gd name="connsiteX534" fmla="*/ 5047767 w 12188651"/>
              <a:gd name="connsiteY534" fmla="*/ 6103545 h 6858000"/>
              <a:gd name="connsiteX535" fmla="*/ 5047767 w 12188651"/>
              <a:gd name="connsiteY535" fmla="*/ 6480376 h 6858000"/>
              <a:gd name="connsiteX536" fmla="*/ 4722303 w 12188651"/>
              <a:gd name="connsiteY536" fmla="*/ 6292032 h 6858000"/>
              <a:gd name="connsiteX537" fmla="*/ 4705942 w 12188651"/>
              <a:gd name="connsiteY537" fmla="*/ 5915194 h 6858000"/>
              <a:gd name="connsiteX538" fmla="*/ 4705942 w 12188651"/>
              <a:gd name="connsiteY538" fmla="*/ 6292032 h 6858000"/>
              <a:gd name="connsiteX539" fmla="*/ 4380369 w 12188651"/>
              <a:gd name="connsiteY539" fmla="*/ 6480381 h 6858000"/>
              <a:gd name="connsiteX540" fmla="*/ 4380369 w 12188651"/>
              <a:gd name="connsiteY540" fmla="*/ 6103545 h 6858000"/>
              <a:gd name="connsiteX541" fmla="*/ 10883981 w 12188651"/>
              <a:gd name="connsiteY541" fmla="*/ 5915189 h 6858000"/>
              <a:gd name="connsiteX542" fmla="*/ 11209441 w 12188651"/>
              <a:gd name="connsiteY542" fmla="*/ 6103545 h 6858000"/>
              <a:gd name="connsiteX543" fmla="*/ 11209441 w 12188651"/>
              <a:gd name="connsiteY543" fmla="*/ 6480388 h 6858000"/>
              <a:gd name="connsiteX544" fmla="*/ 10883981 w 12188651"/>
              <a:gd name="connsiteY544" fmla="*/ 6292032 h 6858000"/>
              <a:gd name="connsiteX545" fmla="*/ 10867636 w 12188651"/>
              <a:gd name="connsiteY545" fmla="*/ 5915189 h 6858000"/>
              <a:gd name="connsiteX546" fmla="*/ 10867636 w 12188651"/>
              <a:gd name="connsiteY546" fmla="*/ 6292032 h 6858000"/>
              <a:gd name="connsiteX547" fmla="*/ 10542045 w 12188651"/>
              <a:gd name="connsiteY547" fmla="*/ 6480389 h 6858000"/>
              <a:gd name="connsiteX548" fmla="*/ 10542045 w 12188651"/>
              <a:gd name="connsiteY548" fmla="*/ 6103545 h 6858000"/>
              <a:gd name="connsiteX549" fmla="*/ 8830033 w 12188651"/>
              <a:gd name="connsiteY549" fmla="*/ 5915189 h 6858000"/>
              <a:gd name="connsiteX550" fmla="*/ 9155493 w 12188651"/>
              <a:gd name="connsiteY550" fmla="*/ 6103545 h 6858000"/>
              <a:gd name="connsiteX551" fmla="*/ 9155493 w 12188651"/>
              <a:gd name="connsiteY551" fmla="*/ 6480388 h 6858000"/>
              <a:gd name="connsiteX552" fmla="*/ 8830033 w 12188651"/>
              <a:gd name="connsiteY552" fmla="*/ 6292032 h 6858000"/>
              <a:gd name="connsiteX553" fmla="*/ 8813688 w 12188651"/>
              <a:gd name="connsiteY553" fmla="*/ 5915189 h 6858000"/>
              <a:gd name="connsiteX554" fmla="*/ 8813688 w 12188651"/>
              <a:gd name="connsiteY554" fmla="*/ 6292032 h 6858000"/>
              <a:gd name="connsiteX555" fmla="*/ 8488098 w 12188651"/>
              <a:gd name="connsiteY555" fmla="*/ 6480388 h 6858000"/>
              <a:gd name="connsiteX556" fmla="*/ 8488098 w 12188651"/>
              <a:gd name="connsiteY556" fmla="*/ 6103545 h 6858000"/>
              <a:gd name="connsiteX557" fmla="*/ 6776215 w 12188651"/>
              <a:gd name="connsiteY557" fmla="*/ 5915189 h 6858000"/>
              <a:gd name="connsiteX558" fmla="*/ 7101677 w 12188651"/>
              <a:gd name="connsiteY558" fmla="*/ 6103545 h 6858000"/>
              <a:gd name="connsiteX559" fmla="*/ 7101677 w 12188651"/>
              <a:gd name="connsiteY559" fmla="*/ 6480389 h 6858000"/>
              <a:gd name="connsiteX560" fmla="*/ 6776215 w 12188651"/>
              <a:gd name="connsiteY560" fmla="*/ 6292032 h 6858000"/>
              <a:gd name="connsiteX561" fmla="*/ 6759871 w 12188651"/>
              <a:gd name="connsiteY561" fmla="*/ 5915189 h 6858000"/>
              <a:gd name="connsiteX562" fmla="*/ 6759871 w 12188651"/>
              <a:gd name="connsiteY562" fmla="*/ 6292032 h 6858000"/>
              <a:gd name="connsiteX563" fmla="*/ 6434280 w 12188651"/>
              <a:gd name="connsiteY563" fmla="*/ 6480389 h 6858000"/>
              <a:gd name="connsiteX564" fmla="*/ 6434280 w 12188651"/>
              <a:gd name="connsiteY564" fmla="*/ 6103545 h 6858000"/>
              <a:gd name="connsiteX565" fmla="*/ 3344066 w 12188651"/>
              <a:gd name="connsiteY565" fmla="*/ 5910397 h 6858000"/>
              <a:gd name="connsiteX566" fmla="*/ 3677812 w 12188651"/>
              <a:gd name="connsiteY566" fmla="*/ 6103545 h 6858000"/>
              <a:gd name="connsiteX567" fmla="*/ 3677812 w 12188651"/>
              <a:gd name="connsiteY567" fmla="*/ 6489859 h 6858000"/>
              <a:gd name="connsiteX568" fmla="*/ 3344198 w 12188651"/>
              <a:gd name="connsiteY568" fmla="*/ 6683007 h 6858000"/>
              <a:gd name="connsiteX569" fmla="*/ 3010447 w 12188651"/>
              <a:gd name="connsiteY569" fmla="*/ 6489859 h 6858000"/>
              <a:gd name="connsiteX570" fmla="*/ 3010447 w 12188651"/>
              <a:gd name="connsiteY570" fmla="*/ 6103545 h 6858000"/>
              <a:gd name="connsiteX571" fmla="*/ 1290088 w 12188651"/>
              <a:gd name="connsiteY571" fmla="*/ 5910397 h 6858000"/>
              <a:gd name="connsiteX572" fmla="*/ 1623838 w 12188651"/>
              <a:gd name="connsiteY572" fmla="*/ 6103545 h 6858000"/>
              <a:gd name="connsiteX573" fmla="*/ 1623838 w 12188651"/>
              <a:gd name="connsiteY573" fmla="*/ 6489859 h 6858000"/>
              <a:gd name="connsiteX574" fmla="*/ 1290218 w 12188651"/>
              <a:gd name="connsiteY574" fmla="*/ 6683007 h 6858000"/>
              <a:gd name="connsiteX575" fmla="*/ 956469 w 12188651"/>
              <a:gd name="connsiteY575" fmla="*/ 6489859 h 6858000"/>
              <a:gd name="connsiteX576" fmla="*/ 956469 w 12188651"/>
              <a:gd name="connsiteY576" fmla="*/ 6103545 h 6858000"/>
              <a:gd name="connsiteX577" fmla="*/ 5397866 w 12188651"/>
              <a:gd name="connsiteY577" fmla="*/ 5910393 h 6858000"/>
              <a:gd name="connsiteX578" fmla="*/ 5731614 w 12188651"/>
              <a:gd name="connsiteY578" fmla="*/ 6103545 h 6858000"/>
              <a:gd name="connsiteX579" fmla="*/ 5731614 w 12188651"/>
              <a:gd name="connsiteY579" fmla="*/ 6489859 h 6858000"/>
              <a:gd name="connsiteX580" fmla="*/ 5398000 w 12188651"/>
              <a:gd name="connsiteY580" fmla="*/ 6683010 h 6858000"/>
              <a:gd name="connsiteX581" fmla="*/ 5064265 w 12188651"/>
              <a:gd name="connsiteY581" fmla="*/ 6489859 h 6858000"/>
              <a:gd name="connsiteX582" fmla="*/ 5064265 w 12188651"/>
              <a:gd name="connsiteY582" fmla="*/ 6103545 h 6858000"/>
              <a:gd name="connsiteX583" fmla="*/ 11559549 w 12188651"/>
              <a:gd name="connsiteY583" fmla="*/ 5910389 h 6858000"/>
              <a:gd name="connsiteX584" fmla="*/ 11893312 w 12188651"/>
              <a:gd name="connsiteY584" fmla="*/ 6103545 h 6858000"/>
              <a:gd name="connsiteX585" fmla="*/ 11893312 w 12188651"/>
              <a:gd name="connsiteY585" fmla="*/ 6489859 h 6858000"/>
              <a:gd name="connsiteX586" fmla="*/ 11559679 w 12188651"/>
              <a:gd name="connsiteY586" fmla="*/ 6683015 h 6858000"/>
              <a:gd name="connsiteX587" fmla="*/ 11225916 w 12188651"/>
              <a:gd name="connsiteY587" fmla="*/ 6489859 h 6858000"/>
              <a:gd name="connsiteX588" fmla="*/ 11225916 w 12188651"/>
              <a:gd name="connsiteY588" fmla="*/ 6103545 h 6858000"/>
              <a:gd name="connsiteX589" fmla="*/ 9505601 w 12188651"/>
              <a:gd name="connsiteY589" fmla="*/ 5910389 h 6858000"/>
              <a:gd name="connsiteX590" fmla="*/ 9839364 w 12188651"/>
              <a:gd name="connsiteY590" fmla="*/ 6103545 h 6858000"/>
              <a:gd name="connsiteX591" fmla="*/ 9839364 w 12188651"/>
              <a:gd name="connsiteY591" fmla="*/ 6489859 h 6858000"/>
              <a:gd name="connsiteX592" fmla="*/ 9505732 w 12188651"/>
              <a:gd name="connsiteY592" fmla="*/ 6683015 h 6858000"/>
              <a:gd name="connsiteX593" fmla="*/ 9171969 w 12188651"/>
              <a:gd name="connsiteY593" fmla="*/ 6489859 h 6858000"/>
              <a:gd name="connsiteX594" fmla="*/ 9171969 w 12188651"/>
              <a:gd name="connsiteY594" fmla="*/ 6103545 h 6858000"/>
              <a:gd name="connsiteX595" fmla="*/ 7451785 w 12188651"/>
              <a:gd name="connsiteY595" fmla="*/ 5910389 h 6858000"/>
              <a:gd name="connsiteX596" fmla="*/ 7785548 w 12188651"/>
              <a:gd name="connsiteY596" fmla="*/ 6103545 h 6858000"/>
              <a:gd name="connsiteX597" fmla="*/ 7785548 w 12188651"/>
              <a:gd name="connsiteY597" fmla="*/ 6489859 h 6858000"/>
              <a:gd name="connsiteX598" fmla="*/ 7451915 w 12188651"/>
              <a:gd name="connsiteY598" fmla="*/ 6683015 h 6858000"/>
              <a:gd name="connsiteX599" fmla="*/ 7118150 w 12188651"/>
              <a:gd name="connsiteY599" fmla="*/ 6489859 h 6858000"/>
              <a:gd name="connsiteX600" fmla="*/ 7118150 w 12188651"/>
              <a:gd name="connsiteY600" fmla="*/ 6103545 h 6858000"/>
              <a:gd name="connsiteX601" fmla="*/ 4029112 w 12188651"/>
              <a:gd name="connsiteY601" fmla="*/ 5910002 h 6858000"/>
              <a:gd name="connsiteX602" fmla="*/ 4213228 w 12188651"/>
              <a:gd name="connsiteY602" fmla="*/ 6016569 h 6858000"/>
              <a:gd name="connsiteX603" fmla="*/ 4362832 w 12188651"/>
              <a:gd name="connsiteY603" fmla="*/ 6103157 h 6858000"/>
              <a:gd name="connsiteX604" fmla="*/ 4362832 w 12188651"/>
              <a:gd name="connsiteY604" fmla="*/ 6489340 h 6858000"/>
              <a:gd name="connsiteX605" fmla="*/ 4029112 w 12188651"/>
              <a:gd name="connsiteY605" fmla="*/ 6682495 h 6858000"/>
              <a:gd name="connsiteX606" fmla="*/ 3695358 w 12188651"/>
              <a:gd name="connsiteY606" fmla="*/ 6489340 h 6858000"/>
              <a:gd name="connsiteX607" fmla="*/ 3695358 w 12188651"/>
              <a:gd name="connsiteY607" fmla="*/ 6103157 h 6858000"/>
              <a:gd name="connsiteX608" fmla="*/ 1975138 w 12188651"/>
              <a:gd name="connsiteY608" fmla="*/ 5910002 h 6858000"/>
              <a:gd name="connsiteX609" fmla="*/ 2308904 w 12188651"/>
              <a:gd name="connsiteY609" fmla="*/ 6103157 h 6858000"/>
              <a:gd name="connsiteX610" fmla="*/ 2308904 w 12188651"/>
              <a:gd name="connsiteY610" fmla="*/ 6489340 h 6858000"/>
              <a:gd name="connsiteX611" fmla="*/ 1975138 w 12188651"/>
              <a:gd name="connsiteY611" fmla="*/ 6682495 h 6858000"/>
              <a:gd name="connsiteX612" fmla="*/ 1641379 w 12188651"/>
              <a:gd name="connsiteY612" fmla="*/ 6489340 h 6858000"/>
              <a:gd name="connsiteX613" fmla="*/ 1641379 w 12188651"/>
              <a:gd name="connsiteY613" fmla="*/ 6103157 h 6858000"/>
              <a:gd name="connsiteX614" fmla="*/ 10190640 w 12188651"/>
              <a:gd name="connsiteY614" fmla="*/ 5910001 h 6858000"/>
              <a:gd name="connsiteX615" fmla="*/ 10524404 w 12188651"/>
              <a:gd name="connsiteY615" fmla="*/ 6103158 h 6858000"/>
              <a:gd name="connsiteX616" fmla="*/ 10524404 w 12188651"/>
              <a:gd name="connsiteY616" fmla="*/ 6489340 h 6858000"/>
              <a:gd name="connsiteX617" fmla="*/ 10190640 w 12188651"/>
              <a:gd name="connsiteY617" fmla="*/ 6682497 h 6858000"/>
              <a:gd name="connsiteX618" fmla="*/ 9856876 w 12188651"/>
              <a:gd name="connsiteY618" fmla="*/ 6489340 h 6858000"/>
              <a:gd name="connsiteX619" fmla="*/ 9856876 w 12188651"/>
              <a:gd name="connsiteY619" fmla="*/ 6103158 h 6858000"/>
              <a:gd name="connsiteX620" fmla="*/ 8136693 w 12188651"/>
              <a:gd name="connsiteY620" fmla="*/ 5910001 h 6858000"/>
              <a:gd name="connsiteX621" fmla="*/ 8470456 w 12188651"/>
              <a:gd name="connsiteY621" fmla="*/ 6103158 h 6858000"/>
              <a:gd name="connsiteX622" fmla="*/ 8470456 w 12188651"/>
              <a:gd name="connsiteY622" fmla="*/ 6489340 h 6858000"/>
              <a:gd name="connsiteX623" fmla="*/ 8136693 w 12188651"/>
              <a:gd name="connsiteY623" fmla="*/ 6682497 h 6858000"/>
              <a:gd name="connsiteX624" fmla="*/ 7802930 w 12188651"/>
              <a:gd name="connsiteY624" fmla="*/ 6489340 h 6858000"/>
              <a:gd name="connsiteX625" fmla="*/ 7802930 w 12188651"/>
              <a:gd name="connsiteY625" fmla="*/ 6103158 h 6858000"/>
              <a:gd name="connsiteX626" fmla="*/ 6082876 w 12188651"/>
              <a:gd name="connsiteY626" fmla="*/ 5910001 h 6858000"/>
              <a:gd name="connsiteX627" fmla="*/ 6416638 w 12188651"/>
              <a:gd name="connsiteY627" fmla="*/ 6103158 h 6858000"/>
              <a:gd name="connsiteX628" fmla="*/ 6416638 w 12188651"/>
              <a:gd name="connsiteY628" fmla="*/ 6489340 h 6858000"/>
              <a:gd name="connsiteX629" fmla="*/ 6082876 w 12188651"/>
              <a:gd name="connsiteY629" fmla="*/ 6682497 h 6858000"/>
              <a:gd name="connsiteX630" fmla="*/ 5749136 w 12188651"/>
              <a:gd name="connsiteY630" fmla="*/ 6489340 h 6858000"/>
              <a:gd name="connsiteX631" fmla="*/ 5749136 w 12188651"/>
              <a:gd name="connsiteY631" fmla="*/ 6103157 h 6858000"/>
              <a:gd name="connsiteX632" fmla="*/ 3687309 w 12188651"/>
              <a:gd name="connsiteY632" fmla="*/ 5712175 h 6858000"/>
              <a:gd name="connsiteX633" fmla="*/ 4012766 w 12188651"/>
              <a:gd name="connsiteY633" fmla="*/ 5900530 h 6858000"/>
              <a:gd name="connsiteX634" fmla="*/ 3687182 w 12188651"/>
              <a:gd name="connsiteY634" fmla="*/ 6088884 h 6858000"/>
              <a:gd name="connsiteX635" fmla="*/ 3361724 w 12188651"/>
              <a:gd name="connsiteY635" fmla="*/ 5900530 h 6858000"/>
              <a:gd name="connsiteX636" fmla="*/ 1633334 w 12188651"/>
              <a:gd name="connsiteY636" fmla="*/ 5712175 h 6858000"/>
              <a:gd name="connsiteX637" fmla="*/ 1958791 w 12188651"/>
              <a:gd name="connsiteY637" fmla="*/ 5900530 h 6858000"/>
              <a:gd name="connsiteX638" fmla="*/ 1633203 w 12188651"/>
              <a:gd name="connsiteY638" fmla="*/ 6088884 h 6858000"/>
              <a:gd name="connsiteX639" fmla="*/ 1307745 w 12188651"/>
              <a:gd name="connsiteY639" fmla="*/ 5900530 h 6858000"/>
              <a:gd name="connsiteX640" fmla="*/ 11902654 w 12188651"/>
              <a:gd name="connsiteY640" fmla="*/ 5712174 h 6858000"/>
              <a:gd name="connsiteX641" fmla="*/ 12188651 w 12188651"/>
              <a:gd name="connsiteY641" fmla="*/ 5877692 h 6858000"/>
              <a:gd name="connsiteX642" fmla="*/ 12188651 w 12188651"/>
              <a:gd name="connsiteY642" fmla="*/ 5923360 h 6858000"/>
              <a:gd name="connsiteX643" fmla="*/ 11902524 w 12188651"/>
              <a:gd name="connsiteY643" fmla="*/ 6088886 h 6858000"/>
              <a:gd name="connsiteX644" fmla="*/ 11577062 w 12188651"/>
              <a:gd name="connsiteY644" fmla="*/ 5900531 h 6858000"/>
              <a:gd name="connsiteX645" fmla="*/ 9848833 w 12188651"/>
              <a:gd name="connsiteY645" fmla="*/ 5712174 h 6858000"/>
              <a:gd name="connsiteX646" fmla="*/ 10174295 w 12188651"/>
              <a:gd name="connsiteY646" fmla="*/ 5900531 h 6858000"/>
              <a:gd name="connsiteX647" fmla="*/ 9848703 w 12188651"/>
              <a:gd name="connsiteY647" fmla="*/ 6088886 h 6858000"/>
              <a:gd name="connsiteX648" fmla="*/ 9523243 w 12188651"/>
              <a:gd name="connsiteY648" fmla="*/ 5900531 h 6858000"/>
              <a:gd name="connsiteX649" fmla="*/ 7794888 w 12188651"/>
              <a:gd name="connsiteY649" fmla="*/ 5712174 h 6858000"/>
              <a:gd name="connsiteX650" fmla="*/ 8120347 w 12188651"/>
              <a:gd name="connsiteY650" fmla="*/ 5900531 h 6858000"/>
              <a:gd name="connsiteX651" fmla="*/ 7794758 w 12188651"/>
              <a:gd name="connsiteY651" fmla="*/ 6088886 h 6858000"/>
              <a:gd name="connsiteX652" fmla="*/ 7469298 w 12188651"/>
              <a:gd name="connsiteY652" fmla="*/ 5900531 h 6858000"/>
              <a:gd name="connsiteX653" fmla="*/ 5741090 w 12188651"/>
              <a:gd name="connsiteY653" fmla="*/ 5712174 h 6858000"/>
              <a:gd name="connsiteX654" fmla="*/ 6066531 w 12188651"/>
              <a:gd name="connsiteY654" fmla="*/ 5900531 h 6858000"/>
              <a:gd name="connsiteX655" fmla="*/ 5740963 w 12188651"/>
              <a:gd name="connsiteY655" fmla="*/ 6088886 h 6858000"/>
              <a:gd name="connsiteX656" fmla="*/ 5415520 w 12188651"/>
              <a:gd name="connsiteY656" fmla="*/ 5900530 h 6858000"/>
              <a:gd name="connsiteX657" fmla="*/ 5655997 w 12188651"/>
              <a:gd name="connsiteY657" fmla="*/ 5761405 h 6858000"/>
              <a:gd name="connsiteX658" fmla="*/ 3106034 w 12188651"/>
              <a:gd name="connsiteY658" fmla="*/ 5548339 h 6858000"/>
              <a:gd name="connsiteX659" fmla="*/ 3133652 w 12188651"/>
              <a:gd name="connsiteY659" fmla="*/ 5559879 h 6858000"/>
              <a:gd name="connsiteX660" fmla="*/ 3212133 w 12188651"/>
              <a:gd name="connsiteY660" fmla="*/ 5638491 h 6858000"/>
              <a:gd name="connsiteX661" fmla="*/ 3223677 w 12188651"/>
              <a:gd name="connsiteY661" fmla="*/ 5666252 h 6858000"/>
              <a:gd name="connsiteX662" fmla="*/ 3212262 w 12188651"/>
              <a:gd name="connsiteY662" fmla="*/ 5694012 h 6858000"/>
              <a:gd name="connsiteX663" fmla="*/ 3002260 w 12188651"/>
              <a:gd name="connsiteY663" fmla="*/ 5904411 h 6858000"/>
              <a:gd name="connsiteX664" fmla="*/ 2792261 w 12188651"/>
              <a:gd name="connsiteY664" fmla="*/ 5694012 h 6858000"/>
              <a:gd name="connsiteX665" fmla="*/ 2792261 w 12188651"/>
              <a:gd name="connsiteY665" fmla="*/ 5638621 h 6858000"/>
              <a:gd name="connsiteX666" fmla="*/ 2870738 w 12188651"/>
              <a:gd name="connsiteY666" fmla="*/ 5559879 h 6858000"/>
              <a:gd name="connsiteX667" fmla="*/ 2898359 w 12188651"/>
              <a:gd name="connsiteY667" fmla="*/ 5548340 h 6858000"/>
              <a:gd name="connsiteX668" fmla="*/ 2926105 w 12188651"/>
              <a:gd name="connsiteY668" fmla="*/ 5559879 h 6858000"/>
              <a:gd name="connsiteX669" fmla="*/ 2990706 w 12188651"/>
              <a:gd name="connsiteY669" fmla="*/ 5624611 h 6858000"/>
              <a:gd name="connsiteX670" fmla="*/ 3002248 w 12188651"/>
              <a:gd name="connsiteY670" fmla="*/ 5636286 h 6858000"/>
              <a:gd name="connsiteX671" fmla="*/ 3002260 w 12188651"/>
              <a:gd name="connsiteY671" fmla="*/ 5636275 h 6858000"/>
              <a:gd name="connsiteX672" fmla="*/ 3002272 w 12188651"/>
              <a:gd name="connsiteY672" fmla="*/ 5636286 h 6858000"/>
              <a:gd name="connsiteX673" fmla="*/ 3013817 w 12188651"/>
              <a:gd name="connsiteY673" fmla="*/ 5624611 h 6858000"/>
              <a:gd name="connsiteX674" fmla="*/ 3078286 w 12188651"/>
              <a:gd name="connsiteY674" fmla="*/ 5559879 h 6858000"/>
              <a:gd name="connsiteX675" fmla="*/ 844380 w 12188651"/>
              <a:gd name="connsiteY675" fmla="*/ 5548339 h 6858000"/>
              <a:gd name="connsiteX676" fmla="*/ 872128 w 12188651"/>
              <a:gd name="connsiteY676" fmla="*/ 5559879 h 6858000"/>
              <a:gd name="connsiteX677" fmla="*/ 936727 w 12188651"/>
              <a:gd name="connsiteY677" fmla="*/ 5624611 h 6858000"/>
              <a:gd name="connsiteX678" fmla="*/ 948272 w 12188651"/>
              <a:gd name="connsiteY678" fmla="*/ 5636286 h 6858000"/>
              <a:gd name="connsiteX679" fmla="*/ 948285 w 12188651"/>
              <a:gd name="connsiteY679" fmla="*/ 5636274 h 6858000"/>
              <a:gd name="connsiteX680" fmla="*/ 948296 w 12188651"/>
              <a:gd name="connsiteY680" fmla="*/ 5636286 h 6858000"/>
              <a:gd name="connsiteX681" fmla="*/ 959841 w 12188651"/>
              <a:gd name="connsiteY681" fmla="*/ 5624611 h 6858000"/>
              <a:gd name="connsiteX682" fmla="*/ 1024310 w 12188651"/>
              <a:gd name="connsiteY682" fmla="*/ 5559879 h 6858000"/>
              <a:gd name="connsiteX683" fmla="*/ 1052058 w 12188651"/>
              <a:gd name="connsiteY683" fmla="*/ 5548339 h 6858000"/>
              <a:gd name="connsiteX684" fmla="*/ 1079676 w 12188651"/>
              <a:gd name="connsiteY684" fmla="*/ 5559879 h 6858000"/>
              <a:gd name="connsiteX685" fmla="*/ 1158155 w 12188651"/>
              <a:gd name="connsiteY685" fmla="*/ 5638491 h 6858000"/>
              <a:gd name="connsiteX686" fmla="*/ 1169700 w 12188651"/>
              <a:gd name="connsiteY686" fmla="*/ 5666252 h 6858000"/>
              <a:gd name="connsiteX687" fmla="*/ 1158286 w 12188651"/>
              <a:gd name="connsiteY687" fmla="*/ 5694012 h 6858000"/>
              <a:gd name="connsiteX688" fmla="*/ 948285 w 12188651"/>
              <a:gd name="connsiteY688" fmla="*/ 5904410 h 6858000"/>
              <a:gd name="connsiteX689" fmla="*/ 738284 w 12188651"/>
              <a:gd name="connsiteY689" fmla="*/ 5694012 h 6858000"/>
              <a:gd name="connsiteX690" fmla="*/ 738284 w 12188651"/>
              <a:gd name="connsiteY690" fmla="*/ 5638621 h 6858000"/>
              <a:gd name="connsiteX691" fmla="*/ 816760 w 12188651"/>
              <a:gd name="connsiteY691" fmla="*/ 5559879 h 6858000"/>
              <a:gd name="connsiteX692" fmla="*/ 4952154 w 12188651"/>
              <a:gd name="connsiteY692" fmla="*/ 5548336 h 6858000"/>
              <a:gd name="connsiteX693" fmla="*/ 4979914 w 12188651"/>
              <a:gd name="connsiteY693" fmla="*/ 5559879 h 6858000"/>
              <a:gd name="connsiteX694" fmla="*/ 5044521 w 12188651"/>
              <a:gd name="connsiteY694" fmla="*/ 5624611 h 6858000"/>
              <a:gd name="connsiteX695" fmla="*/ 5056064 w 12188651"/>
              <a:gd name="connsiteY695" fmla="*/ 5636286 h 6858000"/>
              <a:gd name="connsiteX696" fmla="*/ 5056083 w 12188651"/>
              <a:gd name="connsiteY696" fmla="*/ 5636276 h 6858000"/>
              <a:gd name="connsiteX697" fmla="*/ 5056087 w 12188651"/>
              <a:gd name="connsiteY697" fmla="*/ 5636286 h 6858000"/>
              <a:gd name="connsiteX698" fmla="*/ 5067633 w 12188651"/>
              <a:gd name="connsiteY698" fmla="*/ 5624611 h 6858000"/>
              <a:gd name="connsiteX699" fmla="*/ 5132089 w 12188651"/>
              <a:gd name="connsiteY699" fmla="*/ 5559879 h 6858000"/>
              <a:gd name="connsiteX700" fmla="*/ 5159834 w 12188651"/>
              <a:gd name="connsiteY700" fmla="*/ 5548336 h 6858000"/>
              <a:gd name="connsiteX701" fmla="*/ 5187464 w 12188651"/>
              <a:gd name="connsiteY701" fmla="*/ 5559879 h 6858000"/>
              <a:gd name="connsiteX702" fmla="*/ 5265932 w 12188651"/>
              <a:gd name="connsiteY702" fmla="*/ 5638491 h 6858000"/>
              <a:gd name="connsiteX703" fmla="*/ 5277479 w 12188651"/>
              <a:gd name="connsiteY703" fmla="*/ 5666252 h 6858000"/>
              <a:gd name="connsiteX704" fmla="*/ 5266071 w 12188651"/>
              <a:gd name="connsiteY704" fmla="*/ 5694012 h 6858000"/>
              <a:gd name="connsiteX705" fmla="*/ 5056083 w 12188651"/>
              <a:gd name="connsiteY705" fmla="*/ 5904412 h 6858000"/>
              <a:gd name="connsiteX706" fmla="*/ 4846044 w 12188651"/>
              <a:gd name="connsiteY706" fmla="*/ 5694012 h 6858000"/>
              <a:gd name="connsiteX707" fmla="*/ 4846044 w 12188651"/>
              <a:gd name="connsiteY707" fmla="*/ 5638621 h 6858000"/>
              <a:gd name="connsiteX708" fmla="*/ 4924518 w 12188651"/>
              <a:gd name="connsiteY708" fmla="*/ 5559879 h 6858000"/>
              <a:gd name="connsiteX709" fmla="*/ 11113840 w 12188651"/>
              <a:gd name="connsiteY709" fmla="*/ 5548334 h 6858000"/>
              <a:gd name="connsiteX710" fmla="*/ 11141600 w 12188651"/>
              <a:gd name="connsiteY710" fmla="*/ 5559879 h 6858000"/>
              <a:gd name="connsiteX711" fmla="*/ 11206199 w 12188651"/>
              <a:gd name="connsiteY711" fmla="*/ 5624611 h 6858000"/>
              <a:gd name="connsiteX712" fmla="*/ 11217744 w 12188651"/>
              <a:gd name="connsiteY712" fmla="*/ 5636286 h 6858000"/>
              <a:gd name="connsiteX713" fmla="*/ 11229289 w 12188651"/>
              <a:gd name="connsiteY713" fmla="*/ 5624611 h 6858000"/>
              <a:gd name="connsiteX714" fmla="*/ 11293758 w 12188651"/>
              <a:gd name="connsiteY714" fmla="*/ 5559879 h 6858000"/>
              <a:gd name="connsiteX715" fmla="*/ 11321517 w 12188651"/>
              <a:gd name="connsiteY715" fmla="*/ 5548334 h 6858000"/>
              <a:gd name="connsiteX716" fmla="*/ 11349147 w 12188651"/>
              <a:gd name="connsiteY716" fmla="*/ 5559879 h 6858000"/>
              <a:gd name="connsiteX717" fmla="*/ 11427627 w 12188651"/>
              <a:gd name="connsiteY717" fmla="*/ 5638491 h 6858000"/>
              <a:gd name="connsiteX718" fmla="*/ 11439172 w 12188651"/>
              <a:gd name="connsiteY718" fmla="*/ 5666252 h 6858000"/>
              <a:gd name="connsiteX719" fmla="*/ 11427757 w 12188651"/>
              <a:gd name="connsiteY719" fmla="*/ 5694012 h 6858000"/>
              <a:gd name="connsiteX720" fmla="*/ 11217744 w 12188651"/>
              <a:gd name="connsiteY720" fmla="*/ 5904422 h 6858000"/>
              <a:gd name="connsiteX721" fmla="*/ 11007731 w 12188651"/>
              <a:gd name="connsiteY721" fmla="*/ 5694012 h 6858000"/>
              <a:gd name="connsiteX722" fmla="*/ 11007731 w 12188651"/>
              <a:gd name="connsiteY722" fmla="*/ 5638621 h 6858000"/>
              <a:gd name="connsiteX723" fmla="*/ 11086210 w 12188651"/>
              <a:gd name="connsiteY723" fmla="*/ 5559879 h 6858000"/>
              <a:gd name="connsiteX724" fmla="*/ 11113840 w 12188651"/>
              <a:gd name="connsiteY724" fmla="*/ 5548334 h 6858000"/>
              <a:gd name="connsiteX725" fmla="*/ 9059892 w 12188651"/>
              <a:gd name="connsiteY725" fmla="*/ 5548334 h 6858000"/>
              <a:gd name="connsiteX726" fmla="*/ 9087652 w 12188651"/>
              <a:gd name="connsiteY726" fmla="*/ 5559879 h 6858000"/>
              <a:gd name="connsiteX727" fmla="*/ 9152251 w 12188651"/>
              <a:gd name="connsiteY727" fmla="*/ 5624611 h 6858000"/>
              <a:gd name="connsiteX728" fmla="*/ 9163796 w 12188651"/>
              <a:gd name="connsiteY728" fmla="*/ 5636286 h 6858000"/>
              <a:gd name="connsiteX729" fmla="*/ 9163797 w 12188651"/>
              <a:gd name="connsiteY729" fmla="*/ 5636286 h 6858000"/>
              <a:gd name="connsiteX730" fmla="*/ 9175342 w 12188651"/>
              <a:gd name="connsiteY730" fmla="*/ 5624611 h 6858000"/>
              <a:gd name="connsiteX731" fmla="*/ 9239811 w 12188651"/>
              <a:gd name="connsiteY731" fmla="*/ 5559879 h 6858000"/>
              <a:gd name="connsiteX732" fmla="*/ 9267570 w 12188651"/>
              <a:gd name="connsiteY732" fmla="*/ 5548334 h 6858000"/>
              <a:gd name="connsiteX733" fmla="*/ 9295200 w 12188651"/>
              <a:gd name="connsiteY733" fmla="*/ 5559879 h 6858000"/>
              <a:gd name="connsiteX734" fmla="*/ 9373678 w 12188651"/>
              <a:gd name="connsiteY734" fmla="*/ 5638491 h 6858000"/>
              <a:gd name="connsiteX735" fmla="*/ 9385223 w 12188651"/>
              <a:gd name="connsiteY735" fmla="*/ 5666252 h 6858000"/>
              <a:gd name="connsiteX736" fmla="*/ 9373808 w 12188651"/>
              <a:gd name="connsiteY736" fmla="*/ 5694012 h 6858000"/>
              <a:gd name="connsiteX737" fmla="*/ 9163797 w 12188651"/>
              <a:gd name="connsiteY737" fmla="*/ 5904422 h 6858000"/>
              <a:gd name="connsiteX738" fmla="*/ 8953784 w 12188651"/>
              <a:gd name="connsiteY738" fmla="*/ 5694012 h 6858000"/>
              <a:gd name="connsiteX739" fmla="*/ 8953784 w 12188651"/>
              <a:gd name="connsiteY739" fmla="*/ 5638621 h 6858000"/>
              <a:gd name="connsiteX740" fmla="*/ 9032264 w 12188651"/>
              <a:gd name="connsiteY740" fmla="*/ 5559879 h 6858000"/>
              <a:gd name="connsiteX741" fmla="*/ 7006076 w 12188651"/>
              <a:gd name="connsiteY741" fmla="*/ 5548334 h 6858000"/>
              <a:gd name="connsiteX742" fmla="*/ 7033834 w 12188651"/>
              <a:gd name="connsiteY742" fmla="*/ 5559879 h 6858000"/>
              <a:gd name="connsiteX743" fmla="*/ 7098434 w 12188651"/>
              <a:gd name="connsiteY743" fmla="*/ 5624611 h 6858000"/>
              <a:gd name="connsiteX744" fmla="*/ 7109978 w 12188651"/>
              <a:gd name="connsiteY744" fmla="*/ 5636286 h 6858000"/>
              <a:gd name="connsiteX745" fmla="*/ 7121523 w 12188651"/>
              <a:gd name="connsiteY745" fmla="*/ 5624611 h 6858000"/>
              <a:gd name="connsiteX746" fmla="*/ 7185994 w 12188651"/>
              <a:gd name="connsiteY746" fmla="*/ 5559879 h 6858000"/>
              <a:gd name="connsiteX747" fmla="*/ 7213751 w 12188651"/>
              <a:gd name="connsiteY747" fmla="*/ 5548334 h 6858000"/>
              <a:gd name="connsiteX748" fmla="*/ 7241381 w 12188651"/>
              <a:gd name="connsiteY748" fmla="*/ 5559879 h 6858000"/>
              <a:gd name="connsiteX749" fmla="*/ 7319862 w 12188651"/>
              <a:gd name="connsiteY749" fmla="*/ 5638491 h 6858000"/>
              <a:gd name="connsiteX750" fmla="*/ 7331407 w 12188651"/>
              <a:gd name="connsiteY750" fmla="*/ 5666252 h 6858000"/>
              <a:gd name="connsiteX751" fmla="*/ 7319992 w 12188651"/>
              <a:gd name="connsiteY751" fmla="*/ 5694012 h 6858000"/>
              <a:gd name="connsiteX752" fmla="*/ 7109978 w 12188651"/>
              <a:gd name="connsiteY752" fmla="*/ 5904422 h 6858000"/>
              <a:gd name="connsiteX753" fmla="*/ 6899966 w 12188651"/>
              <a:gd name="connsiteY753" fmla="*/ 5694012 h 6858000"/>
              <a:gd name="connsiteX754" fmla="*/ 6899966 w 12188651"/>
              <a:gd name="connsiteY754" fmla="*/ 5638621 h 6858000"/>
              <a:gd name="connsiteX755" fmla="*/ 6978446 w 12188651"/>
              <a:gd name="connsiteY755" fmla="*/ 5559879 h 6858000"/>
              <a:gd name="connsiteX756" fmla="*/ 7006076 w 12188651"/>
              <a:gd name="connsiteY756" fmla="*/ 5548334 h 6858000"/>
              <a:gd name="connsiteX757" fmla="*/ 11113840 w 12188651"/>
              <a:gd name="connsiteY757" fmla="*/ 5531859 h 6858000"/>
              <a:gd name="connsiteX758" fmla="*/ 11074665 w 12188651"/>
              <a:gd name="connsiteY758" fmla="*/ 5548204 h 6858000"/>
              <a:gd name="connsiteX759" fmla="*/ 10996186 w 12188651"/>
              <a:gd name="connsiteY759" fmla="*/ 5626946 h 6858000"/>
              <a:gd name="connsiteX760" fmla="*/ 10996186 w 12188651"/>
              <a:gd name="connsiteY760" fmla="*/ 5705558 h 6858000"/>
              <a:gd name="connsiteX761" fmla="*/ 11217744 w 12188651"/>
              <a:gd name="connsiteY761" fmla="*/ 5927642 h 6858000"/>
              <a:gd name="connsiteX762" fmla="*/ 11439301 w 12188651"/>
              <a:gd name="connsiteY762" fmla="*/ 5705558 h 6858000"/>
              <a:gd name="connsiteX763" fmla="*/ 11439301 w 12188651"/>
              <a:gd name="connsiteY763" fmla="*/ 5626946 h 6858000"/>
              <a:gd name="connsiteX764" fmla="*/ 11360822 w 12188651"/>
              <a:gd name="connsiteY764" fmla="*/ 5548334 h 6858000"/>
              <a:gd name="connsiteX765" fmla="*/ 11321647 w 12188651"/>
              <a:gd name="connsiteY765" fmla="*/ 5531989 h 6858000"/>
              <a:gd name="connsiteX766" fmla="*/ 11321517 w 12188651"/>
              <a:gd name="connsiteY766" fmla="*/ 5531859 h 6858000"/>
              <a:gd name="connsiteX767" fmla="*/ 11282213 w 12188651"/>
              <a:gd name="connsiteY767" fmla="*/ 5548334 h 6858000"/>
              <a:gd name="connsiteX768" fmla="*/ 11217744 w 12188651"/>
              <a:gd name="connsiteY768" fmla="*/ 5612936 h 6858000"/>
              <a:gd name="connsiteX769" fmla="*/ 11153145 w 12188651"/>
              <a:gd name="connsiteY769" fmla="*/ 5548204 h 6858000"/>
              <a:gd name="connsiteX770" fmla="*/ 11113840 w 12188651"/>
              <a:gd name="connsiteY770" fmla="*/ 5531859 h 6858000"/>
              <a:gd name="connsiteX771" fmla="*/ 9059892 w 12188651"/>
              <a:gd name="connsiteY771" fmla="*/ 5531859 h 6858000"/>
              <a:gd name="connsiteX772" fmla="*/ 9020717 w 12188651"/>
              <a:gd name="connsiteY772" fmla="*/ 5548204 h 6858000"/>
              <a:gd name="connsiteX773" fmla="*/ 8942238 w 12188651"/>
              <a:gd name="connsiteY773" fmla="*/ 5626946 h 6858000"/>
              <a:gd name="connsiteX774" fmla="*/ 8942238 w 12188651"/>
              <a:gd name="connsiteY774" fmla="*/ 5705558 h 6858000"/>
              <a:gd name="connsiteX775" fmla="*/ 9163796 w 12188651"/>
              <a:gd name="connsiteY775" fmla="*/ 5927642 h 6858000"/>
              <a:gd name="connsiteX776" fmla="*/ 9163797 w 12188651"/>
              <a:gd name="connsiteY776" fmla="*/ 5927642 h 6858000"/>
              <a:gd name="connsiteX777" fmla="*/ 9385354 w 12188651"/>
              <a:gd name="connsiteY777" fmla="*/ 5705558 h 6858000"/>
              <a:gd name="connsiteX778" fmla="*/ 9385354 w 12188651"/>
              <a:gd name="connsiteY778" fmla="*/ 5626946 h 6858000"/>
              <a:gd name="connsiteX779" fmla="*/ 9306876 w 12188651"/>
              <a:gd name="connsiteY779" fmla="*/ 5548334 h 6858000"/>
              <a:gd name="connsiteX780" fmla="*/ 9267701 w 12188651"/>
              <a:gd name="connsiteY780" fmla="*/ 5531989 h 6858000"/>
              <a:gd name="connsiteX781" fmla="*/ 9267571 w 12188651"/>
              <a:gd name="connsiteY781" fmla="*/ 5531859 h 6858000"/>
              <a:gd name="connsiteX782" fmla="*/ 9267570 w 12188651"/>
              <a:gd name="connsiteY782" fmla="*/ 5531859 h 6858000"/>
              <a:gd name="connsiteX783" fmla="*/ 9228265 w 12188651"/>
              <a:gd name="connsiteY783" fmla="*/ 5548334 h 6858000"/>
              <a:gd name="connsiteX784" fmla="*/ 9163797 w 12188651"/>
              <a:gd name="connsiteY784" fmla="*/ 5612936 h 6858000"/>
              <a:gd name="connsiteX785" fmla="*/ 9099198 w 12188651"/>
              <a:gd name="connsiteY785" fmla="*/ 5548204 h 6858000"/>
              <a:gd name="connsiteX786" fmla="*/ 9059893 w 12188651"/>
              <a:gd name="connsiteY786" fmla="*/ 5531859 h 6858000"/>
              <a:gd name="connsiteX787" fmla="*/ 7006076 w 12188651"/>
              <a:gd name="connsiteY787" fmla="*/ 5531859 h 6858000"/>
              <a:gd name="connsiteX788" fmla="*/ 6966901 w 12188651"/>
              <a:gd name="connsiteY788" fmla="*/ 5548204 h 6858000"/>
              <a:gd name="connsiteX789" fmla="*/ 6888421 w 12188651"/>
              <a:gd name="connsiteY789" fmla="*/ 5626946 h 6858000"/>
              <a:gd name="connsiteX790" fmla="*/ 6888421 w 12188651"/>
              <a:gd name="connsiteY790" fmla="*/ 5705558 h 6858000"/>
              <a:gd name="connsiteX791" fmla="*/ 7109978 w 12188651"/>
              <a:gd name="connsiteY791" fmla="*/ 5927642 h 6858000"/>
              <a:gd name="connsiteX792" fmla="*/ 7331537 w 12188651"/>
              <a:gd name="connsiteY792" fmla="*/ 5705558 h 6858000"/>
              <a:gd name="connsiteX793" fmla="*/ 7331537 w 12188651"/>
              <a:gd name="connsiteY793" fmla="*/ 5626946 h 6858000"/>
              <a:gd name="connsiteX794" fmla="*/ 7253057 w 12188651"/>
              <a:gd name="connsiteY794" fmla="*/ 5548334 h 6858000"/>
              <a:gd name="connsiteX795" fmla="*/ 7213882 w 12188651"/>
              <a:gd name="connsiteY795" fmla="*/ 5531989 h 6858000"/>
              <a:gd name="connsiteX796" fmla="*/ 7213751 w 12188651"/>
              <a:gd name="connsiteY796" fmla="*/ 5531859 h 6858000"/>
              <a:gd name="connsiteX797" fmla="*/ 7174449 w 12188651"/>
              <a:gd name="connsiteY797" fmla="*/ 5548334 h 6858000"/>
              <a:gd name="connsiteX798" fmla="*/ 7109978 w 12188651"/>
              <a:gd name="connsiteY798" fmla="*/ 5612936 h 6858000"/>
              <a:gd name="connsiteX799" fmla="*/ 7045379 w 12188651"/>
              <a:gd name="connsiteY799" fmla="*/ 5548204 h 6858000"/>
              <a:gd name="connsiteX800" fmla="*/ 7006076 w 12188651"/>
              <a:gd name="connsiteY800" fmla="*/ 5531859 h 6858000"/>
              <a:gd name="connsiteX801" fmla="*/ 4952148 w 12188651"/>
              <a:gd name="connsiteY801" fmla="*/ 5531859 h 6858000"/>
              <a:gd name="connsiteX802" fmla="*/ 4912971 w 12188651"/>
              <a:gd name="connsiteY802" fmla="*/ 5548204 h 6858000"/>
              <a:gd name="connsiteX803" fmla="*/ 4834495 w 12188651"/>
              <a:gd name="connsiteY803" fmla="*/ 5626946 h 6858000"/>
              <a:gd name="connsiteX804" fmla="*/ 4834495 w 12188651"/>
              <a:gd name="connsiteY804" fmla="*/ 5705558 h 6858000"/>
              <a:gd name="connsiteX805" fmla="*/ 5056064 w 12188651"/>
              <a:gd name="connsiteY805" fmla="*/ 5927642 h 6858000"/>
              <a:gd name="connsiteX806" fmla="*/ 5056083 w 12188651"/>
              <a:gd name="connsiteY806" fmla="*/ 5927632 h 6858000"/>
              <a:gd name="connsiteX807" fmla="*/ 5056087 w 12188651"/>
              <a:gd name="connsiteY807" fmla="*/ 5927642 h 6858000"/>
              <a:gd name="connsiteX808" fmla="*/ 5277615 w 12188651"/>
              <a:gd name="connsiteY808" fmla="*/ 5705558 h 6858000"/>
              <a:gd name="connsiteX809" fmla="*/ 5277615 w 12188651"/>
              <a:gd name="connsiteY809" fmla="*/ 5626946 h 6858000"/>
              <a:gd name="connsiteX810" fmla="*/ 5199142 w 12188651"/>
              <a:gd name="connsiteY810" fmla="*/ 5548334 h 6858000"/>
              <a:gd name="connsiteX811" fmla="*/ 5159966 w 12188651"/>
              <a:gd name="connsiteY811" fmla="*/ 5531989 h 6858000"/>
              <a:gd name="connsiteX812" fmla="*/ 5159837 w 12188651"/>
              <a:gd name="connsiteY812" fmla="*/ 5531859 h 6858000"/>
              <a:gd name="connsiteX813" fmla="*/ 5159824 w 12188651"/>
              <a:gd name="connsiteY813" fmla="*/ 5531861 h 6858000"/>
              <a:gd name="connsiteX814" fmla="*/ 5159824 w 12188651"/>
              <a:gd name="connsiteY814" fmla="*/ 5531859 h 6858000"/>
              <a:gd name="connsiteX815" fmla="*/ 5120536 w 12188651"/>
              <a:gd name="connsiteY815" fmla="*/ 5548334 h 6858000"/>
              <a:gd name="connsiteX816" fmla="*/ 5056083 w 12188651"/>
              <a:gd name="connsiteY816" fmla="*/ 5612926 h 6858000"/>
              <a:gd name="connsiteX817" fmla="*/ 4991467 w 12188651"/>
              <a:gd name="connsiteY817" fmla="*/ 5548204 h 6858000"/>
              <a:gd name="connsiteX818" fmla="*/ 4952157 w 12188651"/>
              <a:gd name="connsiteY818" fmla="*/ 5531859 h 6858000"/>
              <a:gd name="connsiteX819" fmla="*/ 4952154 w 12188651"/>
              <a:gd name="connsiteY819" fmla="*/ 5531860 h 6858000"/>
              <a:gd name="connsiteX820" fmla="*/ 2898346 w 12188651"/>
              <a:gd name="connsiteY820" fmla="*/ 5531859 h 6858000"/>
              <a:gd name="connsiteX821" fmla="*/ 2859169 w 12188651"/>
              <a:gd name="connsiteY821" fmla="*/ 5548204 h 6858000"/>
              <a:gd name="connsiteX822" fmla="*/ 2780693 w 12188651"/>
              <a:gd name="connsiteY822" fmla="*/ 5626946 h 6858000"/>
              <a:gd name="connsiteX823" fmla="*/ 2780693 w 12188651"/>
              <a:gd name="connsiteY823" fmla="*/ 5705558 h 6858000"/>
              <a:gd name="connsiteX824" fmla="*/ 3002248 w 12188651"/>
              <a:gd name="connsiteY824" fmla="*/ 5927642 h 6858000"/>
              <a:gd name="connsiteX825" fmla="*/ 3002260 w 12188651"/>
              <a:gd name="connsiteY825" fmla="*/ 5927631 h 6858000"/>
              <a:gd name="connsiteX826" fmla="*/ 3002272 w 12188651"/>
              <a:gd name="connsiteY826" fmla="*/ 5927642 h 6858000"/>
              <a:gd name="connsiteX827" fmla="*/ 3223830 w 12188651"/>
              <a:gd name="connsiteY827" fmla="*/ 5705558 h 6858000"/>
              <a:gd name="connsiteX828" fmla="*/ 3223830 w 12188651"/>
              <a:gd name="connsiteY828" fmla="*/ 5626946 h 6858000"/>
              <a:gd name="connsiteX829" fmla="*/ 3145351 w 12188651"/>
              <a:gd name="connsiteY829" fmla="*/ 5548334 h 6858000"/>
              <a:gd name="connsiteX830" fmla="*/ 3106175 w 12188651"/>
              <a:gd name="connsiteY830" fmla="*/ 5531989 h 6858000"/>
              <a:gd name="connsiteX831" fmla="*/ 3106046 w 12188651"/>
              <a:gd name="connsiteY831" fmla="*/ 5531859 h 6858000"/>
              <a:gd name="connsiteX832" fmla="*/ 3106028 w 12188651"/>
              <a:gd name="connsiteY832" fmla="*/ 5531863 h 6858000"/>
              <a:gd name="connsiteX833" fmla="*/ 3106023 w 12188651"/>
              <a:gd name="connsiteY833" fmla="*/ 5531859 h 6858000"/>
              <a:gd name="connsiteX834" fmla="*/ 3066719 w 12188651"/>
              <a:gd name="connsiteY834" fmla="*/ 5548334 h 6858000"/>
              <a:gd name="connsiteX835" fmla="*/ 3002260 w 12188651"/>
              <a:gd name="connsiteY835" fmla="*/ 5612925 h 6858000"/>
              <a:gd name="connsiteX836" fmla="*/ 2937674 w 12188651"/>
              <a:gd name="connsiteY836" fmla="*/ 5548204 h 6858000"/>
              <a:gd name="connsiteX837" fmla="*/ 2898371 w 12188651"/>
              <a:gd name="connsiteY837" fmla="*/ 5531859 h 6858000"/>
              <a:gd name="connsiteX838" fmla="*/ 2898359 w 12188651"/>
              <a:gd name="connsiteY838" fmla="*/ 5531862 h 6858000"/>
              <a:gd name="connsiteX839" fmla="*/ 844367 w 12188651"/>
              <a:gd name="connsiteY839" fmla="*/ 5531859 h 6858000"/>
              <a:gd name="connsiteX840" fmla="*/ 805194 w 12188651"/>
              <a:gd name="connsiteY840" fmla="*/ 5548204 h 6858000"/>
              <a:gd name="connsiteX841" fmla="*/ 726714 w 12188651"/>
              <a:gd name="connsiteY841" fmla="*/ 5626946 h 6858000"/>
              <a:gd name="connsiteX842" fmla="*/ 726714 w 12188651"/>
              <a:gd name="connsiteY842" fmla="*/ 5705558 h 6858000"/>
              <a:gd name="connsiteX843" fmla="*/ 948272 w 12188651"/>
              <a:gd name="connsiteY843" fmla="*/ 5927642 h 6858000"/>
              <a:gd name="connsiteX844" fmla="*/ 948285 w 12188651"/>
              <a:gd name="connsiteY844" fmla="*/ 5927630 h 6858000"/>
              <a:gd name="connsiteX845" fmla="*/ 948296 w 12188651"/>
              <a:gd name="connsiteY845" fmla="*/ 5927642 h 6858000"/>
              <a:gd name="connsiteX846" fmla="*/ 1169852 w 12188651"/>
              <a:gd name="connsiteY846" fmla="*/ 5705558 h 6858000"/>
              <a:gd name="connsiteX847" fmla="*/ 1169852 w 12188651"/>
              <a:gd name="connsiteY847" fmla="*/ 5626946 h 6858000"/>
              <a:gd name="connsiteX848" fmla="*/ 1091374 w 12188651"/>
              <a:gd name="connsiteY848" fmla="*/ 5548334 h 6858000"/>
              <a:gd name="connsiteX849" fmla="*/ 1052199 w 12188651"/>
              <a:gd name="connsiteY849" fmla="*/ 5531989 h 6858000"/>
              <a:gd name="connsiteX850" fmla="*/ 1052070 w 12188651"/>
              <a:gd name="connsiteY850" fmla="*/ 5531859 h 6858000"/>
              <a:gd name="connsiteX851" fmla="*/ 1052050 w 12188651"/>
              <a:gd name="connsiteY851" fmla="*/ 5531863 h 6858000"/>
              <a:gd name="connsiteX852" fmla="*/ 1052046 w 12188651"/>
              <a:gd name="connsiteY852" fmla="*/ 5531859 h 6858000"/>
              <a:gd name="connsiteX853" fmla="*/ 1012742 w 12188651"/>
              <a:gd name="connsiteY853" fmla="*/ 5548334 h 6858000"/>
              <a:gd name="connsiteX854" fmla="*/ 948285 w 12188651"/>
              <a:gd name="connsiteY854" fmla="*/ 5612924 h 6858000"/>
              <a:gd name="connsiteX855" fmla="*/ 883696 w 12188651"/>
              <a:gd name="connsiteY855" fmla="*/ 5548204 h 6858000"/>
              <a:gd name="connsiteX856" fmla="*/ 844392 w 12188651"/>
              <a:gd name="connsiteY856" fmla="*/ 5531859 h 6858000"/>
              <a:gd name="connsiteX857" fmla="*/ 844380 w 12188651"/>
              <a:gd name="connsiteY857" fmla="*/ 5531862 h 6858000"/>
              <a:gd name="connsiteX858" fmla="*/ 3695484 w 12188651"/>
              <a:gd name="connsiteY858" fmla="*/ 5321194 h 6858000"/>
              <a:gd name="connsiteX859" fmla="*/ 4020937 w 12188651"/>
              <a:gd name="connsiteY859" fmla="*/ 5509547 h 6858000"/>
              <a:gd name="connsiteX860" fmla="*/ 4020937 w 12188651"/>
              <a:gd name="connsiteY860" fmla="*/ 5886386 h 6858000"/>
              <a:gd name="connsiteX861" fmla="*/ 3695484 w 12188651"/>
              <a:gd name="connsiteY861" fmla="*/ 5698034 h 6858000"/>
              <a:gd name="connsiteX862" fmla="*/ 3679135 w 12188651"/>
              <a:gd name="connsiteY862" fmla="*/ 5321194 h 6858000"/>
              <a:gd name="connsiteX863" fmla="*/ 3679135 w 12188651"/>
              <a:gd name="connsiteY863" fmla="*/ 5698034 h 6858000"/>
              <a:gd name="connsiteX864" fmla="*/ 3353555 w 12188651"/>
              <a:gd name="connsiteY864" fmla="*/ 5886385 h 6858000"/>
              <a:gd name="connsiteX865" fmla="*/ 3353555 w 12188651"/>
              <a:gd name="connsiteY865" fmla="*/ 5509547 h 6858000"/>
              <a:gd name="connsiteX866" fmla="*/ 1625159 w 12188651"/>
              <a:gd name="connsiteY866" fmla="*/ 5321194 h 6858000"/>
              <a:gd name="connsiteX867" fmla="*/ 1625159 w 12188651"/>
              <a:gd name="connsiteY867" fmla="*/ 5698034 h 6858000"/>
              <a:gd name="connsiteX868" fmla="*/ 1299574 w 12188651"/>
              <a:gd name="connsiteY868" fmla="*/ 5886386 h 6858000"/>
              <a:gd name="connsiteX869" fmla="*/ 1299574 w 12188651"/>
              <a:gd name="connsiteY869" fmla="*/ 5509547 h 6858000"/>
              <a:gd name="connsiteX870" fmla="*/ 1641508 w 12188651"/>
              <a:gd name="connsiteY870" fmla="*/ 5321193 h 6858000"/>
              <a:gd name="connsiteX871" fmla="*/ 1966963 w 12188651"/>
              <a:gd name="connsiteY871" fmla="*/ 5509547 h 6858000"/>
              <a:gd name="connsiteX872" fmla="*/ 1966963 w 12188651"/>
              <a:gd name="connsiteY872" fmla="*/ 5886386 h 6858000"/>
              <a:gd name="connsiteX873" fmla="*/ 1641508 w 12188651"/>
              <a:gd name="connsiteY873" fmla="*/ 5698034 h 6858000"/>
              <a:gd name="connsiteX874" fmla="*/ 5749264 w 12188651"/>
              <a:gd name="connsiteY874" fmla="*/ 5321192 h 6858000"/>
              <a:gd name="connsiteX875" fmla="*/ 6074705 w 12188651"/>
              <a:gd name="connsiteY875" fmla="*/ 5509548 h 6858000"/>
              <a:gd name="connsiteX876" fmla="*/ 6074705 w 12188651"/>
              <a:gd name="connsiteY876" fmla="*/ 5886390 h 6858000"/>
              <a:gd name="connsiteX877" fmla="*/ 5749264 w 12188651"/>
              <a:gd name="connsiteY877" fmla="*/ 5698034 h 6858000"/>
              <a:gd name="connsiteX878" fmla="*/ 11910826 w 12188651"/>
              <a:gd name="connsiteY878" fmla="*/ 5321191 h 6858000"/>
              <a:gd name="connsiteX879" fmla="*/ 12188651 w 12188651"/>
              <a:gd name="connsiteY879" fmla="*/ 5481979 h 6858000"/>
              <a:gd name="connsiteX880" fmla="*/ 12188651 w 12188651"/>
              <a:gd name="connsiteY880" fmla="*/ 5858821 h 6858000"/>
              <a:gd name="connsiteX881" fmla="*/ 11910826 w 12188651"/>
              <a:gd name="connsiteY881" fmla="*/ 5698034 h 6858000"/>
              <a:gd name="connsiteX882" fmla="*/ 11894481 w 12188651"/>
              <a:gd name="connsiteY882" fmla="*/ 5321191 h 6858000"/>
              <a:gd name="connsiteX883" fmla="*/ 11894481 w 12188651"/>
              <a:gd name="connsiteY883" fmla="*/ 5698034 h 6858000"/>
              <a:gd name="connsiteX884" fmla="*/ 11568890 w 12188651"/>
              <a:gd name="connsiteY884" fmla="*/ 5886390 h 6858000"/>
              <a:gd name="connsiteX885" fmla="*/ 11568890 w 12188651"/>
              <a:gd name="connsiteY885" fmla="*/ 5509548 h 6858000"/>
              <a:gd name="connsiteX886" fmla="*/ 9857006 w 12188651"/>
              <a:gd name="connsiteY886" fmla="*/ 5321191 h 6858000"/>
              <a:gd name="connsiteX887" fmla="*/ 10182468 w 12188651"/>
              <a:gd name="connsiteY887" fmla="*/ 5509548 h 6858000"/>
              <a:gd name="connsiteX888" fmla="*/ 10182468 w 12188651"/>
              <a:gd name="connsiteY888" fmla="*/ 5886390 h 6858000"/>
              <a:gd name="connsiteX889" fmla="*/ 9857006 w 12188651"/>
              <a:gd name="connsiteY889" fmla="*/ 5698034 h 6858000"/>
              <a:gd name="connsiteX890" fmla="*/ 9840661 w 12188651"/>
              <a:gd name="connsiteY890" fmla="*/ 5321191 h 6858000"/>
              <a:gd name="connsiteX891" fmla="*/ 9840661 w 12188651"/>
              <a:gd name="connsiteY891" fmla="*/ 5698034 h 6858000"/>
              <a:gd name="connsiteX892" fmla="*/ 9515070 w 12188651"/>
              <a:gd name="connsiteY892" fmla="*/ 5886390 h 6858000"/>
              <a:gd name="connsiteX893" fmla="*/ 9515070 w 12188651"/>
              <a:gd name="connsiteY893" fmla="*/ 5509548 h 6858000"/>
              <a:gd name="connsiteX894" fmla="*/ 7803060 w 12188651"/>
              <a:gd name="connsiteY894" fmla="*/ 5321191 h 6858000"/>
              <a:gd name="connsiteX895" fmla="*/ 8128521 w 12188651"/>
              <a:gd name="connsiteY895" fmla="*/ 5509548 h 6858000"/>
              <a:gd name="connsiteX896" fmla="*/ 8128521 w 12188651"/>
              <a:gd name="connsiteY896" fmla="*/ 5886390 h 6858000"/>
              <a:gd name="connsiteX897" fmla="*/ 7803060 w 12188651"/>
              <a:gd name="connsiteY897" fmla="*/ 5698034 h 6858000"/>
              <a:gd name="connsiteX898" fmla="*/ 7786715 w 12188651"/>
              <a:gd name="connsiteY898" fmla="*/ 5321191 h 6858000"/>
              <a:gd name="connsiteX899" fmla="*/ 7786715 w 12188651"/>
              <a:gd name="connsiteY899" fmla="*/ 5698034 h 6858000"/>
              <a:gd name="connsiteX900" fmla="*/ 7461125 w 12188651"/>
              <a:gd name="connsiteY900" fmla="*/ 5886390 h 6858000"/>
              <a:gd name="connsiteX901" fmla="*/ 7461125 w 12188651"/>
              <a:gd name="connsiteY901" fmla="*/ 5509548 h 6858000"/>
              <a:gd name="connsiteX902" fmla="*/ 5732919 w 12188651"/>
              <a:gd name="connsiteY902" fmla="*/ 5321191 h 6858000"/>
              <a:gd name="connsiteX903" fmla="*/ 5732919 w 12188651"/>
              <a:gd name="connsiteY903" fmla="*/ 5698034 h 6858000"/>
              <a:gd name="connsiteX904" fmla="*/ 5407350 w 12188651"/>
              <a:gd name="connsiteY904" fmla="*/ 5886387 h 6858000"/>
              <a:gd name="connsiteX905" fmla="*/ 5407350 w 12188651"/>
              <a:gd name="connsiteY905" fmla="*/ 5509547 h 6858000"/>
              <a:gd name="connsiteX906" fmla="*/ 5539925 w 12188651"/>
              <a:gd name="connsiteY906" fmla="*/ 5432844 h 6858000"/>
              <a:gd name="connsiteX907" fmla="*/ 2317081 w 12188651"/>
              <a:gd name="connsiteY907" fmla="*/ 5316392 h 6858000"/>
              <a:gd name="connsiteX908" fmla="*/ 2650837 w 12188651"/>
              <a:gd name="connsiteY908" fmla="*/ 5509547 h 6858000"/>
              <a:gd name="connsiteX909" fmla="*/ 2650837 w 12188651"/>
              <a:gd name="connsiteY909" fmla="*/ 5895861 h 6858000"/>
              <a:gd name="connsiteX910" fmla="*/ 2317210 w 12188651"/>
              <a:gd name="connsiteY910" fmla="*/ 6089014 h 6858000"/>
              <a:gd name="connsiteX911" fmla="*/ 1983444 w 12188651"/>
              <a:gd name="connsiteY911" fmla="*/ 5895861 h 6858000"/>
              <a:gd name="connsiteX912" fmla="*/ 1983444 w 12188651"/>
              <a:gd name="connsiteY912" fmla="*/ 5509547 h 6858000"/>
              <a:gd name="connsiteX913" fmla="*/ 263233 w 12188651"/>
              <a:gd name="connsiteY913" fmla="*/ 5316392 h 6858000"/>
              <a:gd name="connsiteX914" fmla="*/ 596992 w 12188651"/>
              <a:gd name="connsiteY914" fmla="*/ 5509547 h 6858000"/>
              <a:gd name="connsiteX915" fmla="*/ 596992 w 12188651"/>
              <a:gd name="connsiteY915" fmla="*/ 5895861 h 6858000"/>
              <a:gd name="connsiteX916" fmla="*/ 263362 w 12188651"/>
              <a:gd name="connsiteY916" fmla="*/ 6089014 h 6858000"/>
              <a:gd name="connsiteX917" fmla="*/ 0 w 12188651"/>
              <a:gd name="connsiteY917" fmla="*/ 5936601 h 6858000"/>
              <a:gd name="connsiteX918" fmla="*/ 0 w 12188651"/>
              <a:gd name="connsiteY918" fmla="*/ 5468791 h 6858000"/>
              <a:gd name="connsiteX919" fmla="*/ 10532576 w 12188651"/>
              <a:gd name="connsiteY919" fmla="*/ 5316391 h 6858000"/>
              <a:gd name="connsiteX920" fmla="*/ 10866339 w 12188651"/>
              <a:gd name="connsiteY920" fmla="*/ 5509548 h 6858000"/>
              <a:gd name="connsiteX921" fmla="*/ 10866339 w 12188651"/>
              <a:gd name="connsiteY921" fmla="*/ 5895861 h 6858000"/>
              <a:gd name="connsiteX922" fmla="*/ 10532706 w 12188651"/>
              <a:gd name="connsiteY922" fmla="*/ 6089016 h 6858000"/>
              <a:gd name="connsiteX923" fmla="*/ 10198941 w 12188651"/>
              <a:gd name="connsiteY923" fmla="*/ 5895861 h 6858000"/>
              <a:gd name="connsiteX924" fmla="*/ 10198941 w 12188651"/>
              <a:gd name="connsiteY924" fmla="*/ 5509548 h 6858000"/>
              <a:gd name="connsiteX925" fmla="*/ 8478628 w 12188651"/>
              <a:gd name="connsiteY925" fmla="*/ 5316391 h 6858000"/>
              <a:gd name="connsiteX926" fmla="*/ 8812392 w 12188651"/>
              <a:gd name="connsiteY926" fmla="*/ 5509548 h 6858000"/>
              <a:gd name="connsiteX927" fmla="*/ 8812392 w 12188651"/>
              <a:gd name="connsiteY927" fmla="*/ 5895861 h 6858000"/>
              <a:gd name="connsiteX928" fmla="*/ 8478758 w 12188651"/>
              <a:gd name="connsiteY928" fmla="*/ 6089016 h 6858000"/>
              <a:gd name="connsiteX929" fmla="*/ 8144995 w 12188651"/>
              <a:gd name="connsiteY929" fmla="*/ 5895861 h 6858000"/>
              <a:gd name="connsiteX930" fmla="*/ 8144995 w 12188651"/>
              <a:gd name="connsiteY930" fmla="*/ 5509548 h 6858000"/>
              <a:gd name="connsiteX931" fmla="*/ 6424810 w 12188651"/>
              <a:gd name="connsiteY931" fmla="*/ 5316391 h 6858000"/>
              <a:gd name="connsiteX932" fmla="*/ 6758573 w 12188651"/>
              <a:gd name="connsiteY932" fmla="*/ 5509548 h 6858000"/>
              <a:gd name="connsiteX933" fmla="*/ 6758573 w 12188651"/>
              <a:gd name="connsiteY933" fmla="*/ 5895861 h 6858000"/>
              <a:gd name="connsiteX934" fmla="*/ 6424940 w 12188651"/>
              <a:gd name="connsiteY934" fmla="*/ 6089016 h 6858000"/>
              <a:gd name="connsiteX935" fmla="*/ 6091179 w 12188651"/>
              <a:gd name="connsiteY935" fmla="*/ 5895861 h 6858000"/>
              <a:gd name="connsiteX936" fmla="*/ 6091179 w 12188651"/>
              <a:gd name="connsiteY936" fmla="*/ 5509548 h 6858000"/>
              <a:gd name="connsiteX937" fmla="*/ 4371009 w 12188651"/>
              <a:gd name="connsiteY937" fmla="*/ 5316391 h 6858000"/>
              <a:gd name="connsiteX938" fmla="*/ 4704773 w 12188651"/>
              <a:gd name="connsiteY938" fmla="*/ 5509548 h 6858000"/>
              <a:gd name="connsiteX939" fmla="*/ 4704773 w 12188651"/>
              <a:gd name="connsiteY939" fmla="*/ 5895861 h 6858000"/>
              <a:gd name="connsiteX940" fmla="*/ 4371144 w 12188651"/>
              <a:gd name="connsiteY940" fmla="*/ 6089016 h 6858000"/>
              <a:gd name="connsiteX941" fmla="*/ 4037419 w 12188651"/>
              <a:gd name="connsiteY941" fmla="*/ 5895861 h 6858000"/>
              <a:gd name="connsiteX942" fmla="*/ 4037419 w 12188651"/>
              <a:gd name="connsiteY942" fmla="*/ 5509547 h 6858000"/>
              <a:gd name="connsiteX943" fmla="*/ 4248574 w 12188651"/>
              <a:gd name="connsiteY943" fmla="*/ 5387277 h 6858000"/>
              <a:gd name="connsiteX944" fmla="*/ 3002131 w 12188651"/>
              <a:gd name="connsiteY944" fmla="*/ 5316139 h 6858000"/>
              <a:gd name="connsiteX945" fmla="*/ 3335884 w 12188651"/>
              <a:gd name="connsiteY945" fmla="*/ 5509288 h 6858000"/>
              <a:gd name="connsiteX946" fmla="*/ 3335884 w 12188651"/>
              <a:gd name="connsiteY946" fmla="*/ 5895471 h 6858000"/>
              <a:gd name="connsiteX947" fmla="*/ 3002133 w 12188651"/>
              <a:gd name="connsiteY947" fmla="*/ 6088619 h 6858000"/>
              <a:gd name="connsiteX948" fmla="*/ 2668383 w 12188651"/>
              <a:gd name="connsiteY948" fmla="*/ 5895470 h 6858000"/>
              <a:gd name="connsiteX949" fmla="*/ 2668383 w 12188651"/>
              <a:gd name="connsiteY949" fmla="*/ 5509287 h 6858000"/>
              <a:gd name="connsiteX950" fmla="*/ 948155 w 12188651"/>
              <a:gd name="connsiteY950" fmla="*/ 5316139 h 6858000"/>
              <a:gd name="connsiteX951" fmla="*/ 1281905 w 12188651"/>
              <a:gd name="connsiteY951" fmla="*/ 5509288 h 6858000"/>
              <a:gd name="connsiteX952" fmla="*/ 1281905 w 12188651"/>
              <a:gd name="connsiteY952" fmla="*/ 5895471 h 6858000"/>
              <a:gd name="connsiteX953" fmla="*/ 948156 w 12188651"/>
              <a:gd name="connsiteY953" fmla="*/ 6088620 h 6858000"/>
              <a:gd name="connsiteX954" fmla="*/ 614407 w 12188651"/>
              <a:gd name="connsiteY954" fmla="*/ 5895470 h 6858000"/>
              <a:gd name="connsiteX955" fmla="*/ 614407 w 12188651"/>
              <a:gd name="connsiteY955" fmla="*/ 5509287 h 6858000"/>
              <a:gd name="connsiteX956" fmla="*/ 5055949 w 12188651"/>
              <a:gd name="connsiteY956" fmla="*/ 5316138 h 6858000"/>
              <a:gd name="connsiteX957" fmla="*/ 5389688 w 12188651"/>
              <a:gd name="connsiteY957" fmla="*/ 5509288 h 6858000"/>
              <a:gd name="connsiteX958" fmla="*/ 5389688 w 12188651"/>
              <a:gd name="connsiteY958" fmla="*/ 5895471 h 6858000"/>
              <a:gd name="connsiteX959" fmla="*/ 5055955 w 12188651"/>
              <a:gd name="connsiteY959" fmla="*/ 6088620 h 6858000"/>
              <a:gd name="connsiteX960" fmla="*/ 4722171 w 12188651"/>
              <a:gd name="connsiteY960" fmla="*/ 5895470 h 6858000"/>
              <a:gd name="connsiteX961" fmla="*/ 4722171 w 12188651"/>
              <a:gd name="connsiteY961" fmla="*/ 5509287 h 6858000"/>
              <a:gd name="connsiteX962" fmla="*/ 4848154 w 12188651"/>
              <a:gd name="connsiteY962" fmla="*/ 5436375 h 6858000"/>
              <a:gd name="connsiteX963" fmla="*/ 11217614 w 12188651"/>
              <a:gd name="connsiteY963" fmla="*/ 5316132 h 6858000"/>
              <a:gd name="connsiteX964" fmla="*/ 11551377 w 12188651"/>
              <a:gd name="connsiteY964" fmla="*/ 5509288 h 6858000"/>
              <a:gd name="connsiteX965" fmla="*/ 11551377 w 12188651"/>
              <a:gd name="connsiteY965" fmla="*/ 5895470 h 6858000"/>
              <a:gd name="connsiteX966" fmla="*/ 11217614 w 12188651"/>
              <a:gd name="connsiteY966" fmla="*/ 6088627 h 6858000"/>
              <a:gd name="connsiteX967" fmla="*/ 10883851 w 12188651"/>
              <a:gd name="connsiteY967" fmla="*/ 5895470 h 6858000"/>
              <a:gd name="connsiteX968" fmla="*/ 10883851 w 12188651"/>
              <a:gd name="connsiteY968" fmla="*/ 5509288 h 6858000"/>
              <a:gd name="connsiteX969" fmla="*/ 9163666 w 12188651"/>
              <a:gd name="connsiteY969" fmla="*/ 5316132 h 6858000"/>
              <a:gd name="connsiteX970" fmla="*/ 9497429 w 12188651"/>
              <a:gd name="connsiteY970" fmla="*/ 5509288 h 6858000"/>
              <a:gd name="connsiteX971" fmla="*/ 9497429 w 12188651"/>
              <a:gd name="connsiteY971" fmla="*/ 5895470 h 6858000"/>
              <a:gd name="connsiteX972" fmla="*/ 9163666 w 12188651"/>
              <a:gd name="connsiteY972" fmla="*/ 6088627 h 6858000"/>
              <a:gd name="connsiteX973" fmla="*/ 8829903 w 12188651"/>
              <a:gd name="connsiteY973" fmla="*/ 5895470 h 6858000"/>
              <a:gd name="connsiteX974" fmla="*/ 8829903 w 12188651"/>
              <a:gd name="connsiteY974" fmla="*/ 5509288 h 6858000"/>
              <a:gd name="connsiteX975" fmla="*/ 7109850 w 12188651"/>
              <a:gd name="connsiteY975" fmla="*/ 5316132 h 6858000"/>
              <a:gd name="connsiteX976" fmla="*/ 7443613 w 12188651"/>
              <a:gd name="connsiteY976" fmla="*/ 5509288 h 6858000"/>
              <a:gd name="connsiteX977" fmla="*/ 7443613 w 12188651"/>
              <a:gd name="connsiteY977" fmla="*/ 5895470 h 6858000"/>
              <a:gd name="connsiteX978" fmla="*/ 7109850 w 12188651"/>
              <a:gd name="connsiteY978" fmla="*/ 6088627 h 6858000"/>
              <a:gd name="connsiteX979" fmla="*/ 6776085 w 12188651"/>
              <a:gd name="connsiteY979" fmla="*/ 5895470 h 6858000"/>
              <a:gd name="connsiteX980" fmla="*/ 6776085 w 12188651"/>
              <a:gd name="connsiteY980" fmla="*/ 5509288 h 6858000"/>
              <a:gd name="connsiteX981" fmla="*/ 2660328 w 12188651"/>
              <a:gd name="connsiteY981" fmla="*/ 5118312 h 6858000"/>
              <a:gd name="connsiteX982" fmla="*/ 2985776 w 12188651"/>
              <a:gd name="connsiteY982" fmla="*/ 5306661 h 6858000"/>
              <a:gd name="connsiteX983" fmla="*/ 2660199 w 12188651"/>
              <a:gd name="connsiteY983" fmla="*/ 5495010 h 6858000"/>
              <a:gd name="connsiteX984" fmla="*/ 2334754 w 12188651"/>
              <a:gd name="connsiteY984" fmla="*/ 5306660 h 6858000"/>
              <a:gd name="connsiteX985" fmla="*/ 606350 w 12188651"/>
              <a:gd name="connsiteY985" fmla="*/ 5118312 h 6858000"/>
              <a:gd name="connsiteX986" fmla="*/ 931797 w 12188651"/>
              <a:gd name="connsiteY986" fmla="*/ 5306661 h 6858000"/>
              <a:gd name="connsiteX987" fmla="*/ 606221 w 12188651"/>
              <a:gd name="connsiteY987" fmla="*/ 5495010 h 6858000"/>
              <a:gd name="connsiteX988" fmla="*/ 280773 w 12188651"/>
              <a:gd name="connsiteY988" fmla="*/ 5306660 h 6858000"/>
              <a:gd name="connsiteX989" fmla="*/ 4714113 w 12188651"/>
              <a:gd name="connsiteY989" fmla="*/ 5118307 h 6858000"/>
              <a:gd name="connsiteX990" fmla="*/ 5039591 w 12188651"/>
              <a:gd name="connsiteY990" fmla="*/ 5306661 h 6858000"/>
              <a:gd name="connsiteX991" fmla="*/ 4977019 w 12188651"/>
              <a:gd name="connsiteY991" fmla="*/ 5342855 h 6858000"/>
              <a:gd name="connsiteX992" fmla="*/ 4713993 w 12188651"/>
              <a:gd name="connsiteY992" fmla="*/ 5495014 h 6858000"/>
              <a:gd name="connsiteX993" fmla="*/ 4388541 w 12188651"/>
              <a:gd name="connsiteY993" fmla="*/ 5306660 h 6858000"/>
              <a:gd name="connsiteX994" fmla="*/ 10875808 w 12188651"/>
              <a:gd name="connsiteY994" fmla="*/ 5118305 h 6858000"/>
              <a:gd name="connsiteX995" fmla="*/ 11201268 w 12188651"/>
              <a:gd name="connsiteY995" fmla="*/ 5306661 h 6858000"/>
              <a:gd name="connsiteX996" fmla="*/ 10875679 w 12188651"/>
              <a:gd name="connsiteY996" fmla="*/ 5495017 h 6858000"/>
              <a:gd name="connsiteX997" fmla="*/ 10550218 w 12188651"/>
              <a:gd name="connsiteY997" fmla="*/ 5306661 h 6858000"/>
              <a:gd name="connsiteX998" fmla="*/ 8821860 w 12188651"/>
              <a:gd name="connsiteY998" fmla="*/ 5118305 h 6858000"/>
              <a:gd name="connsiteX999" fmla="*/ 9147320 w 12188651"/>
              <a:gd name="connsiteY999" fmla="*/ 5306661 h 6858000"/>
              <a:gd name="connsiteX1000" fmla="*/ 8821730 w 12188651"/>
              <a:gd name="connsiteY1000" fmla="*/ 5495017 h 6858000"/>
              <a:gd name="connsiteX1001" fmla="*/ 8496270 w 12188651"/>
              <a:gd name="connsiteY1001" fmla="*/ 5306661 h 6858000"/>
              <a:gd name="connsiteX1002" fmla="*/ 6768043 w 12188651"/>
              <a:gd name="connsiteY1002" fmla="*/ 5118305 h 6858000"/>
              <a:gd name="connsiteX1003" fmla="*/ 7093504 w 12188651"/>
              <a:gd name="connsiteY1003" fmla="*/ 5306661 h 6858000"/>
              <a:gd name="connsiteX1004" fmla="*/ 6767913 w 12188651"/>
              <a:gd name="connsiteY1004" fmla="*/ 5495017 h 6858000"/>
              <a:gd name="connsiteX1005" fmla="*/ 6442453 w 12188651"/>
              <a:gd name="connsiteY1005" fmla="*/ 5306661 h 6858000"/>
              <a:gd name="connsiteX1006" fmla="*/ 12140685 w 12188651"/>
              <a:gd name="connsiteY1006" fmla="*/ 4954335 h 6858000"/>
              <a:gd name="connsiteX1007" fmla="*/ 12168445 w 12188651"/>
              <a:gd name="connsiteY1007" fmla="*/ 4965880 h 6858000"/>
              <a:gd name="connsiteX1008" fmla="*/ 12188651 w 12188651"/>
              <a:gd name="connsiteY1008" fmla="*/ 4986128 h 6858000"/>
              <a:gd name="connsiteX1009" fmla="*/ 12188651 w 12188651"/>
              <a:gd name="connsiteY1009" fmla="*/ 5254379 h 6858000"/>
              <a:gd name="connsiteX1010" fmla="*/ 12034576 w 12188651"/>
              <a:gd name="connsiteY1010" fmla="*/ 5100013 h 6858000"/>
              <a:gd name="connsiteX1011" fmla="*/ 12034576 w 12188651"/>
              <a:gd name="connsiteY1011" fmla="*/ 5044621 h 6858000"/>
              <a:gd name="connsiteX1012" fmla="*/ 12113056 w 12188651"/>
              <a:gd name="connsiteY1012" fmla="*/ 4965880 h 6858000"/>
              <a:gd name="connsiteX1013" fmla="*/ 12140685 w 12188651"/>
              <a:gd name="connsiteY1013" fmla="*/ 4954335 h 6858000"/>
              <a:gd name="connsiteX1014" fmla="*/ 10086867 w 12188651"/>
              <a:gd name="connsiteY1014" fmla="*/ 4954335 h 6858000"/>
              <a:gd name="connsiteX1015" fmla="*/ 10114626 w 12188651"/>
              <a:gd name="connsiteY1015" fmla="*/ 4965880 h 6858000"/>
              <a:gd name="connsiteX1016" fmla="*/ 10179226 w 12188651"/>
              <a:gd name="connsiteY1016" fmla="*/ 5030612 h 6858000"/>
              <a:gd name="connsiteX1017" fmla="*/ 10190770 w 12188651"/>
              <a:gd name="connsiteY1017" fmla="*/ 5042286 h 6858000"/>
              <a:gd name="connsiteX1018" fmla="*/ 10202315 w 12188651"/>
              <a:gd name="connsiteY1018" fmla="*/ 5030612 h 6858000"/>
              <a:gd name="connsiteX1019" fmla="*/ 10266786 w 12188651"/>
              <a:gd name="connsiteY1019" fmla="*/ 4965880 h 6858000"/>
              <a:gd name="connsiteX1020" fmla="*/ 10294543 w 12188651"/>
              <a:gd name="connsiteY1020" fmla="*/ 4954335 h 6858000"/>
              <a:gd name="connsiteX1021" fmla="*/ 10322173 w 12188651"/>
              <a:gd name="connsiteY1021" fmla="*/ 4965880 h 6858000"/>
              <a:gd name="connsiteX1022" fmla="*/ 10400653 w 12188651"/>
              <a:gd name="connsiteY1022" fmla="*/ 5044492 h 6858000"/>
              <a:gd name="connsiteX1023" fmla="*/ 10412198 w 12188651"/>
              <a:gd name="connsiteY1023" fmla="*/ 5072252 h 6858000"/>
              <a:gd name="connsiteX1024" fmla="*/ 10400783 w 12188651"/>
              <a:gd name="connsiteY1024" fmla="*/ 5100013 h 6858000"/>
              <a:gd name="connsiteX1025" fmla="*/ 10190770 w 12188651"/>
              <a:gd name="connsiteY1025" fmla="*/ 5310423 h 6858000"/>
              <a:gd name="connsiteX1026" fmla="*/ 9980757 w 12188651"/>
              <a:gd name="connsiteY1026" fmla="*/ 5100013 h 6858000"/>
              <a:gd name="connsiteX1027" fmla="*/ 9980757 w 12188651"/>
              <a:gd name="connsiteY1027" fmla="*/ 5044621 h 6858000"/>
              <a:gd name="connsiteX1028" fmla="*/ 10059237 w 12188651"/>
              <a:gd name="connsiteY1028" fmla="*/ 4965880 h 6858000"/>
              <a:gd name="connsiteX1029" fmla="*/ 10086867 w 12188651"/>
              <a:gd name="connsiteY1029" fmla="*/ 4954335 h 6858000"/>
              <a:gd name="connsiteX1030" fmla="*/ 8032919 w 12188651"/>
              <a:gd name="connsiteY1030" fmla="*/ 4954335 h 6858000"/>
              <a:gd name="connsiteX1031" fmla="*/ 8060679 w 12188651"/>
              <a:gd name="connsiteY1031" fmla="*/ 4965880 h 6858000"/>
              <a:gd name="connsiteX1032" fmla="*/ 8125278 w 12188651"/>
              <a:gd name="connsiteY1032" fmla="*/ 5030612 h 6858000"/>
              <a:gd name="connsiteX1033" fmla="*/ 8136823 w 12188651"/>
              <a:gd name="connsiteY1033" fmla="*/ 5042286 h 6858000"/>
              <a:gd name="connsiteX1034" fmla="*/ 8148368 w 12188651"/>
              <a:gd name="connsiteY1034" fmla="*/ 5030612 h 6858000"/>
              <a:gd name="connsiteX1035" fmla="*/ 8212837 w 12188651"/>
              <a:gd name="connsiteY1035" fmla="*/ 4965880 h 6858000"/>
              <a:gd name="connsiteX1036" fmla="*/ 8240596 w 12188651"/>
              <a:gd name="connsiteY1036" fmla="*/ 4954335 h 6858000"/>
              <a:gd name="connsiteX1037" fmla="*/ 8268226 w 12188651"/>
              <a:gd name="connsiteY1037" fmla="*/ 4965880 h 6858000"/>
              <a:gd name="connsiteX1038" fmla="*/ 8346707 w 12188651"/>
              <a:gd name="connsiteY1038" fmla="*/ 5044492 h 6858000"/>
              <a:gd name="connsiteX1039" fmla="*/ 8358252 w 12188651"/>
              <a:gd name="connsiteY1039" fmla="*/ 5072252 h 6858000"/>
              <a:gd name="connsiteX1040" fmla="*/ 8346837 w 12188651"/>
              <a:gd name="connsiteY1040" fmla="*/ 5100013 h 6858000"/>
              <a:gd name="connsiteX1041" fmla="*/ 8136823 w 12188651"/>
              <a:gd name="connsiteY1041" fmla="*/ 5310423 h 6858000"/>
              <a:gd name="connsiteX1042" fmla="*/ 7926811 w 12188651"/>
              <a:gd name="connsiteY1042" fmla="*/ 5100013 h 6858000"/>
              <a:gd name="connsiteX1043" fmla="*/ 7926811 w 12188651"/>
              <a:gd name="connsiteY1043" fmla="*/ 5044621 h 6858000"/>
              <a:gd name="connsiteX1044" fmla="*/ 8005289 w 12188651"/>
              <a:gd name="connsiteY1044" fmla="*/ 4965880 h 6858000"/>
              <a:gd name="connsiteX1045" fmla="*/ 8032919 w 12188651"/>
              <a:gd name="connsiteY1045" fmla="*/ 4954335 h 6858000"/>
              <a:gd name="connsiteX1046" fmla="*/ 5979109 w 12188651"/>
              <a:gd name="connsiteY1046" fmla="*/ 4954335 h 6858000"/>
              <a:gd name="connsiteX1047" fmla="*/ 6006867 w 12188651"/>
              <a:gd name="connsiteY1047" fmla="*/ 4965880 h 6858000"/>
              <a:gd name="connsiteX1048" fmla="*/ 6071463 w 12188651"/>
              <a:gd name="connsiteY1048" fmla="*/ 5030612 h 6858000"/>
              <a:gd name="connsiteX1049" fmla="*/ 6083006 w 12188651"/>
              <a:gd name="connsiteY1049" fmla="*/ 5042286 h 6858000"/>
              <a:gd name="connsiteX1050" fmla="*/ 6094550 w 12188651"/>
              <a:gd name="connsiteY1050" fmla="*/ 5030612 h 6858000"/>
              <a:gd name="connsiteX1051" fmla="*/ 6159019 w 12188651"/>
              <a:gd name="connsiteY1051" fmla="*/ 4965880 h 6858000"/>
              <a:gd name="connsiteX1052" fmla="*/ 6186779 w 12188651"/>
              <a:gd name="connsiteY1052" fmla="*/ 4954335 h 6858000"/>
              <a:gd name="connsiteX1053" fmla="*/ 6214409 w 12188651"/>
              <a:gd name="connsiteY1053" fmla="*/ 4965880 h 6858000"/>
              <a:gd name="connsiteX1054" fmla="*/ 6292888 w 12188651"/>
              <a:gd name="connsiteY1054" fmla="*/ 5044492 h 6858000"/>
              <a:gd name="connsiteX1055" fmla="*/ 6304433 w 12188651"/>
              <a:gd name="connsiteY1055" fmla="*/ 5072252 h 6858000"/>
              <a:gd name="connsiteX1056" fmla="*/ 6293017 w 12188651"/>
              <a:gd name="connsiteY1056" fmla="*/ 5100013 h 6858000"/>
              <a:gd name="connsiteX1057" fmla="*/ 6083006 w 12188651"/>
              <a:gd name="connsiteY1057" fmla="*/ 5310423 h 6858000"/>
              <a:gd name="connsiteX1058" fmla="*/ 5873007 w 12188651"/>
              <a:gd name="connsiteY1058" fmla="*/ 5100013 h 6858000"/>
              <a:gd name="connsiteX1059" fmla="*/ 5873007 w 12188651"/>
              <a:gd name="connsiteY1059" fmla="*/ 5044621 h 6858000"/>
              <a:gd name="connsiteX1060" fmla="*/ 5951483 w 12188651"/>
              <a:gd name="connsiteY1060" fmla="*/ 4965880 h 6858000"/>
              <a:gd name="connsiteX1061" fmla="*/ 5979109 w 12188651"/>
              <a:gd name="connsiteY1061" fmla="*/ 4954335 h 6858000"/>
              <a:gd name="connsiteX1062" fmla="*/ 3925342 w 12188651"/>
              <a:gd name="connsiteY1062" fmla="*/ 4954335 h 6858000"/>
              <a:gd name="connsiteX1063" fmla="*/ 3953100 w 12188651"/>
              <a:gd name="connsiteY1063" fmla="*/ 4965880 h 6858000"/>
              <a:gd name="connsiteX1064" fmla="*/ 4017699 w 12188651"/>
              <a:gd name="connsiteY1064" fmla="*/ 5030612 h 6858000"/>
              <a:gd name="connsiteX1065" fmla="*/ 4029246 w 12188651"/>
              <a:gd name="connsiteY1065" fmla="*/ 5042286 h 6858000"/>
              <a:gd name="connsiteX1066" fmla="*/ 4040790 w 12188651"/>
              <a:gd name="connsiteY1066" fmla="*/ 5030612 h 6858000"/>
              <a:gd name="connsiteX1067" fmla="*/ 4105262 w 12188651"/>
              <a:gd name="connsiteY1067" fmla="*/ 4965880 h 6858000"/>
              <a:gd name="connsiteX1068" fmla="*/ 4133023 w 12188651"/>
              <a:gd name="connsiteY1068" fmla="*/ 4954335 h 6858000"/>
              <a:gd name="connsiteX1069" fmla="*/ 4160653 w 12188651"/>
              <a:gd name="connsiteY1069" fmla="*/ 4965880 h 6858000"/>
              <a:gd name="connsiteX1070" fmla="*/ 4239088 w 12188651"/>
              <a:gd name="connsiteY1070" fmla="*/ 5044492 h 6858000"/>
              <a:gd name="connsiteX1071" fmla="*/ 4250634 w 12188651"/>
              <a:gd name="connsiteY1071" fmla="*/ 5072252 h 6858000"/>
              <a:gd name="connsiteX1072" fmla="*/ 4239218 w 12188651"/>
              <a:gd name="connsiteY1072" fmla="*/ 5100013 h 6858000"/>
              <a:gd name="connsiteX1073" fmla="*/ 4029246 w 12188651"/>
              <a:gd name="connsiteY1073" fmla="*/ 5310423 h 6858000"/>
              <a:gd name="connsiteX1074" fmla="*/ 3819226 w 12188651"/>
              <a:gd name="connsiteY1074" fmla="*/ 5100013 h 6858000"/>
              <a:gd name="connsiteX1075" fmla="*/ 3819226 w 12188651"/>
              <a:gd name="connsiteY1075" fmla="*/ 5044621 h 6858000"/>
              <a:gd name="connsiteX1076" fmla="*/ 3897709 w 12188651"/>
              <a:gd name="connsiteY1076" fmla="*/ 4965880 h 6858000"/>
              <a:gd name="connsiteX1077" fmla="*/ 3925342 w 12188651"/>
              <a:gd name="connsiteY1077" fmla="*/ 4954335 h 6858000"/>
              <a:gd name="connsiteX1078" fmla="*/ 1871366 w 12188651"/>
              <a:gd name="connsiteY1078" fmla="*/ 4954335 h 6858000"/>
              <a:gd name="connsiteX1079" fmla="*/ 1899126 w 12188651"/>
              <a:gd name="connsiteY1079" fmla="*/ 4965880 h 6858000"/>
              <a:gd name="connsiteX1080" fmla="*/ 1963727 w 12188651"/>
              <a:gd name="connsiteY1080" fmla="*/ 5030612 h 6858000"/>
              <a:gd name="connsiteX1081" fmla="*/ 1975271 w 12188651"/>
              <a:gd name="connsiteY1081" fmla="*/ 5042286 h 6858000"/>
              <a:gd name="connsiteX1082" fmla="*/ 1986816 w 12188651"/>
              <a:gd name="connsiteY1082" fmla="*/ 5030612 h 6858000"/>
              <a:gd name="connsiteX1083" fmla="*/ 2051285 w 12188651"/>
              <a:gd name="connsiteY1083" fmla="*/ 4965880 h 6858000"/>
              <a:gd name="connsiteX1084" fmla="*/ 2079045 w 12188651"/>
              <a:gd name="connsiteY1084" fmla="*/ 4954335 h 6858000"/>
              <a:gd name="connsiteX1085" fmla="*/ 2106680 w 12188651"/>
              <a:gd name="connsiteY1085" fmla="*/ 4965880 h 6858000"/>
              <a:gd name="connsiteX1086" fmla="*/ 2185159 w 12188651"/>
              <a:gd name="connsiteY1086" fmla="*/ 5044492 h 6858000"/>
              <a:gd name="connsiteX1087" fmla="*/ 2196706 w 12188651"/>
              <a:gd name="connsiteY1087" fmla="*/ 5072252 h 6858000"/>
              <a:gd name="connsiteX1088" fmla="*/ 2185291 w 12188651"/>
              <a:gd name="connsiteY1088" fmla="*/ 5100013 h 6858000"/>
              <a:gd name="connsiteX1089" fmla="*/ 1975271 w 12188651"/>
              <a:gd name="connsiteY1089" fmla="*/ 5310423 h 6858000"/>
              <a:gd name="connsiteX1090" fmla="*/ 1765258 w 12188651"/>
              <a:gd name="connsiteY1090" fmla="*/ 5100013 h 6858000"/>
              <a:gd name="connsiteX1091" fmla="*/ 1765258 w 12188651"/>
              <a:gd name="connsiteY1091" fmla="*/ 5044621 h 6858000"/>
              <a:gd name="connsiteX1092" fmla="*/ 1843739 w 12188651"/>
              <a:gd name="connsiteY1092" fmla="*/ 4965880 h 6858000"/>
              <a:gd name="connsiteX1093" fmla="*/ 1871366 w 12188651"/>
              <a:gd name="connsiteY1093" fmla="*/ 4954335 h 6858000"/>
              <a:gd name="connsiteX1094" fmla="*/ 25204 w 12188651"/>
              <a:gd name="connsiteY1094" fmla="*/ 4954335 h 6858000"/>
              <a:gd name="connsiteX1095" fmla="*/ 52835 w 12188651"/>
              <a:gd name="connsiteY1095" fmla="*/ 4965880 h 6858000"/>
              <a:gd name="connsiteX1096" fmla="*/ 131313 w 12188651"/>
              <a:gd name="connsiteY1096" fmla="*/ 5044492 h 6858000"/>
              <a:gd name="connsiteX1097" fmla="*/ 142857 w 12188651"/>
              <a:gd name="connsiteY1097" fmla="*/ 5072252 h 6858000"/>
              <a:gd name="connsiteX1098" fmla="*/ 131443 w 12188651"/>
              <a:gd name="connsiteY1098" fmla="*/ 5100013 h 6858000"/>
              <a:gd name="connsiteX1099" fmla="*/ 0 w 12188651"/>
              <a:gd name="connsiteY1099" fmla="*/ 5231705 h 6858000"/>
              <a:gd name="connsiteX1100" fmla="*/ 0 w 12188651"/>
              <a:gd name="connsiteY1100" fmla="*/ 4964818 h 6858000"/>
              <a:gd name="connsiteX1101" fmla="*/ 10086867 w 12188651"/>
              <a:gd name="connsiteY1101" fmla="*/ 4937860 h 6858000"/>
              <a:gd name="connsiteX1102" fmla="*/ 10047692 w 12188651"/>
              <a:gd name="connsiteY1102" fmla="*/ 4954205 h 6858000"/>
              <a:gd name="connsiteX1103" fmla="*/ 9969212 w 12188651"/>
              <a:gd name="connsiteY1103" fmla="*/ 5032947 h 6858000"/>
              <a:gd name="connsiteX1104" fmla="*/ 9969212 w 12188651"/>
              <a:gd name="connsiteY1104" fmla="*/ 5111559 h 6858000"/>
              <a:gd name="connsiteX1105" fmla="*/ 10190770 w 12188651"/>
              <a:gd name="connsiteY1105" fmla="*/ 5333643 h 6858000"/>
              <a:gd name="connsiteX1106" fmla="*/ 10412328 w 12188651"/>
              <a:gd name="connsiteY1106" fmla="*/ 5111559 h 6858000"/>
              <a:gd name="connsiteX1107" fmla="*/ 10412328 w 12188651"/>
              <a:gd name="connsiteY1107" fmla="*/ 5032947 h 6858000"/>
              <a:gd name="connsiteX1108" fmla="*/ 10333848 w 12188651"/>
              <a:gd name="connsiteY1108" fmla="*/ 4954335 h 6858000"/>
              <a:gd name="connsiteX1109" fmla="*/ 10294673 w 12188651"/>
              <a:gd name="connsiteY1109" fmla="*/ 4937990 h 6858000"/>
              <a:gd name="connsiteX1110" fmla="*/ 10294543 w 12188651"/>
              <a:gd name="connsiteY1110" fmla="*/ 4937860 h 6858000"/>
              <a:gd name="connsiteX1111" fmla="*/ 10255241 w 12188651"/>
              <a:gd name="connsiteY1111" fmla="*/ 4954335 h 6858000"/>
              <a:gd name="connsiteX1112" fmla="*/ 10190770 w 12188651"/>
              <a:gd name="connsiteY1112" fmla="*/ 5018937 h 6858000"/>
              <a:gd name="connsiteX1113" fmla="*/ 10126171 w 12188651"/>
              <a:gd name="connsiteY1113" fmla="*/ 4954205 h 6858000"/>
              <a:gd name="connsiteX1114" fmla="*/ 10086867 w 12188651"/>
              <a:gd name="connsiteY1114" fmla="*/ 4937860 h 6858000"/>
              <a:gd name="connsiteX1115" fmla="*/ 8032919 w 12188651"/>
              <a:gd name="connsiteY1115" fmla="*/ 4937860 h 6858000"/>
              <a:gd name="connsiteX1116" fmla="*/ 7993744 w 12188651"/>
              <a:gd name="connsiteY1116" fmla="*/ 4954205 h 6858000"/>
              <a:gd name="connsiteX1117" fmla="*/ 7915266 w 12188651"/>
              <a:gd name="connsiteY1117" fmla="*/ 5032947 h 6858000"/>
              <a:gd name="connsiteX1118" fmla="*/ 7915266 w 12188651"/>
              <a:gd name="connsiteY1118" fmla="*/ 5111559 h 6858000"/>
              <a:gd name="connsiteX1119" fmla="*/ 8136823 w 12188651"/>
              <a:gd name="connsiteY1119" fmla="*/ 5333643 h 6858000"/>
              <a:gd name="connsiteX1120" fmla="*/ 8358382 w 12188651"/>
              <a:gd name="connsiteY1120" fmla="*/ 5111559 h 6858000"/>
              <a:gd name="connsiteX1121" fmla="*/ 8358382 w 12188651"/>
              <a:gd name="connsiteY1121" fmla="*/ 5032947 h 6858000"/>
              <a:gd name="connsiteX1122" fmla="*/ 8279902 w 12188651"/>
              <a:gd name="connsiteY1122" fmla="*/ 4954335 h 6858000"/>
              <a:gd name="connsiteX1123" fmla="*/ 8240727 w 12188651"/>
              <a:gd name="connsiteY1123" fmla="*/ 4937990 h 6858000"/>
              <a:gd name="connsiteX1124" fmla="*/ 8240596 w 12188651"/>
              <a:gd name="connsiteY1124" fmla="*/ 4937860 h 6858000"/>
              <a:gd name="connsiteX1125" fmla="*/ 8201292 w 12188651"/>
              <a:gd name="connsiteY1125" fmla="*/ 4954335 h 6858000"/>
              <a:gd name="connsiteX1126" fmla="*/ 8136823 w 12188651"/>
              <a:gd name="connsiteY1126" fmla="*/ 5018937 h 6858000"/>
              <a:gd name="connsiteX1127" fmla="*/ 8072224 w 12188651"/>
              <a:gd name="connsiteY1127" fmla="*/ 4954205 h 6858000"/>
              <a:gd name="connsiteX1128" fmla="*/ 8032919 w 12188651"/>
              <a:gd name="connsiteY1128" fmla="*/ 4937860 h 6858000"/>
              <a:gd name="connsiteX1129" fmla="*/ 5979109 w 12188651"/>
              <a:gd name="connsiteY1129" fmla="*/ 4937860 h 6858000"/>
              <a:gd name="connsiteX1130" fmla="*/ 5939936 w 12188651"/>
              <a:gd name="connsiteY1130" fmla="*/ 4954205 h 6858000"/>
              <a:gd name="connsiteX1131" fmla="*/ 5861462 w 12188651"/>
              <a:gd name="connsiteY1131" fmla="*/ 5032947 h 6858000"/>
              <a:gd name="connsiteX1132" fmla="*/ 5861462 w 12188651"/>
              <a:gd name="connsiteY1132" fmla="*/ 5111559 h 6858000"/>
              <a:gd name="connsiteX1133" fmla="*/ 6083006 w 12188651"/>
              <a:gd name="connsiteY1133" fmla="*/ 5333643 h 6858000"/>
              <a:gd name="connsiteX1134" fmla="*/ 6304562 w 12188651"/>
              <a:gd name="connsiteY1134" fmla="*/ 5111559 h 6858000"/>
              <a:gd name="connsiteX1135" fmla="*/ 6304562 w 12188651"/>
              <a:gd name="connsiteY1135" fmla="*/ 5032947 h 6858000"/>
              <a:gd name="connsiteX1136" fmla="*/ 6226084 w 12188651"/>
              <a:gd name="connsiteY1136" fmla="*/ 4954335 h 6858000"/>
              <a:gd name="connsiteX1137" fmla="*/ 6186909 w 12188651"/>
              <a:gd name="connsiteY1137" fmla="*/ 4937990 h 6858000"/>
              <a:gd name="connsiteX1138" fmla="*/ 6186779 w 12188651"/>
              <a:gd name="connsiteY1138" fmla="*/ 4937860 h 6858000"/>
              <a:gd name="connsiteX1139" fmla="*/ 6147474 w 12188651"/>
              <a:gd name="connsiteY1139" fmla="*/ 4954335 h 6858000"/>
              <a:gd name="connsiteX1140" fmla="*/ 6083006 w 12188651"/>
              <a:gd name="connsiteY1140" fmla="*/ 5018937 h 6858000"/>
              <a:gd name="connsiteX1141" fmla="*/ 6018412 w 12188651"/>
              <a:gd name="connsiteY1141" fmla="*/ 4954205 h 6858000"/>
              <a:gd name="connsiteX1142" fmla="*/ 5979109 w 12188651"/>
              <a:gd name="connsiteY1142" fmla="*/ 4937860 h 6858000"/>
              <a:gd name="connsiteX1143" fmla="*/ 3925342 w 12188651"/>
              <a:gd name="connsiteY1143" fmla="*/ 4937860 h 6858000"/>
              <a:gd name="connsiteX1144" fmla="*/ 3886165 w 12188651"/>
              <a:gd name="connsiteY1144" fmla="*/ 4954205 h 6858000"/>
              <a:gd name="connsiteX1145" fmla="*/ 3807682 w 12188651"/>
              <a:gd name="connsiteY1145" fmla="*/ 5032947 h 6858000"/>
              <a:gd name="connsiteX1146" fmla="*/ 3807682 w 12188651"/>
              <a:gd name="connsiteY1146" fmla="*/ 5111559 h 6858000"/>
              <a:gd name="connsiteX1147" fmla="*/ 4029246 w 12188651"/>
              <a:gd name="connsiteY1147" fmla="*/ 5333643 h 6858000"/>
              <a:gd name="connsiteX1148" fmla="*/ 4250759 w 12188651"/>
              <a:gd name="connsiteY1148" fmla="*/ 5111559 h 6858000"/>
              <a:gd name="connsiteX1149" fmla="*/ 4250759 w 12188651"/>
              <a:gd name="connsiteY1149" fmla="*/ 5032947 h 6858000"/>
              <a:gd name="connsiteX1150" fmla="*/ 4172326 w 12188651"/>
              <a:gd name="connsiteY1150" fmla="*/ 4954335 h 6858000"/>
              <a:gd name="connsiteX1151" fmla="*/ 4133153 w 12188651"/>
              <a:gd name="connsiteY1151" fmla="*/ 4937990 h 6858000"/>
              <a:gd name="connsiteX1152" fmla="*/ 4133023 w 12188651"/>
              <a:gd name="connsiteY1152" fmla="*/ 4937860 h 6858000"/>
              <a:gd name="connsiteX1153" fmla="*/ 4093717 w 12188651"/>
              <a:gd name="connsiteY1153" fmla="*/ 4954335 h 6858000"/>
              <a:gd name="connsiteX1154" fmla="*/ 4029246 w 12188651"/>
              <a:gd name="connsiteY1154" fmla="*/ 5018937 h 6858000"/>
              <a:gd name="connsiteX1155" fmla="*/ 3964644 w 12188651"/>
              <a:gd name="connsiteY1155" fmla="*/ 4954205 h 6858000"/>
              <a:gd name="connsiteX1156" fmla="*/ 3925342 w 12188651"/>
              <a:gd name="connsiteY1156" fmla="*/ 4937860 h 6858000"/>
              <a:gd name="connsiteX1157" fmla="*/ 1871366 w 12188651"/>
              <a:gd name="connsiteY1157" fmla="*/ 4937860 h 6858000"/>
              <a:gd name="connsiteX1158" fmla="*/ 1832193 w 12188651"/>
              <a:gd name="connsiteY1158" fmla="*/ 4954205 h 6858000"/>
              <a:gd name="connsiteX1159" fmla="*/ 1753714 w 12188651"/>
              <a:gd name="connsiteY1159" fmla="*/ 5032947 h 6858000"/>
              <a:gd name="connsiteX1160" fmla="*/ 1753714 w 12188651"/>
              <a:gd name="connsiteY1160" fmla="*/ 5111559 h 6858000"/>
              <a:gd name="connsiteX1161" fmla="*/ 1975271 w 12188651"/>
              <a:gd name="connsiteY1161" fmla="*/ 5333643 h 6858000"/>
              <a:gd name="connsiteX1162" fmla="*/ 2196836 w 12188651"/>
              <a:gd name="connsiteY1162" fmla="*/ 5111559 h 6858000"/>
              <a:gd name="connsiteX1163" fmla="*/ 2196836 w 12188651"/>
              <a:gd name="connsiteY1163" fmla="*/ 5032947 h 6858000"/>
              <a:gd name="connsiteX1164" fmla="*/ 2118358 w 12188651"/>
              <a:gd name="connsiteY1164" fmla="*/ 4954335 h 6858000"/>
              <a:gd name="connsiteX1165" fmla="*/ 2079175 w 12188651"/>
              <a:gd name="connsiteY1165" fmla="*/ 4937990 h 6858000"/>
              <a:gd name="connsiteX1166" fmla="*/ 2079045 w 12188651"/>
              <a:gd name="connsiteY1166" fmla="*/ 4937860 h 6858000"/>
              <a:gd name="connsiteX1167" fmla="*/ 2039742 w 12188651"/>
              <a:gd name="connsiteY1167" fmla="*/ 4954335 h 6858000"/>
              <a:gd name="connsiteX1168" fmla="*/ 1975271 w 12188651"/>
              <a:gd name="connsiteY1168" fmla="*/ 5018937 h 6858000"/>
              <a:gd name="connsiteX1169" fmla="*/ 1910671 w 12188651"/>
              <a:gd name="connsiteY1169" fmla="*/ 4954205 h 6858000"/>
              <a:gd name="connsiteX1170" fmla="*/ 1871366 w 12188651"/>
              <a:gd name="connsiteY1170" fmla="*/ 4937860 h 6858000"/>
              <a:gd name="connsiteX1171" fmla="*/ 0 w 12188651"/>
              <a:gd name="connsiteY1171" fmla="*/ 4767681 h 6858000"/>
              <a:gd name="connsiteX1172" fmla="*/ 255060 w 12188651"/>
              <a:gd name="connsiteY1172" fmla="*/ 4915290 h 6858000"/>
              <a:gd name="connsiteX1173" fmla="*/ 255060 w 12188651"/>
              <a:gd name="connsiteY1173" fmla="*/ 5301473 h 6858000"/>
              <a:gd name="connsiteX1174" fmla="*/ 0 w 12188651"/>
              <a:gd name="connsiteY1174" fmla="*/ 5449082 h 6858000"/>
              <a:gd name="connsiteX1175" fmla="*/ 0 w 12188651"/>
              <a:gd name="connsiteY1175" fmla="*/ 5254886 h 6858000"/>
              <a:gd name="connsiteX1176" fmla="*/ 142988 w 12188651"/>
              <a:gd name="connsiteY1176" fmla="*/ 5111559 h 6858000"/>
              <a:gd name="connsiteX1177" fmla="*/ 142988 w 12188651"/>
              <a:gd name="connsiteY1177" fmla="*/ 5032947 h 6858000"/>
              <a:gd name="connsiteX1178" fmla="*/ 64507 w 12188651"/>
              <a:gd name="connsiteY1178" fmla="*/ 4954335 h 6858000"/>
              <a:gd name="connsiteX1179" fmla="*/ 25332 w 12188651"/>
              <a:gd name="connsiteY1179" fmla="*/ 4937990 h 6858000"/>
              <a:gd name="connsiteX1180" fmla="*/ 25204 w 12188651"/>
              <a:gd name="connsiteY1180" fmla="*/ 4937860 h 6858000"/>
              <a:gd name="connsiteX1181" fmla="*/ 4287 w 12188651"/>
              <a:gd name="connsiteY1181" fmla="*/ 4941963 h 6858000"/>
              <a:gd name="connsiteX1182" fmla="*/ 0 w 12188651"/>
              <a:gd name="connsiteY1182" fmla="*/ 4944847 h 6858000"/>
              <a:gd name="connsiteX1183" fmla="*/ 12188651 w 12188651"/>
              <a:gd name="connsiteY1183" fmla="*/ 4754431 h 6858000"/>
              <a:gd name="connsiteX1184" fmla="*/ 12188651 w 12188651"/>
              <a:gd name="connsiteY1184" fmla="*/ 4962884 h 6858000"/>
              <a:gd name="connsiteX1185" fmla="*/ 12179990 w 12188651"/>
              <a:gd name="connsiteY1185" fmla="*/ 4954205 h 6858000"/>
              <a:gd name="connsiteX1186" fmla="*/ 12140685 w 12188651"/>
              <a:gd name="connsiteY1186" fmla="*/ 4937860 h 6858000"/>
              <a:gd name="connsiteX1187" fmla="*/ 12101510 w 12188651"/>
              <a:gd name="connsiteY1187" fmla="*/ 4954205 h 6858000"/>
              <a:gd name="connsiteX1188" fmla="*/ 12023031 w 12188651"/>
              <a:gd name="connsiteY1188" fmla="*/ 5032947 h 6858000"/>
              <a:gd name="connsiteX1189" fmla="*/ 12023031 w 12188651"/>
              <a:gd name="connsiteY1189" fmla="*/ 5111559 h 6858000"/>
              <a:gd name="connsiteX1190" fmla="*/ 12188651 w 12188651"/>
              <a:gd name="connsiteY1190" fmla="*/ 5277572 h 6858000"/>
              <a:gd name="connsiteX1191" fmla="*/ 12188651 w 12188651"/>
              <a:gd name="connsiteY1191" fmla="*/ 5462331 h 6858000"/>
              <a:gd name="connsiteX1192" fmla="*/ 11910696 w 12188651"/>
              <a:gd name="connsiteY1192" fmla="*/ 5301472 h 6858000"/>
              <a:gd name="connsiteX1193" fmla="*/ 11910696 w 12188651"/>
              <a:gd name="connsiteY1193" fmla="*/ 4915290 h 6858000"/>
              <a:gd name="connsiteX1194" fmla="*/ 2668513 w 12188651"/>
              <a:gd name="connsiteY1194" fmla="*/ 4727338 h 6858000"/>
              <a:gd name="connsiteX1195" fmla="*/ 2993946 w 12188651"/>
              <a:gd name="connsiteY1195" fmla="*/ 4915678 h 6858000"/>
              <a:gd name="connsiteX1196" fmla="*/ 2993946 w 12188651"/>
              <a:gd name="connsiteY1196" fmla="*/ 5292504 h 6858000"/>
              <a:gd name="connsiteX1197" fmla="*/ 2668513 w 12188651"/>
              <a:gd name="connsiteY1197" fmla="*/ 5104164 h 6858000"/>
              <a:gd name="connsiteX1198" fmla="*/ 614537 w 12188651"/>
              <a:gd name="connsiteY1198" fmla="*/ 4727338 h 6858000"/>
              <a:gd name="connsiteX1199" fmla="*/ 939970 w 12188651"/>
              <a:gd name="connsiteY1199" fmla="*/ 4915678 h 6858000"/>
              <a:gd name="connsiteX1200" fmla="*/ 939970 w 12188651"/>
              <a:gd name="connsiteY1200" fmla="*/ 5292505 h 6858000"/>
              <a:gd name="connsiteX1201" fmla="*/ 614537 w 12188651"/>
              <a:gd name="connsiteY1201" fmla="*/ 5104164 h 6858000"/>
              <a:gd name="connsiteX1202" fmla="*/ 2652140 w 12188651"/>
              <a:gd name="connsiteY1202" fmla="*/ 4727337 h 6858000"/>
              <a:gd name="connsiteX1203" fmla="*/ 2652140 w 12188651"/>
              <a:gd name="connsiteY1203" fmla="*/ 5104165 h 6858000"/>
              <a:gd name="connsiteX1204" fmla="*/ 2326580 w 12188651"/>
              <a:gd name="connsiteY1204" fmla="*/ 5292504 h 6858000"/>
              <a:gd name="connsiteX1205" fmla="*/ 2326580 w 12188651"/>
              <a:gd name="connsiteY1205" fmla="*/ 4915677 h 6858000"/>
              <a:gd name="connsiteX1206" fmla="*/ 598165 w 12188651"/>
              <a:gd name="connsiteY1206" fmla="*/ 4727336 h 6858000"/>
              <a:gd name="connsiteX1207" fmla="*/ 598165 w 12188651"/>
              <a:gd name="connsiteY1207" fmla="*/ 5104165 h 6858000"/>
              <a:gd name="connsiteX1208" fmla="*/ 272602 w 12188651"/>
              <a:gd name="connsiteY1208" fmla="*/ 5292505 h 6858000"/>
              <a:gd name="connsiteX1209" fmla="*/ 272602 w 12188651"/>
              <a:gd name="connsiteY1209" fmla="*/ 4915677 h 6858000"/>
              <a:gd name="connsiteX1210" fmla="*/ 4722303 w 12188651"/>
              <a:gd name="connsiteY1210" fmla="*/ 4727330 h 6858000"/>
              <a:gd name="connsiteX1211" fmla="*/ 5047768 w 12188651"/>
              <a:gd name="connsiteY1211" fmla="*/ 4915678 h 6858000"/>
              <a:gd name="connsiteX1212" fmla="*/ 5047768 w 12188651"/>
              <a:gd name="connsiteY1212" fmla="*/ 5292507 h 6858000"/>
              <a:gd name="connsiteX1213" fmla="*/ 4722303 w 12188651"/>
              <a:gd name="connsiteY1213" fmla="*/ 5104164 h 6858000"/>
              <a:gd name="connsiteX1214" fmla="*/ 4705942 w 12188651"/>
              <a:gd name="connsiteY1214" fmla="*/ 4727326 h 6858000"/>
              <a:gd name="connsiteX1215" fmla="*/ 4705942 w 12188651"/>
              <a:gd name="connsiteY1215" fmla="*/ 5104165 h 6858000"/>
              <a:gd name="connsiteX1216" fmla="*/ 4598874 w 12188651"/>
              <a:gd name="connsiteY1216" fmla="*/ 5166110 h 6858000"/>
              <a:gd name="connsiteX1217" fmla="*/ 4380369 w 12188651"/>
              <a:gd name="connsiteY1217" fmla="*/ 5292515 h 6858000"/>
              <a:gd name="connsiteX1218" fmla="*/ 4380369 w 12188651"/>
              <a:gd name="connsiteY1218" fmla="*/ 4915677 h 6858000"/>
              <a:gd name="connsiteX1219" fmla="*/ 10883981 w 12188651"/>
              <a:gd name="connsiteY1219" fmla="*/ 4727322 h 6858000"/>
              <a:gd name="connsiteX1220" fmla="*/ 11209441 w 12188651"/>
              <a:gd name="connsiteY1220" fmla="*/ 4915678 h 6858000"/>
              <a:gd name="connsiteX1221" fmla="*/ 11209441 w 12188651"/>
              <a:gd name="connsiteY1221" fmla="*/ 5292520 h 6858000"/>
              <a:gd name="connsiteX1222" fmla="*/ 10883981 w 12188651"/>
              <a:gd name="connsiteY1222" fmla="*/ 5104164 h 6858000"/>
              <a:gd name="connsiteX1223" fmla="*/ 10867636 w 12188651"/>
              <a:gd name="connsiteY1223" fmla="*/ 4727322 h 6858000"/>
              <a:gd name="connsiteX1224" fmla="*/ 10867636 w 12188651"/>
              <a:gd name="connsiteY1224" fmla="*/ 5104164 h 6858000"/>
              <a:gd name="connsiteX1225" fmla="*/ 10542045 w 12188651"/>
              <a:gd name="connsiteY1225" fmla="*/ 5292521 h 6858000"/>
              <a:gd name="connsiteX1226" fmla="*/ 10542045 w 12188651"/>
              <a:gd name="connsiteY1226" fmla="*/ 4915678 h 6858000"/>
              <a:gd name="connsiteX1227" fmla="*/ 8830033 w 12188651"/>
              <a:gd name="connsiteY1227" fmla="*/ 4727322 h 6858000"/>
              <a:gd name="connsiteX1228" fmla="*/ 9155493 w 12188651"/>
              <a:gd name="connsiteY1228" fmla="*/ 4915678 h 6858000"/>
              <a:gd name="connsiteX1229" fmla="*/ 9155493 w 12188651"/>
              <a:gd name="connsiteY1229" fmla="*/ 5292520 h 6858000"/>
              <a:gd name="connsiteX1230" fmla="*/ 8830033 w 12188651"/>
              <a:gd name="connsiteY1230" fmla="*/ 5104164 h 6858000"/>
              <a:gd name="connsiteX1231" fmla="*/ 8813688 w 12188651"/>
              <a:gd name="connsiteY1231" fmla="*/ 4727322 h 6858000"/>
              <a:gd name="connsiteX1232" fmla="*/ 8813688 w 12188651"/>
              <a:gd name="connsiteY1232" fmla="*/ 5104164 h 6858000"/>
              <a:gd name="connsiteX1233" fmla="*/ 8488098 w 12188651"/>
              <a:gd name="connsiteY1233" fmla="*/ 5292520 h 6858000"/>
              <a:gd name="connsiteX1234" fmla="*/ 8488098 w 12188651"/>
              <a:gd name="connsiteY1234" fmla="*/ 4915678 h 6858000"/>
              <a:gd name="connsiteX1235" fmla="*/ 6776215 w 12188651"/>
              <a:gd name="connsiteY1235" fmla="*/ 4727322 h 6858000"/>
              <a:gd name="connsiteX1236" fmla="*/ 7101677 w 12188651"/>
              <a:gd name="connsiteY1236" fmla="*/ 4915678 h 6858000"/>
              <a:gd name="connsiteX1237" fmla="*/ 7101677 w 12188651"/>
              <a:gd name="connsiteY1237" fmla="*/ 5292521 h 6858000"/>
              <a:gd name="connsiteX1238" fmla="*/ 6776215 w 12188651"/>
              <a:gd name="connsiteY1238" fmla="*/ 5104164 h 6858000"/>
              <a:gd name="connsiteX1239" fmla="*/ 6759871 w 12188651"/>
              <a:gd name="connsiteY1239" fmla="*/ 4727322 h 6858000"/>
              <a:gd name="connsiteX1240" fmla="*/ 6759871 w 12188651"/>
              <a:gd name="connsiteY1240" fmla="*/ 5104164 h 6858000"/>
              <a:gd name="connsiteX1241" fmla="*/ 6434280 w 12188651"/>
              <a:gd name="connsiteY1241" fmla="*/ 5292521 h 6858000"/>
              <a:gd name="connsiteX1242" fmla="*/ 6434280 w 12188651"/>
              <a:gd name="connsiteY1242" fmla="*/ 4915678 h 6858000"/>
              <a:gd name="connsiteX1243" fmla="*/ 3344069 w 12188651"/>
              <a:gd name="connsiteY1243" fmla="*/ 4722530 h 6858000"/>
              <a:gd name="connsiteX1244" fmla="*/ 3677814 w 12188651"/>
              <a:gd name="connsiteY1244" fmla="*/ 4915678 h 6858000"/>
              <a:gd name="connsiteX1245" fmla="*/ 3677814 w 12188651"/>
              <a:gd name="connsiteY1245" fmla="*/ 5301992 h 6858000"/>
              <a:gd name="connsiteX1246" fmla="*/ 3344201 w 12188651"/>
              <a:gd name="connsiteY1246" fmla="*/ 5495140 h 6858000"/>
              <a:gd name="connsiteX1247" fmla="*/ 3010451 w 12188651"/>
              <a:gd name="connsiteY1247" fmla="*/ 5301991 h 6858000"/>
              <a:gd name="connsiteX1248" fmla="*/ 3010451 w 12188651"/>
              <a:gd name="connsiteY1248" fmla="*/ 4915677 h 6858000"/>
              <a:gd name="connsiteX1249" fmla="*/ 1290091 w 12188651"/>
              <a:gd name="connsiteY1249" fmla="*/ 4722529 h 6858000"/>
              <a:gd name="connsiteX1250" fmla="*/ 1623841 w 12188651"/>
              <a:gd name="connsiteY1250" fmla="*/ 4915678 h 6858000"/>
              <a:gd name="connsiteX1251" fmla="*/ 1623841 w 12188651"/>
              <a:gd name="connsiteY1251" fmla="*/ 5301992 h 6858000"/>
              <a:gd name="connsiteX1252" fmla="*/ 1290221 w 12188651"/>
              <a:gd name="connsiteY1252" fmla="*/ 5495140 h 6858000"/>
              <a:gd name="connsiteX1253" fmla="*/ 956471 w 12188651"/>
              <a:gd name="connsiteY1253" fmla="*/ 5301991 h 6858000"/>
              <a:gd name="connsiteX1254" fmla="*/ 956471 w 12188651"/>
              <a:gd name="connsiteY1254" fmla="*/ 4915677 h 6858000"/>
              <a:gd name="connsiteX1255" fmla="*/ 5397866 w 12188651"/>
              <a:gd name="connsiteY1255" fmla="*/ 4722526 h 6858000"/>
              <a:gd name="connsiteX1256" fmla="*/ 5731614 w 12188651"/>
              <a:gd name="connsiteY1256" fmla="*/ 4915678 h 6858000"/>
              <a:gd name="connsiteX1257" fmla="*/ 5731614 w 12188651"/>
              <a:gd name="connsiteY1257" fmla="*/ 5301991 h 6858000"/>
              <a:gd name="connsiteX1258" fmla="*/ 5571733 w 12188651"/>
              <a:gd name="connsiteY1258" fmla="*/ 5394557 h 6858000"/>
              <a:gd name="connsiteX1259" fmla="*/ 5398006 w 12188651"/>
              <a:gd name="connsiteY1259" fmla="*/ 5495143 h 6858000"/>
              <a:gd name="connsiteX1260" fmla="*/ 5064265 w 12188651"/>
              <a:gd name="connsiteY1260" fmla="*/ 5301991 h 6858000"/>
              <a:gd name="connsiteX1261" fmla="*/ 5064265 w 12188651"/>
              <a:gd name="connsiteY1261" fmla="*/ 4915677 h 6858000"/>
              <a:gd name="connsiteX1262" fmla="*/ 11559549 w 12188651"/>
              <a:gd name="connsiteY1262" fmla="*/ 4722522 h 6858000"/>
              <a:gd name="connsiteX1263" fmla="*/ 11893312 w 12188651"/>
              <a:gd name="connsiteY1263" fmla="*/ 4915678 h 6858000"/>
              <a:gd name="connsiteX1264" fmla="*/ 11893312 w 12188651"/>
              <a:gd name="connsiteY1264" fmla="*/ 5301991 h 6858000"/>
              <a:gd name="connsiteX1265" fmla="*/ 11559680 w 12188651"/>
              <a:gd name="connsiteY1265" fmla="*/ 5495147 h 6858000"/>
              <a:gd name="connsiteX1266" fmla="*/ 11225916 w 12188651"/>
              <a:gd name="connsiteY1266" fmla="*/ 5301991 h 6858000"/>
              <a:gd name="connsiteX1267" fmla="*/ 11225916 w 12188651"/>
              <a:gd name="connsiteY1267" fmla="*/ 4915678 h 6858000"/>
              <a:gd name="connsiteX1268" fmla="*/ 9505601 w 12188651"/>
              <a:gd name="connsiteY1268" fmla="*/ 4722522 h 6858000"/>
              <a:gd name="connsiteX1269" fmla="*/ 9839364 w 12188651"/>
              <a:gd name="connsiteY1269" fmla="*/ 4915678 h 6858000"/>
              <a:gd name="connsiteX1270" fmla="*/ 9839364 w 12188651"/>
              <a:gd name="connsiteY1270" fmla="*/ 5301991 h 6858000"/>
              <a:gd name="connsiteX1271" fmla="*/ 9505731 w 12188651"/>
              <a:gd name="connsiteY1271" fmla="*/ 5495147 h 6858000"/>
              <a:gd name="connsiteX1272" fmla="*/ 9171969 w 12188651"/>
              <a:gd name="connsiteY1272" fmla="*/ 5301991 h 6858000"/>
              <a:gd name="connsiteX1273" fmla="*/ 9171969 w 12188651"/>
              <a:gd name="connsiteY1273" fmla="*/ 4915678 h 6858000"/>
              <a:gd name="connsiteX1274" fmla="*/ 7451785 w 12188651"/>
              <a:gd name="connsiteY1274" fmla="*/ 4722522 h 6858000"/>
              <a:gd name="connsiteX1275" fmla="*/ 7785548 w 12188651"/>
              <a:gd name="connsiteY1275" fmla="*/ 4915678 h 6858000"/>
              <a:gd name="connsiteX1276" fmla="*/ 7785548 w 12188651"/>
              <a:gd name="connsiteY1276" fmla="*/ 5301991 h 6858000"/>
              <a:gd name="connsiteX1277" fmla="*/ 7451915 w 12188651"/>
              <a:gd name="connsiteY1277" fmla="*/ 5495147 h 6858000"/>
              <a:gd name="connsiteX1278" fmla="*/ 7118150 w 12188651"/>
              <a:gd name="connsiteY1278" fmla="*/ 5301991 h 6858000"/>
              <a:gd name="connsiteX1279" fmla="*/ 7118150 w 12188651"/>
              <a:gd name="connsiteY1279" fmla="*/ 4915678 h 6858000"/>
              <a:gd name="connsiteX1280" fmla="*/ 4029112 w 12188651"/>
              <a:gd name="connsiteY1280" fmla="*/ 4722135 h 6858000"/>
              <a:gd name="connsiteX1281" fmla="*/ 4362838 w 12188651"/>
              <a:gd name="connsiteY1281" fmla="*/ 4915290 h 6858000"/>
              <a:gd name="connsiteX1282" fmla="*/ 4362838 w 12188651"/>
              <a:gd name="connsiteY1282" fmla="*/ 5301473 h 6858000"/>
              <a:gd name="connsiteX1283" fmla="*/ 4337499 w 12188651"/>
              <a:gd name="connsiteY1283" fmla="*/ 5316139 h 6858000"/>
              <a:gd name="connsiteX1284" fmla="*/ 4029115 w 12188651"/>
              <a:gd name="connsiteY1284" fmla="*/ 5494627 h 6858000"/>
              <a:gd name="connsiteX1285" fmla="*/ 3695358 w 12188651"/>
              <a:gd name="connsiteY1285" fmla="*/ 5301472 h 6858000"/>
              <a:gd name="connsiteX1286" fmla="*/ 3695358 w 12188651"/>
              <a:gd name="connsiteY1286" fmla="*/ 4915289 h 6858000"/>
              <a:gd name="connsiteX1287" fmla="*/ 1975140 w 12188651"/>
              <a:gd name="connsiteY1287" fmla="*/ 4722135 h 6858000"/>
              <a:gd name="connsiteX1288" fmla="*/ 2308909 w 12188651"/>
              <a:gd name="connsiteY1288" fmla="*/ 4915290 h 6858000"/>
              <a:gd name="connsiteX1289" fmla="*/ 2308909 w 12188651"/>
              <a:gd name="connsiteY1289" fmla="*/ 5301473 h 6858000"/>
              <a:gd name="connsiteX1290" fmla="*/ 1975142 w 12188651"/>
              <a:gd name="connsiteY1290" fmla="*/ 5494627 h 6858000"/>
              <a:gd name="connsiteX1291" fmla="*/ 1641381 w 12188651"/>
              <a:gd name="connsiteY1291" fmla="*/ 5301472 h 6858000"/>
              <a:gd name="connsiteX1292" fmla="*/ 1641381 w 12188651"/>
              <a:gd name="connsiteY1292" fmla="*/ 4915289 h 6858000"/>
              <a:gd name="connsiteX1293" fmla="*/ 10190640 w 12188651"/>
              <a:gd name="connsiteY1293" fmla="*/ 4722133 h 6858000"/>
              <a:gd name="connsiteX1294" fmla="*/ 10524404 w 12188651"/>
              <a:gd name="connsiteY1294" fmla="*/ 4915290 h 6858000"/>
              <a:gd name="connsiteX1295" fmla="*/ 10524404 w 12188651"/>
              <a:gd name="connsiteY1295" fmla="*/ 5301472 h 6858000"/>
              <a:gd name="connsiteX1296" fmla="*/ 10190640 w 12188651"/>
              <a:gd name="connsiteY1296" fmla="*/ 5494629 h 6858000"/>
              <a:gd name="connsiteX1297" fmla="*/ 9856876 w 12188651"/>
              <a:gd name="connsiteY1297" fmla="*/ 5301472 h 6858000"/>
              <a:gd name="connsiteX1298" fmla="*/ 9856876 w 12188651"/>
              <a:gd name="connsiteY1298" fmla="*/ 4915290 h 6858000"/>
              <a:gd name="connsiteX1299" fmla="*/ 8136693 w 12188651"/>
              <a:gd name="connsiteY1299" fmla="*/ 4722133 h 6858000"/>
              <a:gd name="connsiteX1300" fmla="*/ 8470456 w 12188651"/>
              <a:gd name="connsiteY1300" fmla="*/ 4915290 h 6858000"/>
              <a:gd name="connsiteX1301" fmla="*/ 8470456 w 12188651"/>
              <a:gd name="connsiteY1301" fmla="*/ 5301472 h 6858000"/>
              <a:gd name="connsiteX1302" fmla="*/ 8136693 w 12188651"/>
              <a:gd name="connsiteY1302" fmla="*/ 5494629 h 6858000"/>
              <a:gd name="connsiteX1303" fmla="*/ 7802930 w 12188651"/>
              <a:gd name="connsiteY1303" fmla="*/ 5301472 h 6858000"/>
              <a:gd name="connsiteX1304" fmla="*/ 7802930 w 12188651"/>
              <a:gd name="connsiteY1304" fmla="*/ 4915290 h 6858000"/>
              <a:gd name="connsiteX1305" fmla="*/ 6082876 w 12188651"/>
              <a:gd name="connsiteY1305" fmla="*/ 4722133 h 6858000"/>
              <a:gd name="connsiteX1306" fmla="*/ 6416638 w 12188651"/>
              <a:gd name="connsiteY1306" fmla="*/ 4915290 h 6858000"/>
              <a:gd name="connsiteX1307" fmla="*/ 6416638 w 12188651"/>
              <a:gd name="connsiteY1307" fmla="*/ 5301472 h 6858000"/>
              <a:gd name="connsiteX1308" fmla="*/ 6082876 w 12188651"/>
              <a:gd name="connsiteY1308" fmla="*/ 5494629 h 6858000"/>
              <a:gd name="connsiteX1309" fmla="*/ 5749136 w 12188651"/>
              <a:gd name="connsiteY1309" fmla="*/ 5301472 h 6858000"/>
              <a:gd name="connsiteX1310" fmla="*/ 5749136 w 12188651"/>
              <a:gd name="connsiteY1310" fmla="*/ 4915289 h 6858000"/>
              <a:gd name="connsiteX1311" fmla="*/ 5849860 w 12188651"/>
              <a:gd name="connsiteY1311" fmla="*/ 4856993 h 6858000"/>
              <a:gd name="connsiteX1312" fmla="*/ 3687311 w 12188651"/>
              <a:gd name="connsiteY1312" fmla="*/ 4524307 h 6858000"/>
              <a:gd name="connsiteX1313" fmla="*/ 4012766 w 12188651"/>
              <a:gd name="connsiteY1313" fmla="*/ 4712663 h 6858000"/>
              <a:gd name="connsiteX1314" fmla="*/ 3687184 w 12188651"/>
              <a:gd name="connsiteY1314" fmla="*/ 4901018 h 6858000"/>
              <a:gd name="connsiteX1315" fmla="*/ 3361728 w 12188651"/>
              <a:gd name="connsiteY1315" fmla="*/ 4712662 h 6858000"/>
              <a:gd name="connsiteX1316" fmla="*/ 1633335 w 12188651"/>
              <a:gd name="connsiteY1316" fmla="*/ 4524307 h 6858000"/>
              <a:gd name="connsiteX1317" fmla="*/ 1958793 w 12188651"/>
              <a:gd name="connsiteY1317" fmla="*/ 4712663 h 6858000"/>
              <a:gd name="connsiteX1318" fmla="*/ 1633206 w 12188651"/>
              <a:gd name="connsiteY1318" fmla="*/ 4901018 h 6858000"/>
              <a:gd name="connsiteX1319" fmla="*/ 1307748 w 12188651"/>
              <a:gd name="connsiteY1319" fmla="*/ 4712662 h 6858000"/>
              <a:gd name="connsiteX1320" fmla="*/ 11902654 w 12188651"/>
              <a:gd name="connsiteY1320" fmla="*/ 4524306 h 6858000"/>
              <a:gd name="connsiteX1321" fmla="*/ 12188651 w 12188651"/>
              <a:gd name="connsiteY1321" fmla="*/ 4689824 h 6858000"/>
              <a:gd name="connsiteX1322" fmla="*/ 12188651 w 12188651"/>
              <a:gd name="connsiteY1322" fmla="*/ 4735492 h 6858000"/>
              <a:gd name="connsiteX1323" fmla="*/ 11902524 w 12188651"/>
              <a:gd name="connsiteY1323" fmla="*/ 4901019 h 6858000"/>
              <a:gd name="connsiteX1324" fmla="*/ 11577062 w 12188651"/>
              <a:gd name="connsiteY1324" fmla="*/ 4712663 h 6858000"/>
              <a:gd name="connsiteX1325" fmla="*/ 9848833 w 12188651"/>
              <a:gd name="connsiteY1325" fmla="*/ 4524306 h 6858000"/>
              <a:gd name="connsiteX1326" fmla="*/ 10174295 w 12188651"/>
              <a:gd name="connsiteY1326" fmla="*/ 4712663 h 6858000"/>
              <a:gd name="connsiteX1327" fmla="*/ 9848703 w 12188651"/>
              <a:gd name="connsiteY1327" fmla="*/ 4901019 h 6858000"/>
              <a:gd name="connsiteX1328" fmla="*/ 9523243 w 12188651"/>
              <a:gd name="connsiteY1328" fmla="*/ 4712663 h 6858000"/>
              <a:gd name="connsiteX1329" fmla="*/ 7794888 w 12188651"/>
              <a:gd name="connsiteY1329" fmla="*/ 4524306 h 6858000"/>
              <a:gd name="connsiteX1330" fmla="*/ 8120347 w 12188651"/>
              <a:gd name="connsiteY1330" fmla="*/ 4712663 h 6858000"/>
              <a:gd name="connsiteX1331" fmla="*/ 7794758 w 12188651"/>
              <a:gd name="connsiteY1331" fmla="*/ 4901019 h 6858000"/>
              <a:gd name="connsiteX1332" fmla="*/ 7469298 w 12188651"/>
              <a:gd name="connsiteY1332" fmla="*/ 4712663 h 6858000"/>
              <a:gd name="connsiteX1333" fmla="*/ 5741090 w 12188651"/>
              <a:gd name="connsiteY1333" fmla="*/ 4524306 h 6858000"/>
              <a:gd name="connsiteX1334" fmla="*/ 6066531 w 12188651"/>
              <a:gd name="connsiteY1334" fmla="*/ 4712663 h 6858000"/>
              <a:gd name="connsiteX1335" fmla="*/ 5740963 w 12188651"/>
              <a:gd name="connsiteY1335" fmla="*/ 4901019 h 6858000"/>
              <a:gd name="connsiteX1336" fmla="*/ 5415520 w 12188651"/>
              <a:gd name="connsiteY1336" fmla="*/ 4712662 h 6858000"/>
              <a:gd name="connsiteX1337" fmla="*/ 2898361 w 12188651"/>
              <a:gd name="connsiteY1337" fmla="*/ 4360472 h 6858000"/>
              <a:gd name="connsiteX1338" fmla="*/ 2926109 w 12188651"/>
              <a:gd name="connsiteY1338" fmla="*/ 4372012 h 6858000"/>
              <a:gd name="connsiteX1339" fmla="*/ 2990709 w 12188651"/>
              <a:gd name="connsiteY1339" fmla="*/ 4436743 h 6858000"/>
              <a:gd name="connsiteX1340" fmla="*/ 3002253 w 12188651"/>
              <a:gd name="connsiteY1340" fmla="*/ 4448418 h 6858000"/>
              <a:gd name="connsiteX1341" fmla="*/ 3002263 w 12188651"/>
              <a:gd name="connsiteY1341" fmla="*/ 4448406 h 6858000"/>
              <a:gd name="connsiteX1342" fmla="*/ 3002276 w 12188651"/>
              <a:gd name="connsiteY1342" fmla="*/ 4448418 h 6858000"/>
              <a:gd name="connsiteX1343" fmla="*/ 3013818 w 12188651"/>
              <a:gd name="connsiteY1343" fmla="*/ 4436743 h 6858000"/>
              <a:gd name="connsiteX1344" fmla="*/ 3078289 w 12188651"/>
              <a:gd name="connsiteY1344" fmla="*/ 4372012 h 6858000"/>
              <a:gd name="connsiteX1345" fmla="*/ 3106038 w 12188651"/>
              <a:gd name="connsiteY1345" fmla="*/ 4360472 h 6858000"/>
              <a:gd name="connsiteX1346" fmla="*/ 3133656 w 12188651"/>
              <a:gd name="connsiteY1346" fmla="*/ 4372012 h 6858000"/>
              <a:gd name="connsiteX1347" fmla="*/ 3212135 w 12188651"/>
              <a:gd name="connsiteY1347" fmla="*/ 4450623 h 6858000"/>
              <a:gd name="connsiteX1348" fmla="*/ 3223679 w 12188651"/>
              <a:gd name="connsiteY1348" fmla="*/ 4478384 h 6858000"/>
              <a:gd name="connsiteX1349" fmla="*/ 3212265 w 12188651"/>
              <a:gd name="connsiteY1349" fmla="*/ 4506145 h 6858000"/>
              <a:gd name="connsiteX1350" fmla="*/ 3002263 w 12188651"/>
              <a:gd name="connsiteY1350" fmla="*/ 4716542 h 6858000"/>
              <a:gd name="connsiteX1351" fmla="*/ 2792265 w 12188651"/>
              <a:gd name="connsiteY1351" fmla="*/ 4506145 h 6858000"/>
              <a:gd name="connsiteX1352" fmla="*/ 2792265 w 12188651"/>
              <a:gd name="connsiteY1352" fmla="*/ 4450753 h 6858000"/>
              <a:gd name="connsiteX1353" fmla="*/ 2870741 w 12188651"/>
              <a:gd name="connsiteY1353" fmla="*/ 4372012 h 6858000"/>
              <a:gd name="connsiteX1354" fmla="*/ 844383 w 12188651"/>
              <a:gd name="connsiteY1354" fmla="*/ 4360472 h 6858000"/>
              <a:gd name="connsiteX1355" fmla="*/ 872131 w 12188651"/>
              <a:gd name="connsiteY1355" fmla="*/ 4372012 h 6858000"/>
              <a:gd name="connsiteX1356" fmla="*/ 936730 w 12188651"/>
              <a:gd name="connsiteY1356" fmla="*/ 4436743 h 6858000"/>
              <a:gd name="connsiteX1357" fmla="*/ 948275 w 12188651"/>
              <a:gd name="connsiteY1357" fmla="*/ 4448418 h 6858000"/>
              <a:gd name="connsiteX1358" fmla="*/ 948287 w 12188651"/>
              <a:gd name="connsiteY1358" fmla="*/ 4448407 h 6858000"/>
              <a:gd name="connsiteX1359" fmla="*/ 948298 w 12188651"/>
              <a:gd name="connsiteY1359" fmla="*/ 4448418 h 6858000"/>
              <a:gd name="connsiteX1360" fmla="*/ 959843 w 12188651"/>
              <a:gd name="connsiteY1360" fmla="*/ 4436743 h 6858000"/>
              <a:gd name="connsiteX1361" fmla="*/ 1024312 w 12188651"/>
              <a:gd name="connsiteY1361" fmla="*/ 4372012 h 6858000"/>
              <a:gd name="connsiteX1362" fmla="*/ 1052060 w 12188651"/>
              <a:gd name="connsiteY1362" fmla="*/ 4360472 h 6858000"/>
              <a:gd name="connsiteX1363" fmla="*/ 1079679 w 12188651"/>
              <a:gd name="connsiteY1363" fmla="*/ 4372012 h 6858000"/>
              <a:gd name="connsiteX1364" fmla="*/ 1158157 w 12188651"/>
              <a:gd name="connsiteY1364" fmla="*/ 4450623 h 6858000"/>
              <a:gd name="connsiteX1365" fmla="*/ 1169703 w 12188651"/>
              <a:gd name="connsiteY1365" fmla="*/ 4478384 h 6858000"/>
              <a:gd name="connsiteX1366" fmla="*/ 1158288 w 12188651"/>
              <a:gd name="connsiteY1366" fmla="*/ 4506145 h 6858000"/>
              <a:gd name="connsiteX1367" fmla="*/ 948287 w 12188651"/>
              <a:gd name="connsiteY1367" fmla="*/ 4716543 h 6858000"/>
              <a:gd name="connsiteX1368" fmla="*/ 738286 w 12188651"/>
              <a:gd name="connsiteY1368" fmla="*/ 4506145 h 6858000"/>
              <a:gd name="connsiteX1369" fmla="*/ 738286 w 12188651"/>
              <a:gd name="connsiteY1369" fmla="*/ 4450753 h 6858000"/>
              <a:gd name="connsiteX1370" fmla="*/ 816763 w 12188651"/>
              <a:gd name="connsiteY1370" fmla="*/ 4372012 h 6858000"/>
              <a:gd name="connsiteX1371" fmla="*/ 4952155 w 12188651"/>
              <a:gd name="connsiteY1371" fmla="*/ 4360469 h 6858000"/>
              <a:gd name="connsiteX1372" fmla="*/ 4979914 w 12188651"/>
              <a:gd name="connsiteY1372" fmla="*/ 4372012 h 6858000"/>
              <a:gd name="connsiteX1373" fmla="*/ 5044521 w 12188651"/>
              <a:gd name="connsiteY1373" fmla="*/ 4436743 h 6858000"/>
              <a:gd name="connsiteX1374" fmla="*/ 5056064 w 12188651"/>
              <a:gd name="connsiteY1374" fmla="*/ 4448418 h 6858000"/>
              <a:gd name="connsiteX1375" fmla="*/ 5056083 w 12188651"/>
              <a:gd name="connsiteY1375" fmla="*/ 4448408 h 6858000"/>
              <a:gd name="connsiteX1376" fmla="*/ 5056087 w 12188651"/>
              <a:gd name="connsiteY1376" fmla="*/ 4448418 h 6858000"/>
              <a:gd name="connsiteX1377" fmla="*/ 5067642 w 12188651"/>
              <a:gd name="connsiteY1377" fmla="*/ 4436743 h 6858000"/>
              <a:gd name="connsiteX1378" fmla="*/ 5132091 w 12188651"/>
              <a:gd name="connsiteY1378" fmla="*/ 4372012 h 6858000"/>
              <a:gd name="connsiteX1379" fmla="*/ 5159834 w 12188651"/>
              <a:gd name="connsiteY1379" fmla="*/ 4360469 h 6858000"/>
              <a:gd name="connsiteX1380" fmla="*/ 5187464 w 12188651"/>
              <a:gd name="connsiteY1380" fmla="*/ 4372012 h 6858000"/>
              <a:gd name="connsiteX1381" fmla="*/ 5265932 w 12188651"/>
              <a:gd name="connsiteY1381" fmla="*/ 4450623 h 6858000"/>
              <a:gd name="connsiteX1382" fmla="*/ 5277479 w 12188651"/>
              <a:gd name="connsiteY1382" fmla="*/ 4478384 h 6858000"/>
              <a:gd name="connsiteX1383" fmla="*/ 5266071 w 12188651"/>
              <a:gd name="connsiteY1383" fmla="*/ 4506145 h 6858000"/>
              <a:gd name="connsiteX1384" fmla="*/ 5056083 w 12188651"/>
              <a:gd name="connsiteY1384" fmla="*/ 4716544 h 6858000"/>
              <a:gd name="connsiteX1385" fmla="*/ 4846044 w 12188651"/>
              <a:gd name="connsiteY1385" fmla="*/ 4506145 h 6858000"/>
              <a:gd name="connsiteX1386" fmla="*/ 4846044 w 12188651"/>
              <a:gd name="connsiteY1386" fmla="*/ 4450753 h 6858000"/>
              <a:gd name="connsiteX1387" fmla="*/ 4924518 w 12188651"/>
              <a:gd name="connsiteY1387" fmla="*/ 4372012 h 6858000"/>
              <a:gd name="connsiteX1388" fmla="*/ 11113840 w 12188651"/>
              <a:gd name="connsiteY1388" fmla="*/ 4360467 h 6858000"/>
              <a:gd name="connsiteX1389" fmla="*/ 11141600 w 12188651"/>
              <a:gd name="connsiteY1389" fmla="*/ 4372012 h 6858000"/>
              <a:gd name="connsiteX1390" fmla="*/ 11206199 w 12188651"/>
              <a:gd name="connsiteY1390" fmla="*/ 4436743 h 6858000"/>
              <a:gd name="connsiteX1391" fmla="*/ 11217744 w 12188651"/>
              <a:gd name="connsiteY1391" fmla="*/ 4448418 h 6858000"/>
              <a:gd name="connsiteX1392" fmla="*/ 11229289 w 12188651"/>
              <a:gd name="connsiteY1392" fmla="*/ 4436743 h 6858000"/>
              <a:gd name="connsiteX1393" fmla="*/ 11293758 w 12188651"/>
              <a:gd name="connsiteY1393" fmla="*/ 4372012 h 6858000"/>
              <a:gd name="connsiteX1394" fmla="*/ 11321517 w 12188651"/>
              <a:gd name="connsiteY1394" fmla="*/ 4360467 h 6858000"/>
              <a:gd name="connsiteX1395" fmla="*/ 11349147 w 12188651"/>
              <a:gd name="connsiteY1395" fmla="*/ 4372012 h 6858000"/>
              <a:gd name="connsiteX1396" fmla="*/ 11427627 w 12188651"/>
              <a:gd name="connsiteY1396" fmla="*/ 4450623 h 6858000"/>
              <a:gd name="connsiteX1397" fmla="*/ 11439172 w 12188651"/>
              <a:gd name="connsiteY1397" fmla="*/ 4478384 h 6858000"/>
              <a:gd name="connsiteX1398" fmla="*/ 11427757 w 12188651"/>
              <a:gd name="connsiteY1398" fmla="*/ 4506145 h 6858000"/>
              <a:gd name="connsiteX1399" fmla="*/ 11217744 w 12188651"/>
              <a:gd name="connsiteY1399" fmla="*/ 4716554 h 6858000"/>
              <a:gd name="connsiteX1400" fmla="*/ 11007731 w 12188651"/>
              <a:gd name="connsiteY1400" fmla="*/ 4506145 h 6858000"/>
              <a:gd name="connsiteX1401" fmla="*/ 11007731 w 12188651"/>
              <a:gd name="connsiteY1401" fmla="*/ 4450753 h 6858000"/>
              <a:gd name="connsiteX1402" fmla="*/ 11086210 w 12188651"/>
              <a:gd name="connsiteY1402" fmla="*/ 4372012 h 6858000"/>
              <a:gd name="connsiteX1403" fmla="*/ 11113840 w 12188651"/>
              <a:gd name="connsiteY1403" fmla="*/ 4360467 h 6858000"/>
              <a:gd name="connsiteX1404" fmla="*/ 9059893 w 12188651"/>
              <a:gd name="connsiteY1404" fmla="*/ 4360467 h 6858000"/>
              <a:gd name="connsiteX1405" fmla="*/ 9087652 w 12188651"/>
              <a:gd name="connsiteY1405" fmla="*/ 4372012 h 6858000"/>
              <a:gd name="connsiteX1406" fmla="*/ 9152251 w 12188651"/>
              <a:gd name="connsiteY1406" fmla="*/ 4436743 h 6858000"/>
              <a:gd name="connsiteX1407" fmla="*/ 9163796 w 12188651"/>
              <a:gd name="connsiteY1407" fmla="*/ 4448418 h 6858000"/>
              <a:gd name="connsiteX1408" fmla="*/ 9163797 w 12188651"/>
              <a:gd name="connsiteY1408" fmla="*/ 4448418 h 6858000"/>
              <a:gd name="connsiteX1409" fmla="*/ 9175342 w 12188651"/>
              <a:gd name="connsiteY1409" fmla="*/ 4436743 h 6858000"/>
              <a:gd name="connsiteX1410" fmla="*/ 9239811 w 12188651"/>
              <a:gd name="connsiteY1410" fmla="*/ 4372012 h 6858000"/>
              <a:gd name="connsiteX1411" fmla="*/ 9267571 w 12188651"/>
              <a:gd name="connsiteY1411" fmla="*/ 4360467 h 6858000"/>
              <a:gd name="connsiteX1412" fmla="*/ 9295200 w 12188651"/>
              <a:gd name="connsiteY1412" fmla="*/ 4372012 h 6858000"/>
              <a:gd name="connsiteX1413" fmla="*/ 9373678 w 12188651"/>
              <a:gd name="connsiteY1413" fmla="*/ 4450623 h 6858000"/>
              <a:gd name="connsiteX1414" fmla="*/ 9385223 w 12188651"/>
              <a:gd name="connsiteY1414" fmla="*/ 4478384 h 6858000"/>
              <a:gd name="connsiteX1415" fmla="*/ 9373808 w 12188651"/>
              <a:gd name="connsiteY1415" fmla="*/ 4506145 h 6858000"/>
              <a:gd name="connsiteX1416" fmla="*/ 9163796 w 12188651"/>
              <a:gd name="connsiteY1416" fmla="*/ 4716554 h 6858000"/>
              <a:gd name="connsiteX1417" fmla="*/ 8953784 w 12188651"/>
              <a:gd name="connsiteY1417" fmla="*/ 4506145 h 6858000"/>
              <a:gd name="connsiteX1418" fmla="*/ 8953784 w 12188651"/>
              <a:gd name="connsiteY1418" fmla="*/ 4450753 h 6858000"/>
              <a:gd name="connsiteX1419" fmla="*/ 9032264 w 12188651"/>
              <a:gd name="connsiteY1419" fmla="*/ 4372012 h 6858000"/>
              <a:gd name="connsiteX1420" fmla="*/ 7006076 w 12188651"/>
              <a:gd name="connsiteY1420" fmla="*/ 4360467 h 6858000"/>
              <a:gd name="connsiteX1421" fmla="*/ 7033834 w 12188651"/>
              <a:gd name="connsiteY1421" fmla="*/ 4372012 h 6858000"/>
              <a:gd name="connsiteX1422" fmla="*/ 7098434 w 12188651"/>
              <a:gd name="connsiteY1422" fmla="*/ 4436743 h 6858000"/>
              <a:gd name="connsiteX1423" fmla="*/ 7109978 w 12188651"/>
              <a:gd name="connsiteY1423" fmla="*/ 4448418 h 6858000"/>
              <a:gd name="connsiteX1424" fmla="*/ 7121523 w 12188651"/>
              <a:gd name="connsiteY1424" fmla="*/ 4436743 h 6858000"/>
              <a:gd name="connsiteX1425" fmla="*/ 7185994 w 12188651"/>
              <a:gd name="connsiteY1425" fmla="*/ 4372012 h 6858000"/>
              <a:gd name="connsiteX1426" fmla="*/ 7213751 w 12188651"/>
              <a:gd name="connsiteY1426" fmla="*/ 4360467 h 6858000"/>
              <a:gd name="connsiteX1427" fmla="*/ 7241381 w 12188651"/>
              <a:gd name="connsiteY1427" fmla="*/ 4372012 h 6858000"/>
              <a:gd name="connsiteX1428" fmla="*/ 7319862 w 12188651"/>
              <a:gd name="connsiteY1428" fmla="*/ 4450623 h 6858000"/>
              <a:gd name="connsiteX1429" fmla="*/ 7331407 w 12188651"/>
              <a:gd name="connsiteY1429" fmla="*/ 4478384 h 6858000"/>
              <a:gd name="connsiteX1430" fmla="*/ 7319992 w 12188651"/>
              <a:gd name="connsiteY1430" fmla="*/ 4506145 h 6858000"/>
              <a:gd name="connsiteX1431" fmla="*/ 7109978 w 12188651"/>
              <a:gd name="connsiteY1431" fmla="*/ 4716554 h 6858000"/>
              <a:gd name="connsiteX1432" fmla="*/ 6899966 w 12188651"/>
              <a:gd name="connsiteY1432" fmla="*/ 4506145 h 6858000"/>
              <a:gd name="connsiteX1433" fmla="*/ 6899966 w 12188651"/>
              <a:gd name="connsiteY1433" fmla="*/ 4450753 h 6858000"/>
              <a:gd name="connsiteX1434" fmla="*/ 6978446 w 12188651"/>
              <a:gd name="connsiteY1434" fmla="*/ 4372012 h 6858000"/>
              <a:gd name="connsiteX1435" fmla="*/ 7006076 w 12188651"/>
              <a:gd name="connsiteY1435" fmla="*/ 4360467 h 6858000"/>
              <a:gd name="connsiteX1436" fmla="*/ 11113840 w 12188651"/>
              <a:gd name="connsiteY1436" fmla="*/ 4343992 h 6858000"/>
              <a:gd name="connsiteX1437" fmla="*/ 11074665 w 12188651"/>
              <a:gd name="connsiteY1437" fmla="*/ 4360336 h 6858000"/>
              <a:gd name="connsiteX1438" fmla="*/ 10996186 w 12188651"/>
              <a:gd name="connsiteY1438" fmla="*/ 4439078 h 6858000"/>
              <a:gd name="connsiteX1439" fmla="*/ 10996186 w 12188651"/>
              <a:gd name="connsiteY1439" fmla="*/ 4517690 h 6858000"/>
              <a:gd name="connsiteX1440" fmla="*/ 11217744 w 12188651"/>
              <a:gd name="connsiteY1440" fmla="*/ 4739774 h 6858000"/>
              <a:gd name="connsiteX1441" fmla="*/ 11439301 w 12188651"/>
              <a:gd name="connsiteY1441" fmla="*/ 4517690 h 6858000"/>
              <a:gd name="connsiteX1442" fmla="*/ 11439301 w 12188651"/>
              <a:gd name="connsiteY1442" fmla="*/ 4439078 h 6858000"/>
              <a:gd name="connsiteX1443" fmla="*/ 11360822 w 12188651"/>
              <a:gd name="connsiteY1443" fmla="*/ 4360467 h 6858000"/>
              <a:gd name="connsiteX1444" fmla="*/ 11321647 w 12188651"/>
              <a:gd name="connsiteY1444" fmla="*/ 4344121 h 6858000"/>
              <a:gd name="connsiteX1445" fmla="*/ 11321517 w 12188651"/>
              <a:gd name="connsiteY1445" fmla="*/ 4343992 h 6858000"/>
              <a:gd name="connsiteX1446" fmla="*/ 11282213 w 12188651"/>
              <a:gd name="connsiteY1446" fmla="*/ 4360467 h 6858000"/>
              <a:gd name="connsiteX1447" fmla="*/ 11217744 w 12188651"/>
              <a:gd name="connsiteY1447" fmla="*/ 4425069 h 6858000"/>
              <a:gd name="connsiteX1448" fmla="*/ 11153145 w 12188651"/>
              <a:gd name="connsiteY1448" fmla="*/ 4360336 h 6858000"/>
              <a:gd name="connsiteX1449" fmla="*/ 11113840 w 12188651"/>
              <a:gd name="connsiteY1449" fmla="*/ 4343992 h 6858000"/>
              <a:gd name="connsiteX1450" fmla="*/ 9059892 w 12188651"/>
              <a:gd name="connsiteY1450" fmla="*/ 4343992 h 6858000"/>
              <a:gd name="connsiteX1451" fmla="*/ 9020717 w 12188651"/>
              <a:gd name="connsiteY1451" fmla="*/ 4360336 h 6858000"/>
              <a:gd name="connsiteX1452" fmla="*/ 8942238 w 12188651"/>
              <a:gd name="connsiteY1452" fmla="*/ 4439078 h 6858000"/>
              <a:gd name="connsiteX1453" fmla="*/ 8942238 w 12188651"/>
              <a:gd name="connsiteY1453" fmla="*/ 4517690 h 6858000"/>
              <a:gd name="connsiteX1454" fmla="*/ 9163796 w 12188651"/>
              <a:gd name="connsiteY1454" fmla="*/ 4739774 h 6858000"/>
              <a:gd name="connsiteX1455" fmla="*/ 9163797 w 12188651"/>
              <a:gd name="connsiteY1455" fmla="*/ 4739774 h 6858000"/>
              <a:gd name="connsiteX1456" fmla="*/ 9385354 w 12188651"/>
              <a:gd name="connsiteY1456" fmla="*/ 4517690 h 6858000"/>
              <a:gd name="connsiteX1457" fmla="*/ 9385354 w 12188651"/>
              <a:gd name="connsiteY1457" fmla="*/ 4439078 h 6858000"/>
              <a:gd name="connsiteX1458" fmla="*/ 9306876 w 12188651"/>
              <a:gd name="connsiteY1458" fmla="*/ 4360467 h 6858000"/>
              <a:gd name="connsiteX1459" fmla="*/ 9267701 w 12188651"/>
              <a:gd name="connsiteY1459" fmla="*/ 4344121 h 6858000"/>
              <a:gd name="connsiteX1460" fmla="*/ 9267571 w 12188651"/>
              <a:gd name="connsiteY1460" fmla="*/ 4343992 h 6858000"/>
              <a:gd name="connsiteX1461" fmla="*/ 9267570 w 12188651"/>
              <a:gd name="connsiteY1461" fmla="*/ 4343992 h 6858000"/>
              <a:gd name="connsiteX1462" fmla="*/ 9228265 w 12188651"/>
              <a:gd name="connsiteY1462" fmla="*/ 4360467 h 6858000"/>
              <a:gd name="connsiteX1463" fmla="*/ 9163796 w 12188651"/>
              <a:gd name="connsiteY1463" fmla="*/ 4425069 h 6858000"/>
              <a:gd name="connsiteX1464" fmla="*/ 9099198 w 12188651"/>
              <a:gd name="connsiteY1464" fmla="*/ 4360336 h 6858000"/>
              <a:gd name="connsiteX1465" fmla="*/ 9059893 w 12188651"/>
              <a:gd name="connsiteY1465" fmla="*/ 4343992 h 6858000"/>
              <a:gd name="connsiteX1466" fmla="*/ 7006076 w 12188651"/>
              <a:gd name="connsiteY1466" fmla="*/ 4343992 h 6858000"/>
              <a:gd name="connsiteX1467" fmla="*/ 6966901 w 12188651"/>
              <a:gd name="connsiteY1467" fmla="*/ 4360336 h 6858000"/>
              <a:gd name="connsiteX1468" fmla="*/ 6888421 w 12188651"/>
              <a:gd name="connsiteY1468" fmla="*/ 4439078 h 6858000"/>
              <a:gd name="connsiteX1469" fmla="*/ 6888421 w 12188651"/>
              <a:gd name="connsiteY1469" fmla="*/ 4517690 h 6858000"/>
              <a:gd name="connsiteX1470" fmla="*/ 7109978 w 12188651"/>
              <a:gd name="connsiteY1470" fmla="*/ 4739774 h 6858000"/>
              <a:gd name="connsiteX1471" fmla="*/ 7331537 w 12188651"/>
              <a:gd name="connsiteY1471" fmla="*/ 4517690 h 6858000"/>
              <a:gd name="connsiteX1472" fmla="*/ 7331537 w 12188651"/>
              <a:gd name="connsiteY1472" fmla="*/ 4439078 h 6858000"/>
              <a:gd name="connsiteX1473" fmla="*/ 7253057 w 12188651"/>
              <a:gd name="connsiteY1473" fmla="*/ 4360467 h 6858000"/>
              <a:gd name="connsiteX1474" fmla="*/ 7213882 w 12188651"/>
              <a:gd name="connsiteY1474" fmla="*/ 4344121 h 6858000"/>
              <a:gd name="connsiteX1475" fmla="*/ 7213751 w 12188651"/>
              <a:gd name="connsiteY1475" fmla="*/ 4343992 h 6858000"/>
              <a:gd name="connsiteX1476" fmla="*/ 7174449 w 12188651"/>
              <a:gd name="connsiteY1476" fmla="*/ 4360467 h 6858000"/>
              <a:gd name="connsiteX1477" fmla="*/ 7109978 w 12188651"/>
              <a:gd name="connsiteY1477" fmla="*/ 4425069 h 6858000"/>
              <a:gd name="connsiteX1478" fmla="*/ 7045379 w 12188651"/>
              <a:gd name="connsiteY1478" fmla="*/ 4360336 h 6858000"/>
              <a:gd name="connsiteX1479" fmla="*/ 7006076 w 12188651"/>
              <a:gd name="connsiteY1479" fmla="*/ 4343992 h 6858000"/>
              <a:gd name="connsiteX1480" fmla="*/ 4952148 w 12188651"/>
              <a:gd name="connsiteY1480" fmla="*/ 4343992 h 6858000"/>
              <a:gd name="connsiteX1481" fmla="*/ 4912971 w 12188651"/>
              <a:gd name="connsiteY1481" fmla="*/ 4360336 h 6858000"/>
              <a:gd name="connsiteX1482" fmla="*/ 4834495 w 12188651"/>
              <a:gd name="connsiteY1482" fmla="*/ 4439078 h 6858000"/>
              <a:gd name="connsiteX1483" fmla="*/ 4834495 w 12188651"/>
              <a:gd name="connsiteY1483" fmla="*/ 4517690 h 6858000"/>
              <a:gd name="connsiteX1484" fmla="*/ 5056064 w 12188651"/>
              <a:gd name="connsiteY1484" fmla="*/ 4739774 h 6858000"/>
              <a:gd name="connsiteX1485" fmla="*/ 5056083 w 12188651"/>
              <a:gd name="connsiteY1485" fmla="*/ 4739764 h 6858000"/>
              <a:gd name="connsiteX1486" fmla="*/ 5056087 w 12188651"/>
              <a:gd name="connsiteY1486" fmla="*/ 4739774 h 6858000"/>
              <a:gd name="connsiteX1487" fmla="*/ 5277615 w 12188651"/>
              <a:gd name="connsiteY1487" fmla="*/ 4517690 h 6858000"/>
              <a:gd name="connsiteX1488" fmla="*/ 5277615 w 12188651"/>
              <a:gd name="connsiteY1488" fmla="*/ 4439078 h 6858000"/>
              <a:gd name="connsiteX1489" fmla="*/ 5199142 w 12188651"/>
              <a:gd name="connsiteY1489" fmla="*/ 4360467 h 6858000"/>
              <a:gd name="connsiteX1490" fmla="*/ 5159966 w 12188651"/>
              <a:gd name="connsiteY1490" fmla="*/ 4344121 h 6858000"/>
              <a:gd name="connsiteX1491" fmla="*/ 5159837 w 12188651"/>
              <a:gd name="connsiteY1491" fmla="*/ 4343992 h 6858000"/>
              <a:gd name="connsiteX1492" fmla="*/ 5159834 w 12188651"/>
              <a:gd name="connsiteY1492" fmla="*/ 4343994 h 6858000"/>
              <a:gd name="connsiteX1493" fmla="*/ 5159824 w 12188651"/>
              <a:gd name="connsiteY1493" fmla="*/ 4343992 h 6858000"/>
              <a:gd name="connsiteX1494" fmla="*/ 5120536 w 12188651"/>
              <a:gd name="connsiteY1494" fmla="*/ 4360467 h 6858000"/>
              <a:gd name="connsiteX1495" fmla="*/ 5056083 w 12188651"/>
              <a:gd name="connsiteY1495" fmla="*/ 4425059 h 6858000"/>
              <a:gd name="connsiteX1496" fmla="*/ 4991467 w 12188651"/>
              <a:gd name="connsiteY1496" fmla="*/ 4360336 h 6858000"/>
              <a:gd name="connsiteX1497" fmla="*/ 4952157 w 12188651"/>
              <a:gd name="connsiteY1497" fmla="*/ 4343992 h 6858000"/>
              <a:gd name="connsiteX1498" fmla="*/ 4952155 w 12188651"/>
              <a:gd name="connsiteY1498" fmla="*/ 4343993 h 6858000"/>
              <a:gd name="connsiteX1499" fmla="*/ 2898351 w 12188651"/>
              <a:gd name="connsiteY1499" fmla="*/ 4343992 h 6858000"/>
              <a:gd name="connsiteX1500" fmla="*/ 2859173 w 12188651"/>
              <a:gd name="connsiteY1500" fmla="*/ 4360336 h 6858000"/>
              <a:gd name="connsiteX1501" fmla="*/ 2780695 w 12188651"/>
              <a:gd name="connsiteY1501" fmla="*/ 4439078 h 6858000"/>
              <a:gd name="connsiteX1502" fmla="*/ 2780695 w 12188651"/>
              <a:gd name="connsiteY1502" fmla="*/ 4517690 h 6858000"/>
              <a:gd name="connsiteX1503" fmla="*/ 3002253 w 12188651"/>
              <a:gd name="connsiteY1503" fmla="*/ 4739774 h 6858000"/>
              <a:gd name="connsiteX1504" fmla="*/ 3002263 w 12188651"/>
              <a:gd name="connsiteY1504" fmla="*/ 4739762 h 6858000"/>
              <a:gd name="connsiteX1505" fmla="*/ 3002276 w 12188651"/>
              <a:gd name="connsiteY1505" fmla="*/ 4739774 h 6858000"/>
              <a:gd name="connsiteX1506" fmla="*/ 3223832 w 12188651"/>
              <a:gd name="connsiteY1506" fmla="*/ 4517690 h 6858000"/>
              <a:gd name="connsiteX1507" fmla="*/ 3223832 w 12188651"/>
              <a:gd name="connsiteY1507" fmla="*/ 4439078 h 6858000"/>
              <a:gd name="connsiteX1508" fmla="*/ 3145353 w 12188651"/>
              <a:gd name="connsiteY1508" fmla="*/ 4360467 h 6858000"/>
              <a:gd name="connsiteX1509" fmla="*/ 3106179 w 12188651"/>
              <a:gd name="connsiteY1509" fmla="*/ 4344121 h 6858000"/>
              <a:gd name="connsiteX1510" fmla="*/ 3106051 w 12188651"/>
              <a:gd name="connsiteY1510" fmla="*/ 4343992 h 6858000"/>
              <a:gd name="connsiteX1511" fmla="*/ 3106030 w 12188651"/>
              <a:gd name="connsiteY1511" fmla="*/ 4343996 h 6858000"/>
              <a:gd name="connsiteX1512" fmla="*/ 3106024 w 12188651"/>
              <a:gd name="connsiteY1512" fmla="*/ 4343992 h 6858000"/>
              <a:gd name="connsiteX1513" fmla="*/ 3066723 w 12188651"/>
              <a:gd name="connsiteY1513" fmla="*/ 4360467 h 6858000"/>
              <a:gd name="connsiteX1514" fmla="*/ 3002263 w 12188651"/>
              <a:gd name="connsiteY1514" fmla="*/ 4425057 h 6858000"/>
              <a:gd name="connsiteX1515" fmla="*/ 2937678 w 12188651"/>
              <a:gd name="connsiteY1515" fmla="*/ 4360336 h 6858000"/>
              <a:gd name="connsiteX1516" fmla="*/ 2898373 w 12188651"/>
              <a:gd name="connsiteY1516" fmla="*/ 4343992 h 6858000"/>
              <a:gd name="connsiteX1517" fmla="*/ 2898361 w 12188651"/>
              <a:gd name="connsiteY1517" fmla="*/ 4343995 h 6858000"/>
              <a:gd name="connsiteX1518" fmla="*/ 844371 w 12188651"/>
              <a:gd name="connsiteY1518" fmla="*/ 4343992 h 6858000"/>
              <a:gd name="connsiteX1519" fmla="*/ 805197 w 12188651"/>
              <a:gd name="connsiteY1519" fmla="*/ 4360336 h 6858000"/>
              <a:gd name="connsiteX1520" fmla="*/ 726717 w 12188651"/>
              <a:gd name="connsiteY1520" fmla="*/ 4439078 h 6858000"/>
              <a:gd name="connsiteX1521" fmla="*/ 726717 w 12188651"/>
              <a:gd name="connsiteY1521" fmla="*/ 4517690 h 6858000"/>
              <a:gd name="connsiteX1522" fmla="*/ 948275 w 12188651"/>
              <a:gd name="connsiteY1522" fmla="*/ 4739774 h 6858000"/>
              <a:gd name="connsiteX1523" fmla="*/ 948287 w 12188651"/>
              <a:gd name="connsiteY1523" fmla="*/ 4739763 h 6858000"/>
              <a:gd name="connsiteX1524" fmla="*/ 948298 w 12188651"/>
              <a:gd name="connsiteY1524" fmla="*/ 4739774 h 6858000"/>
              <a:gd name="connsiteX1525" fmla="*/ 1169855 w 12188651"/>
              <a:gd name="connsiteY1525" fmla="*/ 4517690 h 6858000"/>
              <a:gd name="connsiteX1526" fmla="*/ 1169855 w 12188651"/>
              <a:gd name="connsiteY1526" fmla="*/ 4439078 h 6858000"/>
              <a:gd name="connsiteX1527" fmla="*/ 1091377 w 12188651"/>
              <a:gd name="connsiteY1527" fmla="*/ 4360467 h 6858000"/>
              <a:gd name="connsiteX1528" fmla="*/ 1052202 w 12188651"/>
              <a:gd name="connsiteY1528" fmla="*/ 4344121 h 6858000"/>
              <a:gd name="connsiteX1529" fmla="*/ 1052072 w 12188651"/>
              <a:gd name="connsiteY1529" fmla="*/ 4343992 h 6858000"/>
              <a:gd name="connsiteX1530" fmla="*/ 1052054 w 12188651"/>
              <a:gd name="connsiteY1530" fmla="*/ 4343996 h 6858000"/>
              <a:gd name="connsiteX1531" fmla="*/ 1052050 w 12188651"/>
              <a:gd name="connsiteY1531" fmla="*/ 4343992 h 6858000"/>
              <a:gd name="connsiteX1532" fmla="*/ 1012746 w 12188651"/>
              <a:gd name="connsiteY1532" fmla="*/ 4360467 h 6858000"/>
              <a:gd name="connsiteX1533" fmla="*/ 948287 w 12188651"/>
              <a:gd name="connsiteY1533" fmla="*/ 4425058 h 6858000"/>
              <a:gd name="connsiteX1534" fmla="*/ 883699 w 12188651"/>
              <a:gd name="connsiteY1534" fmla="*/ 4360336 h 6858000"/>
              <a:gd name="connsiteX1535" fmla="*/ 844395 w 12188651"/>
              <a:gd name="connsiteY1535" fmla="*/ 4343992 h 6858000"/>
              <a:gd name="connsiteX1536" fmla="*/ 844383 w 12188651"/>
              <a:gd name="connsiteY1536" fmla="*/ 4343995 h 6858000"/>
              <a:gd name="connsiteX1537" fmla="*/ 11910826 w 12188651"/>
              <a:gd name="connsiteY1537" fmla="*/ 4133337 h 6858000"/>
              <a:gd name="connsiteX1538" fmla="*/ 12188651 w 12188651"/>
              <a:gd name="connsiteY1538" fmla="*/ 4294111 h 6858000"/>
              <a:gd name="connsiteX1539" fmla="*/ 12188651 w 12188651"/>
              <a:gd name="connsiteY1539" fmla="*/ 4670953 h 6858000"/>
              <a:gd name="connsiteX1540" fmla="*/ 11910826 w 12188651"/>
              <a:gd name="connsiteY1540" fmla="*/ 4510166 h 6858000"/>
              <a:gd name="connsiteX1541" fmla="*/ 11894481 w 12188651"/>
              <a:gd name="connsiteY1541" fmla="*/ 4133337 h 6858000"/>
              <a:gd name="connsiteX1542" fmla="*/ 11894481 w 12188651"/>
              <a:gd name="connsiteY1542" fmla="*/ 4510166 h 6858000"/>
              <a:gd name="connsiteX1543" fmla="*/ 11568890 w 12188651"/>
              <a:gd name="connsiteY1543" fmla="*/ 4698522 h 6858000"/>
              <a:gd name="connsiteX1544" fmla="*/ 11568890 w 12188651"/>
              <a:gd name="connsiteY1544" fmla="*/ 4321680 h 6858000"/>
              <a:gd name="connsiteX1545" fmla="*/ 9857006 w 12188651"/>
              <a:gd name="connsiteY1545" fmla="*/ 4133335 h 6858000"/>
              <a:gd name="connsiteX1546" fmla="*/ 10182468 w 12188651"/>
              <a:gd name="connsiteY1546" fmla="*/ 4321680 h 6858000"/>
              <a:gd name="connsiteX1547" fmla="*/ 10182468 w 12188651"/>
              <a:gd name="connsiteY1547" fmla="*/ 4698522 h 6858000"/>
              <a:gd name="connsiteX1548" fmla="*/ 9857006 w 12188651"/>
              <a:gd name="connsiteY1548" fmla="*/ 4510166 h 6858000"/>
              <a:gd name="connsiteX1549" fmla="*/ 9840661 w 12188651"/>
              <a:gd name="connsiteY1549" fmla="*/ 4133335 h 6858000"/>
              <a:gd name="connsiteX1550" fmla="*/ 9840661 w 12188651"/>
              <a:gd name="connsiteY1550" fmla="*/ 4510166 h 6858000"/>
              <a:gd name="connsiteX1551" fmla="*/ 9515070 w 12188651"/>
              <a:gd name="connsiteY1551" fmla="*/ 4698522 h 6858000"/>
              <a:gd name="connsiteX1552" fmla="*/ 9515070 w 12188651"/>
              <a:gd name="connsiteY1552" fmla="*/ 4321680 h 6858000"/>
              <a:gd name="connsiteX1553" fmla="*/ 7803060 w 12188651"/>
              <a:gd name="connsiteY1553" fmla="*/ 4133332 h 6858000"/>
              <a:gd name="connsiteX1554" fmla="*/ 8128521 w 12188651"/>
              <a:gd name="connsiteY1554" fmla="*/ 4321680 h 6858000"/>
              <a:gd name="connsiteX1555" fmla="*/ 8128521 w 12188651"/>
              <a:gd name="connsiteY1555" fmla="*/ 4698522 h 6858000"/>
              <a:gd name="connsiteX1556" fmla="*/ 7803060 w 12188651"/>
              <a:gd name="connsiteY1556" fmla="*/ 4510166 h 6858000"/>
              <a:gd name="connsiteX1557" fmla="*/ 7786715 w 12188651"/>
              <a:gd name="connsiteY1557" fmla="*/ 4133332 h 6858000"/>
              <a:gd name="connsiteX1558" fmla="*/ 7786715 w 12188651"/>
              <a:gd name="connsiteY1558" fmla="*/ 4510166 h 6858000"/>
              <a:gd name="connsiteX1559" fmla="*/ 7461125 w 12188651"/>
              <a:gd name="connsiteY1559" fmla="*/ 4698522 h 6858000"/>
              <a:gd name="connsiteX1560" fmla="*/ 7461125 w 12188651"/>
              <a:gd name="connsiteY1560" fmla="*/ 4321680 h 6858000"/>
              <a:gd name="connsiteX1561" fmla="*/ 5749264 w 12188651"/>
              <a:gd name="connsiteY1561" fmla="*/ 4133332 h 6858000"/>
              <a:gd name="connsiteX1562" fmla="*/ 6074705 w 12188651"/>
              <a:gd name="connsiteY1562" fmla="*/ 4321680 h 6858000"/>
              <a:gd name="connsiteX1563" fmla="*/ 6074705 w 12188651"/>
              <a:gd name="connsiteY1563" fmla="*/ 4698521 h 6858000"/>
              <a:gd name="connsiteX1564" fmla="*/ 5749264 w 12188651"/>
              <a:gd name="connsiteY1564" fmla="*/ 4510166 h 6858000"/>
              <a:gd name="connsiteX1565" fmla="*/ 3695486 w 12188651"/>
              <a:gd name="connsiteY1565" fmla="*/ 4133332 h 6858000"/>
              <a:gd name="connsiteX1566" fmla="*/ 4020939 w 12188651"/>
              <a:gd name="connsiteY1566" fmla="*/ 4321680 h 6858000"/>
              <a:gd name="connsiteX1567" fmla="*/ 4020939 w 12188651"/>
              <a:gd name="connsiteY1567" fmla="*/ 4698518 h 6858000"/>
              <a:gd name="connsiteX1568" fmla="*/ 3695486 w 12188651"/>
              <a:gd name="connsiteY1568" fmla="*/ 4510166 h 6858000"/>
              <a:gd name="connsiteX1569" fmla="*/ 3679138 w 12188651"/>
              <a:gd name="connsiteY1569" fmla="*/ 4133332 h 6858000"/>
              <a:gd name="connsiteX1570" fmla="*/ 3679138 w 12188651"/>
              <a:gd name="connsiteY1570" fmla="*/ 4510167 h 6858000"/>
              <a:gd name="connsiteX1571" fmla="*/ 3353557 w 12188651"/>
              <a:gd name="connsiteY1571" fmla="*/ 4698518 h 6858000"/>
              <a:gd name="connsiteX1572" fmla="*/ 3353557 w 12188651"/>
              <a:gd name="connsiteY1572" fmla="*/ 4321679 h 6858000"/>
              <a:gd name="connsiteX1573" fmla="*/ 5732921 w 12188651"/>
              <a:gd name="connsiteY1573" fmla="*/ 4133331 h 6858000"/>
              <a:gd name="connsiteX1574" fmla="*/ 5732921 w 12188651"/>
              <a:gd name="connsiteY1574" fmla="*/ 4510166 h 6858000"/>
              <a:gd name="connsiteX1575" fmla="*/ 5486388 w 12188651"/>
              <a:gd name="connsiteY1575" fmla="*/ 4652797 h 6858000"/>
              <a:gd name="connsiteX1576" fmla="*/ 5407352 w 12188651"/>
              <a:gd name="connsiteY1576" fmla="*/ 4698520 h 6858000"/>
              <a:gd name="connsiteX1577" fmla="*/ 5407352 w 12188651"/>
              <a:gd name="connsiteY1577" fmla="*/ 4321679 h 6858000"/>
              <a:gd name="connsiteX1578" fmla="*/ 1641509 w 12188651"/>
              <a:gd name="connsiteY1578" fmla="*/ 4133330 h 6858000"/>
              <a:gd name="connsiteX1579" fmla="*/ 1966966 w 12188651"/>
              <a:gd name="connsiteY1579" fmla="*/ 4321680 h 6858000"/>
              <a:gd name="connsiteX1580" fmla="*/ 1966966 w 12188651"/>
              <a:gd name="connsiteY1580" fmla="*/ 4698518 h 6858000"/>
              <a:gd name="connsiteX1581" fmla="*/ 1641509 w 12188651"/>
              <a:gd name="connsiteY1581" fmla="*/ 4510166 h 6858000"/>
              <a:gd name="connsiteX1582" fmla="*/ 1625160 w 12188651"/>
              <a:gd name="connsiteY1582" fmla="*/ 4133330 h 6858000"/>
              <a:gd name="connsiteX1583" fmla="*/ 1625160 w 12188651"/>
              <a:gd name="connsiteY1583" fmla="*/ 4510167 h 6858000"/>
              <a:gd name="connsiteX1584" fmla="*/ 1299576 w 12188651"/>
              <a:gd name="connsiteY1584" fmla="*/ 4698519 h 6858000"/>
              <a:gd name="connsiteX1585" fmla="*/ 1299576 w 12188651"/>
              <a:gd name="connsiteY1585" fmla="*/ 4321679 h 6858000"/>
              <a:gd name="connsiteX1586" fmla="*/ 10532576 w 12188651"/>
              <a:gd name="connsiteY1586" fmla="*/ 4128536 h 6858000"/>
              <a:gd name="connsiteX1587" fmla="*/ 10866339 w 12188651"/>
              <a:gd name="connsiteY1587" fmla="*/ 4321680 h 6858000"/>
              <a:gd name="connsiteX1588" fmla="*/ 10866339 w 12188651"/>
              <a:gd name="connsiteY1588" fmla="*/ 4707993 h 6858000"/>
              <a:gd name="connsiteX1589" fmla="*/ 10532706 w 12188651"/>
              <a:gd name="connsiteY1589" fmla="*/ 4901148 h 6858000"/>
              <a:gd name="connsiteX1590" fmla="*/ 10198941 w 12188651"/>
              <a:gd name="connsiteY1590" fmla="*/ 4707993 h 6858000"/>
              <a:gd name="connsiteX1591" fmla="*/ 10198941 w 12188651"/>
              <a:gd name="connsiteY1591" fmla="*/ 4321680 h 6858000"/>
              <a:gd name="connsiteX1592" fmla="*/ 8478628 w 12188651"/>
              <a:gd name="connsiteY1592" fmla="*/ 4128533 h 6858000"/>
              <a:gd name="connsiteX1593" fmla="*/ 8812392 w 12188651"/>
              <a:gd name="connsiteY1593" fmla="*/ 4321680 h 6858000"/>
              <a:gd name="connsiteX1594" fmla="*/ 8812392 w 12188651"/>
              <a:gd name="connsiteY1594" fmla="*/ 4707993 h 6858000"/>
              <a:gd name="connsiteX1595" fmla="*/ 8478758 w 12188651"/>
              <a:gd name="connsiteY1595" fmla="*/ 4901148 h 6858000"/>
              <a:gd name="connsiteX1596" fmla="*/ 8144995 w 12188651"/>
              <a:gd name="connsiteY1596" fmla="*/ 4707993 h 6858000"/>
              <a:gd name="connsiteX1597" fmla="*/ 8144995 w 12188651"/>
              <a:gd name="connsiteY1597" fmla="*/ 4321680 h 6858000"/>
              <a:gd name="connsiteX1598" fmla="*/ 6424810 w 12188651"/>
              <a:gd name="connsiteY1598" fmla="*/ 4128533 h 6858000"/>
              <a:gd name="connsiteX1599" fmla="*/ 6758573 w 12188651"/>
              <a:gd name="connsiteY1599" fmla="*/ 4321680 h 6858000"/>
              <a:gd name="connsiteX1600" fmla="*/ 6758573 w 12188651"/>
              <a:gd name="connsiteY1600" fmla="*/ 4707993 h 6858000"/>
              <a:gd name="connsiteX1601" fmla="*/ 6424940 w 12188651"/>
              <a:gd name="connsiteY1601" fmla="*/ 4901148 h 6858000"/>
              <a:gd name="connsiteX1602" fmla="*/ 6091179 w 12188651"/>
              <a:gd name="connsiteY1602" fmla="*/ 4707993 h 6858000"/>
              <a:gd name="connsiteX1603" fmla="*/ 6091179 w 12188651"/>
              <a:gd name="connsiteY1603" fmla="*/ 4321680 h 6858000"/>
              <a:gd name="connsiteX1604" fmla="*/ 4371009 w 12188651"/>
              <a:gd name="connsiteY1604" fmla="*/ 4128531 h 6858000"/>
              <a:gd name="connsiteX1605" fmla="*/ 4704773 w 12188651"/>
              <a:gd name="connsiteY1605" fmla="*/ 4321680 h 6858000"/>
              <a:gd name="connsiteX1606" fmla="*/ 4704773 w 12188651"/>
              <a:gd name="connsiteY1606" fmla="*/ 4707993 h 6858000"/>
              <a:gd name="connsiteX1607" fmla="*/ 4371146 w 12188651"/>
              <a:gd name="connsiteY1607" fmla="*/ 4901148 h 6858000"/>
              <a:gd name="connsiteX1608" fmla="*/ 4037423 w 12188651"/>
              <a:gd name="connsiteY1608" fmla="*/ 4707993 h 6858000"/>
              <a:gd name="connsiteX1609" fmla="*/ 4037423 w 12188651"/>
              <a:gd name="connsiteY1609" fmla="*/ 4321679 h 6858000"/>
              <a:gd name="connsiteX1610" fmla="*/ 4350583 w 12188651"/>
              <a:gd name="connsiteY1610" fmla="*/ 4140356 h 6858000"/>
              <a:gd name="connsiteX1611" fmla="*/ 2317082 w 12188651"/>
              <a:gd name="connsiteY1611" fmla="*/ 4128531 h 6858000"/>
              <a:gd name="connsiteX1612" fmla="*/ 2650840 w 12188651"/>
              <a:gd name="connsiteY1612" fmla="*/ 4321680 h 6858000"/>
              <a:gd name="connsiteX1613" fmla="*/ 2650840 w 12188651"/>
              <a:gd name="connsiteY1613" fmla="*/ 4707994 h 6858000"/>
              <a:gd name="connsiteX1614" fmla="*/ 2317213 w 12188651"/>
              <a:gd name="connsiteY1614" fmla="*/ 4901146 h 6858000"/>
              <a:gd name="connsiteX1615" fmla="*/ 1983445 w 12188651"/>
              <a:gd name="connsiteY1615" fmla="*/ 4707993 h 6858000"/>
              <a:gd name="connsiteX1616" fmla="*/ 1983445 w 12188651"/>
              <a:gd name="connsiteY1616" fmla="*/ 4321679 h 6858000"/>
              <a:gd name="connsiteX1617" fmla="*/ 263235 w 12188651"/>
              <a:gd name="connsiteY1617" fmla="*/ 4128527 h 6858000"/>
              <a:gd name="connsiteX1618" fmla="*/ 596995 w 12188651"/>
              <a:gd name="connsiteY1618" fmla="*/ 4321680 h 6858000"/>
              <a:gd name="connsiteX1619" fmla="*/ 596995 w 12188651"/>
              <a:gd name="connsiteY1619" fmla="*/ 4707994 h 6858000"/>
              <a:gd name="connsiteX1620" fmla="*/ 263366 w 12188651"/>
              <a:gd name="connsiteY1620" fmla="*/ 4901147 h 6858000"/>
              <a:gd name="connsiteX1621" fmla="*/ 0 w 12188651"/>
              <a:gd name="connsiteY1621" fmla="*/ 4748731 h 6858000"/>
              <a:gd name="connsiteX1622" fmla="*/ 0 w 12188651"/>
              <a:gd name="connsiteY1622" fmla="*/ 4280925 h 6858000"/>
              <a:gd name="connsiteX1623" fmla="*/ 11217614 w 12188651"/>
              <a:gd name="connsiteY1623" fmla="*/ 4128280 h 6858000"/>
              <a:gd name="connsiteX1624" fmla="*/ 11551377 w 12188651"/>
              <a:gd name="connsiteY1624" fmla="*/ 4321420 h 6858000"/>
              <a:gd name="connsiteX1625" fmla="*/ 11551377 w 12188651"/>
              <a:gd name="connsiteY1625" fmla="*/ 4707602 h 6858000"/>
              <a:gd name="connsiteX1626" fmla="*/ 11217614 w 12188651"/>
              <a:gd name="connsiteY1626" fmla="*/ 4900759 h 6858000"/>
              <a:gd name="connsiteX1627" fmla="*/ 10883851 w 12188651"/>
              <a:gd name="connsiteY1627" fmla="*/ 4707602 h 6858000"/>
              <a:gd name="connsiteX1628" fmla="*/ 10883851 w 12188651"/>
              <a:gd name="connsiteY1628" fmla="*/ 4321420 h 6858000"/>
              <a:gd name="connsiteX1629" fmla="*/ 5055955 w 12188651"/>
              <a:gd name="connsiteY1629" fmla="*/ 4128279 h 6858000"/>
              <a:gd name="connsiteX1630" fmla="*/ 5389688 w 12188651"/>
              <a:gd name="connsiteY1630" fmla="*/ 4321420 h 6858000"/>
              <a:gd name="connsiteX1631" fmla="*/ 5389688 w 12188651"/>
              <a:gd name="connsiteY1631" fmla="*/ 4707603 h 6858000"/>
              <a:gd name="connsiteX1632" fmla="*/ 5252155 w 12188651"/>
              <a:gd name="connsiteY1632" fmla="*/ 4787202 h 6858000"/>
              <a:gd name="connsiteX1633" fmla="*/ 5055955 w 12188651"/>
              <a:gd name="connsiteY1633" fmla="*/ 4900753 h 6858000"/>
              <a:gd name="connsiteX1634" fmla="*/ 4722175 w 12188651"/>
              <a:gd name="connsiteY1634" fmla="*/ 4707602 h 6858000"/>
              <a:gd name="connsiteX1635" fmla="*/ 4722175 w 12188651"/>
              <a:gd name="connsiteY1635" fmla="*/ 4321419 h 6858000"/>
              <a:gd name="connsiteX1636" fmla="*/ 9163666 w 12188651"/>
              <a:gd name="connsiteY1636" fmla="*/ 4128278 h 6858000"/>
              <a:gd name="connsiteX1637" fmla="*/ 9497429 w 12188651"/>
              <a:gd name="connsiteY1637" fmla="*/ 4321420 h 6858000"/>
              <a:gd name="connsiteX1638" fmla="*/ 9497429 w 12188651"/>
              <a:gd name="connsiteY1638" fmla="*/ 4707602 h 6858000"/>
              <a:gd name="connsiteX1639" fmla="*/ 9163666 w 12188651"/>
              <a:gd name="connsiteY1639" fmla="*/ 4900759 h 6858000"/>
              <a:gd name="connsiteX1640" fmla="*/ 8829903 w 12188651"/>
              <a:gd name="connsiteY1640" fmla="*/ 4707602 h 6858000"/>
              <a:gd name="connsiteX1641" fmla="*/ 8829903 w 12188651"/>
              <a:gd name="connsiteY1641" fmla="*/ 4321420 h 6858000"/>
              <a:gd name="connsiteX1642" fmla="*/ 8882054 w 12188651"/>
              <a:gd name="connsiteY1642" fmla="*/ 4291239 h 6858000"/>
              <a:gd name="connsiteX1643" fmla="*/ 7109850 w 12188651"/>
              <a:gd name="connsiteY1643" fmla="*/ 4128277 h 6858000"/>
              <a:gd name="connsiteX1644" fmla="*/ 7443613 w 12188651"/>
              <a:gd name="connsiteY1644" fmla="*/ 4321420 h 6858000"/>
              <a:gd name="connsiteX1645" fmla="*/ 7443613 w 12188651"/>
              <a:gd name="connsiteY1645" fmla="*/ 4707602 h 6858000"/>
              <a:gd name="connsiteX1646" fmla="*/ 7109850 w 12188651"/>
              <a:gd name="connsiteY1646" fmla="*/ 4900759 h 6858000"/>
              <a:gd name="connsiteX1647" fmla="*/ 6776085 w 12188651"/>
              <a:gd name="connsiteY1647" fmla="*/ 4707602 h 6858000"/>
              <a:gd name="connsiteX1648" fmla="*/ 6776085 w 12188651"/>
              <a:gd name="connsiteY1648" fmla="*/ 4321420 h 6858000"/>
              <a:gd name="connsiteX1649" fmla="*/ 3002137 w 12188651"/>
              <a:gd name="connsiteY1649" fmla="*/ 4128277 h 6858000"/>
              <a:gd name="connsiteX1650" fmla="*/ 3335888 w 12188651"/>
              <a:gd name="connsiteY1650" fmla="*/ 4321420 h 6858000"/>
              <a:gd name="connsiteX1651" fmla="*/ 3335888 w 12188651"/>
              <a:gd name="connsiteY1651" fmla="*/ 4707603 h 6858000"/>
              <a:gd name="connsiteX1652" fmla="*/ 3002137 w 12188651"/>
              <a:gd name="connsiteY1652" fmla="*/ 4900751 h 6858000"/>
              <a:gd name="connsiteX1653" fmla="*/ 2668385 w 12188651"/>
              <a:gd name="connsiteY1653" fmla="*/ 4707602 h 6858000"/>
              <a:gd name="connsiteX1654" fmla="*/ 2668385 w 12188651"/>
              <a:gd name="connsiteY1654" fmla="*/ 4321419 h 6858000"/>
              <a:gd name="connsiteX1655" fmla="*/ 948159 w 12188651"/>
              <a:gd name="connsiteY1655" fmla="*/ 4128274 h 6858000"/>
              <a:gd name="connsiteX1656" fmla="*/ 1281908 w 12188651"/>
              <a:gd name="connsiteY1656" fmla="*/ 4321420 h 6858000"/>
              <a:gd name="connsiteX1657" fmla="*/ 1281908 w 12188651"/>
              <a:gd name="connsiteY1657" fmla="*/ 4707603 h 6858000"/>
              <a:gd name="connsiteX1658" fmla="*/ 948159 w 12188651"/>
              <a:gd name="connsiteY1658" fmla="*/ 4900752 h 6858000"/>
              <a:gd name="connsiteX1659" fmla="*/ 614410 w 12188651"/>
              <a:gd name="connsiteY1659" fmla="*/ 4707602 h 6858000"/>
              <a:gd name="connsiteX1660" fmla="*/ 614410 w 12188651"/>
              <a:gd name="connsiteY1660" fmla="*/ 4321419 h 6858000"/>
              <a:gd name="connsiteX1661" fmla="*/ 10875809 w 12188651"/>
              <a:gd name="connsiteY1661" fmla="*/ 3930457 h 6858000"/>
              <a:gd name="connsiteX1662" fmla="*/ 11201267 w 12188651"/>
              <a:gd name="connsiteY1662" fmla="*/ 4118806 h 6858000"/>
              <a:gd name="connsiteX1663" fmla="*/ 10875678 w 12188651"/>
              <a:gd name="connsiteY1663" fmla="*/ 4307149 h 6858000"/>
              <a:gd name="connsiteX1664" fmla="*/ 10809085 w 12188651"/>
              <a:gd name="connsiteY1664" fmla="*/ 4268609 h 6858000"/>
              <a:gd name="connsiteX1665" fmla="*/ 10550220 w 12188651"/>
              <a:gd name="connsiteY1665" fmla="*/ 4118806 h 6858000"/>
              <a:gd name="connsiteX1666" fmla="*/ 8821860 w 12188651"/>
              <a:gd name="connsiteY1666" fmla="*/ 3930452 h 6858000"/>
              <a:gd name="connsiteX1667" fmla="*/ 9147319 w 12188651"/>
              <a:gd name="connsiteY1667" fmla="*/ 4118806 h 6858000"/>
              <a:gd name="connsiteX1668" fmla="*/ 8913010 w 12188651"/>
              <a:gd name="connsiteY1668" fmla="*/ 4254344 h 6858000"/>
              <a:gd name="connsiteX1669" fmla="*/ 8821731 w 12188651"/>
              <a:gd name="connsiteY1669" fmla="*/ 4307149 h 6858000"/>
              <a:gd name="connsiteX1670" fmla="*/ 8496271 w 12188651"/>
              <a:gd name="connsiteY1670" fmla="*/ 4118806 h 6858000"/>
              <a:gd name="connsiteX1671" fmla="*/ 6768043 w 12188651"/>
              <a:gd name="connsiteY1671" fmla="*/ 3930449 h 6858000"/>
              <a:gd name="connsiteX1672" fmla="*/ 7093503 w 12188651"/>
              <a:gd name="connsiteY1672" fmla="*/ 4118805 h 6858000"/>
              <a:gd name="connsiteX1673" fmla="*/ 6767913 w 12188651"/>
              <a:gd name="connsiteY1673" fmla="*/ 4307149 h 6858000"/>
              <a:gd name="connsiteX1674" fmla="*/ 6442454 w 12188651"/>
              <a:gd name="connsiteY1674" fmla="*/ 4118805 h 6858000"/>
              <a:gd name="connsiteX1675" fmla="*/ 4714120 w 12188651"/>
              <a:gd name="connsiteY1675" fmla="*/ 3930449 h 6858000"/>
              <a:gd name="connsiteX1676" fmla="*/ 5039593 w 12188651"/>
              <a:gd name="connsiteY1676" fmla="*/ 4118798 h 6858000"/>
              <a:gd name="connsiteX1677" fmla="*/ 5020751 w 12188651"/>
              <a:gd name="connsiteY1677" fmla="*/ 4129700 h 6858000"/>
              <a:gd name="connsiteX1678" fmla="*/ 4713993 w 12188651"/>
              <a:gd name="connsiteY1678" fmla="*/ 4307147 h 6858000"/>
              <a:gd name="connsiteX1679" fmla="*/ 4388541 w 12188651"/>
              <a:gd name="connsiteY1679" fmla="*/ 4118803 h 6858000"/>
              <a:gd name="connsiteX1680" fmla="*/ 2660333 w 12188651"/>
              <a:gd name="connsiteY1680" fmla="*/ 3930449 h 6858000"/>
              <a:gd name="connsiteX1681" fmla="*/ 2985780 w 12188651"/>
              <a:gd name="connsiteY1681" fmla="*/ 4118798 h 6858000"/>
              <a:gd name="connsiteX1682" fmla="*/ 2660203 w 12188651"/>
              <a:gd name="connsiteY1682" fmla="*/ 4307142 h 6858000"/>
              <a:gd name="connsiteX1683" fmla="*/ 2334757 w 12188651"/>
              <a:gd name="connsiteY1683" fmla="*/ 4118798 h 6858000"/>
              <a:gd name="connsiteX1684" fmla="*/ 606356 w 12188651"/>
              <a:gd name="connsiteY1684" fmla="*/ 3930447 h 6858000"/>
              <a:gd name="connsiteX1685" fmla="*/ 931801 w 12188651"/>
              <a:gd name="connsiteY1685" fmla="*/ 4118795 h 6858000"/>
              <a:gd name="connsiteX1686" fmla="*/ 606223 w 12188651"/>
              <a:gd name="connsiteY1686" fmla="*/ 4307142 h 6858000"/>
              <a:gd name="connsiteX1687" fmla="*/ 280775 w 12188651"/>
              <a:gd name="connsiteY1687" fmla="*/ 4118796 h 6858000"/>
              <a:gd name="connsiteX1688" fmla="*/ 12140685 w 12188651"/>
              <a:gd name="connsiteY1688" fmla="*/ 3766489 h 6858000"/>
              <a:gd name="connsiteX1689" fmla="*/ 12168445 w 12188651"/>
              <a:gd name="connsiteY1689" fmla="*/ 3778033 h 6858000"/>
              <a:gd name="connsiteX1690" fmla="*/ 12188651 w 12188651"/>
              <a:gd name="connsiteY1690" fmla="*/ 3798281 h 6858000"/>
              <a:gd name="connsiteX1691" fmla="*/ 12188651 w 12188651"/>
              <a:gd name="connsiteY1691" fmla="*/ 4066527 h 6858000"/>
              <a:gd name="connsiteX1692" fmla="*/ 12034576 w 12188651"/>
              <a:gd name="connsiteY1692" fmla="*/ 3912164 h 6858000"/>
              <a:gd name="connsiteX1693" fmla="*/ 12034576 w 12188651"/>
              <a:gd name="connsiteY1693" fmla="*/ 3856776 h 6858000"/>
              <a:gd name="connsiteX1694" fmla="*/ 12113056 w 12188651"/>
              <a:gd name="connsiteY1694" fmla="*/ 3778033 h 6858000"/>
              <a:gd name="connsiteX1695" fmla="*/ 12140685 w 12188651"/>
              <a:gd name="connsiteY1695" fmla="*/ 3766489 h 6858000"/>
              <a:gd name="connsiteX1696" fmla="*/ 10086867 w 12188651"/>
              <a:gd name="connsiteY1696" fmla="*/ 3766487 h 6858000"/>
              <a:gd name="connsiteX1697" fmla="*/ 10114626 w 12188651"/>
              <a:gd name="connsiteY1697" fmla="*/ 3778031 h 6858000"/>
              <a:gd name="connsiteX1698" fmla="*/ 10179226 w 12188651"/>
              <a:gd name="connsiteY1698" fmla="*/ 3842759 h 6858000"/>
              <a:gd name="connsiteX1699" fmla="*/ 10190770 w 12188651"/>
              <a:gd name="connsiteY1699" fmla="*/ 3854435 h 6858000"/>
              <a:gd name="connsiteX1700" fmla="*/ 10202315 w 12188651"/>
              <a:gd name="connsiteY1700" fmla="*/ 3842759 h 6858000"/>
              <a:gd name="connsiteX1701" fmla="*/ 10266786 w 12188651"/>
              <a:gd name="connsiteY1701" fmla="*/ 3778031 h 6858000"/>
              <a:gd name="connsiteX1702" fmla="*/ 10294543 w 12188651"/>
              <a:gd name="connsiteY1702" fmla="*/ 3766487 h 6858000"/>
              <a:gd name="connsiteX1703" fmla="*/ 10322173 w 12188651"/>
              <a:gd name="connsiteY1703" fmla="*/ 3778031 h 6858000"/>
              <a:gd name="connsiteX1704" fmla="*/ 10400653 w 12188651"/>
              <a:gd name="connsiteY1704" fmla="*/ 3856639 h 6858000"/>
              <a:gd name="connsiteX1705" fmla="*/ 10412198 w 12188651"/>
              <a:gd name="connsiteY1705" fmla="*/ 3884401 h 6858000"/>
              <a:gd name="connsiteX1706" fmla="*/ 10400783 w 12188651"/>
              <a:gd name="connsiteY1706" fmla="*/ 3912160 h 6858000"/>
              <a:gd name="connsiteX1707" fmla="*/ 10190770 w 12188651"/>
              <a:gd name="connsiteY1707" fmla="*/ 4122570 h 6858000"/>
              <a:gd name="connsiteX1708" fmla="*/ 9980757 w 12188651"/>
              <a:gd name="connsiteY1708" fmla="*/ 3912160 h 6858000"/>
              <a:gd name="connsiteX1709" fmla="*/ 9980757 w 12188651"/>
              <a:gd name="connsiteY1709" fmla="*/ 3856768 h 6858000"/>
              <a:gd name="connsiteX1710" fmla="*/ 10059237 w 12188651"/>
              <a:gd name="connsiteY1710" fmla="*/ 3778031 h 6858000"/>
              <a:gd name="connsiteX1711" fmla="*/ 10086867 w 12188651"/>
              <a:gd name="connsiteY1711" fmla="*/ 3766487 h 6858000"/>
              <a:gd name="connsiteX1712" fmla="*/ 8032919 w 12188651"/>
              <a:gd name="connsiteY1712" fmla="*/ 3766483 h 6858000"/>
              <a:gd name="connsiteX1713" fmla="*/ 8060679 w 12188651"/>
              <a:gd name="connsiteY1713" fmla="*/ 3778026 h 6858000"/>
              <a:gd name="connsiteX1714" fmla="*/ 8125278 w 12188651"/>
              <a:gd name="connsiteY1714" fmla="*/ 3842759 h 6858000"/>
              <a:gd name="connsiteX1715" fmla="*/ 8136823 w 12188651"/>
              <a:gd name="connsiteY1715" fmla="*/ 3854433 h 6858000"/>
              <a:gd name="connsiteX1716" fmla="*/ 8148368 w 12188651"/>
              <a:gd name="connsiteY1716" fmla="*/ 3842759 h 6858000"/>
              <a:gd name="connsiteX1717" fmla="*/ 8212837 w 12188651"/>
              <a:gd name="connsiteY1717" fmla="*/ 3778026 h 6858000"/>
              <a:gd name="connsiteX1718" fmla="*/ 8240596 w 12188651"/>
              <a:gd name="connsiteY1718" fmla="*/ 3766483 h 6858000"/>
              <a:gd name="connsiteX1719" fmla="*/ 8268226 w 12188651"/>
              <a:gd name="connsiteY1719" fmla="*/ 3778026 h 6858000"/>
              <a:gd name="connsiteX1720" fmla="*/ 8346707 w 12188651"/>
              <a:gd name="connsiteY1720" fmla="*/ 3856636 h 6858000"/>
              <a:gd name="connsiteX1721" fmla="*/ 8358252 w 12188651"/>
              <a:gd name="connsiteY1721" fmla="*/ 3884401 h 6858000"/>
              <a:gd name="connsiteX1722" fmla="*/ 8346837 w 12188651"/>
              <a:gd name="connsiteY1722" fmla="*/ 3912157 h 6858000"/>
              <a:gd name="connsiteX1723" fmla="*/ 8136823 w 12188651"/>
              <a:gd name="connsiteY1723" fmla="*/ 4122566 h 6858000"/>
              <a:gd name="connsiteX1724" fmla="*/ 7926811 w 12188651"/>
              <a:gd name="connsiteY1724" fmla="*/ 3912157 h 6858000"/>
              <a:gd name="connsiteX1725" fmla="*/ 7926811 w 12188651"/>
              <a:gd name="connsiteY1725" fmla="*/ 3856768 h 6858000"/>
              <a:gd name="connsiteX1726" fmla="*/ 8005289 w 12188651"/>
              <a:gd name="connsiteY1726" fmla="*/ 3778026 h 6858000"/>
              <a:gd name="connsiteX1727" fmla="*/ 8032919 w 12188651"/>
              <a:gd name="connsiteY1727" fmla="*/ 3766483 h 6858000"/>
              <a:gd name="connsiteX1728" fmla="*/ 5979110 w 12188651"/>
              <a:gd name="connsiteY1728" fmla="*/ 3766481 h 6858000"/>
              <a:gd name="connsiteX1729" fmla="*/ 6006867 w 12188651"/>
              <a:gd name="connsiteY1729" fmla="*/ 3778024 h 6858000"/>
              <a:gd name="connsiteX1730" fmla="*/ 6071463 w 12188651"/>
              <a:gd name="connsiteY1730" fmla="*/ 3842755 h 6858000"/>
              <a:gd name="connsiteX1731" fmla="*/ 6083006 w 12188651"/>
              <a:gd name="connsiteY1731" fmla="*/ 3854430 h 6858000"/>
              <a:gd name="connsiteX1732" fmla="*/ 6094550 w 12188651"/>
              <a:gd name="connsiteY1732" fmla="*/ 3842755 h 6858000"/>
              <a:gd name="connsiteX1733" fmla="*/ 6159019 w 12188651"/>
              <a:gd name="connsiteY1733" fmla="*/ 3778024 h 6858000"/>
              <a:gd name="connsiteX1734" fmla="*/ 6186779 w 12188651"/>
              <a:gd name="connsiteY1734" fmla="*/ 3766481 h 6858000"/>
              <a:gd name="connsiteX1735" fmla="*/ 6214409 w 12188651"/>
              <a:gd name="connsiteY1735" fmla="*/ 3778024 h 6858000"/>
              <a:gd name="connsiteX1736" fmla="*/ 6292888 w 12188651"/>
              <a:gd name="connsiteY1736" fmla="*/ 3856635 h 6858000"/>
              <a:gd name="connsiteX1737" fmla="*/ 6304433 w 12188651"/>
              <a:gd name="connsiteY1737" fmla="*/ 3884398 h 6858000"/>
              <a:gd name="connsiteX1738" fmla="*/ 6293017 w 12188651"/>
              <a:gd name="connsiteY1738" fmla="*/ 3912155 h 6858000"/>
              <a:gd name="connsiteX1739" fmla="*/ 6083006 w 12188651"/>
              <a:gd name="connsiteY1739" fmla="*/ 4122564 h 6858000"/>
              <a:gd name="connsiteX1740" fmla="*/ 5873007 w 12188651"/>
              <a:gd name="connsiteY1740" fmla="*/ 3912155 h 6858000"/>
              <a:gd name="connsiteX1741" fmla="*/ 5873007 w 12188651"/>
              <a:gd name="connsiteY1741" fmla="*/ 3856767 h 6858000"/>
              <a:gd name="connsiteX1742" fmla="*/ 5951483 w 12188651"/>
              <a:gd name="connsiteY1742" fmla="*/ 3778024 h 6858000"/>
              <a:gd name="connsiteX1743" fmla="*/ 5979110 w 12188651"/>
              <a:gd name="connsiteY1743" fmla="*/ 3766481 h 6858000"/>
              <a:gd name="connsiteX1744" fmla="*/ 3925342 w 12188651"/>
              <a:gd name="connsiteY1744" fmla="*/ 3766475 h 6858000"/>
              <a:gd name="connsiteX1745" fmla="*/ 3953102 w 12188651"/>
              <a:gd name="connsiteY1745" fmla="*/ 3778022 h 6858000"/>
              <a:gd name="connsiteX1746" fmla="*/ 4017703 w 12188651"/>
              <a:gd name="connsiteY1746" fmla="*/ 3842751 h 6858000"/>
              <a:gd name="connsiteX1747" fmla="*/ 4029246 w 12188651"/>
              <a:gd name="connsiteY1747" fmla="*/ 3854427 h 6858000"/>
              <a:gd name="connsiteX1748" fmla="*/ 4040794 w 12188651"/>
              <a:gd name="connsiteY1748" fmla="*/ 3842751 h 6858000"/>
              <a:gd name="connsiteX1749" fmla="*/ 4105264 w 12188651"/>
              <a:gd name="connsiteY1749" fmla="*/ 3778022 h 6858000"/>
              <a:gd name="connsiteX1750" fmla="*/ 4133025 w 12188651"/>
              <a:gd name="connsiteY1750" fmla="*/ 3766475 h 6858000"/>
              <a:gd name="connsiteX1751" fmla="*/ 4160655 w 12188651"/>
              <a:gd name="connsiteY1751" fmla="*/ 3778022 h 6858000"/>
              <a:gd name="connsiteX1752" fmla="*/ 4239088 w 12188651"/>
              <a:gd name="connsiteY1752" fmla="*/ 3856634 h 6858000"/>
              <a:gd name="connsiteX1753" fmla="*/ 4250643 w 12188651"/>
              <a:gd name="connsiteY1753" fmla="*/ 3884393 h 6858000"/>
              <a:gd name="connsiteX1754" fmla="*/ 4239218 w 12188651"/>
              <a:gd name="connsiteY1754" fmla="*/ 3912154 h 6858000"/>
              <a:gd name="connsiteX1755" fmla="*/ 4029246 w 12188651"/>
              <a:gd name="connsiteY1755" fmla="*/ 4122561 h 6858000"/>
              <a:gd name="connsiteX1756" fmla="*/ 3819228 w 12188651"/>
              <a:gd name="connsiteY1756" fmla="*/ 3912154 h 6858000"/>
              <a:gd name="connsiteX1757" fmla="*/ 3819228 w 12188651"/>
              <a:gd name="connsiteY1757" fmla="*/ 3856761 h 6858000"/>
              <a:gd name="connsiteX1758" fmla="*/ 3897713 w 12188651"/>
              <a:gd name="connsiteY1758" fmla="*/ 3778022 h 6858000"/>
              <a:gd name="connsiteX1759" fmla="*/ 3925342 w 12188651"/>
              <a:gd name="connsiteY1759" fmla="*/ 3766475 h 6858000"/>
              <a:gd name="connsiteX1760" fmla="*/ 1871369 w 12188651"/>
              <a:gd name="connsiteY1760" fmla="*/ 3766474 h 6858000"/>
              <a:gd name="connsiteX1761" fmla="*/ 1899129 w 12188651"/>
              <a:gd name="connsiteY1761" fmla="*/ 3778019 h 6858000"/>
              <a:gd name="connsiteX1762" fmla="*/ 1963729 w 12188651"/>
              <a:gd name="connsiteY1762" fmla="*/ 3842750 h 6858000"/>
              <a:gd name="connsiteX1763" fmla="*/ 1975274 w 12188651"/>
              <a:gd name="connsiteY1763" fmla="*/ 3854424 h 6858000"/>
              <a:gd name="connsiteX1764" fmla="*/ 1986819 w 12188651"/>
              <a:gd name="connsiteY1764" fmla="*/ 3842750 h 6858000"/>
              <a:gd name="connsiteX1765" fmla="*/ 2051289 w 12188651"/>
              <a:gd name="connsiteY1765" fmla="*/ 3778019 h 6858000"/>
              <a:gd name="connsiteX1766" fmla="*/ 2079047 w 12188651"/>
              <a:gd name="connsiteY1766" fmla="*/ 3766474 h 6858000"/>
              <a:gd name="connsiteX1767" fmla="*/ 2106684 w 12188651"/>
              <a:gd name="connsiteY1767" fmla="*/ 3778019 h 6858000"/>
              <a:gd name="connsiteX1768" fmla="*/ 2185165 w 12188651"/>
              <a:gd name="connsiteY1768" fmla="*/ 3856630 h 6858000"/>
              <a:gd name="connsiteX1769" fmla="*/ 2196710 w 12188651"/>
              <a:gd name="connsiteY1769" fmla="*/ 3884389 h 6858000"/>
              <a:gd name="connsiteX1770" fmla="*/ 2185293 w 12188651"/>
              <a:gd name="connsiteY1770" fmla="*/ 3912150 h 6858000"/>
              <a:gd name="connsiteX1771" fmla="*/ 1975274 w 12188651"/>
              <a:gd name="connsiteY1771" fmla="*/ 4122560 h 6858000"/>
              <a:gd name="connsiteX1772" fmla="*/ 1765261 w 12188651"/>
              <a:gd name="connsiteY1772" fmla="*/ 3912150 h 6858000"/>
              <a:gd name="connsiteX1773" fmla="*/ 1765261 w 12188651"/>
              <a:gd name="connsiteY1773" fmla="*/ 3856760 h 6858000"/>
              <a:gd name="connsiteX1774" fmla="*/ 1843740 w 12188651"/>
              <a:gd name="connsiteY1774" fmla="*/ 3778019 h 6858000"/>
              <a:gd name="connsiteX1775" fmla="*/ 1871369 w 12188651"/>
              <a:gd name="connsiteY1775" fmla="*/ 3766474 h 6858000"/>
              <a:gd name="connsiteX1776" fmla="*/ 25207 w 12188651"/>
              <a:gd name="connsiteY1776" fmla="*/ 3766470 h 6858000"/>
              <a:gd name="connsiteX1777" fmla="*/ 52837 w 12188651"/>
              <a:gd name="connsiteY1777" fmla="*/ 3778016 h 6858000"/>
              <a:gd name="connsiteX1778" fmla="*/ 131316 w 12188651"/>
              <a:gd name="connsiteY1778" fmla="*/ 3856627 h 6858000"/>
              <a:gd name="connsiteX1779" fmla="*/ 142860 w 12188651"/>
              <a:gd name="connsiteY1779" fmla="*/ 3884387 h 6858000"/>
              <a:gd name="connsiteX1780" fmla="*/ 131446 w 12188651"/>
              <a:gd name="connsiteY1780" fmla="*/ 3912147 h 6858000"/>
              <a:gd name="connsiteX1781" fmla="*/ 0 w 12188651"/>
              <a:gd name="connsiteY1781" fmla="*/ 4043841 h 6858000"/>
              <a:gd name="connsiteX1782" fmla="*/ 0 w 12188651"/>
              <a:gd name="connsiteY1782" fmla="*/ 3776953 h 6858000"/>
              <a:gd name="connsiteX1783" fmla="*/ 10086867 w 12188651"/>
              <a:gd name="connsiteY1783" fmla="*/ 3750008 h 6858000"/>
              <a:gd name="connsiteX1784" fmla="*/ 10047692 w 12188651"/>
              <a:gd name="connsiteY1784" fmla="*/ 3766357 h 6858000"/>
              <a:gd name="connsiteX1785" fmla="*/ 9969212 w 12188651"/>
              <a:gd name="connsiteY1785" fmla="*/ 3845095 h 6858000"/>
              <a:gd name="connsiteX1786" fmla="*/ 9969212 w 12188651"/>
              <a:gd name="connsiteY1786" fmla="*/ 3923707 h 6858000"/>
              <a:gd name="connsiteX1787" fmla="*/ 10190770 w 12188651"/>
              <a:gd name="connsiteY1787" fmla="*/ 4145787 h 6858000"/>
              <a:gd name="connsiteX1788" fmla="*/ 10412328 w 12188651"/>
              <a:gd name="connsiteY1788" fmla="*/ 3923707 h 6858000"/>
              <a:gd name="connsiteX1789" fmla="*/ 10412328 w 12188651"/>
              <a:gd name="connsiteY1789" fmla="*/ 3845095 h 6858000"/>
              <a:gd name="connsiteX1790" fmla="*/ 10333848 w 12188651"/>
              <a:gd name="connsiteY1790" fmla="*/ 3766487 h 6858000"/>
              <a:gd name="connsiteX1791" fmla="*/ 10294673 w 12188651"/>
              <a:gd name="connsiteY1791" fmla="*/ 3750141 h 6858000"/>
              <a:gd name="connsiteX1792" fmla="*/ 10294543 w 12188651"/>
              <a:gd name="connsiteY1792" fmla="*/ 3750008 h 6858000"/>
              <a:gd name="connsiteX1793" fmla="*/ 10255241 w 12188651"/>
              <a:gd name="connsiteY1793" fmla="*/ 3766487 h 6858000"/>
              <a:gd name="connsiteX1794" fmla="*/ 10190770 w 12188651"/>
              <a:gd name="connsiteY1794" fmla="*/ 3831087 h 6858000"/>
              <a:gd name="connsiteX1795" fmla="*/ 10126171 w 12188651"/>
              <a:gd name="connsiteY1795" fmla="*/ 3766357 h 6858000"/>
              <a:gd name="connsiteX1796" fmla="*/ 10086867 w 12188651"/>
              <a:gd name="connsiteY1796" fmla="*/ 3750008 h 6858000"/>
              <a:gd name="connsiteX1797" fmla="*/ 8032919 w 12188651"/>
              <a:gd name="connsiteY1797" fmla="*/ 3750008 h 6858000"/>
              <a:gd name="connsiteX1798" fmla="*/ 7993744 w 12188651"/>
              <a:gd name="connsiteY1798" fmla="*/ 3766352 h 6858000"/>
              <a:gd name="connsiteX1799" fmla="*/ 7915266 w 12188651"/>
              <a:gd name="connsiteY1799" fmla="*/ 3845089 h 6858000"/>
              <a:gd name="connsiteX1800" fmla="*/ 7915266 w 12188651"/>
              <a:gd name="connsiteY1800" fmla="*/ 3923705 h 6858000"/>
              <a:gd name="connsiteX1801" fmla="*/ 8136823 w 12188651"/>
              <a:gd name="connsiteY1801" fmla="*/ 4145784 h 6858000"/>
              <a:gd name="connsiteX1802" fmla="*/ 8358382 w 12188651"/>
              <a:gd name="connsiteY1802" fmla="*/ 3923705 h 6858000"/>
              <a:gd name="connsiteX1803" fmla="*/ 8358382 w 12188651"/>
              <a:gd name="connsiteY1803" fmla="*/ 3845089 h 6858000"/>
              <a:gd name="connsiteX1804" fmla="*/ 8279902 w 12188651"/>
              <a:gd name="connsiteY1804" fmla="*/ 3766483 h 6858000"/>
              <a:gd name="connsiteX1805" fmla="*/ 8240727 w 12188651"/>
              <a:gd name="connsiteY1805" fmla="*/ 3750137 h 6858000"/>
              <a:gd name="connsiteX1806" fmla="*/ 8240596 w 12188651"/>
              <a:gd name="connsiteY1806" fmla="*/ 3750008 h 6858000"/>
              <a:gd name="connsiteX1807" fmla="*/ 8201292 w 12188651"/>
              <a:gd name="connsiteY1807" fmla="*/ 3766483 h 6858000"/>
              <a:gd name="connsiteX1808" fmla="*/ 8136823 w 12188651"/>
              <a:gd name="connsiteY1808" fmla="*/ 3831082 h 6858000"/>
              <a:gd name="connsiteX1809" fmla="*/ 8072224 w 12188651"/>
              <a:gd name="connsiteY1809" fmla="*/ 3766352 h 6858000"/>
              <a:gd name="connsiteX1810" fmla="*/ 8032919 w 12188651"/>
              <a:gd name="connsiteY1810" fmla="*/ 3750008 h 6858000"/>
              <a:gd name="connsiteX1811" fmla="*/ 5979110 w 12188651"/>
              <a:gd name="connsiteY1811" fmla="*/ 3750004 h 6858000"/>
              <a:gd name="connsiteX1812" fmla="*/ 5939938 w 12188651"/>
              <a:gd name="connsiteY1812" fmla="*/ 3766349 h 6858000"/>
              <a:gd name="connsiteX1813" fmla="*/ 5861462 w 12188651"/>
              <a:gd name="connsiteY1813" fmla="*/ 3845089 h 6858000"/>
              <a:gd name="connsiteX1814" fmla="*/ 5861462 w 12188651"/>
              <a:gd name="connsiteY1814" fmla="*/ 3923701 h 6858000"/>
              <a:gd name="connsiteX1815" fmla="*/ 6083006 w 12188651"/>
              <a:gd name="connsiteY1815" fmla="*/ 4145783 h 6858000"/>
              <a:gd name="connsiteX1816" fmla="*/ 6304562 w 12188651"/>
              <a:gd name="connsiteY1816" fmla="*/ 3923701 h 6858000"/>
              <a:gd name="connsiteX1817" fmla="*/ 6304562 w 12188651"/>
              <a:gd name="connsiteY1817" fmla="*/ 3845089 h 6858000"/>
              <a:gd name="connsiteX1818" fmla="*/ 6226084 w 12188651"/>
              <a:gd name="connsiteY1818" fmla="*/ 3766481 h 6858000"/>
              <a:gd name="connsiteX1819" fmla="*/ 6186909 w 12188651"/>
              <a:gd name="connsiteY1819" fmla="*/ 3750135 h 6858000"/>
              <a:gd name="connsiteX1820" fmla="*/ 6186779 w 12188651"/>
              <a:gd name="connsiteY1820" fmla="*/ 3750004 h 6858000"/>
              <a:gd name="connsiteX1821" fmla="*/ 6147474 w 12188651"/>
              <a:gd name="connsiteY1821" fmla="*/ 3766481 h 6858000"/>
              <a:gd name="connsiteX1822" fmla="*/ 6083006 w 12188651"/>
              <a:gd name="connsiteY1822" fmla="*/ 3831082 h 6858000"/>
              <a:gd name="connsiteX1823" fmla="*/ 6018412 w 12188651"/>
              <a:gd name="connsiteY1823" fmla="*/ 3766349 h 6858000"/>
              <a:gd name="connsiteX1824" fmla="*/ 5979110 w 12188651"/>
              <a:gd name="connsiteY1824" fmla="*/ 3750004 h 6858000"/>
              <a:gd name="connsiteX1825" fmla="*/ 3925342 w 12188651"/>
              <a:gd name="connsiteY1825" fmla="*/ 3750002 h 6858000"/>
              <a:gd name="connsiteX1826" fmla="*/ 3886165 w 12188651"/>
              <a:gd name="connsiteY1826" fmla="*/ 3766347 h 6858000"/>
              <a:gd name="connsiteX1827" fmla="*/ 3807684 w 12188651"/>
              <a:gd name="connsiteY1827" fmla="*/ 3845087 h 6858000"/>
              <a:gd name="connsiteX1828" fmla="*/ 3807684 w 12188651"/>
              <a:gd name="connsiteY1828" fmla="*/ 3923699 h 6858000"/>
              <a:gd name="connsiteX1829" fmla="*/ 4029246 w 12188651"/>
              <a:gd name="connsiteY1829" fmla="*/ 4145781 h 6858000"/>
              <a:gd name="connsiteX1830" fmla="*/ 4250768 w 12188651"/>
              <a:gd name="connsiteY1830" fmla="*/ 3923699 h 6858000"/>
              <a:gd name="connsiteX1831" fmla="*/ 4250768 w 12188651"/>
              <a:gd name="connsiteY1831" fmla="*/ 3845087 h 6858000"/>
              <a:gd name="connsiteX1832" fmla="*/ 4172330 w 12188651"/>
              <a:gd name="connsiteY1832" fmla="*/ 3766475 h 6858000"/>
              <a:gd name="connsiteX1833" fmla="*/ 4133156 w 12188651"/>
              <a:gd name="connsiteY1833" fmla="*/ 3750131 h 6858000"/>
              <a:gd name="connsiteX1834" fmla="*/ 4133025 w 12188651"/>
              <a:gd name="connsiteY1834" fmla="*/ 3750002 h 6858000"/>
              <a:gd name="connsiteX1835" fmla="*/ 4093719 w 12188651"/>
              <a:gd name="connsiteY1835" fmla="*/ 3766475 h 6858000"/>
              <a:gd name="connsiteX1836" fmla="*/ 4029246 w 12188651"/>
              <a:gd name="connsiteY1836" fmla="*/ 3831078 h 6858000"/>
              <a:gd name="connsiteX1837" fmla="*/ 3964648 w 12188651"/>
              <a:gd name="connsiteY1837" fmla="*/ 3766347 h 6858000"/>
              <a:gd name="connsiteX1838" fmla="*/ 3925342 w 12188651"/>
              <a:gd name="connsiteY1838" fmla="*/ 3750002 h 6858000"/>
              <a:gd name="connsiteX1839" fmla="*/ 1871369 w 12188651"/>
              <a:gd name="connsiteY1839" fmla="*/ 3749999 h 6858000"/>
              <a:gd name="connsiteX1840" fmla="*/ 1832195 w 12188651"/>
              <a:gd name="connsiteY1840" fmla="*/ 3766344 h 6858000"/>
              <a:gd name="connsiteX1841" fmla="*/ 1753717 w 12188651"/>
              <a:gd name="connsiteY1841" fmla="*/ 3845084 h 6858000"/>
              <a:gd name="connsiteX1842" fmla="*/ 1753717 w 12188651"/>
              <a:gd name="connsiteY1842" fmla="*/ 3923696 h 6858000"/>
              <a:gd name="connsiteX1843" fmla="*/ 1975274 w 12188651"/>
              <a:gd name="connsiteY1843" fmla="*/ 4145780 h 6858000"/>
              <a:gd name="connsiteX1844" fmla="*/ 2196839 w 12188651"/>
              <a:gd name="connsiteY1844" fmla="*/ 3923696 h 6858000"/>
              <a:gd name="connsiteX1845" fmla="*/ 2196839 w 12188651"/>
              <a:gd name="connsiteY1845" fmla="*/ 3845084 h 6858000"/>
              <a:gd name="connsiteX1846" fmla="*/ 2118360 w 12188651"/>
              <a:gd name="connsiteY1846" fmla="*/ 3766474 h 6858000"/>
              <a:gd name="connsiteX1847" fmla="*/ 2079177 w 12188651"/>
              <a:gd name="connsiteY1847" fmla="*/ 3750128 h 6858000"/>
              <a:gd name="connsiteX1848" fmla="*/ 2079047 w 12188651"/>
              <a:gd name="connsiteY1848" fmla="*/ 3749999 h 6858000"/>
              <a:gd name="connsiteX1849" fmla="*/ 2039743 w 12188651"/>
              <a:gd name="connsiteY1849" fmla="*/ 3766474 h 6858000"/>
              <a:gd name="connsiteX1850" fmla="*/ 1975274 w 12188651"/>
              <a:gd name="connsiteY1850" fmla="*/ 3831075 h 6858000"/>
              <a:gd name="connsiteX1851" fmla="*/ 1910674 w 12188651"/>
              <a:gd name="connsiteY1851" fmla="*/ 3766344 h 6858000"/>
              <a:gd name="connsiteX1852" fmla="*/ 1871369 w 12188651"/>
              <a:gd name="connsiteY1852" fmla="*/ 3749999 h 6858000"/>
              <a:gd name="connsiteX1853" fmla="*/ 0 w 12188651"/>
              <a:gd name="connsiteY1853" fmla="*/ 3579814 h 6858000"/>
              <a:gd name="connsiteX1854" fmla="*/ 255063 w 12188651"/>
              <a:gd name="connsiteY1854" fmla="*/ 3727423 h 6858000"/>
              <a:gd name="connsiteX1855" fmla="*/ 255063 w 12188651"/>
              <a:gd name="connsiteY1855" fmla="*/ 4113605 h 6858000"/>
              <a:gd name="connsiteX1856" fmla="*/ 0 w 12188651"/>
              <a:gd name="connsiteY1856" fmla="*/ 4261215 h 6858000"/>
              <a:gd name="connsiteX1857" fmla="*/ 0 w 12188651"/>
              <a:gd name="connsiteY1857" fmla="*/ 4067025 h 6858000"/>
              <a:gd name="connsiteX1858" fmla="*/ 142991 w 12188651"/>
              <a:gd name="connsiteY1858" fmla="*/ 3923694 h 6858000"/>
              <a:gd name="connsiteX1859" fmla="*/ 142991 w 12188651"/>
              <a:gd name="connsiteY1859" fmla="*/ 3845081 h 6858000"/>
              <a:gd name="connsiteX1860" fmla="*/ 64510 w 12188651"/>
              <a:gd name="connsiteY1860" fmla="*/ 3766470 h 6858000"/>
              <a:gd name="connsiteX1861" fmla="*/ 25335 w 12188651"/>
              <a:gd name="connsiteY1861" fmla="*/ 3750125 h 6858000"/>
              <a:gd name="connsiteX1862" fmla="*/ 25207 w 12188651"/>
              <a:gd name="connsiteY1862" fmla="*/ 3749995 h 6858000"/>
              <a:gd name="connsiteX1863" fmla="*/ 4290 w 12188651"/>
              <a:gd name="connsiteY1863" fmla="*/ 3754099 h 6858000"/>
              <a:gd name="connsiteX1864" fmla="*/ 0 w 12188651"/>
              <a:gd name="connsiteY1864" fmla="*/ 3756985 h 6858000"/>
              <a:gd name="connsiteX1865" fmla="*/ 12188651 w 12188651"/>
              <a:gd name="connsiteY1865" fmla="*/ 3566587 h 6858000"/>
              <a:gd name="connsiteX1866" fmla="*/ 12188651 w 12188651"/>
              <a:gd name="connsiteY1866" fmla="*/ 3775035 h 6858000"/>
              <a:gd name="connsiteX1867" fmla="*/ 12179990 w 12188651"/>
              <a:gd name="connsiteY1867" fmla="*/ 3766359 h 6858000"/>
              <a:gd name="connsiteX1868" fmla="*/ 12140685 w 12188651"/>
              <a:gd name="connsiteY1868" fmla="*/ 3750016 h 6858000"/>
              <a:gd name="connsiteX1869" fmla="*/ 12101510 w 12188651"/>
              <a:gd name="connsiteY1869" fmla="*/ 3766359 h 6858000"/>
              <a:gd name="connsiteX1870" fmla="*/ 12023031 w 12188651"/>
              <a:gd name="connsiteY1870" fmla="*/ 3845097 h 6858000"/>
              <a:gd name="connsiteX1871" fmla="*/ 12023031 w 12188651"/>
              <a:gd name="connsiteY1871" fmla="*/ 3923710 h 6858000"/>
              <a:gd name="connsiteX1872" fmla="*/ 12188651 w 12188651"/>
              <a:gd name="connsiteY1872" fmla="*/ 4089721 h 6858000"/>
              <a:gd name="connsiteX1873" fmla="*/ 12188651 w 12188651"/>
              <a:gd name="connsiteY1873" fmla="*/ 4274463 h 6858000"/>
              <a:gd name="connsiteX1874" fmla="*/ 11910696 w 12188651"/>
              <a:gd name="connsiteY1874" fmla="*/ 4113620 h 6858000"/>
              <a:gd name="connsiteX1875" fmla="*/ 11910696 w 12188651"/>
              <a:gd name="connsiteY1875" fmla="*/ 3727442 h 6858000"/>
              <a:gd name="connsiteX1876" fmla="*/ 10883981 w 12188651"/>
              <a:gd name="connsiteY1876" fmla="*/ 3539477 h 6858000"/>
              <a:gd name="connsiteX1877" fmla="*/ 11209441 w 12188651"/>
              <a:gd name="connsiteY1877" fmla="*/ 3727831 h 6858000"/>
              <a:gd name="connsiteX1878" fmla="*/ 11209441 w 12188651"/>
              <a:gd name="connsiteY1878" fmla="*/ 4104668 h 6858000"/>
              <a:gd name="connsiteX1879" fmla="*/ 10883981 w 12188651"/>
              <a:gd name="connsiteY1879" fmla="*/ 3916314 h 6858000"/>
              <a:gd name="connsiteX1880" fmla="*/ 10867636 w 12188651"/>
              <a:gd name="connsiteY1880" fmla="*/ 3539477 h 6858000"/>
              <a:gd name="connsiteX1881" fmla="*/ 10867636 w 12188651"/>
              <a:gd name="connsiteY1881" fmla="*/ 3916314 h 6858000"/>
              <a:gd name="connsiteX1882" fmla="*/ 10542045 w 12188651"/>
              <a:gd name="connsiteY1882" fmla="*/ 4104668 h 6858000"/>
              <a:gd name="connsiteX1883" fmla="*/ 10542045 w 12188651"/>
              <a:gd name="connsiteY1883" fmla="*/ 3727833 h 6858000"/>
              <a:gd name="connsiteX1884" fmla="*/ 8830033 w 12188651"/>
              <a:gd name="connsiteY1884" fmla="*/ 3539477 h 6858000"/>
              <a:gd name="connsiteX1885" fmla="*/ 9155493 w 12188651"/>
              <a:gd name="connsiteY1885" fmla="*/ 3727828 h 6858000"/>
              <a:gd name="connsiteX1886" fmla="*/ 9155493 w 12188651"/>
              <a:gd name="connsiteY1886" fmla="*/ 4104664 h 6858000"/>
              <a:gd name="connsiteX1887" fmla="*/ 8830033 w 12188651"/>
              <a:gd name="connsiteY1887" fmla="*/ 3916306 h 6858000"/>
              <a:gd name="connsiteX1888" fmla="*/ 8813688 w 12188651"/>
              <a:gd name="connsiteY1888" fmla="*/ 3539477 h 6858000"/>
              <a:gd name="connsiteX1889" fmla="*/ 8813688 w 12188651"/>
              <a:gd name="connsiteY1889" fmla="*/ 3916308 h 6858000"/>
              <a:gd name="connsiteX1890" fmla="*/ 8488098 w 12188651"/>
              <a:gd name="connsiteY1890" fmla="*/ 4104664 h 6858000"/>
              <a:gd name="connsiteX1891" fmla="*/ 8488098 w 12188651"/>
              <a:gd name="connsiteY1891" fmla="*/ 3727827 h 6858000"/>
              <a:gd name="connsiteX1892" fmla="*/ 2652143 w 12188651"/>
              <a:gd name="connsiteY1892" fmla="*/ 3539477 h 6858000"/>
              <a:gd name="connsiteX1893" fmla="*/ 2652143 w 12188651"/>
              <a:gd name="connsiteY1893" fmla="*/ 3916302 h 6858000"/>
              <a:gd name="connsiteX1894" fmla="*/ 2326584 w 12188651"/>
              <a:gd name="connsiteY1894" fmla="*/ 4104641 h 6858000"/>
              <a:gd name="connsiteX1895" fmla="*/ 2326584 w 12188651"/>
              <a:gd name="connsiteY1895" fmla="*/ 3727818 h 6858000"/>
              <a:gd name="connsiteX1896" fmla="*/ 2668516 w 12188651"/>
              <a:gd name="connsiteY1896" fmla="*/ 3539475 h 6858000"/>
              <a:gd name="connsiteX1897" fmla="*/ 2993952 w 12188651"/>
              <a:gd name="connsiteY1897" fmla="*/ 3727816 h 6858000"/>
              <a:gd name="connsiteX1898" fmla="*/ 2993952 w 12188651"/>
              <a:gd name="connsiteY1898" fmla="*/ 4104644 h 6858000"/>
              <a:gd name="connsiteX1899" fmla="*/ 2668516 w 12188651"/>
              <a:gd name="connsiteY1899" fmla="*/ 3916304 h 6858000"/>
              <a:gd name="connsiteX1900" fmla="*/ 598168 w 12188651"/>
              <a:gd name="connsiteY1900" fmla="*/ 3539475 h 6858000"/>
              <a:gd name="connsiteX1901" fmla="*/ 598168 w 12188651"/>
              <a:gd name="connsiteY1901" fmla="*/ 3916299 h 6858000"/>
              <a:gd name="connsiteX1902" fmla="*/ 272605 w 12188651"/>
              <a:gd name="connsiteY1902" fmla="*/ 4104641 h 6858000"/>
              <a:gd name="connsiteX1903" fmla="*/ 272605 w 12188651"/>
              <a:gd name="connsiteY1903" fmla="*/ 3727815 h 6858000"/>
              <a:gd name="connsiteX1904" fmla="*/ 614540 w 12188651"/>
              <a:gd name="connsiteY1904" fmla="*/ 3539473 h 6858000"/>
              <a:gd name="connsiteX1905" fmla="*/ 939973 w 12188651"/>
              <a:gd name="connsiteY1905" fmla="*/ 3727812 h 6858000"/>
              <a:gd name="connsiteX1906" fmla="*/ 939973 w 12188651"/>
              <a:gd name="connsiteY1906" fmla="*/ 4104643 h 6858000"/>
              <a:gd name="connsiteX1907" fmla="*/ 614540 w 12188651"/>
              <a:gd name="connsiteY1907" fmla="*/ 3916301 h 6858000"/>
              <a:gd name="connsiteX1908" fmla="*/ 6776215 w 12188651"/>
              <a:gd name="connsiteY1908" fmla="*/ 3539471 h 6858000"/>
              <a:gd name="connsiteX1909" fmla="*/ 7101677 w 12188651"/>
              <a:gd name="connsiteY1909" fmla="*/ 3727826 h 6858000"/>
              <a:gd name="connsiteX1910" fmla="*/ 7101677 w 12188651"/>
              <a:gd name="connsiteY1910" fmla="*/ 4104661 h 6858000"/>
              <a:gd name="connsiteX1911" fmla="*/ 6776215 w 12188651"/>
              <a:gd name="connsiteY1911" fmla="*/ 3916305 h 6858000"/>
              <a:gd name="connsiteX1912" fmla="*/ 6759871 w 12188651"/>
              <a:gd name="connsiteY1912" fmla="*/ 3539471 h 6858000"/>
              <a:gd name="connsiteX1913" fmla="*/ 6759871 w 12188651"/>
              <a:gd name="connsiteY1913" fmla="*/ 3916305 h 6858000"/>
              <a:gd name="connsiteX1914" fmla="*/ 6434280 w 12188651"/>
              <a:gd name="connsiteY1914" fmla="*/ 4104661 h 6858000"/>
              <a:gd name="connsiteX1915" fmla="*/ 6434280 w 12188651"/>
              <a:gd name="connsiteY1915" fmla="*/ 3727826 h 6858000"/>
              <a:gd name="connsiteX1916" fmla="*/ 4722303 w 12188651"/>
              <a:gd name="connsiteY1916" fmla="*/ 3539471 h 6858000"/>
              <a:gd name="connsiteX1917" fmla="*/ 5047768 w 12188651"/>
              <a:gd name="connsiteY1917" fmla="*/ 3727818 h 6858000"/>
              <a:gd name="connsiteX1918" fmla="*/ 5047768 w 12188651"/>
              <a:gd name="connsiteY1918" fmla="*/ 4104649 h 6858000"/>
              <a:gd name="connsiteX1919" fmla="*/ 4722303 w 12188651"/>
              <a:gd name="connsiteY1919" fmla="*/ 3916305 h 6858000"/>
              <a:gd name="connsiteX1920" fmla="*/ 4705942 w 12188651"/>
              <a:gd name="connsiteY1920" fmla="*/ 3539471 h 6858000"/>
              <a:gd name="connsiteX1921" fmla="*/ 4705942 w 12188651"/>
              <a:gd name="connsiteY1921" fmla="*/ 3916304 h 6858000"/>
              <a:gd name="connsiteX1922" fmla="*/ 4380369 w 12188651"/>
              <a:gd name="connsiteY1922" fmla="*/ 4104654 h 6858000"/>
              <a:gd name="connsiteX1923" fmla="*/ 4380369 w 12188651"/>
              <a:gd name="connsiteY1923" fmla="*/ 3727821 h 6858000"/>
              <a:gd name="connsiteX1924" fmla="*/ 11559549 w 12188651"/>
              <a:gd name="connsiteY1924" fmla="*/ 3534681 h 6858000"/>
              <a:gd name="connsiteX1925" fmla="*/ 11893312 w 12188651"/>
              <a:gd name="connsiteY1925" fmla="*/ 3727831 h 6858000"/>
              <a:gd name="connsiteX1926" fmla="*/ 11893312 w 12188651"/>
              <a:gd name="connsiteY1926" fmla="*/ 4114138 h 6858000"/>
              <a:gd name="connsiteX1927" fmla="*/ 11559679 w 12188651"/>
              <a:gd name="connsiteY1927" fmla="*/ 4307278 h 6858000"/>
              <a:gd name="connsiteX1928" fmla="*/ 11486870 w 12188651"/>
              <a:gd name="connsiteY1928" fmla="*/ 4265143 h 6858000"/>
              <a:gd name="connsiteX1929" fmla="*/ 11225916 w 12188651"/>
              <a:gd name="connsiteY1929" fmla="*/ 4114138 h 6858000"/>
              <a:gd name="connsiteX1930" fmla="*/ 11225916 w 12188651"/>
              <a:gd name="connsiteY1930" fmla="*/ 3727833 h 6858000"/>
              <a:gd name="connsiteX1931" fmla="*/ 9505601 w 12188651"/>
              <a:gd name="connsiteY1931" fmla="*/ 3534677 h 6858000"/>
              <a:gd name="connsiteX1932" fmla="*/ 9839364 w 12188651"/>
              <a:gd name="connsiteY1932" fmla="*/ 3727828 h 6858000"/>
              <a:gd name="connsiteX1933" fmla="*/ 9839364 w 12188651"/>
              <a:gd name="connsiteY1933" fmla="*/ 4114135 h 6858000"/>
              <a:gd name="connsiteX1934" fmla="*/ 9578839 w 12188651"/>
              <a:gd name="connsiteY1934" fmla="*/ 4264954 h 6858000"/>
              <a:gd name="connsiteX1935" fmla="*/ 9505732 w 12188651"/>
              <a:gd name="connsiteY1935" fmla="*/ 4307278 h 6858000"/>
              <a:gd name="connsiteX1936" fmla="*/ 9171969 w 12188651"/>
              <a:gd name="connsiteY1936" fmla="*/ 4114135 h 6858000"/>
              <a:gd name="connsiteX1937" fmla="*/ 9171969 w 12188651"/>
              <a:gd name="connsiteY1937" fmla="*/ 3727827 h 6858000"/>
              <a:gd name="connsiteX1938" fmla="*/ 7451785 w 12188651"/>
              <a:gd name="connsiteY1938" fmla="*/ 3534670 h 6858000"/>
              <a:gd name="connsiteX1939" fmla="*/ 7785548 w 12188651"/>
              <a:gd name="connsiteY1939" fmla="*/ 3727826 h 6858000"/>
              <a:gd name="connsiteX1940" fmla="*/ 7785548 w 12188651"/>
              <a:gd name="connsiteY1940" fmla="*/ 4114131 h 6858000"/>
              <a:gd name="connsiteX1941" fmla="*/ 7451915 w 12188651"/>
              <a:gd name="connsiteY1941" fmla="*/ 4307279 h 6858000"/>
              <a:gd name="connsiteX1942" fmla="*/ 7118150 w 12188651"/>
              <a:gd name="connsiteY1942" fmla="*/ 4114131 h 6858000"/>
              <a:gd name="connsiteX1943" fmla="*/ 7118150 w 12188651"/>
              <a:gd name="connsiteY1943" fmla="*/ 3727826 h 6858000"/>
              <a:gd name="connsiteX1944" fmla="*/ 5397881 w 12188651"/>
              <a:gd name="connsiteY1944" fmla="*/ 3534670 h 6858000"/>
              <a:gd name="connsiteX1945" fmla="*/ 5731616 w 12188651"/>
              <a:gd name="connsiteY1945" fmla="*/ 3727818 h 6858000"/>
              <a:gd name="connsiteX1946" fmla="*/ 5731616 w 12188651"/>
              <a:gd name="connsiteY1946" fmla="*/ 4114128 h 6858000"/>
              <a:gd name="connsiteX1947" fmla="*/ 5597792 w 12188651"/>
              <a:gd name="connsiteY1947" fmla="*/ 4191609 h 6858000"/>
              <a:gd name="connsiteX1948" fmla="*/ 5398006 w 12188651"/>
              <a:gd name="connsiteY1948" fmla="*/ 4307274 h 6858000"/>
              <a:gd name="connsiteX1949" fmla="*/ 5064269 w 12188651"/>
              <a:gd name="connsiteY1949" fmla="*/ 4114131 h 6858000"/>
              <a:gd name="connsiteX1950" fmla="*/ 5064269 w 12188651"/>
              <a:gd name="connsiteY1950" fmla="*/ 3727821 h 6858000"/>
              <a:gd name="connsiteX1951" fmla="*/ 3344073 w 12188651"/>
              <a:gd name="connsiteY1951" fmla="*/ 3534670 h 6858000"/>
              <a:gd name="connsiteX1952" fmla="*/ 3677818 w 12188651"/>
              <a:gd name="connsiteY1952" fmla="*/ 3727816 h 6858000"/>
              <a:gd name="connsiteX1953" fmla="*/ 3677818 w 12188651"/>
              <a:gd name="connsiteY1953" fmla="*/ 4114128 h 6858000"/>
              <a:gd name="connsiteX1954" fmla="*/ 3344203 w 12188651"/>
              <a:gd name="connsiteY1954" fmla="*/ 4307271 h 6858000"/>
              <a:gd name="connsiteX1955" fmla="*/ 3010455 w 12188651"/>
              <a:gd name="connsiteY1955" fmla="*/ 4114128 h 6858000"/>
              <a:gd name="connsiteX1956" fmla="*/ 3010455 w 12188651"/>
              <a:gd name="connsiteY1956" fmla="*/ 3727818 h 6858000"/>
              <a:gd name="connsiteX1957" fmla="*/ 1290097 w 12188651"/>
              <a:gd name="connsiteY1957" fmla="*/ 3534667 h 6858000"/>
              <a:gd name="connsiteX1958" fmla="*/ 1623844 w 12188651"/>
              <a:gd name="connsiteY1958" fmla="*/ 3727812 h 6858000"/>
              <a:gd name="connsiteX1959" fmla="*/ 1623844 w 12188651"/>
              <a:gd name="connsiteY1959" fmla="*/ 4114126 h 6858000"/>
              <a:gd name="connsiteX1960" fmla="*/ 1290224 w 12188651"/>
              <a:gd name="connsiteY1960" fmla="*/ 4307272 h 6858000"/>
              <a:gd name="connsiteX1961" fmla="*/ 956474 w 12188651"/>
              <a:gd name="connsiteY1961" fmla="*/ 4114128 h 6858000"/>
              <a:gd name="connsiteX1962" fmla="*/ 956474 w 12188651"/>
              <a:gd name="connsiteY1962" fmla="*/ 3727815 h 6858000"/>
              <a:gd name="connsiteX1963" fmla="*/ 10190640 w 12188651"/>
              <a:gd name="connsiteY1963" fmla="*/ 3534287 h 6858000"/>
              <a:gd name="connsiteX1964" fmla="*/ 10524404 w 12188651"/>
              <a:gd name="connsiteY1964" fmla="*/ 3727441 h 6858000"/>
              <a:gd name="connsiteX1965" fmla="*/ 10524404 w 12188651"/>
              <a:gd name="connsiteY1965" fmla="*/ 4113620 h 6858000"/>
              <a:gd name="connsiteX1966" fmla="*/ 10190640 w 12188651"/>
              <a:gd name="connsiteY1966" fmla="*/ 4306761 h 6858000"/>
              <a:gd name="connsiteX1967" fmla="*/ 9856876 w 12188651"/>
              <a:gd name="connsiteY1967" fmla="*/ 4113620 h 6858000"/>
              <a:gd name="connsiteX1968" fmla="*/ 9856876 w 12188651"/>
              <a:gd name="connsiteY1968" fmla="*/ 3727441 h 6858000"/>
              <a:gd name="connsiteX1969" fmla="*/ 8136693 w 12188651"/>
              <a:gd name="connsiteY1969" fmla="*/ 3534283 h 6858000"/>
              <a:gd name="connsiteX1970" fmla="*/ 8470456 w 12188651"/>
              <a:gd name="connsiteY1970" fmla="*/ 3727435 h 6858000"/>
              <a:gd name="connsiteX1971" fmla="*/ 8470456 w 12188651"/>
              <a:gd name="connsiteY1971" fmla="*/ 4113615 h 6858000"/>
              <a:gd name="connsiteX1972" fmla="*/ 8136693 w 12188651"/>
              <a:gd name="connsiteY1972" fmla="*/ 4306761 h 6858000"/>
              <a:gd name="connsiteX1973" fmla="*/ 7802930 w 12188651"/>
              <a:gd name="connsiteY1973" fmla="*/ 4113615 h 6858000"/>
              <a:gd name="connsiteX1974" fmla="*/ 7802930 w 12188651"/>
              <a:gd name="connsiteY1974" fmla="*/ 3727435 h 6858000"/>
              <a:gd name="connsiteX1975" fmla="*/ 6082876 w 12188651"/>
              <a:gd name="connsiteY1975" fmla="*/ 3534281 h 6858000"/>
              <a:gd name="connsiteX1976" fmla="*/ 6416638 w 12188651"/>
              <a:gd name="connsiteY1976" fmla="*/ 3727432 h 6858000"/>
              <a:gd name="connsiteX1977" fmla="*/ 6416638 w 12188651"/>
              <a:gd name="connsiteY1977" fmla="*/ 4113613 h 6858000"/>
              <a:gd name="connsiteX1978" fmla="*/ 6082876 w 12188651"/>
              <a:gd name="connsiteY1978" fmla="*/ 4306761 h 6858000"/>
              <a:gd name="connsiteX1979" fmla="*/ 5749138 w 12188651"/>
              <a:gd name="connsiteY1979" fmla="*/ 4113613 h 6858000"/>
              <a:gd name="connsiteX1980" fmla="*/ 5749138 w 12188651"/>
              <a:gd name="connsiteY1980" fmla="*/ 3727432 h 6858000"/>
              <a:gd name="connsiteX1981" fmla="*/ 4029115 w 12188651"/>
              <a:gd name="connsiteY1981" fmla="*/ 3534279 h 6858000"/>
              <a:gd name="connsiteX1982" fmla="*/ 4362838 w 12188651"/>
              <a:gd name="connsiteY1982" fmla="*/ 3727431 h 6858000"/>
              <a:gd name="connsiteX1983" fmla="*/ 4362838 w 12188651"/>
              <a:gd name="connsiteY1983" fmla="*/ 4113612 h 6858000"/>
              <a:gd name="connsiteX1984" fmla="*/ 4029115 w 12188651"/>
              <a:gd name="connsiteY1984" fmla="*/ 4306759 h 6858000"/>
              <a:gd name="connsiteX1985" fmla="*/ 3695360 w 12188651"/>
              <a:gd name="connsiteY1985" fmla="*/ 4113612 h 6858000"/>
              <a:gd name="connsiteX1986" fmla="*/ 3695360 w 12188651"/>
              <a:gd name="connsiteY1986" fmla="*/ 3727431 h 6858000"/>
              <a:gd name="connsiteX1987" fmla="*/ 1975142 w 12188651"/>
              <a:gd name="connsiteY1987" fmla="*/ 3534274 h 6858000"/>
              <a:gd name="connsiteX1988" fmla="*/ 2308909 w 12188651"/>
              <a:gd name="connsiteY1988" fmla="*/ 3727426 h 6858000"/>
              <a:gd name="connsiteX1989" fmla="*/ 2308909 w 12188651"/>
              <a:gd name="connsiteY1989" fmla="*/ 4113608 h 6858000"/>
              <a:gd name="connsiteX1990" fmla="*/ 1975142 w 12188651"/>
              <a:gd name="connsiteY1990" fmla="*/ 4306759 h 6858000"/>
              <a:gd name="connsiteX1991" fmla="*/ 1641383 w 12188651"/>
              <a:gd name="connsiteY1991" fmla="*/ 4113608 h 6858000"/>
              <a:gd name="connsiteX1992" fmla="*/ 1641383 w 12188651"/>
              <a:gd name="connsiteY1992" fmla="*/ 3727426 h 6858000"/>
              <a:gd name="connsiteX1993" fmla="*/ 11902654 w 12188651"/>
              <a:gd name="connsiteY1993" fmla="*/ 3336497 h 6858000"/>
              <a:gd name="connsiteX1994" fmla="*/ 12182429 w 12188651"/>
              <a:gd name="connsiteY1994" fmla="*/ 3498382 h 6858000"/>
              <a:gd name="connsiteX1995" fmla="*/ 12188651 w 12188651"/>
              <a:gd name="connsiteY1995" fmla="*/ 3501984 h 6858000"/>
              <a:gd name="connsiteX1996" fmla="*/ 12188651 w 12188651"/>
              <a:gd name="connsiteY1996" fmla="*/ 3547650 h 6858000"/>
              <a:gd name="connsiteX1997" fmla="*/ 11902524 w 12188651"/>
              <a:gd name="connsiteY1997" fmla="*/ 3713173 h 6858000"/>
              <a:gd name="connsiteX1998" fmla="*/ 11577061 w 12188651"/>
              <a:gd name="connsiteY1998" fmla="*/ 3524820 h 6858000"/>
              <a:gd name="connsiteX1999" fmla="*/ 9848833 w 12188651"/>
              <a:gd name="connsiteY1999" fmla="*/ 3336489 h 6858000"/>
              <a:gd name="connsiteX2000" fmla="*/ 10174296 w 12188651"/>
              <a:gd name="connsiteY2000" fmla="*/ 3524818 h 6858000"/>
              <a:gd name="connsiteX2001" fmla="*/ 9848703 w 12188651"/>
              <a:gd name="connsiteY2001" fmla="*/ 3713171 h 6858000"/>
              <a:gd name="connsiteX2002" fmla="*/ 9523242 w 12188651"/>
              <a:gd name="connsiteY2002" fmla="*/ 3524818 h 6858000"/>
              <a:gd name="connsiteX2003" fmla="*/ 7794888 w 12188651"/>
              <a:gd name="connsiteY2003" fmla="*/ 3336477 h 6858000"/>
              <a:gd name="connsiteX2004" fmla="*/ 8120348 w 12188651"/>
              <a:gd name="connsiteY2004" fmla="*/ 3524813 h 6858000"/>
              <a:gd name="connsiteX2005" fmla="*/ 7794758 w 12188651"/>
              <a:gd name="connsiteY2005" fmla="*/ 3713167 h 6858000"/>
              <a:gd name="connsiteX2006" fmla="*/ 7469297 w 12188651"/>
              <a:gd name="connsiteY2006" fmla="*/ 3524813 h 6858000"/>
              <a:gd name="connsiteX2007" fmla="*/ 5741092 w 12188651"/>
              <a:gd name="connsiteY2007" fmla="*/ 3336470 h 6858000"/>
              <a:gd name="connsiteX2008" fmla="*/ 6066533 w 12188651"/>
              <a:gd name="connsiteY2008" fmla="*/ 3524807 h 6858000"/>
              <a:gd name="connsiteX2009" fmla="*/ 5740963 w 12188651"/>
              <a:gd name="connsiteY2009" fmla="*/ 3713162 h 6858000"/>
              <a:gd name="connsiteX2010" fmla="*/ 5415520 w 12188651"/>
              <a:gd name="connsiteY2010" fmla="*/ 3524807 h 6858000"/>
              <a:gd name="connsiteX2011" fmla="*/ 3687317 w 12188651"/>
              <a:gd name="connsiteY2011" fmla="*/ 3336464 h 6858000"/>
              <a:gd name="connsiteX2012" fmla="*/ 4012771 w 12188651"/>
              <a:gd name="connsiteY2012" fmla="*/ 3524805 h 6858000"/>
              <a:gd name="connsiteX2013" fmla="*/ 3687184 w 12188651"/>
              <a:gd name="connsiteY2013" fmla="*/ 3713158 h 6858000"/>
              <a:gd name="connsiteX2014" fmla="*/ 3361732 w 12188651"/>
              <a:gd name="connsiteY2014" fmla="*/ 3524805 h 6858000"/>
              <a:gd name="connsiteX2015" fmla="*/ 1633340 w 12188651"/>
              <a:gd name="connsiteY2015" fmla="*/ 3336454 h 6858000"/>
              <a:gd name="connsiteX2016" fmla="*/ 1958796 w 12188651"/>
              <a:gd name="connsiteY2016" fmla="*/ 3524804 h 6858000"/>
              <a:gd name="connsiteX2017" fmla="*/ 1633208 w 12188651"/>
              <a:gd name="connsiteY2017" fmla="*/ 3713156 h 6858000"/>
              <a:gd name="connsiteX2018" fmla="*/ 1307751 w 12188651"/>
              <a:gd name="connsiteY2018" fmla="*/ 3524804 h 6858000"/>
              <a:gd name="connsiteX2019" fmla="*/ 11113840 w 12188651"/>
              <a:gd name="connsiteY2019" fmla="*/ 3172539 h 6858000"/>
              <a:gd name="connsiteX2020" fmla="*/ 11141600 w 12188651"/>
              <a:gd name="connsiteY2020" fmla="*/ 3184087 h 6858000"/>
              <a:gd name="connsiteX2021" fmla="*/ 11206199 w 12188651"/>
              <a:gd name="connsiteY2021" fmla="*/ 3248805 h 6858000"/>
              <a:gd name="connsiteX2022" fmla="*/ 11217744 w 12188651"/>
              <a:gd name="connsiteY2022" fmla="*/ 3260492 h 6858000"/>
              <a:gd name="connsiteX2023" fmla="*/ 11229289 w 12188651"/>
              <a:gd name="connsiteY2023" fmla="*/ 3248805 h 6858000"/>
              <a:gd name="connsiteX2024" fmla="*/ 11293758 w 12188651"/>
              <a:gd name="connsiteY2024" fmla="*/ 3184087 h 6858000"/>
              <a:gd name="connsiteX2025" fmla="*/ 11321517 w 12188651"/>
              <a:gd name="connsiteY2025" fmla="*/ 3172539 h 6858000"/>
              <a:gd name="connsiteX2026" fmla="*/ 11349147 w 12188651"/>
              <a:gd name="connsiteY2026" fmla="*/ 3184087 h 6858000"/>
              <a:gd name="connsiteX2027" fmla="*/ 11427627 w 12188651"/>
              <a:gd name="connsiteY2027" fmla="*/ 3262689 h 6858000"/>
              <a:gd name="connsiteX2028" fmla="*/ 11439170 w 12188651"/>
              <a:gd name="connsiteY2028" fmla="*/ 3290444 h 6858000"/>
              <a:gd name="connsiteX2029" fmla="*/ 11427757 w 12188651"/>
              <a:gd name="connsiteY2029" fmla="*/ 3318199 h 6858000"/>
              <a:gd name="connsiteX2030" fmla="*/ 11217744 w 12188651"/>
              <a:gd name="connsiteY2030" fmla="*/ 3528579 h 6858000"/>
              <a:gd name="connsiteX2031" fmla="*/ 11007731 w 12188651"/>
              <a:gd name="connsiteY2031" fmla="*/ 3318199 h 6858000"/>
              <a:gd name="connsiteX2032" fmla="*/ 10996253 w 12188651"/>
              <a:gd name="connsiteY2032" fmla="*/ 3290463 h 6858000"/>
              <a:gd name="connsiteX2033" fmla="*/ 11007731 w 12188651"/>
              <a:gd name="connsiteY2033" fmla="*/ 3262819 h 6858000"/>
              <a:gd name="connsiteX2034" fmla="*/ 11086210 w 12188651"/>
              <a:gd name="connsiteY2034" fmla="*/ 3184087 h 6858000"/>
              <a:gd name="connsiteX2035" fmla="*/ 11113840 w 12188651"/>
              <a:gd name="connsiteY2035" fmla="*/ 3172539 h 6858000"/>
              <a:gd name="connsiteX2036" fmla="*/ 9059892 w 12188651"/>
              <a:gd name="connsiteY2036" fmla="*/ 3172530 h 6858000"/>
              <a:gd name="connsiteX2037" fmla="*/ 9087652 w 12188651"/>
              <a:gd name="connsiteY2037" fmla="*/ 3184077 h 6858000"/>
              <a:gd name="connsiteX2038" fmla="*/ 9152251 w 12188651"/>
              <a:gd name="connsiteY2038" fmla="*/ 3248800 h 6858000"/>
              <a:gd name="connsiteX2039" fmla="*/ 9163796 w 12188651"/>
              <a:gd name="connsiteY2039" fmla="*/ 3260473 h 6858000"/>
              <a:gd name="connsiteX2040" fmla="*/ 9175341 w 12188651"/>
              <a:gd name="connsiteY2040" fmla="*/ 3248800 h 6858000"/>
              <a:gd name="connsiteX2041" fmla="*/ 9239810 w 12188651"/>
              <a:gd name="connsiteY2041" fmla="*/ 3184077 h 6858000"/>
              <a:gd name="connsiteX2042" fmla="*/ 9267570 w 12188651"/>
              <a:gd name="connsiteY2042" fmla="*/ 3172530 h 6858000"/>
              <a:gd name="connsiteX2043" fmla="*/ 9295200 w 12188651"/>
              <a:gd name="connsiteY2043" fmla="*/ 3184077 h 6858000"/>
              <a:gd name="connsiteX2044" fmla="*/ 9373678 w 12188651"/>
              <a:gd name="connsiteY2044" fmla="*/ 3262679 h 6858000"/>
              <a:gd name="connsiteX2045" fmla="*/ 9385222 w 12188651"/>
              <a:gd name="connsiteY2045" fmla="*/ 3290436 h 6858000"/>
              <a:gd name="connsiteX2046" fmla="*/ 9373809 w 12188651"/>
              <a:gd name="connsiteY2046" fmla="*/ 3318189 h 6858000"/>
              <a:gd name="connsiteX2047" fmla="*/ 9163797 w 12188651"/>
              <a:gd name="connsiteY2047" fmla="*/ 3528578 h 6858000"/>
              <a:gd name="connsiteX2048" fmla="*/ 8953784 w 12188651"/>
              <a:gd name="connsiteY2048" fmla="*/ 3318189 h 6858000"/>
              <a:gd name="connsiteX2049" fmla="*/ 8942306 w 12188651"/>
              <a:gd name="connsiteY2049" fmla="*/ 3290451 h 6858000"/>
              <a:gd name="connsiteX2050" fmla="*/ 8953783 w 12188651"/>
              <a:gd name="connsiteY2050" fmla="*/ 3262809 h 6858000"/>
              <a:gd name="connsiteX2051" fmla="*/ 9032263 w 12188651"/>
              <a:gd name="connsiteY2051" fmla="*/ 3184077 h 6858000"/>
              <a:gd name="connsiteX2052" fmla="*/ 9059892 w 12188651"/>
              <a:gd name="connsiteY2052" fmla="*/ 3172530 h 6858000"/>
              <a:gd name="connsiteX2053" fmla="*/ 7006076 w 12188651"/>
              <a:gd name="connsiteY2053" fmla="*/ 3172517 h 6858000"/>
              <a:gd name="connsiteX2054" fmla="*/ 7033834 w 12188651"/>
              <a:gd name="connsiteY2054" fmla="*/ 3184064 h 6858000"/>
              <a:gd name="connsiteX2055" fmla="*/ 7098434 w 12188651"/>
              <a:gd name="connsiteY2055" fmla="*/ 3248792 h 6858000"/>
              <a:gd name="connsiteX2056" fmla="*/ 7109978 w 12188651"/>
              <a:gd name="connsiteY2056" fmla="*/ 3260467 h 6858000"/>
              <a:gd name="connsiteX2057" fmla="*/ 7121523 w 12188651"/>
              <a:gd name="connsiteY2057" fmla="*/ 3248792 h 6858000"/>
              <a:gd name="connsiteX2058" fmla="*/ 7185994 w 12188651"/>
              <a:gd name="connsiteY2058" fmla="*/ 3184064 h 6858000"/>
              <a:gd name="connsiteX2059" fmla="*/ 7213751 w 12188651"/>
              <a:gd name="connsiteY2059" fmla="*/ 3172517 h 6858000"/>
              <a:gd name="connsiteX2060" fmla="*/ 7241381 w 12188651"/>
              <a:gd name="connsiteY2060" fmla="*/ 3184064 h 6858000"/>
              <a:gd name="connsiteX2061" fmla="*/ 7319862 w 12188651"/>
              <a:gd name="connsiteY2061" fmla="*/ 3262673 h 6858000"/>
              <a:gd name="connsiteX2062" fmla="*/ 7331405 w 12188651"/>
              <a:gd name="connsiteY2062" fmla="*/ 3290428 h 6858000"/>
              <a:gd name="connsiteX2063" fmla="*/ 7319992 w 12188651"/>
              <a:gd name="connsiteY2063" fmla="*/ 3318178 h 6858000"/>
              <a:gd name="connsiteX2064" fmla="*/ 7109978 w 12188651"/>
              <a:gd name="connsiteY2064" fmla="*/ 3528572 h 6858000"/>
              <a:gd name="connsiteX2065" fmla="*/ 6899966 w 12188651"/>
              <a:gd name="connsiteY2065" fmla="*/ 3318178 h 6858000"/>
              <a:gd name="connsiteX2066" fmla="*/ 6888487 w 12188651"/>
              <a:gd name="connsiteY2066" fmla="*/ 3290444 h 6858000"/>
              <a:gd name="connsiteX2067" fmla="*/ 6899966 w 12188651"/>
              <a:gd name="connsiteY2067" fmla="*/ 3262798 h 6858000"/>
              <a:gd name="connsiteX2068" fmla="*/ 6978446 w 12188651"/>
              <a:gd name="connsiteY2068" fmla="*/ 3184064 h 6858000"/>
              <a:gd name="connsiteX2069" fmla="*/ 7006076 w 12188651"/>
              <a:gd name="connsiteY2069" fmla="*/ 3172517 h 6858000"/>
              <a:gd name="connsiteX2070" fmla="*/ 4952157 w 12188651"/>
              <a:gd name="connsiteY2070" fmla="*/ 3172509 h 6858000"/>
              <a:gd name="connsiteX2071" fmla="*/ 4979924 w 12188651"/>
              <a:gd name="connsiteY2071" fmla="*/ 3184048 h 6858000"/>
              <a:gd name="connsiteX2072" fmla="*/ 5044521 w 12188651"/>
              <a:gd name="connsiteY2072" fmla="*/ 3248772 h 6858000"/>
              <a:gd name="connsiteX2073" fmla="*/ 5056083 w 12188651"/>
              <a:gd name="connsiteY2073" fmla="*/ 3260446 h 6858000"/>
              <a:gd name="connsiteX2074" fmla="*/ 5056083 w 12188651"/>
              <a:gd name="connsiteY2074" fmla="*/ 3260442 h 6858000"/>
              <a:gd name="connsiteX2075" fmla="*/ 5056087 w 12188651"/>
              <a:gd name="connsiteY2075" fmla="*/ 3260455 h 6858000"/>
              <a:gd name="connsiteX2076" fmla="*/ 5067642 w 12188651"/>
              <a:gd name="connsiteY2076" fmla="*/ 3248781 h 6858000"/>
              <a:gd name="connsiteX2077" fmla="*/ 5132091 w 12188651"/>
              <a:gd name="connsiteY2077" fmla="*/ 3184051 h 6858000"/>
              <a:gd name="connsiteX2078" fmla="*/ 5159840 w 12188651"/>
              <a:gd name="connsiteY2078" fmla="*/ 3172509 h 6858000"/>
              <a:gd name="connsiteX2079" fmla="*/ 5187473 w 12188651"/>
              <a:gd name="connsiteY2079" fmla="*/ 3184048 h 6858000"/>
              <a:gd name="connsiteX2080" fmla="*/ 5265932 w 12188651"/>
              <a:gd name="connsiteY2080" fmla="*/ 3262652 h 6858000"/>
              <a:gd name="connsiteX2081" fmla="*/ 5277479 w 12188651"/>
              <a:gd name="connsiteY2081" fmla="*/ 3290410 h 6858000"/>
              <a:gd name="connsiteX2082" fmla="*/ 5266071 w 12188651"/>
              <a:gd name="connsiteY2082" fmla="*/ 3318172 h 6858000"/>
              <a:gd name="connsiteX2083" fmla="*/ 5056083 w 12188651"/>
              <a:gd name="connsiteY2083" fmla="*/ 3528560 h 6858000"/>
              <a:gd name="connsiteX2084" fmla="*/ 4855197 w 12188651"/>
              <a:gd name="connsiteY2084" fmla="*/ 3327353 h 6858000"/>
              <a:gd name="connsiteX2085" fmla="*/ 4846044 w 12188651"/>
              <a:gd name="connsiteY2085" fmla="*/ 3318176 h 6858000"/>
              <a:gd name="connsiteX2086" fmla="*/ 4834566 w 12188651"/>
              <a:gd name="connsiteY2086" fmla="*/ 3290436 h 6858000"/>
              <a:gd name="connsiteX2087" fmla="*/ 4846044 w 12188651"/>
              <a:gd name="connsiteY2087" fmla="*/ 3262790 h 6858000"/>
              <a:gd name="connsiteX2088" fmla="*/ 4924518 w 12188651"/>
              <a:gd name="connsiteY2088" fmla="*/ 3184051 h 6858000"/>
              <a:gd name="connsiteX2089" fmla="*/ 4952157 w 12188651"/>
              <a:gd name="connsiteY2089" fmla="*/ 3172509 h 6858000"/>
              <a:gd name="connsiteX2090" fmla="*/ 2898373 w 12188651"/>
              <a:gd name="connsiteY2090" fmla="*/ 3172493 h 6858000"/>
              <a:gd name="connsiteX2091" fmla="*/ 2914891 w 12188651"/>
              <a:gd name="connsiteY2091" fmla="*/ 3179366 h 6858000"/>
              <a:gd name="connsiteX2092" fmla="*/ 2926113 w 12188651"/>
              <a:gd name="connsiteY2092" fmla="*/ 3184033 h 6858000"/>
              <a:gd name="connsiteX2093" fmla="*/ 2990711 w 12188651"/>
              <a:gd name="connsiteY2093" fmla="*/ 3248759 h 6858000"/>
              <a:gd name="connsiteX2094" fmla="*/ 3002256 w 12188651"/>
              <a:gd name="connsiteY2094" fmla="*/ 3260436 h 6858000"/>
              <a:gd name="connsiteX2095" fmla="*/ 3002263 w 12188651"/>
              <a:gd name="connsiteY2095" fmla="*/ 3260428 h 6858000"/>
              <a:gd name="connsiteX2096" fmla="*/ 3002278 w 12188651"/>
              <a:gd name="connsiteY2096" fmla="*/ 3260446 h 6858000"/>
              <a:gd name="connsiteX2097" fmla="*/ 3013824 w 12188651"/>
              <a:gd name="connsiteY2097" fmla="*/ 3248772 h 6858000"/>
              <a:gd name="connsiteX2098" fmla="*/ 3078289 w 12188651"/>
              <a:gd name="connsiteY2098" fmla="*/ 3184044 h 6858000"/>
              <a:gd name="connsiteX2099" fmla="*/ 3106051 w 12188651"/>
              <a:gd name="connsiteY2099" fmla="*/ 3172493 h 6858000"/>
              <a:gd name="connsiteX2100" fmla="*/ 3119341 w 12188651"/>
              <a:gd name="connsiteY2100" fmla="*/ 3178052 h 6858000"/>
              <a:gd name="connsiteX2101" fmla="*/ 3133663 w 12188651"/>
              <a:gd name="connsiteY2101" fmla="*/ 3184033 h 6858000"/>
              <a:gd name="connsiteX2102" fmla="*/ 3212138 w 12188651"/>
              <a:gd name="connsiteY2102" fmla="*/ 3262641 h 6858000"/>
              <a:gd name="connsiteX2103" fmla="*/ 3223683 w 12188651"/>
              <a:gd name="connsiteY2103" fmla="*/ 3290403 h 6858000"/>
              <a:gd name="connsiteX2104" fmla="*/ 3212269 w 12188651"/>
              <a:gd name="connsiteY2104" fmla="*/ 3318161 h 6858000"/>
              <a:gd name="connsiteX2105" fmla="*/ 3002266 w 12188651"/>
              <a:gd name="connsiteY2105" fmla="*/ 3528555 h 6858000"/>
              <a:gd name="connsiteX2106" fmla="*/ 2792268 w 12188651"/>
              <a:gd name="connsiteY2106" fmla="*/ 3318172 h 6858000"/>
              <a:gd name="connsiteX2107" fmla="*/ 2792268 w 12188651"/>
              <a:gd name="connsiteY2107" fmla="*/ 3262780 h 6858000"/>
              <a:gd name="connsiteX2108" fmla="*/ 2870745 w 12188651"/>
              <a:gd name="connsiteY2108" fmla="*/ 3184044 h 6858000"/>
              <a:gd name="connsiteX2109" fmla="*/ 844397 w 12188651"/>
              <a:gd name="connsiteY2109" fmla="*/ 3172485 h 6858000"/>
              <a:gd name="connsiteX2110" fmla="*/ 872137 w 12188651"/>
              <a:gd name="connsiteY2110" fmla="*/ 3184024 h 6858000"/>
              <a:gd name="connsiteX2111" fmla="*/ 936732 w 12188651"/>
              <a:gd name="connsiteY2111" fmla="*/ 3248751 h 6858000"/>
              <a:gd name="connsiteX2112" fmla="*/ 948278 w 12188651"/>
              <a:gd name="connsiteY2112" fmla="*/ 3260428 h 6858000"/>
              <a:gd name="connsiteX2113" fmla="*/ 948285 w 12188651"/>
              <a:gd name="connsiteY2113" fmla="*/ 3260419 h 6858000"/>
              <a:gd name="connsiteX2114" fmla="*/ 948301 w 12188651"/>
              <a:gd name="connsiteY2114" fmla="*/ 3260436 h 6858000"/>
              <a:gd name="connsiteX2115" fmla="*/ 959846 w 12188651"/>
              <a:gd name="connsiteY2115" fmla="*/ 3248759 h 6858000"/>
              <a:gd name="connsiteX2116" fmla="*/ 1024315 w 12188651"/>
              <a:gd name="connsiteY2116" fmla="*/ 3184033 h 6858000"/>
              <a:gd name="connsiteX2117" fmla="*/ 1052075 w 12188651"/>
              <a:gd name="connsiteY2117" fmla="*/ 3172485 h 6858000"/>
              <a:gd name="connsiteX2118" fmla="*/ 1079685 w 12188651"/>
              <a:gd name="connsiteY2118" fmla="*/ 3184025 h 6858000"/>
              <a:gd name="connsiteX2119" fmla="*/ 1158160 w 12188651"/>
              <a:gd name="connsiteY2119" fmla="*/ 3262631 h 6858000"/>
              <a:gd name="connsiteX2120" fmla="*/ 1169705 w 12188651"/>
              <a:gd name="connsiteY2120" fmla="*/ 3290391 h 6858000"/>
              <a:gd name="connsiteX2121" fmla="*/ 1158290 w 12188651"/>
              <a:gd name="connsiteY2121" fmla="*/ 3318153 h 6858000"/>
              <a:gd name="connsiteX2122" fmla="*/ 948288 w 12188651"/>
              <a:gd name="connsiteY2122" fmla="*/ 3528552 h 6858000"/>
              <a:gd name="connsiteX2123" fmla="*/ 738289 w 12188651"/>
              <a:gd name="connsiteY2123" fmla="*/ 3318161 h 6858000"/>
              <a:gd name="connsiteX2124" fmla="*/ 738289 w 12188651"/>
              <a:gd name="connsiteY2124" fmla="*/ 3262772 h 6858000"/>
              <a:gd name="connsiteX2125" fmla="*/ 816766 w 12188651"/>
              <a:gd name="connsiteY2125" fmla="*/ 3184033 h 6858000"/>
              <a:gd name="connsiteX2126" fmla="*/ 844397 w 12188651"/>
              <a:gd name="connsiteY2126" fmla="*/ 3172485 h 6858000"/>
              <a:gd name="connsiteX2127" fmla="*/ 11113840 w 12188651"/>
              <a:gd name="connsiteY2127" fmla="*/ 3156060 h 6858000"/>
              <a:gd name="connsiteX2128" fmla="*/ 11074665 w 12188651"/>
              <a:gd name="connsiteY2128" fmla="*/ 3172394 h 6858000"/>
              <a:gd name="connsiteX2129" fmla="*/ 10996186 w 12188651"/>
              <a:gd name="connsiteY2129" fmla="*/ 3251138 h 6858000"/>
              <a:gd name="connsiteX2130" fmla="*/ 10979939 w 12188651"/>
              <a:gd name="connsiteY2130" fmla="*/ 3290444 h 6858000"/>
              <a:gd name="connsiteX2131" fmla="*/ 10979941 w 12188651"/>
              <a:gd name="connsiteY2131" fmla="*/ 3290444 h 6858000"/>
              <a:gd name="connsiteX2132" fmla="*/ 10979939 w 12188651"/>
              <a:gd name="connsiteY2132" fmla="*/ 3290449 h 6858000"/>
              <a:gd name="connsiteX2133" fmla="*/ 10996186 w 12188651"/>
              <a:gd name="connsiteY2133" fmla="*/ 3329751 h 6858000"/>
              <a:gd name="connsiteX2134" fmla="*/ 11217744 w 12188651"/>
              <a:gd name="connsiteY2134" fmla="*/ 3551803 h 6858000"/>
              <a:gd name="connsiteX2135" fmla="*/ 11439301 w 12188651"/>
              <a:gd name="connsiteY2135" fmla="*/ 3329751 h 6858000"/>
              <a:gd name="connsiteX2136" fmla="*/ 11455548 w 12188651"/>
              <a:gd name="connsiteY2136" fmla="*/ 3290449 h 6858000"/>
              <a:gd name="connsiteX2137" fmla="*/ 11455546 w 12188651"/>
              <a:gd name="connsiteY2137" fmla="*/ 3290444 h 6858000"/>
              <a:gd name="connsiteX2138" fmla="*/ 11455548 w 12188651"/>
              <a:gd name="connsiteY2138" fmla="*/ 3290444 h 6858000"/>
              <a:gd name="connsiteX2139" fmla="*/ 11439301 w 12188651"/>
              <a:gd name="connsiteY2139" fmla="*/ 3251138 h 6858000"/>
              <a:gd name="connsiteX2140" fmla="*/ 11360822 w 12188651"/>
              <a:gd name="connsiteY2140" fmla="*/ 3172530 h 6858000"/>
              <a:gd name="connsiteX2141" fmla="*/ 11321647 w 12188651"/>
              <a:gd name="connsiteY2141" fmla="*/ 3156189 h 6858000"/>
              <a:gd name="connsiteX2142" fmla="*/ 11321517 w 12188651"/>
              <a:gd name="connsiteY2142" fmla="*/ 3156060 h 6858000"/>
              <a:gd name="connsiteX2143" fmla="*/ 11282213 w 12188651"/>
              <a:gd name="connsiteY2143" fmla="*/ 3172530 h 6858000"/>
              <a:gd name="connsiteX2144" fmla="*/ 11217744 w 12188651"/>
              <a:gd name="connsiteY2144" fmla="*/ 3237128 h 6858000"/>
              <a:gd name="connsiteX2145" fmla="*/ 11153145 w 12188651"/>
              <a:gd name="connsiteY2145" fmla="*/ 3172394 h 6858000"/>
              <a:gd name="connsiteX2146" fmla="*/ 11113840 w 12188651"/>
              <a:gd name="connsiteY2146" fmla="*/ 3156060 h 6858000"/>
              <a:gd name="connsiteX2147" fmla="*/ 9059893 w 12188651"/>
              <a:gd name="connsiteY2147" fmla="*/ 3156047 h 6858000"/>
              <a:gd name="connsiteX2148" fmla="*/ 9020718 w 12188651"/>
              <a:gd name="connsiteY2148" fmla="*/ 3172391 h 6858000"/>
              <a:gd name="connsiteX2149" fmla="*/ 8942239 w 12188651"/>
              <a:gd name="connsiteY2149" fmla="*/ 3251125 h 6858000"/>
              <a:gd name="connsiteX2150" fmla="*/ 8925992 w 12188651"/>
              <a:gd name="connsiteY2150" fmla="*/ 3290430 h 6858000"/>
              <a:gd name="connsiteX2151" fmla="*/ 8925993 w 12188651"/>
              <a:gd name="connsiteY2151" fmla="*/ 3290435 h 6858000"/>
              <a:gd name="connsiteX2152" fmla="*/ 8925991 w 12188651"/>
              <a:gd name="connsiteY2152" fmla="*/ 3290444 h 6858000"/>
              <a:gd name="connsiteX2153" fmla="*/ 8942238 w 12188651"/>
              <a:gd name="connsiteY2153" fmla="*/ 3329746 h 6858000"/>
              <a:gd name="connsiteX2154" fmla="*/ 9163796 w 12188651"/>
              <a:gd name="connsiteY2154" fmla="*/ 3551798 h 6858000"/>
              <a:gd name="connsiteX2155" fmla="*/ 9385353 w 12188651"/>
              <a:gd name="connsiteY2155" fmla="*/ 3329746 h 6858000"/>
              <a:gd name="connsiteX2156" fmla="*/ 9401600 w 12188651"/>
              <a:gd name="connsiteY2156" fmla="*/ 3290444 h 6858000"/>
              <a:gd name="connsiteX2157" fmla="*/ 9401599 w 12188651"/>
              <a:gd name="connsiteY2157" fmla="*/ 3290436 h 6858000"/>
              <a:gd name="connsiteX2158" fmla="*/ 9401601 w 12188651"/>
              <a:gd name="connsiteY2158" fmla="*/ 3290430 h 6858000"/>
              <a:gd name="connsiteX2159" fmla="*/ 9385354 w 12188651"/>
              <a:gd name="connsiteY2159" fmla="*/ 3251125 h 6858000"/>
              <a:gd name="connsiteX2160" fmla="*/ 9306876 w 12188651"/>
              <a:gd name="connsiteY2160" fmla="*/ 3172523 h 6858000"/>
              <a:gd name="connsiteX2161" fmla="*/ 9267701 w 12188651"/>
              <a:gd name="connsiteY2161" fmla="*/ 3156175 h 6858000"/>
              <a:gd name="connsiteX2162" fmla="*/ 9267571 w 12188651"/>
              <a:gd name="connsiteY2162" fmla="*/ 3156047 h 6858000"/>
              <a:gd name="connsiteX2163" fmla="*/ 9228266 w 12188651"/>
              <a:gd name="connsiteY2163" fmla="*/ 3172523 h 6858000"/>
              <a:gd name="connsiteX2164" fmla="*/ 9163797 w 12188651"/>
              <a:gd name="connsiteY2164" fmla="*/ 3237116 h 6858000"/>
              <a:gd name="connsiteX2165" fmla="*/ 9099198 w 12188651"/>
              <a:gd name="connsiteY2165" fmla="*/ 3172391 h 6858000"/>
              <a:gd name="connsiteX2166" fmla="*/ 9059893 w 12188651"/>
              <a:gd name="connsiteY2166" fmla="*/ 3156047 h 6858000"/>
              <a:gd name="connsiteX2167" fmla="*/ 7006076 w 12188651"/>
              <a:gd name="connsiteY2167" fmla="*/ 3156035 h 6858000"/>
              <a:gd name="connsiteX2168" fmla="*/ 6966901 w 12188651"/>
              <a:gd name="connsiteY2168" fmla="*/ 3172384 h 6858000"/>
              <a:gd name="connsiteX2169" fmla="*/ 6888421 w 12188651"/>
              <a:gd name="connsiteY2169" fmla="*/ 3251119 h 6858000"/>
              <a:gd name="connsiteX2170" fmla="*/ 6872174 w 12188651"/>
              <a:gd name="connsiteY2170" fmla="*/ 3290423 h 6858000"/>
              <a:gd name="connsiteX2171" fmla="*/ 6872175 w 12188651"/>
              <a:gd name="connsiteY2171" fmla="*/ 3290428 h 6858000"/>
              <a:gd name="connsiteX2172" fmla="*/ 6872174 w 12188651"/>
              <a:gd name="connsiteY2172" fmla="*/ 3290430 h 6858000"/>
              <a:gd name="connsiteX2173" fmla="*/ 6888421 w 12188651"/>
              <a:gd name="connsiteY2173" fmla="*/ 3329734 h 6858000"/>
              <a:gd name="connsiteX2174" fmla="*/ 7109978 w 12188651"/>
              <a:gd name="connsiteY2174" fmla="*/ 3551795 h 6858000"/>
              <a:gd name="connsiteX2175" fmla="*/ 7331537 w 12188651"/>
              <a:gd name="connsiteY2175" fmla="*/ 3329734 h 6858000"/>
              <a:gd name="connsiteX2176" fmla="*/ 7347783 w 12188651"/>
              <a:gd name="connsiteY2176" fmla="*/ 3290430 h 6858000"/>
              <a:gd name="connsiteX2177" fmla="*/ 7347782 w 12188651"/>
              <a:gd name="connsiteY2177" fmla="*/ 3290428 h 6858000"/>
              <a:gd name="connsiteX2178" fmla="*/ 7347783 w 12188651"/>
              <a:gd name="connsiteY2178" fmla="*/ 3290423 h 6858000"/>
              <a:gd name="connsiteX2179" fmla="*/ 7331537 w 12188651"/>
              <a:gd name="connsiteY2179" fmla="*/ 3251119 h 6858000"/>
              <a:gd name="connsiteX2180" fmla="*/ 7253057 w 12188651"/>
              <a:gd name="connsiteY2180" fmla="*/ 3172509 h 6858000"/>
              <a:gd name="connsiteX2181" fmla="*/ 7213882 w 12188651"/>
              <a:gd name="connsiteY2181" fmla="*/ 3156164 h 6858000"/>
              <a:gd name="connsiteX2182" fmla="*/ 7213751 w 12188651"/>
              <a:gd name="connsiteY2182" fmla="*/ 3156035 h 6858000"/>
              <a:gd name="connsiteX2183" fmla="*/ 7174449 w 12188651"/>
              <a:gd name="connsiteY2183" fmla="*/ 3172509 h 6858000"/>
              <a:gd name="connsiteX2184" fmla="*/ 7109978 w 12188651"/>
              <a:gd name="connsiteY2184" fmla="*/ 3237109 h 6858000"/>
              <a:gd name="connsiteX2185" fmla="*/ 7045379 w 12188651"/>
              <a:gd name="connsiteY2185" fmla="*/ 3172384 h 6858000"/>
              <a:gd name="connsiteX2186" fmla="*/ 7006076 w 12188651"/>
              <a:gd name="connsiteY2186" fmla="*/ 3156035 h 6858000"/>
              <a:gd name="connsiteX2187" fmla="*/ 4952148 w 12188651"/>
              <a:gd name="connsiteY2187" fmla="*/ 3156022 h 6858000"/>
              <a:gd name="connsiteX2188" fmla="*/ 4912971 w 12188651"/>
              <a:gd name="connsiteY2188" fmla="*/ 3172369 h 6858000"/>
              <a:gd name="connsiteX2189" fmla="*/ 4834497 w 12188651"/>
              <a:gd name="connsiteY2189" fmla="*/ 3251103 h 6858000"/>
              <a:gd name="connsiteX2190" fmla="*/ 4834497 w 12188651"/>
              <a:gd name="connsiteY2190" fmla="*/ 3329715 h 6858000"/>
              <a:gd name="connsiteX2191" fmla="*/ 4834505 w 12188651"/>
              <a:gd name="connsiteY2191" fmla="*/ 3329725 h 6858000"/>
              <a:gd name="connsiteX2192" fmla="*/ 4843779 w 12188651"/>
              <a:gd name="connsiteY2192" fmla="*/ 3339026 h 6858000"/>
              <a:gd name="connsiteX2193" fmla="*/ 5056083 w 12188651"/>
              <a:gd name="connsiteY2193" fmla="*/ 3551786 h 6858000"/>
              <a:gd name="connsiteX2194" fmla="*/ 5056083 w 12188651"/>
              <a:gd name="connsiteY2194" fmla="*/ 3551781 h 6858000"/>
              <a:gd name="connsiteX2195" fmla="*/ 5056087 w 12188651"/>
              <a:gd name="connsiteY2195" fmla="*/ 3551792 h 6858000"/>
              <a:gd name="connsiteX2196" fmla="*/ 5277615 w 12188651"/>
              <a:gd name="connsiteY2196" fmla="*/ 3329725 h 6858000"/>
              <a:gd name="connsiteX2197" fmla="*/ 5277615 w 12188651"/>
              <a:gd name="connsiteY2197" fmla="*/ 3251119 h 6858000"/>
              <a:gd name="connsiteX2198" fmla="*/ 5277613 w 12188651"/>
              <a:gd name="connsiteY2198" fmla="*/ 3251108 h 6858000"/>
              <a:gd name="connsiteX2199" fmla="*/ 5277613 w 12188651"/>
              <a:gd name="connsiteY2199" fmla="*/ 3251103 h 6858000"/>
              <a:gd name="connsiteX2200" fmla="*/ 5199129 w 12188651"/>
              <a:gd name="connsiteY2200" fmla="*/ 3172495 h 6858000"/>
              <a:gd name="connsiteX2201" fmla="*/ 5159958 w 12188651"/>
              <a:gd name="connsiteY2201" fmla="*/ 3156152 h 6858000"/>
              <a:gd name="connsiteX2202" fmla="*/ 5159824 w 12188651"/>
              <a:gd name="connsiteY2202" fmla="*/ 3156022 h 6858000"/>
              <a:gd name="connsiteX2203" fmla="*/ 5120536 w 12188651"/>
              <a:gd name="connsiteY2203" fmla="*/ 3172495 h 6858000"/>
              <a:gd name="connsiteX2204" fmla="*/ 5056083 w 12188651"/>
              <a:gd name="connsiteY2204" fmla="*/ 3237093 h 6858000"/>
              <a:gd name="connsiteX2205" fmla="*/ 4991467 w 12188651"/>
              <a:gd name="connsiteY2205" fmla="*/ 3172384 h 6858000"/>
              <a:gd name="connsiteX2206" fmla="*/ 4991467 w 12188651"/>
              <a:gd name="connsiteY2206" fmla="*/ 3172377 h 6858000"/>
              <a:gd name="connsiteX2207" fmla="*/ 4991465 w 12188651"/>
              <a:gd name="connsiteY2207" fmla="*/ 3172369 h 6858000"/>
              <a:gd name="connsiteX2208" fmla="*/ 4952148 w 12188651"/>
              <a:gd name="connsiteY2208" fmla="*/ 3156022 h 6858000"/>
              <a:gd name="connsiteX2209" fmla="*/ 2898351 w 12188651"/>
              <a:gd name="connsiteY2209" fmla="*/ 3156014 h 6858000"/>
              <a:gd name="connsiteX2210" fmla="*/ 2859177 w 12188651"/>
              <a:gd name="connsiteY2210" fmla="*/ 3172357 h 6858000"/>
              <a:gd name="connsiteX2211" fmla="*/ 2780697 w 12188651"/>
              <a:gd name="connsiteY2211" fmla="*/ 3251097 h 6858000"/>
              <a:gd name="connsiteX2212" fmla="*/ 2780697 w 12188651"/>
              <a:gd name="connsiteY2212" fmla="*/ 3329707 h 6858000"/>
              <a:gd name="connsiteX2213" fmla="*/ 3002256 w 12188651"/>
              <a:gd name="connsiteY2213" fmla="*/ 3551785 h 6858000"/>
              <a:gd name="connsiteX2214" fmla="*/ 3002266 w 12188651"/>
              <a:gd name="connsiteY2214" fmla="*/ 3551776 h 6858000"/>
              <a:gd name="connsiteX2215" fmla="*/ 3002278 w 12188651"/>
              <a:gd name="connsiteY2215" fmla="*/ 3551786 h 6858000"/>
              <a:gd name="connsiteX2216" fmla="*/ 3223834 w 12188651"/>
              <a:gd name="connsiteY2216" fmla="*/ 3329715 h 6858000"/>
              <a:gd name="connsiteX2217" fmla="*/ 3223834 w 12188651"/>
              <a:gd name="connsiteY2217" fmla="*/ 3251103 h 6858000"/>
              <a:gd name="connsiteX2218" fmla="*/ 3145357 w 12188651"/>
              <a:gd name="connsiteY2218" fmla="*/ 3172493 h 6858000"/>
              <a:gd name="connsiteX2219" fmla="*/ 3126986 w 12188651"/>
              <a:gd name="connsiteY2219" fmla="*/ 3160235 h 6858000"/>
              <a:gd name="connsiteX2220" fmla="*/ 3126973 w 12188651"/>
              <a:gd name="connsiteY2220" fmla="*/ 3160230 h 6858000"/>
              <a:gd name="connsiteX2221" fmla="*/ 3126963 w 12188651"/>
              <a:gd name="connsiteY2221" fmla="*/ 3160226 h 6858000"/>
              <a:gd name="connsiteX2222" fmla="*/ 3106177 w 12188651"/>
              <a:gd name="connsiteY2222" fmla="*/ 3156144 h 6858000"/>
              <a:gd name="connsiteX2223" fmla="*/ 3106053 w 12188651"/>
              <a:gd name="connsiteY2223" fmla="*/ 3156022 h 6858000"/>
              <a:gd name="connsiteX2224" fmla="*/ 3106044 w 12188651"/>
              <a:gd name="connsiteY2224" fmla="*/ 3156025 h 6858000"/>
              <a:gd name="connsiteX2225" fmla="*/ 3106028 w 12188651"/>
              <a:gd name="connsiteY2225" fmla="*/ 3156014 h 6858000"/>
              <a:gd name="connsiteX2226" fmla="*/ 3066725 w 12188651"/>
              <a:gd name="connsiteY2226" fmla="*/ 3172485 h 6858000"/>
              <a:gd name="connsiteX2227" fmla="*/ 3002263 w 12188651"/>
              <a:gd name="connsiteY2227" fmla="*/ 3237081 h 6858000"/>
              <a:gd name="connsiteX2228" fmla="*/ 2937680 w 12188651"/>
              <a:gd name="connsiteY2228" fmla="*/ 3172367 h 6858000"/>
              <a:gd name="connsiteX2229" fmla="*/ 2919293 w 12188651"/>
              <a:gd name="connsiteY2229" fmla="*/ 3160108 h 6858000"/>
              <a:gd name="connsiteX2230" fmla="*/ 2919279 w 12188651"/>
              <a:gd name="connsiteY2230" fmla="*/ 3160106 h 6858000"/>
              <a:gd name="connsiteX2231" fmla="*/ 2919268 w 12188651"/>
              <a:gd name="connsiteY2231" fmla="*/ 3160101 h 6858000"/>
              <a:gd name="connsiteX2232" fmla="*/ 2898351 w 12188651"/>
              <a:gd name="connsiteY2232" fmla="*/ 3156014 h 6858000"/>
              <a:gd name="connsiteX2233" fmla="*/ 844374 w 12188651"/>
              <a:gd name="connsiteY2233" fmla="*/ 3156001 h 6858000"/>
              <a:gd name="connsiteX2234" fmla="*/ 805200 w 12188651"/>
              <a:gd name="connsiteY2234" fmla="*/ 3172347 h 6858000"/>
              <a:gd name="connsiteX2235" fmla="*/ 726720 w 12188651"/>
              <a:gd name="connsiteY2235" fmla="*/ 3251087 h 6858000"/>
              <a:gd name="connsiteX2236" fmla="*/ 726720 w 12188651"/>
              <a:gd name="connsiteY2236" fmla="*/ 3329699 h 6858000"/>
              <a:gd name="connsiteX2237" fmla="*/ 948278 w 12188651"/>
              <a:gd name="connsiteY2237" fmla="*/ 3551781 h 6858000"/>
              <a:gd name="connsiteX2238" fmla="*/ 948288 w 12188651"/>
              <a:gd name="connsiteY2238" fmla="*/ 3551770 h 6858000"/>
              <a:gd name="connsiteX2239" fmla="*/ 948301 w 12188651"/>
              <a:gd name="connsiteY2239" fmla="*/ 3551785 h 6858000"/>
              <a:gd name="connsiteX2240" fmla="*/ 1169858 w 12188651"/>
              <a:gd name="connsiteY2240" fmla="*/ 3329707 h 6858000"/>
              <a:gd name="connsiteX2241" fmla="*/ 1169858 w 12188651"/>
              <a:gd name="connsiteY2241" fmla="*/ 3251093 h 6858000"/>
              <a:gd name="connsiteX2242" fmla="*/ 1091378 w 12188651"/>
              <a:gd name="connsiteY2242" fmla="*/ 3172485 h 6858000"/>
              <a:gd name="connsiteX2243" fmla="*/ 1073007 w 12188651"/>
              <a:gd name="connsiteY2243" fmla="*/ 3160226 h 6858000"/>
              <a:gd name="connsiteX2244" fmla="*/ 1072995 w 12188651"/>
              <a:gd name="connsiteY2244" fmla="*/ 3160222 h 6858000"/>
              <a:gd name="connsiteX2245" fmla="*/ 1072985 w 12188651"/>
              <a:gd name="connsiteY2245" fmla="*/ 3160218 h 6858000"/>
              <a:gd name="connsiteX2246" fmla="*/ 1052200 w 12188651"/>
              <a:gd name="connsiteY2246" fmla="*/ 3156135 h 6858000"/>
              <a:gd name="connsiteX2247" fmla="*/ 1052075 w 12188651"/>
              <a:gd name="connsiteY2247" fmla="*/ 3156010 h 6858000"/>
              <a:gd name="connsiteX2248" fmla="*/ 1052063 w 12188651"/>
              <a:gd name="connsiteY2248" fmla="*/ 3156012 h 6858000"/>
              <a:gd name="connsiteX2249" fmla="*/ 1052052 w 12188651"/>
              <a:gd name="connsiteY2249" fmla="*/ 3156001 h 6858000"/>
              <a:gd name="connsiteX2250" fmla="*/ 1012749 w 12188651"/>
              <a:gd name="connsiteY2250" fmla="*/ 3172476 h 6858000"/>
              <a:gd name="connsiteX2251" fmla="*/ 948285 w 12188651"/>
              <a:gd name="connsiteY2251" fmla="*/ 3237070 h 6858000"/>
              <a:gd name="connsiteX2252" fmla="*/ 883702 w 12188651"/>
              <a:gd name="connsiteY2252" fmla="*/ 3172357 h 6858000"/>
              <a:gd name="connsiteX2253" fmla="*/ 865315 w 12188651"/>
              <a:gd name="connsiteY2253" fmla="*/ 3160097 h 6858000"/>
              <a:gd name="connsiteX2254" fmla="*/ 865301 w 12188651"/>
              <a:gd name="connsiteY2254" fmla="*/ 3160093 h 6858000"/>
              <a:gd name="connsiteX2255" fmla="*/ 865290 w 12188651"/>
              <a:gd name="connsiteY2255" fmla="*/ 3160088 h 6858000"/>
              <a:gd name="connsiteX2256" fmla="*/ 844374 w 12188651"/>
              <a:gd name="connsiteY2256" fmla="*/ 3156001 h 6858000"/>
              <a:gd name="connsiteX2257" fmla="*/ 11910826 w 12188651"/>
              <a:gd name="connsiteY2257" fmla="*/ 2945539 h 6858000"/>
              <a:gd name="connsiteX2258" fmla="*/ 12188651 w 12188651"/>
              <a:gd name="connsiteY2258" fmla="*/ 3106326 h 6858000"/>
              <a:gd name="connsiteX2259" fmla="*/ 12188651 w 12188651"/>
              <a:gd name="connsiteY2259" fmla="*/ 3483113 h 6858000"/>
              <a:gd name="connsiteX2260" fmla="*/ 12179669 w 12188651"/>
              <a:gd name="connsiteY2260" fmla="*/ 3477916 h 6858000"/>
              <a:gd name="connsiteX2261" fmla="*/ 11910826 w 12188651"/>
              <a:gd name="connsiteY2261" fmla="*/ 3322357 h 6858000"/>
              <a:gd name="connsiteX2262" fmla="*/ 11894481 w 12188651"/>
              <a:gd name="connsiteY2262" fmla="*/ 2945539 h 6858000"/>
              <a:gd name="connsiteX2263" fmla="*/ 11894481 w 12188651"/>
              <a:gd name="connsiteY2263" fmla="*/ 3322357 h 6858000"/>
              <a:gd name="connsiteX2264" fmla="*/ 11568890 w 12188651"/>
              <a:gd name="connsiteY2264" fmla="*/ 3510681 h 6858000"/>
              <a:gd name="connsiteX2265" fmla="*/ 11568890 w 12188651"/>
              <a:gd name="connsiteY2265" fmla="*/ 3133883 h 6858000"/>
              <a:gd name="connsiteX2266" fmla="*/ 9857006 w 12188651"/>
              <a:gd name="connsiteY2266" fmla="*/ 2945522 h 6858000"/>
              <a:gd name="connsiteX2267" fmla="*/ 10182468 w 12188651"/>
              <a:gd name="connsiteY2267" fmla="*/ 3133880 h 6858000"/>
              <a:gd name="connsiteX2268" fmla="*/ 10182468 w 12188651"/>
              <a:gd name="connsiteY2268" fmla="*/ 3510676 h 6858000"/>
              <a:gd name="connsiteX2269" fmla="*/ 9857006 w 12188651"/>
              <a:gd name="connsiteY2269" fmla="*/ 3322348 h 6858000"/>
              <a:gd name="connsiteX2270" fmla="*/ 9840661 w 12188651"/>
              <a:gd name="connsiteY2270" fmla="*/ 2945522 h 6858000"/>
              <a:gd name="connsiteX2271" fmla="*/ 9840661 w 12188651"/>
              <a:gd name="connsiteY2271" fmla="*/ 3322348 h 6858000"/>
              <a:gd name="connsiteX2272" fmla="*/ 9515070 w 12188651"/>
              <a:gd name="connsiteY2272" fmla="*/ 3510676 h 6858000"/>
              <a:gd name="connsiteX2273" fmla="*/ 9515070 w 12188651"/>
              <a:gd name="connsiteY2273" fmla="*/ 3133880 h 6858000"/>
              <a:gd name="connsiteX2274" fmla="*/ 7803060 w 12188651"/>
              <a:gd name="connsiteY2274" fmla="*/ 2945507 h 6858000"/>
              <a:gd name="connsiteX2275" fmla="*/ 8128521 w 12188651"/>
              <a:gd name="connsiteY2275" fmla="*/ 3133865 h 6858000"/>
              <a:gd name="connsiteX2276" fmla="*/ 8128521 w 12188651"/>
              <a:gd name="connsiteY2276" fmla="*/ 3510673 h 6858000"/>
              <a:gd name="connsiteX2277" fmla="*/ 7803060 w 12188651"/>
              <a:gd name="connsiteY2277" fmla="*/ 3322337 h 6858000"/>
              <a:gd name="connsiteX2278" fmla="*/ 7786715 w 12188651"/>
              <a:gd name="connsiteY2278" fmla="*/ 2945507 h 6858000"/>
              <a:gd name="connsiteX2279" fmla="*/ 7786715 w 12188651"/>
              <a:gd name="connsiteY2279" fmla="*/ 3322337 h 6858000"/>
              <a:gd name="connsiteX2280" fmla="*/ 7461125 w 12188651"/>
              <a:gd name="connsiteY2280" fmla="*/ 3510673 h 6858000"/>
              <a:gd name="connsiteX2281" fmla="*/ 7461125 w 12188651"/>
              <a:gd name="connsiteY2281" fmla="*/ 3133865 h 6858000"/>
              <a:gd name="connsiteX2282" fmla="*/ 5732923 w 12188651"/>
              <a:gd name="connsiteY2282" fmla="*/ 2945499 h 6858000"/>
              <a:gd name="connsiteX2283" fmla="*/ 5732923 w 12188651"/>
              <a:gd name="connsiteY2283" fmla="*/ 3322330 h 6858000"/>
              <a:gd name="connsiteX2284" fmla="*/ 5407352 w 12188651"/>
              <a:gd name="connsiteY2284" fmla="*/ 3510667 h 6858000"/>
              <a:gd name="connsiteX2285" fmla="*/ 5407352 w 12188651"/>
              <a:gd name="connsiteY2285" fmla="*/ 3133857 h 6858000"/>
              <a:gd name="connsiteX2286" fmla="*/ 5749264 w 12188651"/>
              <a:gd name="connsiteY2286" fmla="*/ 2945497 h 6858000"/>
              <a:gd name="connsiteX2287" fmla="*/ 6074705 w 12188651"/>
              <a:gd name="connsiteY2287" fmla="*/ 3133857 h 6858000"/>
              <a:gd name="connsiteX2288" fmla="*/ 6074705 w 12188651"/>
              <a:gd name="connsiteY2288" fmla="*/ 3510669 h 6858000"/>
              <a:gd name="connsiteX2289" fmla="*/ 6000145 w 12188651"/>
              <a:gd name="connsiteY2289" fmla="*/ 3467515 h 6858000"/>
              <a:gd name="connsiteX2290" fmla="*/ 5878454 w 12188651"/>
              <a:gd name="connsiteY2290" fmla="*/ 3397098 h 6858000"/>
              <a:gd name="connsiteX2291" fmla="*/ 5749264 w 12188651"/>
              <a:gd name="connsiteY2291" fmla="*/ 3322330 h 6858000"/>
              <a:gd name="connsiteX2292" fmla="*/ 3679140 w 12188651"/>
              <a:gd name="connsiteY2292" fmla="*/ 2945490 h 6858000"/>
              <a:gd name="connsiteX2293" fmla="*/ 3679140 w 12188651"/>
              <a:gd name="connsiteY2293" fmla="*/ 3322322 h 6858000"/>
              <a:gd name="connsiteX2294" fmla="*/ 3353560 w 12188651"/>
              <a:gd name="connsiteY2294" fmla="*/ 3510663 h 6858000"/>
              <a:gd name="connsiteX2295" fmla="*/ 3353560 w 12188651"/>
              <a:gd name="connsiteY2295" fmla="*/ 3133842 h 6858000"/>
              <a:gd name="connsiteX2296" fmla="*/ 3695488 w 12188651"/>
              <a:gd name="connsiteY2296" fmla="*/ 2945487 h 6858000"/>
              <a:gd name="connsiteX2297" fmla="*/ 3801286 w 12188651"/>
              <a:gd name="connsiteY2297" fmla="*/ 3006724 h 6858000"/>
              <a:gd name="connsiteX2298" fmla="*/ 4009955 w 12188651"/>
              <a:gd name="connsiteY2298" fmla="*/ 3127481 h 6858000"/>
              <a:gd name="connsiteX2299" fmla="*/ 4020941 w 12188651"/>
              <a:gd name="connsiteY2299" fmla="*/ 3133840 h 6858000"/>
              <a:gd name="connsiteX2300" fmla="*/ 4020941 w 12188651"/>
              <a:gd name="connsiteY2300" fmla="*/ 3510665 h 6858000"/>
              <a:gd name="connsiteX2301" fmla="*/ 3719511 w 12188651"/>
              <a:gd name="connsiteY2301" fmla="*/ 3336225 h 6858000"/>
              <a:gd name="connsiteX2302" fmla="*/ 3695488 w 12188651"/>
              <a:gd name="connsiteY2302" fmla="*/ 3322325 h 6858000"/>
              <a:gd name="connsiteX2303" fmla="*/ 1625162 w 12188651"/>
              <a:gd name="connsiteY2303" fmla="*/ 2945478 h 6858000"/>
              <a:gd name="connsiteX2304" fmla="*/ 1625162 w 12188651"/>
              <a:gd name="connsiteY2304" fmla="*/ 3322313 h 6858000"/>
              <a:gd name="connsiteX2305" fmla="*/ 1299579 w 12188651"/>
              <a:gd name="connsiteY2305" fmla="*/ 3510659 h 6858000"/>
              <a:gd name="connsiteX2306" fmla="*/ 1299579 w 12188651"/>
              <a:gd name="connsiteY2306" fmla="*/ 3133831 h 6858000"/>
              <a:gd name="connsiteX2307" fmla="*/ 1641512 w 12188651"/>
              <a:gd name="connsiteY2307" fmla="*/ 2945475 h 6858000"/>
              <a:gd name="connsiteX2308" fmla="*/ 1828330 w 12188651"/>
              <a:gd name="connsiteY2308" fmla="*/ 3053589 h 6858000"/>
              <a:gd name="connsiteX2309" fmla="*/ 1966968 w 12188651"/>
              <a:gd name="connsiteY2309" fmla="*/ 3133829 h 6858000"/>
              <a:gd name="connsiteX2310" fmla="*/ 1966968 w 12188651"/>
              <a:gd name="connsiteY2310" fmla="*/ 3510659 h 6858000"/>
              <a:gd name="connsiteX2311" fmla="*/ 1641512 w 12188651"/>
              <a:gd name="connsiteY2311" fmla="*/ 3322313 h 6858000"/>
              <a:gd name="connsiteX2312" fmla="*/ 10532576 w 12188651"/>
              <a:gd name="connsiteY2312" fmla="*/ 2940723 h 6858000"/>
              <a:gd name="connsiteX2313" fmla="*/ 10866339 w 12188651"/>
              <a:gd name="connsiteY2313" fmla="*/ 3133880 h 6858000"/>
              <a:gd name="connsiteX2314" fmla="*/ 10866339 w 12188651"/>
              <a:gd name="connsiteY2314" fmla="*/ 3520144 h 6858000"/>
              <a:gd name="connsiteX2315" fmla="*/ 10532706 w 12188651"/>
              <a:gd name="connsiteY2315" fmla="*/ 3713300 h 6858000"/>
              <a:gd name="connsiteX2316" fmla="*/ 10198941 w 12188651"/>
              <a:gd name="connsiteY2316" fmla="*/ 3520144 h 6858000"/>
              <a:gd name="connsiteX2317" fmla="*/ 10198941 w 12188651"/>
              <a:gd name="connsiteY2317" fmla="*/ 3133880 h 6858000"/>
              <a:gd name="connsiteX2318" fmla="*/ 8478628 w 12188651"/>
              <a:gd name="connsiteY2318" fmla="*/ 2940707 h 6858000"/>
              <a:gd name="connsiteX2319" fmla="*/ 8812392 w 12188651"/>
              <a:gd name="connsiteY2319" fmla="*/ 3133865 h 6858000"/>
              <a:gd name="connsiteX2320" fmla="*/ 8812392 w 12188651"/>
              <a:gd name="connsiteY2320" fmla="*/ 3520144 h 6858000"/>
              <a:gd name="connsiteX2321" fmla="*/ 8478758 w 12188651"/>
              <a:gd name="connsiteY2321" fmla="*/ 3713296 h 6858000"/>
              <a:gd name="connsiteX2322" fmla="*/ 8144995 w 12188651"/>
              <a:gd name="connsiteY2322" fmla="*/ 3520144 h 6858000"/>
              <a:gd name="connsiteX2323" fmla="*/ 8144995 w 12188651"/>
              <a:gd name="connsiteY2323" fmla="*/ 3133865 h 6858000"/>
              <a:gd name="connsiteX2324" fmla="*/ 6424810 w 12188651"/>
              <a:gd name="connsiteY2324" fmla="*/ 2940696 h 6858000"/>
              <a:gd name="connsiteX2325" fmla="*/ 6758573 w 12188651"/>
              <a:gd name="connsiteY2325" fmla="*/ 3133857 h 6858000"/>
              <a:gd name="connsiteX2326" fmla="*/ 6758573 w 12188651"/>
              <a:gd name="connsiteY2326" fmla="*/ 3520138 h 6858000"/>
              <a:gd name="connsiteX2327" fmla="*/ 6424940 w 12188651"/>
              <a:gd name="connsiteY2327" fmla="*/ 3713294 h 6858000"/>
              <a:gd name="connsiteX2328" fmla="*/ 6091179 w 12188651"/>
              <a:gd name="connsiteY2328" fmla="*/ 3520138 h 6858000"/>
              <a:gd name="connsiteX2329" fmla="*/ 6091179 w 12188651"/>
              <a:gd name="connsiteY2329" fmla="*/ 3133857 h 6858000"/>
              <a:gd name="connsiteX2330" fmla="*/ 4371020 w 12188651"/>
              <a:gd name="connsiteY2330" fmla="*/ 2940688 h 6858000"/>
              <a:gd name="connsiteX2331" fmla="*/ 4704773 w 12188651"/>
              <a:gd name="connsiteY2331" fmla="*/ 3133840 h 6858000"/>
              <a:gd name="connsiteX2332" fmla="*/ 4704773 w 12188651"/>
              <a:gd name="connsiteY2332" fmla="*/ 3520136 h 6858000"/>
              <a:gd name="connsiteX2333" fmla="*/ 4371146 w 12188651"/>
              <a:gd name="connsiteY2333" fmla="*/ 3713289 h 6858000"/>
              <a:gd name="connsiteX2334" fmla="*/ 4037424 w 12188651"/>
              <a:gd name="connsiteY2334" fmla="*/ 3520136 h 6858000"/>
              <a:gd name="connsiteX2335" fmla="*/ 4037424 w 12188651"/>
              <a:gd name="connsiteY2335" fmla="*/ 3133842 h 6858000"/>
              <a:gd name="connsiteX2336" fmla="*/ 2317088 w 12188651"/>
              <a:gd name="connsiteY2336" fmla="*/ 2940676 h 6858000"/>
              <a:gd name="connsiteX2337" fmla="*/ 2650840 w 12188651"/>
              <a:gd name="connsiteY2337" fmla="*/ 3133829 h 6858000"/>
              <a:gd name="connsiteX2338" fmla="*/ 2650840 w 12188651"/>
              <a:gd name="connsiteY2338" fmla="*/ 3520133 h 6858000"/>
              <a:gd name="connsiteX2339" fmla="*/ 2317216 w 12188651"/>
              <a:gd name="connsiteY2339" fmla="*/ 3713283 h 6858000"/>
              <a:gd name="connsiteX2340" fmla="*/ 1983450 w 12188651"/>
              <a:gd name="connsiteY2340" fmla="*/ 3520133 h 6858000"/>
              <a:gd name="connsiteX2341" fmla="*/ 1983450 w 12188651"/>
              <a:gd name="connsiteY2341" fmla="*/ 3133831 h 6858000"/>
              <a:gd name="connsiteX2342" fmla="*/ 263242 w 12188651"/>
              <a:gd name="connsiteY2342" fmla="*/ 2940664 h 6858000"/>
              <a:gd name="connsiteX2343" fmla="*/ 596998 w 12188651"/>
              <a:gd name="connsiteY2343" fmla="*/ 3133814 h 6858000"/>
              <a:gd name="connsiteX2344" fmla="*/ 596998 w 12188651"/>
              <a:gd name="connsiteY2344" fmla="*/ 3520129 h 6858000"/>
              <a:gd name="connsiteX2345" fmla="*/ 263368 w 12188651"/>
              <a:gd name="connsiteY2345" fmla="*/ 3713281 h 6858000"/>
              <a:gd name="connsiteX2346" fmla="*/ 0 w 12188651"/>
              <a:gd name="connsiteY2346" fmla="*/ 3560866 h 6858000"/>
              <a:gd name="connsiteX2347" fmla="*/ 0 w 12188651"/>
              <a:gd name="connsiteY2347" fmla="*/ 3093067 h 6858000"/>
              <a:gd name="connsiteX2348" fmla="*/ 11217614 w 12188651"/>
              <a:gd name="connsiteY2348" fmla="*/ 2940473 h 6858000"/>
              <a:gd name="connsiteX2349" fmla="*/ 11551377 w 12188651"/>
              <a:gd name="connsiteY2349" fmla="*/ 3133625 h 6858000"/>
              <a:gd name="connsiteX2350" fmla="*/ 11551377 w 12188651"/>
              <a:gd name="connsiteY2350" fmla="*/ 3519758 h 6858000"/>
              <a:gd name="connsiteX2351" fmla="*/ 11217614 w 12188651"/>
              <a:gd name="connsiteY2351" fmla="*/ 3712908 h 6858000"/>
              <a:gd name="connsiteX2352" fmla="*/ 10883851 w 12188651"/>
              <a:gd name="connsiteY2352" fmla="*/ 3519758 h 6858000"/>
              <a:gd name="connsiteX2353" fmla="*/ 10883851 w 12188651"/>
              <a:gd name="connsiteY2353" fmla="*/ 3133625 h 6858000"/>
              <a:gd name="connsiteX2354" fmla="*/ 9163666 w 12188651"/>
              <a:gd name="connsiteY2354" fmla="*/ 2940462 h 6858000"/>
              <a:gd name="connsiteX2355" fmla="*/ 9497429 w 12188651"/>
              <a:gd name="connsiteY2355" fmla="*/ 3133615 h 6858000"/>
              <a:gd name="connsiteX2356" fmla="*/ 9497429 w 12188651"/>
              <a:gd name="connsiteY2356" fmla="*/ 3519754 h 6858000"/>
              <a:gd name="connsiteX2357" fmla="*/ 9163666 w 12188651"/>
              <a:gd name="connsiteY2357" fmla="*/ 3712908 h 6858000"/>
              <a:gd name="connsiteX2358" fmla="*/ 8829903 w 12188651"/>
              <a:gd name="connsiteY2358" fmla="*/ 3519753 h 6858000"/>
              <a:gd name="connsiteX2359" fmla="*/ 8829903 w 12188651"/>
              <a:gd name="connsiteY2359" fmla="*/ 3133615 h 6858000"/>
              <a:gd name="connsiteX2360" fmla="*/ 7109850 w 12188651"/>
              <a:gd name="connsiteY2360" fmla="*/ 2940450 h 6858000"/>
              <a:gd name="connsiteX2361" fmla="*/ 7443613 w 12188651"/>
              <a:gd name="connsiteY2361" fmla="*/ 3133605 h 6858000"/>
              <a:gd name="connsiteX2362" fmla="*/ 7443613 w 12188651"/>
              <a:gd name="connsiteY2362" fmla="*/ 3519749 h 6858000"/>
              <a:gd name="connsiteX2363" fmla="*/ 7109850 w 12188651"/>
              <a:gd name="connsiteY2363" fmla="*/ 3712903 h 6858000"/>
              <a:gd name="connsiteX2364" fmla="*/ 6776085 w 12188651"/>
              <a:gd name="connsiteY2364" fmla="*/ 3519749 h 6858000"/>
              <a:gd name="connsiteX2365" fmla="*/ 6776085 w 12188651"/>
              <a:gd name="connsiteY2365" fmla="*/ 3133605 h 6858000"/>
              <a:gd name="connsiteX2366" fmla="*/ 5055965 w 12188651"/>
              <a:gd name="connsiteY2366" fmla="*/ 2940439 h 6858000"/>
              <a:gd name="connsiteX2367" fmla="*/ 5389690 w 12188651"/>
              <a:gd name="connsiteY2367" fmla="*/ 3133585 h 6858000"/>
              <a:gd name="connsiteX2368" fmla="*/ 5389690 w 12188651"/>
              <a:gd name="connsiteY2368" fmla="*/ 3519747 h 6858000"/>
              <a:gd name="connsiteX2369" fmla="*/ 5055955 w 12188651"/>
              <a:gd name="connsiteY2369" fmla="*/ 3712897 h 6858000"/>
              <a:gd name="connsiteX2370" fmla="*/ 4722175 w 12188651"/>
              <a:gd name="connsiteY2370" fmla="*/ 3519749 h 6858000"/>
              <a:gd name="connsiteX2371" fmla="*/ 4722175 w 12188651"/>
              <a:gd name="connsiteY2371" fmla="*/ 3133594 h 6858000"/>
              <a:gd name="connsiteX2372" fmla="*/ 3002150 w 12188651"/>
              <a:gd name="connsiteY2372" fmla="*/ 2940429 h 6858000"/>
              <a:gd name="connsiteX2373" fmla="*/ 3335888 w 12188651"/>
              <a:gd name="connsiteY2373" fmla="*/ 3133567 h 6858000"/>
              <a:gd name="connsiteX2374" fmla="*/ 3335888 w 12188651"/>
              <a:gd name="connsiteY2374" fmla="*/ 3519745 h 6858000"/>
              <a:gd name="connsiteX2375" fmla="*/ 3002137 w 12188651"/>
              <a:gd name="connsiteY2375" fmla="*/ 3712891 h 6858000"/>
              <a:gd name="connsiteX2376" fmla="*/ 2668389 w 12188651"/>
              <a:gd name="connsiteY2376" fmla="*/ 3519747 h 6858000"/>
              <a:gd name="connsiteX2377" fmla="*/ 2668389 w 12188651"/>
              <a:gd name="connsiteY2377" fmla="*/ 3133585 h 6858000"/>
              <a:gd name="connsiteX2378" fmla="*/ 948172 w 12188651"/>
              <a:gd name="connsiteY2378" fmla="*/ 2940415 h 6858000"/>
              <a:gd name="connsiteX2379" fmla="*/ 1281911 w 12188651"/>
              <a:gd name="connsiteY2379" fmla="*/ 3133560 h 6858000"/>
              <a:gd name="connsiteX2380" fmla="*/ 1281911 w 12188651"/>
              <a:gd name="connsiteY2380" fmla="*/ 3519738 h 6858000"/>
              <a:gd name="connsiteX2381" fmla="*/ 948159 w 12188651"/>
              <a:gd name="connsiteY2381" fmla="*/ 3712889 h 6858000"/>
              <a:gd name="connsiteX2382" fmla="*/ 614412 w 12188651"/>
              <a:gd name="connsiteY2382" fmla="*/ 3519745 h 6858000"/>
              <a:gd name="connsiteX2383" fmla="*/ 614412 w 12188651"/>
              <a:gd name="connsiteY2383" fmla="*/ 3133570 h 6858000"/>
              <a:gd name="connsiteX2384" fmla="*/ 10875809 w 12188651"/>
              <a:gd name="connsiteY2384" fmla="*/ 2742645 h 6858000"/>
              <a:gd name="connsiteX2385" fmla="*/ 11201258 w 12188651"/>
              <a:gd name="connsiteY2385" fmla="*/ 2930995 h 6858000"/>
              <a:gd name="connsiteX2386" fmla="*/ 10875678 w 12188651"/>
              <a:gd name="connsiteY2386" fmla="*/ 3119343 h 6858000"/>
              <a:gd name="connsiteX2387" fmla="*/ 10550229 w 12188651"/>
              <a:gd name="connsiteY2387" fmla="*/ 2930995 h 6858000"/>
              <a:gd name="connsiteX2388" fmla="*/ 8821860 w 12188651"/>
              <a:gd name="connsiteY2388" fmla="*/ 2742638 h 6858000"/>
              <a:gd name="connsiteX2389" fmla="*/ 9147310 w 12188651"/>
              <a:gd name="connsiteY2389" fmla="*/ 2930991 h 6858000"/>
              <a:gd name="connsiteX2390" fmla="*/ 8821731 w 12188651"/>
              <a:gd name="connsiteY2390" fmla="*/ 3119333 h 6858000"/>
              <a:gd name="connsiteX2391" fmla="*/ 8496280 w 12188651"/>
              <a:gd name="connsiteY2391" fmla="*/ 2930985 h 6858000"/>
              <a:gd name="connsiteX2392" fmla="*/ 6768043 w 12188651"/>
              <a:gd name="connsiteY2392" fmla="*/ 2742623 h 6858000"/>
              <a:gd name="connsiteX2393" fmla="*/ 7093493 w 12188651"/>
              <a:gd name="connsiteY2393" fmla="*/ 2930975 h 6858000"/>
              <a:gd name="connsiteX2394" fmla="*/ 6767913 w 12188651"/>
              <a:gd name="connsiteY2394" fmla="*/ 3119325 h 6858000"/>
              <a:gd name="connsiteX2395" fmla="*/ 6442464 w 12188651"/>
              <a:gd name="connsiteY2395" fmla="*/ 2930975 h 6858000"/>
              <a:gd name="connsiteX2396" fmla="*/ 4714128 w 12188651"/>
              <a:gd name="connsiteY2396" fmla="*/ 2742613 h 6858000"/>
              <a:gd name="connsiteX2397" fmla="*/ 5016384 w 12188651"/>
              <a:gd name="connsiteY2397" fmla="*/ 2917526 h 6858000"/>
              <a:gd name="connsiteX2398" fmla="*/ 5039593 w 12188651"/>
              <a:gd name="connsiteY2398" fmla="*/ 2930956 h 6858000"/>
              <a:gd name="connsiteX2399" fmla="*/ 4713985 w 12188651"/>
              <a:gd name="connsiteY2399" fmla="*/ 3119313 h 6858000"/>
              <a:gd name="connsiteX2400" fmla="*/ 4388545 w 12188651"/>
              <a:gd name="connsiteY2400" fmla="*/ 2930963 h 6858000"/>
              <a:gd name="connsiteX2401" fmla="*/ 2660343 w 12188651"/>
              <a:gd name="connsiteY2401" fmla="*/ 2742602 h 6858000"/>
              <a:gd name="connsiteX2402" fmla="*/ 2985782 w 12188651"/>
              <a:gd name="connsiteY2402" fmla="*/ 2930946 h 6858000"/>
              <a:gd name="connsiteX2403" fmla="*/ 2660193 w 12188651"/>
              <a:gd name="connsiteY2403" fmla="*/ 3119300 h 6858000"/>
              <a:gd name="connsiteX2404" fmla="*/ 2617605 w 12188651"/>
              <a:gd name="connsiteY2404" fmla="*/ 3094653 h 6858000"/>
              <a:gd name="connsiteX2405" fmla="*/ 2334759 w 12188651"/>
              <a:gd name="connsiteY2405" fmla="*/ 2930956 h 6858000"/>
              <a:gd name="connsiteX2406" fmla="*/ 606366 w 12188651"/>
              <a:gd name="connsiteY2406" fmla="*/ 2742589 h 6858000"/>
              <a:gd name="connsiteX2407" fmla="*/ 931803 w 12188651"/>
              <a:gd name="connsiteY2407" fmla="*/ 2930932 h 6858000"/>
              <a:gd name="connsiteX2408" fmla="*/ 606216 w 12188651"/>
              <a:gd name="connsiteY2408" fmla="*/ 3119286 h 6858000"/>
              <a:gd name="connsiteX2409" fmla="*/ 280778 w 12188651"/>
              <a:gd name="connsiteY2409" fmla="*/ 2930946 h 6858000"/>
              <a:gd name="connsiteX2410" fmla="*/ 12140685 w 12188651"/>
              <a:gd name="connsiteY2410" fmla="*/ 2578699 h 6858000"/>
              <a:gd name="connsiteX2411" fmla="*/ 12168445 w 12188651"/>
              <a:gd name="connsiteY2411" fmla="*/ 2590244 h 6858000"/>
              <a:gd name="connsiteX2412" fmla="*/ 12188651 w 12188651"/>
              <a:gd name="connsiteY2412" fmla="*/ 2610493 h 6858000"/>
              <a:gd name="connsiteX2413" fmla="*/ 12188651 w 12188651"/>
              <a:gd name="connsiteY2413" fmla="*/ 2878728 h 6858000"/>
              <a:gd name="connsiteX2414" fmla="*/ 12034576 w 12188651"/>
              <a:gd name="connsiteY2414" fmla="*/ 2724359 h 6858000"/>
              <a:gd name="connsiteX2415" fmla="*/ 12034576 w 12188651"/>
              <a:gd name="connsiteY2415" fmla="*/ 2668969 h 6858000"/>
              <a:gd name="connsiteX2416" fmla="*/ 12113056 w 12188651"/>
              <a:gd name="connsiteY2416" fmla="*/ 2590244 h 6858000"/>
              <a:gd name="connsiteX2417" fmla="*/ 12140685 w 12188651"/>
              <a:gd name="connsiteY2417" fmla="*/ 2578699 h 6858000"/>
              <a:gd name="connsiteX2418" fmla="*/ 10086867 w 12188651"/>
              <a:gd name="connsiteY2418" fmla="*/ 2578676 h 6858000"/>
              <a:gd name="connsiteX2419" fmla="*/ 10114626 w 12188651"/>
              <a:gd name="connsiteY2419" fmla="*/ 2590227 h 6858000"/>
              <a:gd name="connsiteX2420" fmla="*/ 10179226 w 12188651"/>
              <a:gd name="connsiteY2420" fmla="*/ 2654952 h 6858000"/>
              <a:gd name="connsiteX2421" fmla="*/ 10190770 w 12188651"/>
              <a:gd name="connsiteY2421" fmla="*/ 2666628 h 6858000"/>
              <a:gd name="connsiteX2422" fmla="*/ 10202315 w 12188651"/>
              <a:gd name="connsiteY2422" fmla="*/ 2654952 h 6858000"/>
              <a:gd name="connsiteX2423" fmla="*/ 10266786 w 12188651"/>
              <a:gd name="connsiteY2423" fmla="*/ 2590227 h 6858000"/>
              <a:gd name="connsiteX2424" fmla="*/ 10294543 w 12188651"/>
              <a:gd name="connsiteY2424" fmla="*/ 2578676 h 6858000"/>
              <a:gd name="connsiteX2425" fmla="*/ 10322173 w 12188651"/>
              <a:gd name="connsiteY2425" fmla="*/ 2590227 h 6858000"/>
              <a:gd name="connsiteX2426" fmla="*/ 10400653 w 12188651"/>
              <a:gd name="connsiteY2426" fmla="*/ 2668833 h 6858000"/>
              <a:gd name="connsiteX2427" fmla="*/ 10412198 w 12188651"/>
              <a:gd name="connsiteY2427" fmla="*/ 2696581 h 6858000"/>
              <a:gd name="connsiteX2428" fmla="*/ 10400783 w 12188651"/>
              <a:gd name="connsiteY2428" fmla="*/ 2724349 h 6858000"/>
              <a:gd name="connsiteX2429" fmla="*/ 10190770 w 12188651"/>
              <a:gd name="connsiteY2429" fmla="*/ 2934758 h 6858000"/>
              <a:gd name="connsiteX2430" fmla="*/ 9980757 w 12188651"/>
              <a:gd name="connsiteY2430" fmla="*/ 2724349 h 6858000"/>
              <a:gd name="connsiteX2431" fmla="*/ 9980757 w 12188651"/>
              <a:gd name="connsiteY2431" fmla="*/ 2668961 h 6858000"/>
              <a:gd name="connsiteX2432" fmla="*/ 10059237 w 12188651"/>
              <a:gd name="connsiteY2432" fmla="*/ 2590227 h 6858000"/>
              <a:gd name="connsiteX2433" fmla="*/ 10086867 w 12188651"/>
              <a:gd name="connsiteY2433" fmla="*/ 2578676 h 6858000"/>
              <a:gd name="connsiteX2434" fmla="*/ 8032919 w 12188651"/>
              <a:gd name="connsiteY2434" fmla="*/ 2578668 h 6858000"/>
              <a:gd name="connsiteX2435" fmla="*/ 8060679 w 12188651"/>
              <a:gd name="connsiteY2435" fmla="*/ 2590216 h 6858000"/>
              <a:gd name="connsiteX2436" fmla="*/ 8125278 w 12188651"/>
              <a:gd name="connsiteY2436" fmla="*/ 2654936 h 6858000"/>
              <a:gd name="connsiteX2437" fmla="*/ 8136823 w 12188651"/>
              <a:gd name="connsiteY2437" fmla="*/ 2666615 h 6858000"/>
              <a:gd name="connsiteX2438" fmla="*/ 8148368 w 12188651"/>
              <a:gd name="connsiteY2438" fmla="*/ 2654936 h 6858000"/>
              <a:gd name="connsiteX2439" fmla="*/ 8212837 w 12188651"/>
              <a:gd name="connsiteY2439" fmla="*/ 2590216 h 6858000"/>
              <a:gd name="connsiteX2440" fmla="*/ 8240596 w 12188651"/>
              <a:gd name="connsiteY2440" fmla="*/ 2578668 h 6858000"/>
              <a:gd name="connsiteX2441" fmla="*/ 8268226 w 12188651"/>
              <a:gd name="connsiteY2441" fmla="*/ 2590216 h 6858000"/>
              <a:gd name="connsiteX2442" fmla="*/ 8346707 w 12188651"/>
              <a:gd name="connsiteY2442" fmla="*/ 2668813 h 6858000"/>
              <a:gd name="connsiteX2443" fmla="*/ 8358252 w 12188651"/>
              <a:gd name="connsiteY2443" fmla="*/ 2696569 h 6858000"/>
              <a:gd name="connsiteX2444" fmla="*/ 8346837 w 12188651"/>
              <a:gd name="connsiteY2444" fmla="*/ 2724335 h 6858000"/>
              <a:gd name="connsiteX2445" fmla="*/ 8136823 w 12188651"/>
              <a:gd name="connsiteY2445" fmla="*/ 2934740 h 6858000"/>
              <a:gd name="connsiteX2446" fmla="*/ 7926811 w 12188651"/>
              <a:gd name="connsiteY2446" fmla="*/ 2724335 h 6858000"/>
              <a:gd name="connsiteX2447" fmla="*/ 7926811 w 12188651"/>
              <a:gd name="connsiteY2447" fmla="*/ 2668949 h 6858000"/>
              <a:gd name="connsiteX2448" fmla="*/ 8005289 w 12188651"/>
              <a:gd name="connsiteY2448" fmla="*/ 2590216 h 6858000"/>
              <a:gd name="connsiteX2449" fmla="*/ 8032919 w 12188651"/>
              <a:gd name="connsiteY2449" fmla="*/ 2578668 h 6858000"/>
              <a:gd name="connsiteX2450" fmla="*/ 5979110 w 12188651"/>
              <a:gd name="connsiteY2450" fmla="*/ 2578647 h 6858000"/>
              <a:gd name="connsiteX2451" fmla="*/ 6006867 w 12188651"/>
              <a:gd name="connsiteY2451" fmla="*/ 2590201 h 6858000"/>
              <a:gd name="connsiteX2452" fmla="*/ 6071463 w 12188651"/>
              <a:gd name="connsiteY2452" fmla="*/ 2654925 h 6858000"/>
              <a:gd name="connsiteX2453" fmla="*/ 6083008 w 12188651"/>
              <a:gd name="connsiteY2453" fmla="*/ 2666599 h 6858000"/>
              <a:gd name="connsiteX2454" fmla="*/ 6094550 w 12188651"/>
              <a:gd name="connsiteY2454" fmla="*/ 2654925 h 6858000"/>
              <a:gd name="connsiteX2455" fmla="*/ 6159019 w 12188651"/>
              <a:gd name="connsiteY2455" fmla="*/ 2590201 h 6858000"/>
              <a:gd name="connsiteX2456" fmla="*/ 6186779 w 12188651"/>
              <a:gd name="connsiteY2456" fmla="*/ 2578647 h 6858000"/>
              <a:gd name="connsiteX2457" fmla="*/ 6214409 w 12188651"/>
              <a:gd name="connsiteY2457" fmla="*/ 2590201 h 6858000"/>
              <a:gd name="connsiteX2458" fmla="*/ 6292888 w 12188651"/>
              <a:gd name="connsiteY2458" fmla="*/ 2668806 h 6858000"/>
              <a:gd name="connsiteX2459" fmla="*/ 6304433 w 12188651"/>
              <a:gd name="connsiteY2459" fmla="*/ 2696558 h 6858000"/>
              <a:gd name="connsiteX2460" fmla="*/ 6293017 w 12188651"/>
              <a:gd name="connsiteY2460" fmla="*/ 2724322 h 6858000"/>
              <a:gd name="connsiteX2461" fmla="*/ 6083008 w 12188651"/>
              <a:gd name="connsiteY2461" fmla="*/ 2934732 h 6858000"/>
              <a:gd name="connsiteX2462" fmla="*/ 5873007 w 12188651"/>
              <a:gd name="connsiteY2462" fmla="*/ 2724322 h 6858000"/>
              <a:gd name="connsiteX2463" fmla="*/ 5873007 w 12188651"/>
              <a:gd name="connsiteY2463" fmla="*/ 2668929 h 6858000"/>
              <a:gd name="connsiteX2464" fmla="*/ 5951483 w 12188651"/>
              <a:gd name="connsiteY2464" fmla="*/ 2590201 h 6858000"/>
              <a:gd name="connsiteX2465" fmla="*/ 5979110 w 12188651"/>
              <a:gd name="connsiteY2465" fmla="*/ 2578647 h 6858000"/>
              <a:gd name="connsiteX2466" fmla="*/ 3925347 w 12188651"/>
              <a:gd name="connsiteY2466" fmla="*/ 2578637 h 6858000"/>
              <a:gd name="connsiteX2467" fmla="*/ 3953105 w 12188651"/>
              <a:gd name="connsiteY2467" fmla="*/ 2590185 h 6858000"/>
              <a:gd name="connsiteX2468" fmla="*/ 4017704 w 12188651"/>
              <a:gd name="connsiteY2468" fmla="*/ 2654916 h 6858000"/>
              <a:gd name="connsiteX2469" fmla="*/ 4029249 w 12188651"/>
              <a:gd name="connsiteY2469" fmla="*/ 2666587 h 6858000"/>
              <a:gd name="connsiteX2470" fmla="*/ 4040796 w 12188651"/>
              <a:gd name="connsiteY2470" fmla="*/ 2654916 h 6858000"/>
              <a:gd name="connsiteX2471" fmla="*/ 4105266 w 12188651"/>
              <a:gd name="connsiteY2471" fmla="*/ 2590185 h 6858000"/>
              <a:gd name="connsiteX2472" fmla="*/ 4133029 w 12188651"/>
              <a:gd name="connsiteY2472" fmla="*/ 2578637 h 6858000"/>
              <a:gd name="connsiteX2473" fmla="*/ 4160658 w 12188651"/>
              <a:gd name="connsiteY2473" fmla="*/ 2590185 h 6858000"/>
              <a:gd name="connsiteX2474" fmla="*/ 4239088 w 12188651"/>
              <a:gd name="connsiteY2474" fmla="*/ 2668790 h 6858000"/>
              <a:gd name="connsiteX2475" fmla="*/ 4250643 w 12188651"/>
              <a:gd name="connsiteY2475" fmla="*/ 2696546 h 6858000"/>
              <a:gd name="connsiteX2476" fmla="*/ 4239218 w 12188651"/>
              <a:gd name="connsiteY2476" fmla="*/ 2724312 h 6858000"/>
              <a:gd name="connsiteX2477" fmla="*/ 4029249 w 12188651"/>
              <a:gd name="connsiteY2477" fmla="*/ 2934721 h 6858000"/>
              <a:gd name="connsiteX2478" fmla="*/ 3819228 w 12188651"/>
              <a:gd name="connsiteY2478" fmla="*/ 2724312 h 6858000"/>
              <a:gd name="connsiteX2479" fmla="*/ 3819228 w 12188651"/>
              <a:gd name="connsiteY2479" fmla="*/ 2668922 h 6858000"/>
              <a:gd name="connsiteX2480" fmla="*/ 3897713 w 12188651"/>
              <a:gd name="connsiteY2480" fmla="*/ 2590185 h 6858000"/>
              <a:gd name="connsiteX2481" fmla="*/ 3925347 w 12188651"/>
              <a:gd name="connsiteY2481" fmla="*/ 2578637 h 6858000"/>
              <a:gd name="connsiteX2482" fmla="*/ 1871372 w 12188651"/>
              <a:gd name="connsiteY2482" fmla="*/ 2578623 h 6858000"/>
              <a:gd name="connsiteX2483" fmla="*/ 1899133 w 12188651"/>
              <a:gd name="connsiteY2483" fmla="*/ 2590172 h 6858000"/>
              <a:gd name="connsiteX2484" fmla="*/ 1963731 w 12188651"/>
              <a:gd name="connsiteY2484" fmla="*/ 2654901 h 6858000"/>
              <a:gd name="connsiteX2485" fmla="*/ 1975277 w 12188651"/>
              <a:gd name="connsiteY2485" fmla="*/ 2666574 h 6858000"/>
              <a:gd name="connsiteX2486" fmla="*/ 1986820 w 12188651"/>
              <a:gd name="connsiteY2486" fmla="*/ 2654901 h 6858000"/>
              <a:gd name="connsiteX2487" fmla="*/ 2051290 w 12188651"/>
              <a:gd name="connsiteY2487" fmla="*/ 2590172 h 6858000"/>
              <a:gd name="connsiteX2488" fmla="*/ 2079050 w 12188651"/>
              <a:gd name="connsiteY2488" fmla="*/ 2578623 h 6858000"/>
              <a:gd name="connsiteX2489" fmla="*/ 2106688 w 12188651"/>
              <a:gd name="connsiteY2489" fmla="*/ 2590172 h 6858000"/>
              <a:gd name="connsiteX2490" fmla="*/ 2185169 w 12188651"/>
              <a:gd name="connsiteY2490" fmla="*/ 2668781 h 6858000"/>
              <a:gd name="connsiteX2491" fmla="*/ 2196712 w 12188651"/>
              <a:gd name="connsiteY2491" fmla="*/ 2696534 h 6858000"/>
              <a:gd name="connsiteX2492" fmla="*/ 2185297 w 12188651"/>
              <a:gd name="connsiteY2492" fmla="*/ 2724297 h 6858000"/>
              <a:gd name="connsiteX2493" fmla="*/ 1975277 w 12188651"/>
              <a:gd name="connsiteY2493" fmla="*/ 2934709 h 6858000"/>
              <a:gd name="connsiteX2494" fmla="*/ 1765263 w 12188651"/>
              <a:gd name="connsiteY2494" fmla="*/ 2724297 h 6858000"/>
              <a:gd name="connsiteX2495" fmla="*/ 1765263 w 12188651"/>
              <a:gd name="connsiteY2495" fmla="*/ 2668910 h 6858000"/>
              <a:gd name="connsiteX2496" fmla="*/ 1843742 w 12188651"/>
              <a:gd name="connsiteY2496" fmla="*/ 2590172 h 6858000"/>
              <a:gd name="connsiteX2497" fmla="*/ 1871372 w 12188651"/>
              <a:gd name="connsiteY2497" fmla="*/ 2578623 h 6858000"/>
              <a:gd name="connsiteX2498" fmla="*/ 25211 w 12188651"/>
              <a:gd name="connsiteY2498" fmla="*/ 2578608 h 6858000"/>
              <a:gd name="connsiteX2499" fmla="*/ 52840 w 12188651"/>
              <a:gd name="connsiteY2499" fmla="*/ 2590156 h 6858000"/>
              <a:gd name="connsiteX2500" fmla="*/ 131319 w 12188651"/>
              <a:gd name="connsiteY2500" fmla="*/ 2668766 h 6858000"/>
              <a:gd name="connsiteX2501" fmla="*/ 142863 w 12188651"/>
              <a:gd name="connsiteY2501" fmla="*/ 2696524 h 6858000"/>
              <a:gd name="connsiteX2502" fmla="*/ 131448 w 12188651"/>
              <a:gd name="connsiteY2502" fmla="*/ 2724284 h 6858000"/>
              <a:gd name="connsiteX2503" fmla="*/ 0 w 12188651"/>
              <a:gd name="connsiteY2503" fmla="*/ 2855984 h 6858000"/>
              <a:gd name="connsiteX2504" fmla="*/ 0 w 12188651"/>
              <a:gd name="connsiteY2504" fmla="*/ 2589096 h 6858000"/>
              <a:gd name="connsiteX2505" fmla="*/ 10086867 w 12188651"/>
              <a:gd name="connsiteY2505" fmla="*/ 2562208 h 6858000"/>
              <a:gd name="connsiteX2506" fmla="*/ 10047692 w 12188651"/>
              <a:gd name="connsiteY2506" fmla="*/ 2578552 h 6858000"/>
              <a:gd name="connsiteX2507" fmla="*/ 9969212 w 12188651"/>
              <a:gd name="connsiteY2507" fmla="*/ 2657287 h 6858000"/>
              <a:gd name="connsiteX2508" fmla="*/ 9969212 w 12188651"/>
              <a:gd name="connsiteY2508" fmla="*/ 2735892 h 6858000"/>
              <a:gd name="connsiteX2509" fmla="*/ 10190770 w 12188651"/>
              <a:gd name="connsiteY2509" fmla="*/ 2957977 h 6858000"/>
              <a:gd name="connsiteX2510" fmla="*/ 10412328 w 12188651"/>
              <a:gd name="connsiteY2510" fmla="*/ 2735892 h 6858000"/>
              <a:gd name="connsiteX2511" fmla="*/ 10412328 w 12188651"/>
              <a:gd name="connsiteY2511" fmla="*/ 2657287 h 6858000"/>
              <a:gd name="connsiteX2512" fmla="*/ 10333848 w 12188651"/>
              <a:gd name="connsiteY2512" fmla="*/ 2578676 h 6858000"/>
              <a:gd name="connsiteX2513" fmla="*/ 10294673 w 12188651"/>
              <a:gd name="connsiteY2513" fmla="*/ 2562337 h 6858000"/>
              <a:gd name="connsiteX2514" fmla="*/ 10294543 w 12188651"/>
              <a:gd name="connsiteY2514" fmla="*/ 2562208 h 6858000"/>
              <a:gd name="connsiteX2515" fmla="*/ 10255241 w 12188651"/>
              <a:gd name="connsiteY2515" fmla="*/ 2578676 h 6858000"/>
              <a:gd name="connsiteX2516" fmla="*/ 10190770 w 12188651"/>
              <a:gd name="connsiteY2516" fmla="*/ 2643284 h 6858000"/>
              <a:gd name="connsiteX2517" fmla="*/ 10126171 w 12188651"/>
              <a:gd name="connsiteY2517" fmla="*/ 2578552 h 6858000"/>
              <a:gd name="connsiteX2518" fmla="*/ 10086867 w 12188651"/>
              <a:gd name="connsiteY2518" fmla="*/ 2562208 h 6858000"/>
              <a:gd name="connsiteX2519" fmla="*/ 8032919 w 12188651"/>
              <a:gd name="connsiteY2519" fmla="*/ 2562187 h 6858000"/>
              <a:gd name="connsiteX2520" fmla="*/ 7993744 w 12188651"/>
              <a:gd name="connsiteY2520" fmla="*/ 2578533 h 6858000"/>
              <a:gd name="connsiteX2521" fmla="*/ 7915266 w 12188651"/>
              <a:gd name="connsiteY2521" fmla="*/ 2657273 h 6858000"/>
              <a:gd name="connsiteX2522" fmla="*/ 7915266 w 12188651"/>
              <a:gd name="connsiteY2522" fmla="*/ 2735878 h 6858000"/>
              <a:gd name="connsiteX2523" fmla="*/ 8136823 w 12188651"/>
              <a:gd name="connsiteY2523" fmla="*/ 2957963 h 6858000"/>
              <a:gd name="connsiteX2524" fmla="*/ 8358382 w 12188651"/>
              <a:gd name="connsiteY2524" fmla="*/ 2735878 h 6858000"/>
              <a:gd name="connsiteX2525" fmla="*/ 8358382 w 12188651"/>
              <a:gd name="connsiteY2525" fmla="*/ 2657273 h 6858000"/>
              <a:gd name="connsiteX2526" fmla="*/ 8279902 w 12188651"/>
              <a:gd name="connsiteY2526" fmla="*/ 2578668 h 6858000"/>
              <a:gd name="connsiteX2527" fmla="*/ 8240727 w 12188651"/>
              <a:gd name="connsiteY2527" fmla="*/ 2562324 h 6858000"/>
              <a:gd name="connsiteX2528" fmla="*/ 8240596 w 12188651"/>
              <a:gd name="connsiteY2528" fmla="*/ 2562187 h 6858000"/>
              <a:gd name="connsiteX2529" fmla="*/ 8201292 w 12188651"/>
              <a:gd name="connsiteY2529" fmla="*/ 2578668 h 6858000"/>
              <a:gd name="connsiteX2530" fmla="*/ 8136823 w 12188651"/>
              <a:gd name="connsiteY2530" fmla="*/ 2643266 h 6858000"/>
              <a:gd name="connsiteX2531" fmla="*/ 8072224 w 12188651"/>
              <a:gd name="connsiteY2531" fmla="*/ 2578533 h 6858000"/>
              <a:gd name="connsiteX2532" fmla="*/ 8032919 w 12188651"/>
              <a:gd name="connsiteY2532" fmla="*/ 2562187 h 6858000"/>
              <a:gd name="connsiteX2533" fmla="*/ 5979110 w 12188651"/>
              <a:gd name="connsiteY2533" fmla="*/ 2562181 h 6858000"/>
              <a:gd name="connsiteX2534" fmla="*/ 5939938 w 12188651"/>
              <a:gd name="connsiteY2534" fmla="*/ 2578524 h 6858000"/>
              <a:gd name="connsiteX2535" fmla="*/ 5861462 w 12188651"/>
              <a:gd name="connsiteY2535" fmla="*/ 2657262 h 6858000"/>
              <a:gd name="connsiteX2536" fmla="*/ 5861462 w 12188651"/>
              <a:gd name="connsiteY2536" fmla="*/ 2735865 h 6858000"/>
              <a:gd name="connsiteX2537" fmla="*/ 6083008 w 12188651"/>
              <a:gd name="connsiteY2537" fmla="*/ 2957948 h 6858000"/>
              <a:gd name="connsiteX2538" fmla="*/ 6304562 w 12188651"/>
              <a:gd name="connsiteY2538" fmla="*/ 2735865 h 6858000"/>
              <a:gd name="connsiteX2539" fmla="*/ 6304562 w 12188651"/>
              <a:gd name="connsiteY2539" fmla="*/ 2657262 h 6858000"/>
              <a:gd name="connsiteX2540" fmla="*/ 6226084 w 12188651"/>
              <a:gd name="connsiteY2540" fmla="*/ 2578647 h 6858000"/>
              <a:gd name="connsiteX2541" fmla="*/ 6186909 w 12188651"/>
              <a:gd name="connsiteY2541" fmla="*/ 2562308 h 6858000"/>
              <a:gd name="connsiteX2542" fmla="*/ 6186779 w 12188651"/>
              <a:gd name="connsiteY2542" fmla="*/ 2562181 h 6858000"/>
              <a:gd name="connsiteX2543" fmla="*/ 6147474 w 12188651"/>
              <a:gd name="connsiteY2543" fmla="*/ 2578647 h 6858000"/>
              <a:gd name="connsiteX2544" fmla="*/ 6083008 w 12188651"/>
              <a:gd name="connsiteY2544" fmla="*/ 2643253 h 6858000"/>
              <a:gd name="connsiteX2545" fmla="*/ 6018412 w 12188651"/>
              <a:gd name="connsiteY2545" fmla="*/ 2578524 h 6858000"/>
              <a:gd name="connsiteX2546" fmla="*/ 5979110 w 12188651"/>
              <a:gd name="connsiteY2546" fmla="*/ 2562181 h 6858000"/>
              <a:gd name="connsiteX2547" fmla="*/ 3925347 w 12188651"/>
              <a:gd name="connsiteY2547" fmla="*/ 2562165 h 6858000"/>
              <a:gd name="connsiteX2548" fmla="*/ 3886170 w 12188651"/>
              <a:gd name="connsiteY2548" fmla="*/ 2578508 h 6858000"/>
              <a:gd name="connsiteX2549" fmla="*/ 3807684 w 12188651"/>
              <a:gd name="connsiteY2549" fmla="*/ 2657243 h 6858000"/>
              <a:gd name="connsiteX2550" fmla="*/ 3807684 w 12188651"/>
              <a:gd name="connsiteY2550" fmla="*/ 2735855 h 6858000"/>
              <a:gd name="connsiteX2551" fmla="*/ 4029249 w 12188651"/>
              <a:gd name="connsiteY2551" fmla="*/ 2957936 h 6858000"/>
              <a:gd name="connsiteX2552" fmla="*/ 4250768 w 12188651"/>
              <a:gd name="connsiteY2552" fmla="*/ 2735855 h 6858000"/>
              <a:gd name="connsiteX2553" fmla="*/ 4250768 w 12188651"/>
              <a:gd name="connsiteY2553" fmla="*/ 2657243 h 6858000"/>
              <a:gd name="connsiteX2554" fmla="*/ 4172332 w 12188651"/>
              <a:gd name="connsiteY2554" fmla="*/ 2578637 h 6858000"/>
              <a:gd name="connsiteX2555" fmla="*/ 4133157 w 12188651"/>
              <a:gd name="connsiteY2555" fmla="*/ 2562295 h 6858000"/>
              <a:gd name="connsiteX2556" fmla="*/ 4133029 w 12188651"/>
              <a:gd name="connsiteY2556" fmla="*/ 2562165 h 6858000"/>
              <a:gd name="connsiteX2557" fmla="*/ 4093722 w 12188651"/>
              <a:gd name="connsiteY2557" fmla="*/ 2578637 h 6858000"/>
              <a:gd name="connsiteX2558" fmla="*/ 4029249 w 12188651"/>
              <a:gd name="connsiteY2558" fmla="*/ 2643240 h 6858000"/>
              <a:gd name="connsiteX2559" fmla="*/ 3964652 w 12188651"/>
              <a:gd name="connsiteY2559" fmla="*/ 2578508 h 6858000"/>
              <a:gd name="connsiteX2560" fmla="*/ 3925347 w 12188651"/>
              <a:gd name="connsiteY2560" fmla="*/ 2562165 h 6858000"/>
              <a:gd name="connsiteX2561" fmla="*/ 1871372 w 12188651"/>
              <a:gd name="connsiteY2561" fmla="*/ 2562148 h 6858000"/>
              <a:gd name="connsiteX2562" fmla="*/ 1832197 w 12188651"/>
              <a:gd name="connsiteY2562" fmla="*/ 2578496 h 6858000"/>
              <a:gd name="connsiteX2563" fmla="*/ 1753719 w 12188651"/>
              <a:gd name="connsiteY2563" fmla="*/ 2657236 h 6858000"/>
              <a:gd name="connsiteX2564" fmla="*/ 1753719 w 12188651"/>
              <a:gd name="connsiteY2564" fmla="*/ 2735841 h 6858000"/>
              <a:gd name="connsiteX2565" fmla="*/ 1975277 w 12188651"/>
              <a:gd name="connsiteY2565" fmla="*/ 2957928 h 6858000"/>
              <a:gd name="connsiteX2566" fmla="*/ 2196842 w 12188651"/>
              <a:gd name="connsiteY2566" fmla="*/ 2735841 h 6858000"/>
              <a:gd name="connsiteX2567" fmla="*/ 2196842 w 12188651"/>
              <a:gd name="connsiteY2567" fmla="*/ 2657236 h 6858000"/>
              <a:gd name="connsiteX2568" fmla="*/ 2118362 w 12188651"/>
              <a:gd name="connsiteY2568" fmla="*/ 2578623 h 6858000"/>
              <a:gd name="connsiteX2569" fmla="*/ 2079180 w 12188651"/>
              <a:gd name="connsiteY2569" fmla="*/ 2562279 h 6858000"/>
              <a:gd name="connsiteX2570" fmla="*/ 2079050 w 12188651"/>
              <a:gd name="connsiteY2570" fmla="*/ 2562148 h 6858000"/>
              <a:gd name="connsiteX2571" fmla="*/ 2039746 w 12188651"/>
              <a:gd name="connsiteY2571" fmla="*/ 2578623 h 6858000"/>
              <a:gd name="connsiteX2572" fmla="*/ 1975277 w 12188651"/>
              <a:gd name="connsiteY2572" fmla="*/ 2643223 h 6858000"/>
              <a:gd name="connsiteX2573" fmla="*/ 1910677 w 12188651"/>
              <a:gd name="connsiteY2573" fmla="*/ 2578496 h 6858000"/>
              <a:gd name="connsiteX2574" fmla="*/ 1871372 w 12188651"/>
              <a:gd name="connsiteY2574" fmla="*/ 2562148 h 6858000"/>
              <a:gd name="connsiteX2575" fmla="*/ 0 w 12188651"/>
              <a:gd name="connsiteY2575" fmla="*/ 2391946 h 6858000"/>
              <a:gd name="connsiteX2576" fmla="*/ 255065 w 12188651"/>
              <a:gd name="connsiteY2576" fmla="*/ 2539561 h 6858000"/>
              <a:gd name="connsiteX2577" fmla="*/ 255065 w 12188651"/>
              <a:gd name="connsiteY2577" fmla="*/ 2925743 h 6858000"/>
              <a:gd name="connsiteX2578" fmla="*/ 0 w 12188651"/>
              <a:gd name="connsiteY2578" fmla="*/ 3073355 h 6858000"/>
              <a:gd name="connsiteX2579" fmla="*/ 0 w 12188651"/>
              <a:gd name="connsiteY2579" fmla="*/ 2879166 h 6858000"/>
              <a:gd name="connsiteX2580" fmla="*/ 142993 w 12188651"/>
              <a:gd name="connsiteY2580" fmla="*/ 2735832 h 6858000"/>
              <a:gd name="connsiteX2581" fmla="*/ 142993 w 12188651"/>
              <a:gd name="connsiteY2581" fmla="*/ 2657222 h 6858000"/>
              <a:gd name="connsiteX2582" fmla="*/ 64513 w 12188651"/>
              <a:gd name="connsiteY2582" fmla="*/ 2578608 h 6858000"/>
              <a:gd name="connsiteX2583" fmla="*/ 25338 w 12188651"/>
              <a:gd name="connsiteY2583" fmla="*/ 2562265 h 6858000"/>
              <a:gd name="connsiteX2584" fmla="*/ 25211 w 12188651"/>
              <a:gd name="connsiteY2584" fmla="*/ 2562134 h 6858000"/>
              <a:gd name="connsiteX2585" fmla="*/ 4293 w 12188651"/>
              <a:gd name="connsiteY2585" fmla="*/ 2566237 h 6858000"/>
              <a:gd name="connsiteX2586" fmla="*/ 0 w 12188651"/>
              <a:gd name="connsiteY2586" fmla="*/ 2569125 h 6858000"/>
              <a:gd name="connsiteX2587" fmla="*/ 12188651 w 12188651"/>
              <a:gd name="connsiteY2587" fmla="*/ 2378785 h 6858000"/>
              <a:gd name="connsiteX2588" fmla="*/ 12188651 w 12188651"/>
              <a:gd name="connsiteY2588" fmla="*/ 2587244 h 6858000"/>
              <a:gd name="connsiteX2589" fmla="*/ 12179990 w 12188651"/>
              <a:gd name="connsiteY2589" fmla="*/ 2578566 h 6858000"/>
              <a:gd name="connsiteX2590" fmla="*/ 12140685 w 12188651"/>
              <a:gd name="connsiteY2590" fmla="*/ 2562222 h 6858000"/>
              <a:gd name="connsiteX2591" fmla="*/ 12101510 w 12188651"/>
              <a:gd name="connsiteY2591" fmla="*/ 2578566 h 6858000"/>
              <a:gd name="connsiteX2592" fmla="*/ 12023031 w 12188651"/>
              <a:gd name="connsiteY2592" fmla="*/ 2657304 h 6858000"/>
              <a:gd name="connsiteX2593" fmla="*/ 12023031 w 12188651"/>
              <a:gd name="connsiteY2593" fmla="*/ 2735902 h 6858000"/>
              <a:gd name="connsiteX2594" fmla="*/ 12188651 w 12188651"/>
              <a:gd name="connsiteY2594" fmla="*/ 2901917 h 6858000"/>
              <a:gd name="connsiteX2595" fmla="*/ 12188651 w 12188651"/>
              <a:gd name="connsiteY2595" fmla="*/ 3086666 h 6858000"/>
              <a:gd name="connsiteX2596" fmla="*/ 11910696 w 12188651"/>
              <a:gd name="connsiteY2596" fmla="*/ 2925817 h 6858000"/>
              <a:gd name="connsiteX2597" fmla="*/ 11910696 w 12188651"/>
              <a:gd name="connsiteY2597" fmla="*/ 2539653 h 6858000"/>
              <a:gd name="connsiteX2598" fmla="*/ 10883981 w 12188651"/>
              <a:gd name="connsiteY2598" fmla="*/ 2351688 h 6858000"/>
              <a:gd name="connsiteX2599" fmla="*/ 11209441 w 12188651"/>
              <a:gd name="connsiteY2599" fmla="*/ 2540032 h 6858000"/>
              <a:gd name="connsiteX2600" fmla="*/ 11209441 w 12188651"/>
              <a:gd name="connsiteY2600" fmla="*/ 2916853 h 6858000"/>
              <a:gd name="connsiteX2601" fmla="*/ 10883981 w 12188651"/>
              <a:gd name="connsiteY2601" fmla="*/ 2728491 h 6858000"/>
              <a:gd name="connsiteX2602" fmla="*/ 10867636 w 12188651"/>
              <a:gd name="connsiteY2602" fmla="*/ 2351688 h 6858000"/>
              <a:gd name="connsiteX2603" fmla="*/ 10867636 w 12188651"/>
              <a:gd name="connsiteY2603" fmla="*/ 2728491 h 6858000"/>
              <a:gd name="connsiteX2604" fmla="*/ 10542045 w 12188651"/>
              <a:gd name="connsiteY2604" fmla="*/ 2916853 h 6858000"/>
              <a:gd name="connsiteX2605" fmla="*/ 10542045 w 12188651"/>
              <a:gd name="connsiteY2605" fmla="*/ 2540032 h 6858000"/>
              <a:gd name="connsiteX2606" fmla="*/ 8830033 w 12188651"/>
              <a:gd name="connsiteY2606" fmla="*/ 2351669 h 6858000"/>
              <a:gd name="connsiteX2607" fmla="*/ 9155493 w 12188651"/>
              <a:gd name="connsiteY2607" fmla="*/ 2540021 h 6858000"/>
              <a:gd name="connsiteX2608" fmla="*/ 9155493 w 12188651"/>
              <a:gd name="connsiteY2608" fmla="*/ 2916842 h 6858000"/>
              <a:gd name="connsiteX2609" fmla="*/ 8830033 w 12188651"/>
              <a:gd name="connsiteY2609" fmla="*/ 2728478 h 6858000"/>
              <a:gd name="connsiteX2610" fmla="*/ 8813688 w 12188651"/>
              <a:gd name="connsiteY2610" fmla="*/ 2351669 h 6858000"/>
              <a:gd name="connsiteX2611" fmla="*/ 8813688 w 12188651"/>
              <a:gd name="connsiteY2611" fmla="*/ 2728481 h 6858000"/>
              <a:gd name="connsiteX2612" fmla="*/ 8488098 w 12188651"/>
              <a:gd name="connsiteY2612" fmla="*/ 2916842 h 6858000"/>
              <a:gd name="connsiteX2613" fmla="*/ 8488098 w 12188651"/>
              <a:gd name="connsiteY2613" fmla="*/ 2540021 h 6858000"/>
              <a:gd name="connsiteX2614" fmla="*/ 6776215 w 12188651"/>
              <a:gd name="connsiteY2614" fmla="*/ 2351657 h 6858000"/>
              <a:gd name="connsiteX2615" fmla="*/ 7101677 w 12188651"/>
              <a:gd name="connsiteY2615" fmla="*/ 2540012 h 6858000"/>
              <a:gd name="connsiteX2616" fmla="*/ 7101677 w 12188651"/>
              <a:gd name="connsiteY2616" fmla="*/ 2916827 h 6858000"/>
              <a:gd name="connsiteX2617" fmla="*/ 6776215 w 12188651"/>
              <a:gd name="connsiteY2617" fmla="*/ 2728471 h 6858000"/>
              <a:gd name="connsiteX2618" fmla="*/ 6759871 w 12188651"/>
              <a:gd name="connsiteY2618" fmla="*/ 2351657 h 6858000"/>
              <a:gd name="connsiteX2619" fmla="*/ 6759871 w 12188651"/>
              <a:gd name="connsiteY2619" fmla="*/ 2728471 h 6858000"/>
              <a:gd name="connsiteX2620" fmla="*/ 6434280 w 12188651"/>
              <a:gd name="connsiteY2620" fmla="*/ 2916827 h 6858000"/>
              <a:gd name="connsiteX2621" fmla="*/ 6434280 w 12188651"/>
              <a:gd name="connsiteY2621" fmla="*/ 2540012 h 6858000"/>
              <a:gd name="connsiteX2622" fmla="*/ 4705942 w 12188651"/>
              <a:gd name="connsiteY2622" fmla="*/ 2351645 h 6858000"/>
              <a:gd name="connsiteX2623" fmla="*/ 4705942 w 12188651"/>
              <a:gd name="connsiteY2623" fmla="*/ 2728455 h 6858000"/>
              <a:gd name="connsiteX2624" fmla="*/ 4380369 w 12188651"/>
              <a:gd name="connsiteY2624" fmla="*/ 2916811 h 6858000"/>
              <a:gd name="connsiteX2625" fmla="*/ 4380369 w 12188651"/>
              <a:gd name="connsiteY2625" fmla="*/ 2539997 h 6858000"/>
              <a:gd name="connsiteX2626" fmla="*/ 2652144 w 12188651"/>
              <a:gd name="connsiteY2626" fmla="*/ 2351640 h 6858000"/>
              <a:gd name="connsiteX2627" fmla="*/ 2652144 w 12188651"/>
              <a:gd name="connsiteY2627" fmla="*/ 2728447 h 6858000"/>
              <a:gd name="connsiteX2628" fmla="*/ 2326587 w 12188651"/>
              <a:gd name="connsiteY2628" fmla="*/ 2916788 h 6858000"/>
              <a:gd name="connsiteX2629" fmla="*/ 2326587 w 12188651"/>
              <a:gd name="connsiteY2629" fmla="*/ 2539980 h 6858000"/>
              <a:gd name="connsiteX2630" fmla="*/ 4722303 w 12188651"/>
              <a:gd name="connsiteY2630" fmla="*/ 2351638 h 6858000"/>
              <a:gd name="connsiteX2631" fmla="*/ 5047773 w 12188651"/>
              <a:gd name="connsiteY2631" fmla="*/ 2539983 h 6858000"/>
              <a:gd name="connsiteX2632" fmla="*/ 5047773 w 12188651"/>
              <a:gd name="connsiteY2632" fmla="*/ 2916816 h 6858000"/>
              <a:gd name="connsiteX2633" fmla="*/ 4722303 w 12188651"/>
              <a:gd name="connsiteY2633" fmla="*/ 2728468 h 6858000"/>
              <a:gd name="connsiteX2634" fmla="*/ 2668516 w 12188651"/>
              <a:gd name="connsiteY2634" fmla="*/ 2351626 h 6858000"/>
              <a:gd name="connsiteX2635" fmla="*/ 2748692 w 12188651"/>
              <a:gd name="connsiteY2635" fmla="*/ 2398022 h 6858000"/>
              <a:gd name="connsiteX2636" fmla="*/ 2939844 w 12188651"/>
              <a:gd name="connsiteY2636" fmla="*/ 2508648 h 6858000"/>
              <a:gd name="connsiteX2637" fmla="*/ 2993954 w 12188651"/>
              <a:gd name="connsiteY2637" fmla="*/ 2539966 h 6858000"/>
              <a:gd name="connsiteX2638" fmla="*/ 2993954 w 12188651"/>
              <a:gd name="connsiteY2638" fmla="*/ 2916805 h 6858000"/>
              <a:gd name="connsiteX2639" fmla="*/ 2938907 w 12188651"/>
              <a:gd name="connsiteY2639" fmla="*/ 2884945 h 6858000"/>
              <a:gd name="connsiteX2640" fmla="*/ 2668516 w 12188651"/>
              <a:gd name="connsiteY2640" fmla="*/ 2728456 h 6858000"/>
              <a:gd name="connsiteX2641" fmla="*/ 598171 w 12188651"/>
              <a:gd name="connsiteY2641" fmla="*/ 2351626 h 6858000"/>
              <a:gd name="connsiteX2642" fmla="*/ 598171 w 12188651"/>
              <a:gd name="connsiteY2642" fmla="*/ 2728434 h 6858000"/>
              <a:gd name="connsiteX2643" fmla="*/ 272607 w 12188651"/>
              <a:gd name="connsiteY2643" fmla="*/ 2916778 h 6858000"/>
              <a:gd name="connsiteX2644" fmla="*/ 272607 w 12188651"/>
              <a:gd name="connsiteY2644" fmla="*/ 2539968 h 6858000"/>
              <a:gd name="connsiteX2645" fmla="*/ 614543 w 12188651"/>
              <a:gd name="connsiteY2645" fmla="*/ 2351612 h 6858000"/>
              <a:gd name="connsiteX2646" fmla="*/ 939976 w 12188651"/>
              <a:gd name="connsiteY2646" fmla="*/ 2539953 h 6858000"/>
              <a:gd name="connsiteX2647" fmla="*/ 939976 w 12188651"/>
              <a:gd name="connsiteY2647" fmla="*/ 2916793 h 6858000"/>
              <a:gd name="connsiteX2648" fmla="*/ 614543 w 12188651"/>
              <a:gd name="connsiteY2648" fmla="*/ 2728448 h 6858000"/>
              <a:gd name="connsiteX2649" fmla="*/ 11559549 w 12188651"/>
              <a:gd name="connsiteY2649" fmla="*/ 2346879 h 6858000"/>
              <a:gd name="connsiteX2650" fmla="*/ 11893312 w 12188651"/>
              <a:gd name="connsiteY2650" fmla="*/ 2540032 h 6858000"/>
              <a:gd name="connsiteX2651" fmla="*/ 11893312 w 12188651"/>
              <a:gd name="connsiteY2651" fmla="*/ 2926321 h 6858000"/>
              <a:gd name="connsiteX2652" fmla="*/ 11559679 w 12188651"/>
              <a:gd name="connsiteY2652" fmla="*/ 3119473 h 6858000"/>
              <a:gd name="connsiteX2653" fmla="*/ 11225916 w 12188651"/>
              <a:gd name="connsiteY2653" fmla="*/ 2926321 h 6858000"/>
              <a:gd name="connsiteX2654" fmla="*/ 11225916 w 12188651"/>
              <a:gd name="connsiteY2654" fmla="*/ 2540032 h 6858000"/>
              <a:gd name="connsiteX2655" fmla="*/ 9505601 w 12188651"/>
              <a:gd name="connsiteY2655" fmla="*/ 2346870 h 6858000"/>
              <a:gd name="connsiteX2656" fmla="*/ 9839364 w 12188651"/>
              <a:gd name="connsiteY2656" fmla="*/ 2540021 h 6858000"/>
              <a:gd name="connsiteX2657" fmla="*/ 9839364 w 12188651"/>
              <a:gd name="connsiteY2657" fmla="*/ 2926315 h 6858000"/>
              <a:gd name="connsiteX2658" fmla="*/ 9505732 w 12188651"/>
              <a:gd name="connsiteY2658" fmla="*/ 3119464 h 6858000"/>
              <a:gd name="connsiteX2659" fmla="*/ 9171969 w 12188651"/>
              <a:gd name="connsiteY2659" fmla="*/ 2926315 h 6858000"/>
              <a:gd name="connsiteX2660" fmla="*/ 9171969 w 12188651"/>
              <a:gd name="connsiteY2660" fmla="*/ 2540021 h 6858000"/>
              <a:gd name="connsiteX2661" fmla="*/ 7451785 w 12188651"/>
              <a:gd name="connsiteY2661" fmla="*/ 2346860 h 6858000"/>
              <a:gd name="connsiteX2662" fmla="*/ 7785548 w 12188651"/>
              <a:gd name="connsiteY2662" fmla="*/ 2540012 h 6858000"/>
              <a:gd name="connsiteX2663" fmla="*/ 7785548 w 12188651"/>
              <a:gd name="connsiteY2663" fmla="*/ 2926298 h 6858000"/>
              <a:gd name="connsiteX2664" fmla="*/ 7451915 w 12188651"/>
              <a:gd name="connsiteY2664" fmla="*/ 3119455 h 6858000"/>
              <a:gd name="connsiteX2665" fmla="*/ 7118150 w 12188651"/>
              <a:gd name="connsiteY2665" fmla="*/ 2926298 h 6858000"/>
              <a:gd name="connsiteX2666" fmla="*/ 7118150 w 12188651"/>
              <a:gd name="connsiteY2666" fmla="*/ 2540012 h 6858000"/>
              <a:gd name="connsiteX2667" fmla="*/ 5397883 w 12188651"/>
              <a:gd name="connsiteY2667" fmla="*/ 2346843 h 6858000"/>
              <a:gd name="connsiteX2668" fmla="*/ 5731616 w 12188651"/>
              <a:gd name="connsiteY2668" fmla="*/ 2539987 h 6858000"/>
              <a:gd name="connsiteX2669" fmla="*/ 5731616 w 12188651"/>
              <a:gd name="connsiteY2669" fmla="*/ 2926288 h 6858000"/>
              <a:gd name="connsiteX2670" fmla="*/ 5397992 w 12188651"/>
              <a:gd name="connsiteY2670" fmla="*/ 3119437 h 6858000"/>
              <a:gd name="connsiteX2671" fmla="*/ 5293503 w 12188651"/>
              <a:gd name="connsiteY2671" fmla="*/ 3058968 h 6858000"/>
              <a:gd name="connsiteX2672" fmla="*/ 5064269 w 12188651"/>
              <a:gd name="connsiteY2672" fmla="*/ 2926298 h 6858000"/>
              <a:gd name="connsiteX2673" fmla="*/ 5064269 w 12188651"/>
              <a:gd name="connsiteY2673" fmla="*/ 2539997 h 6858000"/>
              <a:gd name="connsiteX2674" fmla="*/ 3344089 w 12188651"/>
              <a:gd name="connsiteY2674" fmla="*/ 2346826 h 6858000"/>
              <a:gd name="connsiteX2675" fmla="*/ 3412199 w 12188651"/>
              <a:gd name="connsiteY2675" fmla="*/ 2386238 h 6858000"/>
              <a:gd name="connsiteX2676" fmla="*/ 3665295 w 12188651"/>
              <a:gd name="connsiteY2676" fmla="*/ 2532714 h 6858000"/>
              <a:gd name="connsiteX2677" fmla="*/ 3677820 w 12188651"/>
              <a:gd name="connsiteY2677" fmla="*/ 2539966 h 6858000"/>
              <a:gd name="connsiteX2678" fmla="*/ 3677820 w 12188651"/>
              <a:gd name="connsiteY2678" fmla="*/ 2926275 h 6858000"/>
              <a:gd name="connsiteX2679" fmla="*/ 3344194 w 12188651"/>
              <a:gd name="connsiteY2679" fmla="*/ 3119426 h 6858000"/>
              <a:gd name="connsiteX2680" fmla="*/ 3184341 w 12188651"/>
              <a:gd name="connsiteY2680" fmla="*/ 3026916 h 6858000"/>
              <a:gd name="connsiteX2681" fmla="*/ 3010455 w 12188651"/>
              <a:gd name="connsiteY2681" fmla="*/ 2926288 h 6858000"/>
              <a:gd name="connsiteX2682" fmla="*/ 3010455 w 12188651"/>
              <a:gd name="connsiteY2682" fmla="*/ 2539980 h 6858000"/>
              <a:gd name="connsiteX2683" fmla="*/ 1290108 w 12188651"/>
              <a:gd name="connsiteY2683" fmla="*/ 2346810 h 6858000"/>
              <a:gd name="connsiteX2684" fmla="*/ 1351079 w 12188651"/>
              <a:gd name="connsiteY2684" fmla="*/ 2382092 h 6858000"/>
              <a:gd name="connsiteX2685" fmla="*/ 1535796 w 12188651"/>
              <a:gd name="connsiteY2685" fmla="*/ 2488993 h 6858000"/>
              <a:gd name="connsiteX2686" fmla="*/ 1623847 w 12188651"/>
              <a:gd name="connsiteY2686" fmla="*/ 2539954 h 6858000"/>
              <a:gd name="connsiteX2687" fmla="*/ 1623847 w 12188651"/>
              <a:gd name="connsiteY2687" fmla="*/ 2926261 h 6858000"/>
              <a:gd name="connsiteX2688" fmla="*/ 1290218 w 12188651"/>
              <a:gd name="connsiteY2688" fmla="*/ 3119416 h 6858000"/>
              <a:gd name="connsiteX2689" fmla="*/ 1213315 w 12188651"/>
              <a:gd name="connsiteY2689" fmla="*/ 3074912 h 6858000"/>
              <a:gd name="connsiteX2690" fmla="*/ 963641 w 12188651"/>
              <a:gd name="connsiteY2690" fmla="*/ 2930424 h 6858000"/>
              <a:gd name="connsiteX2691" fmla="*/ 956477 w 12188651"/>
              <a:gd name="connsiteY2691" fmla="*/ 2926279 h 6858000"/>
              <a:gd name="connsiteX2692" fmla="*/ 956477 w 12188651"/>
              <a:gd name="connsiteY2692" fmla="*/ 2539968 h 6858000"/>
              <a:gd name="connsiteX2693" fmla="*/ 10190640 w 12188651"/>
              <a:gd name="connsiteY2693" fmla="*/ 2346481 h 6858000"/>
              <a:gd name="connsiteX2694" fmla="*/ 10524404 w 12188651"/>
              <a:gd name="connsiteY2694" fmla="*/ 2539629 h 6858000"/>
              <a:gd name="connsiteX2695" fmla="*/ 10524404 w 12188651"/>
              <a:gd name="connsiteY2695" fmla="*/ 2925801 h 6858000"/>
              <a:gd name="connsiteX2696" fmla="*/ 10190640 w 12188651"/>
              <a:gd name="connsiteY2696" fmla="*/ 3118955 h 6858000"/>
              <a:gd name="connsiteX2697" fmla="*/ 9856876 w 12188651"/>
              <a:gd name="connsiteY2697" fmla="*/ 2925801 h 6858000"/>
              <a:gd name="connsiteX2698" fmla="*/ 9856876 w 12188651"/>
              <a:gd name="connsiteY2698" fmla="*/ 2539629 h 6858000"/>
              <a:gd name="connsiteX2699" fmla="*/ 8136693 w 12188651"/>
              <a:gd name="connsiteY2699" fmla="*/ 2346470 h 6858000"/>
              <a:gd name="connsiteX2700" fmla="*/ 8470456 w 12188651"/>
              <a:gd name="connsiteY2700" fmla="*/ 2539621 h 6858000"/>
              <a:gd name="connsiteX2701" fmla="*/ 8470456 w 12188651"/>
              <a:gd name="connsiteY2701" fmla="*/ 2925792 h 6858000"/>
              <a:gd name="connsiteX2702" fmla="*/ 8136693 w 12188651"/>
              <a:gd name="connsiteY2702" fmla="*/ 3118942 h 6858000"/>
              <a:gd name="connsiteX2703" fmla="*/ 7802930 w 12188651"/>
              <a:gd name="connsiteY2703" fmla="*/ 2925792 h 6858000"/>
              <a:gd name="connsiteX2704" fmla="*/ 7802930 w 12188651"/>
              <a:gd name="connsiteY2704" fmla="*/ 2539621 h 6858000"/>
              <a:gd name="connsiteX2705" fmla="*/ 6082876 w 12188651"/>
              <a:gd name="connsiteY2705" fmla="*/ 2346447 h 6858000"/>
              <a:gd name="connsiteX2706" fmla="*/ 6416638 w 12188651"/>
              <a:gd name="connsiteY2706" fmla="*/ 2539608 h 6858000"/>
              <a:gd name="connsiteX2707" fmla="*/ 6416638 w 12188651"/>
              <a:gd name="connsiteY2707" fmla="*/ 2925780 h 6858000"/>
              <a:gd name="connsiteX2708" fmla="*/ 6082876 w 12188651"/>
              <a:gd name="connsiteY2708" fmla="*/ 3118929 h 6858000"/>
              <a:gd name="connsiteX2709" fmla="*/ 5749138 w 12188651"/>
              <a:gd name="connsiteY2709" fmla="*/ 2925780 h 6858000"/>
              <a:gd name="connsiteX2710" fmla="*/ 5749138 w 12188651"/>
              <a:gd name="connsiteY2710" fmla="*/ 2539608 h 6858000"/>
              <a:gd name="connsiteX2711" fmla="*/ 4029122 w 12188651"/>
              <a:gd name="connsiteY2711" fmla="*/ 2346439 h 6858000"/>
              <a:gd name="connsiteX2712" fmla="*/ 4326678 w 12188651"/>
              <a:gd name="connsiteY2712" fmla="*/ 2518660 h 6858000"/>
              <a:gd name="connsiteX2713" fmla="*/ 4362838 w 12188651"/>
              <a:gd name="connsiteY2713" fmla="*/ 2539591 h 6858000"/>
              <a:gd name="connsiteX2714" fmla="*/ 4362838 w 12188651"/>
              <a:gd name="connsiteY2714" fmla="*/ 2925766 h 6858000"/>
              <a:gd name="connsiteX2715" fmla="*/ 4029115 w 12188651"/>
              <a:gd name="connsiteY2715" fmla="*/ 3118919 h 6858000"/>
              <a:gd name="connsiteX2716" fmla="*/ 3695364 w 12188651"/>
              <a:gd name="connsiteY2716" fmla="*/ 2925772 h 6858000"/>
              <a:gd name="connsiteX2717" fmla="*/ 3695364 w 12188651"/>
              <a:gd name="connsiteY2717" fmla="*/ 2539591 h 6858000"/>
              <a:gd name="connsiteX2718" fmla="*/ 1975147 w 12188651"/>
              <a:gd name="connsiteY2718" fmla="*/ 2346423 h 6858000"/>
              <a:gd name="connsiteX2719" fmla="*/ 2308913 w 12188651"/>
              <a:gd name="connsiteY2719" fmla="*/ 2539575 h 6858000"/>
              <a:gd name="connsiteX2720" fmla="*/ 2308913 w 12188651"/>
              <a:gd name="connsiteY2720" fmla="*/ 2925753 h 6858000"/>
              <a:gd name="connsiteX2721" fmla="*/ 1975142 w 12188651"/>
              <a:gd name="connsiteY2721" fmla="*/ 3118908 h 6858000"/>
              <a:gd name="connsiteX2722" fmla="*/ 1641385 w 12188651"/>
              <a:gd name="connsiteY2722" fmla="*/ 2925755 h 6858000"/>
              <a:gd name="connsiteX2723" fmla="*/ 1641385 w 12188651"/>
              <a:gd name="connsiteY2723" fmla="*/ 2539579 h 6858000"/>
              <a:gd name="connsiteX2724" fmla="*/ 11902654 w 12188651"/>
              <a:gd name="connsiteY2724" fmla="*/ 2148664 h 6858000"/>
              <a:gd name="connsiteX2725" fmla="*/ 12188651 w 12188651"/>
              <a:gd name="connsiteY2725" fmla="*/ 2314149 h 6858000"/>
              <a:gd name="connsiteX2726" fmla="*/ 12188651 w 12188651"/>
              <a:gd name="connsiteY2726" fmla="*/ 2359849 h 6858000"/>
              <a:gd name="connsiteX2727" fmla="*/ 11902524 w 12188651"/>
              <a:gd name="connsiteY2727" fmla="*/ 2525372 h 6858000"/>
              <a:gd name="connsiteX2728" fmla="*/ 11577065 w 12188651"/>
              <a:gd name="connsiteY2728" fmla="*/ 2337021 h 6858000"/>
              <a:gd name="connsiteX2729" fmla="*/ 9848833 w 12188651"/>
              <a:gd name="connsiteY2729" fmla="*/ 2148651 h 6858000"/>
              <a:gd name="connsiteX2730" fmla="*/ 10174292 w 12188651"/>
              <a:gd name="connsiteY2730" fmla="*/ 2337004 h 6858000"/>
              <a:gd name="connsiteX2731" fmla="*/ 9848703 w 12188651"/>
              <a:gd name="connsiteY2731" fmla="*/ 2525360 h 6858000"/>
              <a:gd name="connsiteX2732" fmla="*/ 9523246 w 12188651"/>
              <a:gd name="connsiteY2732" fmla="*/ 2337004 h 6858000"/>
              <a:gd name="connsiteX2733" fmla="*/ 7794888 w 12188651"/>
              <a:gd name="connsiteY2733" fmla="*/ 2148635 h 6858000"/>
              <a:gd name="connsiteX2734" fmla="*/ 8120344 w 12188651"/>
              <a:gd name="connsiteY2734" fmla="*/ 2336987 h 6858000"/>
              <a:gd name="connsiteX2735" fmla="*/ 7794758 w 12188651"/>
              <a:gd name="connsiteY2735" fmla="*/ 2525343 h 6858000"/>
              <a:gd name="connsiteX2736" fmla="*/ 7469301 w 12188651"/>
              <a:gd name="connsiteY2736" fmla="*/ 2336987 h 6858000"/>
              <a:gd name="connsiteX2737" fmla="*/ 5741092 w 12188651"/>
              <a:gd name="connsiteY2737" fmla="*/ 2148623 h 6858000"/>
              <a:gd name="connsiteX2738" fmla="*/ 6066529 w 12188651"/>
              <a:gd name="connsiteY2738" fmla="*/ 2336977 h 6858000"/>
              <a:gd name="connsiteX2739" fmla="*/ 5740963 w 12188651"/>
              <a:gd name="connsiteY2739" fmla="*/ 2525334 h 6858000"/>
              <a:gd name="connsiteX2740" fmla="*/ 5415529 w 12188651"/>
              <a:gd name="connsiteY2740" fmla="*/ 2336977 h 6858000"/>
              <a:gd name="connsiteX2741" fmla="*/ 3687323 w 12188651"/>
              <a:gd name="connsiteY2741" fmla="*/ 2148612 h 6858000"/>
              <a:gd name="connsiteX2742" fmla="*/ 4012773 w 12188651"/>
              <a:gd name="connsiteY2742" fmla="*/ 2336961 h 6858000"/>
              <a:gd name="connsiteX2743" fmla="*/ 3687187 w 12188651"/>
              <a:gd name="connsiteY2743" fmla="*/ 2525317 h 6858000"/>
              <a:gd name="connsiteX2744" fmla="*/ 3465770 w 12188651"/>
              <a:gd name="connsiteY2744" fmla="*/ 2397169 h 6858000"/>
              <a:gd name="connsiteX2745" fmla="*/ 3361734 w 12188651"/>
              <a:gd name="connsiteY2745" fmla="*/ 2336966 h 6858000"/>
              <a:gd name="connsiteX2746" fmla="*/ 1633341 w 12188651"/>
              <a:gd name="connsiteY2746" fmla="*/ 2148592 h 6858000"/>
              <a:gd name="connsiteX2747" fmla="*/ 1958797 w 12188651"/>
              <a:gd name="connsiteY2747" fmla="*/ 2336948 h 6858000"/>
              <a:gd name="connsiteX2748" fmla="*/ 1633208 w 12188651"/>
              <a:gd name="connsiteY2748" fmla="*/ 2525303 h 6858000"/>
              <a:gd name="connsiteX2749" fmla="*/ 1561718 w 12188651"/>
              <a:gd name="connsiteY2749" fmla="*/ 2483930 h 6858000"/>
              <a:gd name="connsiteX2750" fmla="*/ 1307753 w 12188651"/>
              <a:gd name="connsiteY2750" fmla="*/ 2336948 h 6858000"/>
              <a:gd name="connsiteX2751" fmla="*/ 11113840 w 12188651"/>
              <a:gd name="connsiteY2751" fmla="*/ 1984709 h 6858000"/>
              <a:gd name="connsiteX2752" fmla="*/ 11141600 w 12188651"/>
              <a:gd name="connsiteY2752" fmla="*/ 1996254 h 6858000"/>
              <a:gd name="connsiteX2753" fmla="*/ 11206199 w 12188651"/>
              <a:gd name="connsiteY2753" fmla="*/ 2060984 h 6858000"/>
              <a:gd name="connsiteX2754" fmla="*/ 11217744 w 12188651"/>
              <a:gd name="connsiteY2754" fmla="*/ 2072657 h 6858000"/>
              <a:gd name="connsiteX2755" fmla="*/ 11229289 w 12188651"/>
              <a:gd name="connsiteY2755" fmla="*/ 2060984 h 6858000"/>
              <a:gd name="connsiteX2756" fmla="*/ 11293758 w 12188651"/>
              <a:gd name="connsiteY2756" fmla="*/ 1996254 h 6858000"/>
              <a:gd name="connsiteX2757" fmla="*/ 11321517 w 12188651"/>
              <a:gd name="connsiteY2757" fmla="*/ 1984709 h 6858000"/>
              <a:gd name="connsiteX2758" fmla="*/ 11349147 w 12188651"/>
              <a:gd name="connsiteY2758" fmla="*/ 1996254 h 6858000"/>
              <a:gd name="connsiteX2759" fmla="*/ 11427627 w 12188651"/>
              <a:gd name="connsiteY2759" fmla="*/ 2074862 h 6858000"/>
              <a:gd name="connsiteX2760" fmla="*/ 11439169 w 12188651"/>
              <a:gd name="connsiteY2760" fmla="*/ 2102615 h 6858000"/>
              <a:gd name="connsiteX2761" fmla="*/ 11427757 w 12188651"/>
              <a:gd name="connsiteY2761" fmla="*/ 2130362 h 6858000"/>
              <a:gd name="connsiteX2762" fmla="*/ 11217744 w 12188651"/>
              <a:gd name="connsiteY2762" fmla="*/ 2340772 h 6858000"/>
              <a:gd name="connsiteX2763" fmla="*/ 11007731 w 12188651"/>
              <a:gd name="connsiteY2763" fmla="*/ 2130362 h 6858000"/>
              <a:gd name="connsiteX2764" fmla="*/ 10996254 w 12188651"/>
              <a:gd name="connsiteY2764" fmla="*/ 2102632 h 6858000"/>
              <a:gd name="connsiteX2765" fmla="*/ 11007731 w 12188651"/>
              <a:gd name="connsiteY2765" fmla="*/ 2074992 h 6858000"/>
              <a:gd name="connsiteX2766" fmla="*/ 11086210 w 12188651"/>
              <a:gd name="connsiteY2766" fmla="*/ 1996254 h 6858000"/>
              <a:gd name="connsiteX2767" fmla="*/ 11113840 w 12188651"/>
              <a:gd name="connsiteY2767" fmla="*/ 1984709 h 6858000"/>
              <a:gd name="connsiteX2768" fmla="*/ 9059892 w 12188651"/>
              <a:gd name="connsiteY2768" fmla="*/ 1984692 h 6858000"/>
              <a:gd name="connsiteX2769" fmla="*/ 9087652 w 12188651"/>
              <a:gd name="connsiteY2769" fmla="*/ 1996238 h 6858000"/>
              <a:gd name="connsiteX2770" fmla="*/ 9152251 w 12188651"/>
              <a:gd name="connsiteY2770" fmla="*/ 2060967 h 6858000"/>
              <a:gd name="connsiteX2771" fmla="*/ 9163796 w 12188651"/>
              <a:gd name="connsiteY2771" fmla="*/ 2072641 h 6858000"/>
              <a:gd name="connsiteX2772" fmla="*/ 9175341 w 12188651"/>
              <a:gd name="connsiteY2772" fmla="*/ 2060967 h 6858000"/>
              <a:gd name="connsiteX2773" fmla="*/ 9239810 w 12188651"/>
              <a:gd name="connsiteY2773" fmla="*/ 1996238 h 6858000"/>
              <a:gd name="connsiteX2774" fmla="*/ 9267570 w 12188651"/>
              <a:gd name="connsiteY2774" fmla="*/ 1984692 h 6858000"/>
              <a:gd name="connsiteX2775" fmla="*/ 9295200 w 12188651"/>
              <a:gd name="connsiteY2775" fmla="*/ 1996238 h 6858000"/>
              <a:gd name="connsiteX2776" fmla="*/ 9373678 w 12188651"/>
              <a:gd name="connsiteY2776" fmla="*/ 2074846 h 6858000"/>
              <a:gd name="connsiteX2777" fmla="*/ 9385220 w 12188651"/>
              <a:gd name="connsiteY2777" fmla="*/ 2102601 h 6858000"/>
              <a:gd name="connsiteX2778" fmla="*/ 9373809 w 12188651"/>
              <a:gd name="connsiteY2778" fmla="*/ 2130340 h 6858000"/>
              <a:gd name="connsiteX2779" fmla="*/ 9163797 w 12188651"/>
              <a:gd name="connsiteY2779" fmla="*/ 2340755 h 6858000"/>
              <a:gd name="connsiteX2780" fmla="*/ 8953784 w 12188651"/>
              <a:gd name="connsiteY2780" fmla="*/ 2130340 h 6858000"/>
              <a:gd name="connsiteX2781" fmla="*/ 8942307 w 12188651"/>
              <a:gd name="connsiteY2781" fmla="*/ 2102615 h 6858000"/>
              <a:gd name="connsiteX2782" fmla="*/ 8953783 w 12188651"/>
              <a:gd name="connsiteY2782" fmla="*/ 2074978 h 6858000"/>
              <a:gd name="connsiteX2783" fmla="*/ 9032263 w 12188651"/>
              <a:gd name="connsiteY2783" fmla="*/ 1996238 h 6858000"/>
              <a:gd name="connsiteX2784" fmla="*/ 9059892 w 12188651"/>
              <a:gd name="connsiteY2784" fmla="*/ 1984692 h 6858000"/>
              <a:gd name="connsiteX2785" fmla="*/ 7006076 w 12188651"/>
              <a:gd name="connsiteY2785" fmla="*/ 1984677 h 6858000"/>
              <a:gd name="connsiteX2786" fmla="*/ 7033834 w 12188651"/>
              <a:gd name="connsiteY2786" fmla="*/ 1996221 h 6858000"/>
              <a:gd name="connsiteX2787" fmla="*/ 7098434 w 12188651"/>
              <a:gd name="connsiteY2787" fmla="*/ 2060951 h 6858000"/>
              <a:gd name="connsiteX2788" fmla="*/ 7109978 w 12188651"/>
              <a:gd name="connsiteY2788" fmla="*/ 2072625 h 6858000"/>
              <a:gd name="connsiteX2789" fmla="*/ 7121523 w 12188651"/>
              <a:gd name="connsiteY2789" fmla="*/ 2060951 h 6858000"/>
              <a:gd name="connsiteX2790" fmla="*/ 7185994 w 12188651"/>
              <a:gd name="connsiteY2790" fmla="*/ 1996221 h 6858000"/>
              <a:gd name="connsiteX2791" fmla="*/ 7213751 w 12188651"/>
              <a:gd name="connsiteY2791" fmla="*/ 1984677 h 6858000"/>
              <a:gd name="connsiteX2792" fmla="*/ 7241381 w 12188651"/>
              <a:gd name="connsiteY2792" fmla="*/ 1996221 h 6858000"/>
              <a:gd name="connsiteX2793" fmla="*/ 7319862 w 12188651"/>
              <a:gd name="connsiteY2793" fmla="*/ 2074831 h 6858000"/>
              <a:gd name="connsiteX2794" fmla="*/ 7331403 w 12188651"/>
              <a:gd name="connsiteY2794" fmla="*/ 2102583 h 6858000"/>
              <a:gd name="connsiteX2795" fmla="*/ 7319992 w 12188651"/>
              <a:gd name="connsiteY2795" fmla="*/ 2130329 h 6858000"/>
              <a:gd name="connsiteX2796" fmla="*/ 7109978 w 12188651"/>
              <a:gd name="connsiteY2796" fmla="*/ 2340739 h 6858000"/>
              <a:gd name="connsiteX2797" fmla="*/ 6899966 w 12188651"/>
              <a:gd name="connsiteY2797" fmla="*/ 2130329 h 6858000"/>
              <a:gd name="connsiteX2798" fmla="*/ 6888488 w 12188651"/>
              <a:gd name="connsiteY2798" fmla="*/ 2102601 h 6858000"/>
              <a:gd name="connsiteX2799" fmla="*/ 6899966 w 12188651"/>
              <a:gd name="connsiteY2799" fmla="*/ 2074961 h 6858000"/>
              <a:gd name="connsiteX2800" fmla="*/ 6978446 w 12188651"/>
              <a:gd name="connsiteY2800" fmla="*/ 1996221 h 6858000"/>
              <a:gd name="connsiteX2801" fmla="*/ 7006076 w 12188651"/>
              <a:gd name="connsiteY2801" fmla="*/ 1984677 h 6858000"/>
              <a:gd name="connsiteX2802" fmla="*/ 4952163 w 12188651"/>
              <a:gd name="connsiteY2802" fmla="*/ 1984659 h 6858000"/>
              <a:gd name="connsiteX2803" fmla="*/ 4979931 w 12188651"/>
              <a:gd name="connsiteY2803" fmla="*/ 1996205 h 6858000"/>
              <a:gd name="connsiteX2804" fmla="*/ 5021209 w 12188651"/>
              <a:gd name="connsiteY2804" fmla="*/ 2037554 h 6858000"/>
              <a:gd name="connsiteX2805" fmla="*/ 5044521 w 12188651"/>
              <a:gd name="connsiteY2805" fmla="*/ 2060919 h 6858000"/>
              <a:gd name="connsiteX2806" fmla="*/ 5056083 w 12188651"/>
              <a:gd name="connsiteY2806" fmla="*/ 2072595 h 6858000"/>
              <a:gd name="connsiteX2807" fmla="*/ 5056083 w 12188651"/>
              <a:gd name="connsiteY2807" fmla="*/ 2072592 h 6858000"/>
              <a:gd name="connsiteX2808" fmla="*/ 5056095 w 12188651"/>
              <a:gd name="connsiteY2808" fmla="*/ 2072609 h 6858000"/>
              <a:gd name="connsiteX2809" fmla="*/ 5067642 w 12188651"/>
              <a:gd name="connsiteY2809" fmla="*/ 2060935 h 6858000"/>
              <a:gd name="connsiteX2810" fmla="*/ 5132091 w 12188651"/>
              <a:gd name="connsiteY2810" fmla="*/ 1996205 h 6858000"/>
              <a:gd name="connsiteX2811" fmla="*/ 5159840 w 12188651"/>
              <a:gd name="connsiteY2811" fmla="*/ 1984659 h 6858000"/>
              <a:gd name="connsiteX2812" fmla="*/ 5187487 w 12188651"/>
              <a:gd name="connsiteY2812" fmla="*/ 1996203 h 6858000"/>
              <a:gd name="connsiteX2813" fmla="*/ 5234645 w 12188651"/>
              <a:gd name="connsiteY2813" fmla="*/ 2043461 h 6858000"/>
              <a:gd name="connsiteX2814" fmla="*/ 5265946 w 12188651"/>
              <a:gd name="connsiteY2814" fmla="*/ 2074804 h 6858000"/>
              <a:gd name="connsiteX2815" fmla="*/ 5277479 w 12188651"/>
              <a:gd name="connsiteY2815" fmla="*/ 2102560 h 6858000"/>
              <a:gd name="connsiteX2816" fmla="*/ 5266071 w 12188651"/>
              <a:gd name="connsiteY2816" fmla="*/ 2130322 h 6858000"/>
              <a:gd name="connsiteX2817" fmla="*/ 5056083 w 12188651"/>
              <a:gd name="connsiteY2817" fmla="*/ 2340720 h 6858000"/>
              <a:gd name="connsiteX2818" fmla="*/ 4969669 w 12188651"/>
              <a:gd name="connsiteY2818" fmla="*/ 2254172 h 6858000"/>
              <a:gd name="connsiteX2819" fmla="*/ 4846040 w 12188651"/>
              <a:gd name="connsiteY2819" fmla="*/ 2130322 h 6858000"/>
              <a:gd name="connsiteX2820" fmla="*/ 4834566 w 12188651"/>
              <a:gd name="connsiteY2820" fmla="*/ 2102591 h 6858000"/>
              <a:gd name="connsiteX2821" fmla="*/ 4846044 w 12188651"/>
              <a:gd name="connsiteY2821" fmla="*/ 2074945 h 6858000"/>
              <a:gd name="connsiteX2822" fmla="*/ 4924518 w 12188651"/>
              <a:gd name="connsiteY2822" fmla="*/ 1996205 h 6858000"/>
              <a:gd name="connsiteX2823" fmla="*/ 4952163 w 12188651"/>
              <a:gd name="connsiteY2823" fmla="*/ 1984659 h 6858000"/>
              <a:gd name="connsiteX2824" fmla="*/ 2898379 w 12188651"/>
              <a:gd name="connsiteY2824" fmla="*/ 1984642 h 6858000"/>
              <a:gd name="connsiteX2825" fmla="*/ 2926124 w 12188651"/>
              <a:gd name="connsiteY2825" fmla="*/ 1996183 h 6858000"/>
              <a:gd name="connsiteX2826" fmla="*/ 2990712 w 12188651"/>
              <a:gd name="connsiteY2826" fmla="*/ 2060903 h 6858000"/>
              <a:gd name="connsiteX2827" fmla="*/ 3002260 w 12188651"/>
              <a:gd name="connsiteY2827" fmla="*/ 2072579 h 6858000"/>
              <a:gd name="connsiteX2828" fmla="*/ 3002262 w 12188651"/>
              <a:gd name="connsiteY2828" fmla="*/ 2072574 h 6858000"/>
              <a:gd name="connsiteX2829" fmla="*/ 3002282 w 12188651"/>
              <a:gd name="connsiteY2829" fmla="*/ 2072593 h 6858000"/>
              <a:gd name="connsiteX2830" fmla="*/ 3013824 w 12188651"/>
              <a:gd name="connsiteY2830" fmla="*/ 2060919 h 6858000"/>
              <a:gd name="connsiteX2831" fmla="*/ 3078292 w 12188651"/>
              <a:gd name="connsiteY2831" fmla="*/ 1996188 h 6858000"/>
              <a:gd name="connsiteX2832" fmla="*/ 3106058 w 12188651"/>
              <a:gd name="connsiteY2832" fmla="*/ 1984642 h 6858000"/>
              <a:gd name="connsiteX2833" fmla="*/ 3133671 w 12188651"/>
              <a:gd name="connsiteY2833" fmla="*/ 1996183 h 6858000"/>
              <a:gd name="connsiteX2834" fmla="*/ 3212141 w 12188651"/>
              <a:gd name="connsiteY2834" fmla="*/ 2074784 h 6858000"/>
              <a:gd name="connsiteX2835" fmla="*/ 3223687 w 12188651"/>
              <a:gd name="connsiteY2835" fmla="*/ 2102544 h 6858000"/>
              <a:gd name="connsiteX2836" fmla="*/ 3212272 w 12188651"/>
              <a:gd name="connsiteY2836" fmla="*/ 2130304 h 6858000"/>
              <a:gd name="connsiteX2837" fmla="*/ 3002263 w 12188651"/>
              <a:gd name="connsiteY2837" fmla="*/ 2340706 h 6858000"/>
              <a:gd name="connsiteX2838" fmla="*/ 2792272 w 12188651"/>
              <a:gd name="connsiteY2838" fmla="*/ 2130322 h 6858000"/>
              <a:gd name="connsiteX2839" fmla="*/ 2792272 w 12188651"/>
              <a:gd name="connsiteY2839" fmla="*/ 2074929 h 6858000"/>
              <a:gd name="connsiteX2840" fmla="*/ 2870746 w 12188651"/>
              <a:gd name="connsiteY2840" fmla="*/ 1996188 h 6858000"/>
              <a:gd name="connsiteX2841" fmla="*/ 2898379 w 12188651"/>
              <a:gd name="connsiteY2841" fmla="*/ 1984642 h 6858000"/>
              <a:gd name="connsiteX2842" fmla="*/ 844398 w 12188651"/>
              <a:gd name="connsiteY2842" fmla="*/ 1984626 h 6858000"/>
              <a:gd name="connsiteX2843" fmla="*/ 872148 w 12188651"/>
              <a:gd name="connsiteY2843" fmla="*/ 1996168 h 6858000"/>
              <a:gd name="connsiteX2844" fmla="*/ 936736 w 12188651"/>
              <a:gd name="connsiteY2844" fmla="*/ 2060888 h 6858000"/>
              <a:gd name="connsiteX2845" fmla="*/ 948281 w 12188651"/>
              <a:gd name="connsiteY2845" fmla="*/ 2072562 h 6858000"/>
              <a:gd name="connsiteX2846" fmla="*/ 948285 w 12188651"/>
              <a:gd name="connsiteY2846" fmla="*/ 2072558 h 6858000"/>
              <a:gd name="connsiteX2847" fmla="*/ 948304 w 12188651"/>
              <a:gd name="connsiteY2847" fmla="*/ 2072577 h 6858000"/>
              <a:gd name="connsiteX2848" fmla="*/ 959848 w 12188651"/>
              <a:gd name="connsiteY2848" fmla="*/ 2060903 h 6858000"/>
              <a:gd name="connsiteX2849" fmla="*/ 1024318 w 12188651"/>
              <a:gd name="connsiteY2849" fmla="*/ 1996172 h 6858000"/>
              <a:gd name="connsiteX2850" fmla="*/ 1052077 w 12188651"/>
              <a:gd name="connsiteY2850" fmla="*/ 1984626 h 6858000"/>
              <a:gd name="connsiteX2851" fmla="*/ 1079695 w 12188651"/>
              <a:gd name="connsiteY2851" fmla="*/ 1996168 h 6858000"/>
              <a:gd name="connsiteX2852" fmla="*/ 1158163 w 12188651"/>
              <a:gd name="connsiteY2852" fmla="*/ 2074768 h 6858000"/>
              <a:gd name="connsiteX2853" fmla="*/ 1169708 w 12188651"/>
              <a:gd name="connsiteY2853" fmla="*/ 2102528 h 6858000"/>
              <a:gd name="connsiteX2854" fmla="*/ 1158294 w 12188651"/>
              <a:gd name="connsiteY2854" fmla="*/ 2130289 h 6858000"/>
              <a:gd name="connsiteX2855" fmla="*/ 948285 w 12188651"/>
              <a:gd name="connsiteY2855" fmla="*/ 2340695 h 6858000"/>
              <a:gd name="connsiteX2856" fmla="*/ 738292 w 12188651"/>
              <a:gd name="connsiteY2856" fmla="*/ 2130304 h 6858000"/>
              <a:gd name="connsiteX2857" fmla="*/ 738292 w 12188651"/>
              <a:gd name="connsiteY2857" fmla="*/ 2074914 h 6858000"/>
              <a:gd name="connsiteX2858" fmla="*/ 816770 w 12188651"/>
              <a:gd name="connsiteY2858" fmla="*/ 1996172 h 6858000"/>
              <a:gd name="connsiteX2859" fmla="*/ 844398 w 12188651"/>
              <a:gd name="connsiteY2859" fmla="*/ 1984626 h 6858000"/>
              <a:gd name="connsiteX2860" fmla="*/ 11113840 w 12188651"/>
              <a:gd name="connsiteY2860" fmla="*/ 1968219 h 6858000"/>
              <a:gd name="connsiteX2861" fmla="*/ 11074665 w 12188651"/>
              <a:gd name="connsiteY2861" fmla="*/ 1984563 h 6858000"/>
              <a:gd name="connsiteX2862" fmla="*/ 10996186 w 12188651"/>
              <a:gd name="connsiteY2862" fmla="*/ 2063301 h 6858000"/>
              <a:gd name="connsiteX2863" fmla="*/ 10979939 w 12188651"/>
              <a:gd name="connsiteY2863" fmla="*/ 2102607 h 6858000"/>
              <a:gd name="connsiteX2864" fmla="*/ 10979942 w 12188651"/>
              <a:gd name="connsiteY2864" fmla="*/ 2102615 h 6858000"/>
              <a:gd name="connsiteX2865" fmla="*/ 10979939 w 12188651"/>
              <a:gd name="connsiteY2865" fmla="*/ 2102624 h 6858000"/>
              <a:gd name="connsiteX2866" fmla="*/ 10996186 w 12188651"/>
              <a:gd name="connsiteY2866" fmla="*/ 2141922 h 6858000"/>
              <a:gd name="connsiteX2867" fmla="*/ 11217744 w 12188651"/>
              <a:gd name="connsiteY2867" fmla="*/ 2364005 h 6858000"/>
              <a:gd name="connsiteX2868" fmla="*/ 11439301 w 12188651"/>
              <a:gd name="connsiteY2868" fmla="*/ 2141922 h 6858000"/>
              <a:gd name="connsiteX2869" fmla="*/ 11455548 w 12188651"/>
              <a:gd name="connsiteY2869" fmla="*/ 2102624 h 6858000"/>
              <a:gd name="connsiteX2870" fmla="*/ 11455545 w 12188651"/>
              <a:gd name="connsiteY2870" fmla="*/ 2102615 h 6858000"/>
              <a:gd name="connsiteX2871" fmla="*/ 11455548 w 12188651"/>
              <a:gd name="connsiteY2871" fmla="*/ 2102607 h 6858000"/>
              <a:gd name="connsiteX2872" fmla="*/ 11439301 w 12188651"/>
              <a:gd name="connsiteY2872" fmla="*/ 2063301 h 6858000"/>
              <a:gd name="connsiteX2873" fmla="*/ 11360822 w 12188651"/>
              <a:gd name="connsiteY2873" fmla="*/ 1984693 h 6858000"/>
              <a:gd name="connsiteX2874" fmla="*/ 11321647 w 12188651"/>
              <a:gd name="connsiteY2874" fmla="*/ 1968348 h 6858000"/>
              <a:gd name="connsiteX2875" fmla="*/ 11321517 w 12188651"/>
              <a:gd name="connsiteY2875" fmla="*/ 1968219 h 6858000"/>
              <a:gd name="connsiteX2876" fmla="*/ 11282213 w 12188651"/>
              <a:gd name="connsiteY2876" fmla="*/ 1984693 h 6858000"/>
              <a:gd name="connsiteX2877" fmla="*/ 11217744 w 12188651"/>
              <a:gd name="connsiteY2877" fmla="*/ 2049294 h 6858000"/>
              <a:gd name="connsiteX2878" fmla="*/ 11153145 w 12188651"/>
              <a:gd name="connsiteY2878" fmla="*/ 1984563 h 6858000"/>
              <a:gd name="connsiteX2879" fmla="*/ 11113840 w 12188651"/>
              <a:gd name="connsiteY2879" fmla="*/ 1968219 h 6858000"/>
              <a:gd name="connsiteX2880" fmla="*/ 9059893 w 12188651"/>
              <a:gd name="connsiteY2880" fmla="*/ 1968203 h 6858000"/>
              <a:gd name="connsiteX2881" fmla="*/ 9020718 w 12188651"/>
              <a:gd name="connsiteY2881" fmla="*/ 1984547 h 6858000"/>
              <a:gd name="connsiteX2882" fmla="*/ 8942239 w 12188651"/>
              <a:gd name="connsiteY2882" fmla="*/ 2063287 h 6858000"/>
              <a:gd name="connsiteX2883" fmla="*/ 8925992 w 12188651"/>
              <a:gd name="connsiteY2883" fmla="*/ 2102593 h 6858000"/>
              <a:gd name="connsiteX2884" fmla="*/ 8925994 w 12188651"/>
              <a:gd name="connsiteY2884" fmla="*/ 2102598 h 6858000"/>
              <a:gd name="connsiteX2885" fmla="*/ 8925991 w 12188651"/>
              <a:gd name="connsiteY2885" fmla="*/ 2102606 h 6858000"/>
              <a:gd name="connsiteX2886" fmla="*/ 8942238 w 12188651"/>
              <a:gd name="connsiteY2886" fmla="*/ 2141902 h 6858000"/>
              <a:gd name="connsiteX2887" fmla="*/ 9163796 w 12188651"/>
              <a:gd name="connsiteY2887" fmla="*/ 2363983 h 6858000"/>
              <a:gd name="connsiteX2888" fmla="*/ 9385353 w 12188651"/>
              <a:gd name="connsiteY2888" fmla="*/ 2141902 h 6858000"/>
              <a:gd name="connsiteX2889" fmla="*/ 9401600 w 12188651"/>
              <a:gd name="connsiteY2889" fmla="*/ 2102606 h 6858000"/>
              <a:gd name="connsiteX2890" fmla="*/ 9401598 w 12188651"/>
              <a:gd name="connsiteY2890" fmla="*/ 2102601 h 6858000"/>
              <a:gd name="connsiteX2891" fmla="*/ 9401601 w 12188651"/>
              <a:gd name="connsiteY2891" fmla="*/ 2102593 h 6858000"/>
              <a:gd name="connsiteX2892" fmla="*/ 9385354 w 12188651"/>
              <a:gd name="connsiteY2892" fmla="*/ 2063287 h 6858000"/>
              <a:gd name="connsiteX2893" fmla="*/ 9306876 w 12188651"/>
              <a:gd name="connsiteY2893" fmla="*/ 1984677 h 6858000"/>
              <a:gd name="connsiteX2894" fmla="*/ 9267701 w 12188651"/>
              <a:gd name="connsiteY2894" fmla="*/ 1968333 h 6858000"/>
              <a:gd name="connsiteX2895" fmla="*/ 9267571 w 12188651"/>
              <a:gd name="connsiteY2895" fmla="*/ 1968203 h 6858000"/>
              <a:gd name="connsiteX2896" fmla="*/ 9228266 w 12188651"/>
              <a:gd name="connsiteY2896" fmla="*/ 1984677 h 6858000"/>
              <a:gd name="connsiteX2897" fmla="*/ 9163797 w 12188651"/>
              <a:gd name="connsiteY2897" fmla="*/ 2049278 h 6858000"/>
              <a:gd name="connsiteX2898" fmla="*/ 9099198 w 12188651"/>
              <a:gd name="connsiteY2898" fmla="*/ 1984547 h 6858000"/>
              <a:gd name="connsiteX2899" fmla="*/ 9059893 w 12188651"/>
              <a:gd name="connsiteY2899" fmla="*/ 1968203 h 6858000"/>
              <a:gd name="connsiteX2900" fmla="*/ 7006076 w 12188651"/>
              <a:gd name="connsiteY2900" fmla="*/ 1968186 h 6858000"/>
              <a:gd name="connsiteX2901" fmla="*/ 6966901 w 12188651"/>
              <a:gd name="connsiteY2901" fmla="*/ 1984530 h 6858000"/>
              <a:gd name="connsiteX2902" fmla="*/ 6888421 w 12188651"/>
              <a:gd name="connsiteY2902" fmla="*/ 2063270 h 6858000"/>
              <a:gd name="connsiteX2903" fmla="*/ 6872173 w 12188651"/>
              <a:gd name="connsiteY2903" fmla="*/ 2102577 h 6858000"/>
              <a:gd name="connsiteX2904" fmla="*/ 6872176 w 12188651"/>
              <a:gd name="connsiteY2904" fmla="*/ 2102583 h 6858000"/>
              <a:gd name="connsiteX2905" fmla="*/ 6872173 w 12188651"/>
              <a:gd name="connsiteY2905" fmla="*/ 2102591 h 6858000"/>
              <a:gd name="connsiteX2906" fmla="*/ 6888421 w 12188651"/>
              <a:gd name="connsiteY2906" fmla="*/ 2141896 h 6858000"/>
              <a:gd name="connsiteX2907" fmla="*/ 7109978 w 12188651"/>
              <a:gd name="connsiteY2907" fmla="*/ 2363976 h 6858000"/>
              <a:gd name="connsiteX2908" fmla="*/ 7331537 w 12188651"/>
              <a:gd name="connsiteY2908" fmla="*/ 2141896 h 6858000"/>
              <a:gd name="connsiteX2909" fmla="*/ 7347783 w 12188651"/>
              <a:gd name="connsiteY2909" fmla="*/ 2102591 h 6858000"/>
              <a:gd name="connsiteX2910" fmla="*/ 7347780 w 12188651"/>
              <a:gd name="connsiteY2910" fmla="*/ 2102583 h 6858000"/>
              <a:gd name="connsiteX2911" fmla="*/ 7347783 w 12188651"/>
              <a:gd name="connsiteY2911" fmla="*/ 2102577 h 6858000"/>
              <a:gd name="connsiteX2912" fmla="*/ 7331537 w 12188651"/>
              <a:gd name="connsiteY2912" fmla="*/ 2063270 h 6858000"/>
              <a:gd name="connsiteX2913" fmla="*/ 7253057 w 12188651"/>
              <a:gd name="connsiteY2913" fmla="*/ 1984660 h 6858000"/>
              <a:gd name="connsiteX2914" fmla="*/ 7213882 w 12188651"/>
              <a:gd name="connsiteY2914" fmla="*/ 1968316 h 6858000"/>
              <a:gd name="connsiteX2915" fmla="*/ 7213751 w 12188651"/>
              <a:gd name="connsiteY2915" fmla="*/ 1968186 h 6858000"/>
              <a:gd name="connsiteX2916" fmla="*/ 7174449 w 12188651"/>
              <a:gd name="connsiteY2916" fmla="*/ 1984660 h 6858000"/>
              <a:gd name="connsiteX2917" fmla="*/ 7109978 w 12188651"/>
              <a:gd name="connsiteY2917" fmla="*/ 2049261 h 6858000"/>
              <a:gd name="connsiteX2918" fmla="*/ 7045379 w 12188651"/>
              <a:gd name="connsiteY2918" fmla="*/ 1984530 h 6858000"/>
              <a:gd name="connsiteX2919" fmla="*/ 7006076 w 12188651"/>
              <a:gd name="connsiteY2919" fmla="*/ 1968186 h 6858000"/>
              <a:gd name="connsiteX2920" fmla="*/ 4952154 w 12188651"/>
              <a:gd name="connsiteY2920" fmla="*/ 1968169 h 6858000"/>
              <a:gd name="connsiteX2921" fmla="*/ 4912971 w 12188651"/>
              <a:gd name="connsiteY2921" fmla="*/ 1984514 h 6858000"/>
              <a:gd name="connsiteX2922" fmla="*/ 4834497 w 12188651"/>
              <a:gd name="connsiteY2922" fmla="*/ 2063254 h 6858000"/>
              <a:gd name="connsiteX2923" fmla="*/ 4834497 w 12188651"/>
              <a:gd name="connsiteY2923" fmla="*/ 2141866 h 6858000"/>
              <a:gd name="connsiteX2924" fmla="*/ 4834505 w 12188651"/>
              <a:gd name="connsiteY2924" fmla="*/ 2141879 h 6858000"/>
              <a:gd name="connsiteX2925" fmla="*/ 4969761 w 12188651"/>
              <a:gd name="connsiteY2925" fmla="*/ 2277444 h 6858000"/>
              <a:gd name="connsiteX2926" fmla="*/ 5056083 w 12188651"/>
              <a:gd name="connsiteY2926" fmla="*/ 2363949 h 6858000"/>
              <a:gd name="connsiteX2927" fmla="*/ 5056083 w 12188651"/>
              <a:gd name="connsiteY2927" fmla="*/ 2363940 h 6858000"/>
              <a:gd name="connsiteX2928" fmla="*/ 5056095 w 12188651"/>
              <a:gd name="connsiteY2928" fmla="*/ 2363964 h 6858000"/>
              <a:gd name="connsiteX2929" fmla="*/ 5277619 w 12188651"/>
              <a:gd name="connsiteY2929" fmla="*/ 2141879 h 6858000"/>
              <a:gd name="connsiteX2930" fmla="*/ 5277619 w 12188651"/>
              <a:gd name="connsiteY2930" fmla="*/ 2063270 h 6858000"/>
              <a:gd name="connsiteX2931" fmla="*/ 5277615 w 12188651"/>
              <a:gd name="connsiteY2931" fmla="*/ 2063260 h 6858000"/>
              <a:gd name="connsiteX2932" fmla="*/ 5277613 w 12188651"/>
              <a:gd name="connsiteY2932" fmla="*/ 2063254 h 6858000"/>
              <a:gd name="connsiteX2933" fmla="*/ 5199129 w 12188651"/>
              <a:gd name="connsiteY2933" fmla="*/ 1984644 h 6858000"/>
              <a:gd name="connsiteX2934" fmla="*/ 5159958 w 12188651"/>
              <a:gd name="connsiteY2934" fmla="*/ 1968300 h 6858000"/>
              <a:gd name="connsiteX2935" fmla="*/ 5159834 w 12188651"/>
              <a:gd name="connsiteY2935" fmla="*/ 1968169 h 6858000"/>
              <a:gd name="connsiteX2936" fmla="*/ 5120536 w 12188651"/>
              <a:gd name="connsiteY2936" fmla="*/ 1984644 h 6858000"/>
              <a:gd name="connsiteX2937" fmla="*/ 5056083 w 12188651"/>
              <a:gd name="connsiteY2937" fmla="*/ 2049243 h 6858000"/>
              <a:gd name="connsiteX2938" fmla="*/ 5013371 w 12188651"/>
              <a:gd name="connsiteY2938" fmla="*/ 2006464 h 6858000"/>
              <a:gd name="connsiteX2939" fmla="*/ 4991465 w 12188651"/>
              <a:gd name="connsiteY2939" fmla="*/ 1984514 h 6858000"/>
              <a:gd name="connsiteX2940" fmla="*/ 4952154 w 12188651"/>
              <a:gd name="connsiteY2940" fmla="*/ 1968169 h 6858000"/>
              <a:gd name="connsiteX2941" fmla="*/ 2898356 w 12188651"/>
              <a:gd name="connsiteY2941" fmla="*/ 1968153 h 6858000"/>
              <a:gd name="connsiteX2942" fmla="*/ 2859181 w 12188651"/>
              <a:gd name="connsiteY2942" fmla="*/ 1984498 h 6858000"/>
              <a:gd name="connsiteX2943" fmla="*/ 2780699 w 12188651"/>
              <a:gd name="connsiteY2943" fmla="*/ 2063238 h 6858000"/>
              <a:gd name="connsiteX2944" fmla="*/ 2780699 w 12188651"/>
              <a:gd name="connsiteY2944" fmla="*/ 2141849 h 6858000"/>
              <a:gd name="connsiteX2945" fmla="*/ 3002260 w 12188651"/>
              <a:gd name="connsiteY2945" fmla="*/ 2363931 h 6858000"/>
              <a:gd name="connsiteX2946" fmla="*/ 3002263 w 12188651"/>
              <a:gd name="connsiteY2946" fmla="*/ 2363925 h 6858000"/>
              <a:gd name="connsiteX2947" fmla="*/ 3002282 w 12188651"/>
              <a:gd name="connsiteY2947" fmla="*/ 2363946 h 6858000"/>
              <a:gd name="connsiteX2948" fmla="*/ 3223840 w 12188651"/>
              <a:gd name="connsiteY2948" fmla="*/ 2141866 h 6858000"/>
              <a:gd name="connsiteX2949" fmla="*/ 3223840 w 12188651"/>
              <a:gd name="connsiteY2949" fmla="*/ 2063254 h 6858000"/>
              <a:gd name="connsiteX2950" fmla="*/ 3145359 w 12188651"/>
              <a:gd name="connsiteY2950" fmla="*/ 1984642 h 6858000"/>
              <a:gd name="connsiteX2951" fmla="*/ 3126988 w 12188651"/>
              <a:gd name="connsiteY2951" fmla="*/ 1972385 h 6858000"/>
              <a:gd name="connsiteX2952" fmla="*/ 3126965 w 12188651"/>
              <a:gd name="connsiteY2952" fmla="*/ 1972369 h 6858000"/>
              <a:gd name="connsiteX2953" fmla="*/ 3106173 w 12188651"/>
              <a:gd name="connsiteY2953" fmla="*/ 1968284 h 6858000"/>
              <a:gd name="connsiteX2954" fmla="*/ 3106058 w 12188651"/>
              <a:gd name="connsiteY2954" fmla="*/ 1968169 h 6858000"/>
              <a:gd name="connsiteX2955" fmla="*/ 3106050 w 12188651"/>
              <a:gd name="connsiteY2955" fmla="*/ 1968170 h 6858000"/>
              <a:gd name="connsiteX2956" fmla="*/ 3106032 w 12188651"/>
              <a:gd name="connsiteY2956" fmla="*/ 1968153 h 6858000"/>
              <a:gd name="connsiteX2957" fmla="*/ 3066728 w 12188651"/>
              <a:gd name="connsiteY2957" fmla="*/ 1984627 h 6858000"/>
              <a:gd name="connsiteX2958" fmla="*/ 3002263 w 12188651"/>
              <a:gd name="connsiteY2958" fmla="*/ 2049224 h 6858000"/>
              <a:gd name="connsiteX2959" fmla="*/ 2937683 w 12188651"/>
              <a:gd name="connsiteY2959" fmla="*/ 1984514 h 6858000"/>
              <a:gd name="connsiteX2960" fmla="*/ 2919295 w 12188651"/>
              <a:gd name="connsiteY2960" fmla="*/ 1972255 h 6858000"/>
              <a:gd name="connsiteX2961" fmla="*/ 2919269 w 12188651"/>
              <a:gd name="connsiteY2961" fmla="*/ 1972239 h 6858000"/>
              <a:gd name="connsiteX2962" fmla="*/ 2898356 w 12188651"/>
              <a:gd name="connsiteY2962" fmla="*/ 1968153 h 6858000"/>
              <a:gd name="connsiteX2963" fmla="*/ 844377 w 12188651"/>
              <a:gd name="connsiteY2963" fmla="*/ 1968136 h 6858000"/>
              <a:gd name="connsiteX2964" fmla="*/ 805203 w 12188651"/>
              <a:gd name="connsiteY2964" fmla="*/ 1984482 h 6858000"/>
              <a:gd name="connsiteX2965" fmla="*/ 726723 w 12188651"/>
              <a:gd name="connsiteY2965" fmla="*/ 2063222 h 6858000"/>
              <a:gd name="connsiteX2966" fmla="*/ 726723 w 12188651"/>
              <a:gd name="connsiteY2966" fmla="*/ 2141834 h 6858000"/>
              <a:gd name="connsiteX2967" fmla="*/ 948281 w 12188651"/>
              <a:gd name="connsiteY2967" fmla="*/ 2363918 h 6858000"/>
              <a:gd name="connsiteX2968" fmla="*/ 948286 w 12188651"/>
              <a:gd name="connsiteY2968" fmla="*/ 2363911 h 6858000"/>
              <a:gd name="connsiteX2969" fmla="*/ 948304 w 12188651"/>
              <a:gd name="connsiteY2969" fmla="*/ 2363931 h 6858000"/>
              <a:gd name="connsiteX2970" fmla="*/ 1169859 w 12188651"/>
              <a:gd name="connsiteY2970" fmla="*/ 2141849 h 6858000"/>
              <a:gd name="connsiteX2971" fmla="*/ 1169859 w 12188651"/>
              <a:gd name="connsiteY2971" fmla="*/ 2063237 h 6858000"/>
              <a:gd name="connsiteX2972" fmla="*/ 1091381 w 12188651"/>
              <a:gd name="connsiteY2972" fmla="*/ 1984626 h 6858000"/>
              <a:gd name="connsiteX2973" fmla="*/ 1087230 w 12188651"/>
              <a:gd name="connsiteY2973" fmla="*/ 1981855 h 6858000"/>
              <a:gd name="connsiteX2974" fmla="*/ 1072988 w 12188651"/>
              <a:gd name="connsiteY2974" fmla="*/ 1972352 h 6858000"/>
              <a:gd name="connsiteX2975" fmla="*/ 1052193 w 12188651"/>
              <a:gd name="connsiteY2975" fmla="*/ 1968268 h 6858000"/>
              <a:gd name="connsiteX2976" fmla="*/ 1052077 w 12188651"/>
              <a:gd name="connsiteY2976" fmla="*/ 1968152 h 6858000"/>
              <a:gd name="connsiteX2977" fmla="*/ 1052071 w 12188651"/>
              <a:gd name="connsiteY2977" fmla="*/ 1968153 h 6858000"/>
              <a:gd name="connsiteX2978" fmla="*/ 1052055 w 12188651"/>
              <a:gd name="connsiteY2978" fmla="*/ 1968136 h 6858000"/>
              <a:gd name="connsiteX2979" fmla="*/ 1012751 w 12188651"/>
              <a:gd name="connsiteY2979" fmla="*/ 1984611 h 6858000"/>
              <a:gd name="connsiteX2980" fmla="*/ 948285 w 12188651"/>
              <a:gd name="connsiteY2980" fmla="*/ 2049209 h 6858000"/>
              <a:gd name="connsiteX2981" fmla="*/ 883704 w 12188651"/>
              <a:gd name="connsiteY2981" fmla="*/ 1984497 h 6858000"/>
              <a:gd name="connsiteX2982" fmla="*/ 883682 w 12188651"/>
              <a:gd name="connsiteY2982" fmla="*/ 1984482 h 6858000"/>
              <a:gd name="connsiteX2983" fmla="*/ 883681 w 12188651"/>
              <a:gd name="connsiteY2983" fmla="*/ 1984482 h 6858000"/>
              <a:gd name="connsiteX2984" fmla="*/ 844377 w 12188651"/>
              <a:gd name="connsiteY2984" fmla="*/ 1968136 h 6858000"/>
              <a:gd name="connsiteX2985" fmla="*/ 11910826 w 12188651"/>
              <a:gd name="connsiteY2985" fmla="*/ 1757693 h 6858000"/>
              <a:gd name="connsiteX2986" fmla="*/ 12188651 w 12188651"/>
              <a:gd name="connsiteY2986" fmla="*/ 1918485 h 6858000"/>
              <a:gd name="connsiteX2987" fmla="*/ 12188651 w 12188651"/>
              <a:gd name="connsiteY2987" fmla="*/ 2295294 h 6858000"/>
              <a:gd name="connsiteX2988" fmla="*/ 11910826 w 12188651"/>
              <a:gd name="connsiteY2988" fmla="*/ 2134524 h 6858000"/>
              <a:gd name="connsiteX2989" fmla="*/ 11894481 w 12188651"/>
              <a:gd name="connsiteY2989" fmla="*/ 1757693 h 6858000"/>
              <a:gd name="connsiteX2990" fmla="*/ 11894481 w 12188651"/>
              <a:gd name="connsiteY2990" fmla="*/ 2134524 h 6858000"/>
              <a:gd name="connsiteX2991" fmla="*/ 11568890 w 12188651"/>
              <a:gd name="connsiteY2991" fmla="*/ 2322864 h 6858000"/>
              <a:gd name="connsiteX2992" fmla="*/ 11568890 w 12188651"/>
              <a:gd name="connsiteY2992" fmla="*/ 1946054 h 6858000"/>
              <a:gd name="connsiteX2993" fmla="*/ 9857006 w 12188651"/>
              <a:gd name="connsiteY2993" fmla="*/ 1757678 h 6858000"/>
              <a:gd name="connsiteX2994" fmla="*/ 10182468 w 12188651"/>
              <a:gd name="connsiteY2994" fmla="*/ 1946038 h 6858000"/>
              <a:gd name="connsiteX2995" fmla="*/ 10182468 w 12188651"/>
              <a:gd name="connsiteY2995" fmla="*/ 2322844 h 6858000"/>
              <a:gd name="connsiteX2996" fmla="*/ 9857006 w 12188651"/>
              <a:gd name="connsiteY2996" fmla="*/ 2134505 h 6858000"/>
              <a:gd name="connsiteX2997" fmla="*/ 9840661 w 12188651"/>
              <a:gd name="connsiteY2997" fmla="*/ 1757678 h 6858000"/>
              <a:gd name="connsiteX2998" fmla="*/ 9840661 w 12188651"/>
              <a:gd name="connsiteY2998" fmla="*/ 2134505 h 6858000"/>
              <a:gd name="connsiteX2999" fmla="*/ 9515070 w 12188651"/>
              <a:gd name="connsiteY2999" fmla="*/ 2322844 h 6858000"/>
              <a:gd name="connsiteX3000" fmla="*/ 9515070 w 12188651"/>
              <a:gd name="connsiteY3000" fmla="*/ 1946038 h 6858000"/>
              <a:gd name="connsiteX3001" fmla="*/ 7803060 w 12188651"/>
              <a:gd name="connsiteY3001" fmla="*/ 1757662 h 6858000"/>
              <a:gd name="connsiteX3002" fmla="*/ 8128521 w 12188651"/>
              <a:gd name="connsiteY3002" fmla="*/ 1946022 h 6858000"/>
              <a:gd name="connsiteX3003" fmla="*/ 8128521 w 12188651"/>
              <a:gd name="connsiteY3003" fmla="*/ 2322839 h 6858000"/>
              <a:gd name="connsiteX3004" fmla="*/ 7803060 w 12188651"/>
              <a:gd name="connsiteY3004" fmla="*/ 2134492 h 6858000"/>
              <a:gd name="connsiteX3005" fmla="*/ 7786715 w 12188651"/>
              <a:gd name="connsiteY3005" fmla="*/ 1757662 h 6858000"/>
              <a:gd name="connsiteX3006" fmla="*/ 7786715 w 12188651"/>
              <a:gd name="connsiteY3006" fmla="*/ 2134492 h 6858000"/>
              <a:gd name="connsiteX3007" fmla="*/ 7461125 w 12188651"/>
              <a:gd name="connsiteY3007" fmla="*/ 2322839 h 6858000"/>
              <a:gd name="connsiteX3008" fmla="*/ 7461125 w 12188651"/>
              <a:gd name="connsiteY3008" fmla="*/ 1946022 h 6858000"/>
              <a:gd name="connsiteX3009" fmla="*/ 5732923 w 12188651"/>
              <a:gd name="connsiteY3009" fmla="*/ 1757647 h 6858000"/>
              <a:gd name="connsiteX3010" fmla="*/ 5732923 w 12188651"/>
              <a:gd name="connsiteY3010" fmla="*/ 2134484 h 6858000"/>
              <a:gd name="connsiteX3011" fmla="*/ 5407352 w 12188651"/>
              <a:gd name="connsiteY3011" fmla="*/ 2322830 h 6858000"/>
              <a:gd name="connsiteX3012" fmla="*/ 5407352 w 12188651"/>
              <a:gd name="connsiteY3012" fmla="*/ 1946005 h 6858000"/>
              <a:gd name="connsiteX3013" fmla="*/ 5749266 w 12188651"/>
              <a:gd name="connsiteY3013" fmla="*/ 1757646 h 6858000"/>
              <a:gd name="connsiteX3014" fmla="*/ 6074705 w 12188651"/>
              <a:gd name="connsiteY3014" fmla="*/ 1946005 h 6858000"/>
              <a:gd name="connsiteX3015" fmla="*/ 6074705 w 12188651"/>
              <a:gd name="connsiteY3015" fmla="*/ 2322830 h 6858000"/>
              <a:gd name="connsiteX3016" fmla="*/ 5749266 w 12188651"/>
              <a:gd name="connsiteY3016" fmla="*/ 2134484 h 6858000"/>
              <a:gd name="connsiteX3017" fmla="*/ 3679144 w 12188651"/>
              <a:gd name="connsiteY3017" fmla="*/ 1757633 h 6858000"/>
              <a:gd name="connsiteX3018" fmla="*/ 3679144 w 12188651"/>
              <a:gd name="connsiteY3018" fmla="*/ 2134464 h 6858000"/>
              <a:gd name="connsiteX3019" fmla="*/ 3353563 w 12188651"/>
              <a:gd name="connsiteY3019" fmla="*/ 2322807 h 6858000"/>
              <a:gd name="connsiteX3020" fmla="*/ 3353563 w 12188651"/>
              <a:gd name="connsiteY3020" fmla="*/ 1945988 h 6858000"/>
              <a:gd name="connsiteX3021" fmla="*/ 3695494 w 12188651"/>
              <a:gd name="connsiteY3021" fmla="*/ 1757631 h 6858000"/>
              <a:gd name="connsiteX3022" fmla="*/ 4020945 w 12188651"/>
              <a:gd name="connsiteY3022" fmla="*/ 1945986 h 6858000"/>
              <a:gd name="connsiteX3023" fmla="*/ 4020945 w 12188651"/>
              <a:gd name="connsiteY3023" fmla="*/ 2322809 h 6858000"/>
              <a:gd name="connsiteX3024" fmla="*/ 3733755 w 12188651"/>
              <a:gd name="connsiteY3024" fmla="*/ 2156613 h 6858000"/>
              <a:gd name="connsiteX3025" fmla="*/ 3695494 w 12188651"/>
              <a:gd name="connsiteY3025" fmla="*/ 2134468 h 6858000"/>
              <a:gd name="connsiteX3026" fmla="*/ 1625166 w 12188651"/>
              <a:gd name="connsiteY3026" fmla="*/ 1757617 h 6858000"/>
              <a:gd name="connsiteX3027" fmla="*/ 1625166 w 12188651"/>
              <a:gd name="connsiteY3027" fmla="*/ 2134450 h 6858000"/>
              <a:gd name="connsiteX3028" fmla="*/ 1299581 w 12188651"/>
              <a:gd name="connsiteY3028" fmla="*/ 2322797 h 6858000"/>
              <a:gd name="connsiteX3029" fmla="*/ 1299581 w 12188651"/>
              <a:gd name="connsiteY3029" fmla="*/ 1945972 h 6858000"/>
              <a:gd name="connsiteX3030" fmla="*/ 1641515 w 12188651"/>
              <a:gd name="connsiteY3030" fmla="*/ 1757615 h 6858000"/>
              <a:gd name="connsiteX3031" fmla="*/ 1966969 w 12188651"/>
              <a:gd name="connsiteY3031" fmla="*/ 1945969 h 6858000"/>
              <a:gd name="connsiteX3032" fmla="*/ 1966969 w 12188651"/>
              <a:gd name="connsiteY3032" fmla="*/ 2322802 h 6858000"/>
              <a:gd name="connsiteX3033" fmla="*/ 1914926 w 12188651"/>
              <a:gd name="connsiteY3033" fmla="*/ 2292686 h 6858000"/>
              <a:gd name="connsiteX3034" fmla="*/ 1641515 w 12188651"/>
              <a:gd name="connsiteY3034" fmla="*/ 2134455 h 6858000"/>
              <a:gd name="connsiteX3035" fmla="*/ 10532576 w 12188651"/>
              <a:gd name="connsiteY3035" fmla="*/ 1752878 h 6858000"/>
              <a:gd name="connsiteX3036" fmla="*/ 10866339 w 12188651"/>
              <a:gd name="connsiteY3036" fmla="*/ 1946038 h 6858000"/>
              <a:gd name="connsiteX3037" fmla="*/ 10866339 w 12188651"/>
              <a:gd name="connsiteY3037" fmla="*/ 2332329 h 6858000"/>
              <a:gd name="connsiteX3038" fmla="*/ 10532706 w 12188651"/>
              <a:gd name="connsiteY3038" fmla="*/ 2525485 h 6858000"/>
              <a:gd name="connsiteX3039" fmla="*/ 10198941 w 12188651"/>
              <a:gd name="connsiteY3039" fmla="*/ 2332329 h 6858000"/>
              <a:gd name="connsiteX3040" fmla="*/ 10198941 w 12188651"/>
              <a:gd name="connsiteY3040" fmla="*/ 1946038 h 6858000"/>
              <a:gd name="connsiteX3041" fmla="*/ 8478628 w 12188651"/>
              <a:gd name="connsiteY3041" fmla="*/ 1752864 h 6858000"/>
              <a:gd name="connsiteX3042" fmla="*/ 8812392 w 12188651"/>
              <a:gd name="connsiteY3042" fmla="*/ 1946022 h 6858000"/>
              <a:gd name="connsiteX3043" fmla="*/ 8812392 w 12188651"/>
              <a:gd name="connsiteY3043" fmla="*/ 2332319 h 6858000"/>
              <a:gd name="connsiteX3044" fmla="*/ 8478758 w 12188651"/>
              <a:gd name="connsiteY3044" fmla="*/ 2525474 h 6858000"/>
              <a:gd name="connsiteX3045" fmla="*/ 8144995 w 12188651"/>
              <a:gd name="connsiteY3045" fmla="*/ 2332319 h 6858000"/>
              <a:gd name="connsiteX3046" fmla="*/ 8144995 w 12188651"/>
              <a:gd name="connsiteY3046" fmla="*/ 1946022 h 6858000"/>
              <a:gd name="connsiteX3047" fmla="*/ 6424810 w 12188651"/>
              <a:gd name="connsiteY3047" fmla="*/ 1752847 h 6858000"/>
              <a:gd name="connsiteX3048" fmla="*/ 6758573 w 12188651"/>
              <a:gd name="connsiteY3048" fmla="*/ 1946005 h 6858000"/>
              <a:gd name="connsiteX3049" fmla="*/ 6758573 w 12188651"/>
              <a:gd name="connsiteY3049" fmla="*/ 2332304 h 6858000"/>
              <a:gd name="connsiteX3050" fmla="*/ 6424940 w 12188651"/>
              <a:gd name="connsiteY3050" fmla="*/ 2525464 h 6858000"/>
              <a:gd name="connsiteX3051" fmla="*/ 6091179 w 12188651"/>
              <a:gd name="connsiteY3051" fmla="*/ 2332304 h 6858000"/>
              <a:gd name="connsiteX3052" fmla="*/ 6091179 w 12188651"/>
              <a:gd name="connsiteY3052" fmla="*/ 1946005 h 6858000"/>
              <a:gd name="connsiteX3053" fmla="*/ 4371020 w 12188651"/>
              <a:gd name="connsiteY3053" fmla="*/ 1752830 h 6858000"/>
              <a:gd name="connsiteX3054" fmla="*/ 4704777 w 12188651"/>
              <a:gd name="connsiteY3054" fmla="*/ 1945988 h 6858000"/>
              <a:gd name="connsiteX3055" fmla="*/ 4704777 w 12188651"/>
              <a:gd name="connsiteY3055" fmla="*/ 2332286 h 6858000"/>
              <a:gd name="connsiteX3056" fmla="*/ 4371146 w 12188651"/>
              <a:gd name="connsiteY3056" fmla="*/ 2525446 h 6858000"/>
              <a:gd name="connsiteX3057" fmla="*/ 4037427 w 12188651"/>
              <a:gd name="connsiteY3057" fmla="*/ 2332293 h 6858000"/>
              <a:gd name="connsiteX3058" fmla="*/ 4037427 w 12188651"/>
              <a:gd name="connsiteY3058" fmla="*/ 1945988 h 6858000"/>
              <a:gd name="connsiteX3059" fmla="*/ 2317092 w 12188651"/>
              <a:gd name="connsiteY3059" fmla="*/ 1752815 h 6858000"/>
              <a:gd name="connsiteX3060" fmla="*/ 2650846 w 12188651"/>
              <a:gd name="connsiteY3060" fmla="*/ 1945968 h 6858000"/>
              <a:gd name="connsiteX3061" fmla="*/ 2650846 w 12188651"/>
              <a:gd name="connsiteY3061" fmla="*/ 2332273 h 6858000"/>
              <a:gd name="connsiteX3062" fmla="*/ 2317216 w 12188651"/>
              <a:gd name="connsiteY3062" fmla="*/ 2525431 h 6858000"/>
              <a:gd name="connsiteX3063" fmla="*/ 2153844 w 12188651"/>
              <a:gd name="connsiteY3063" fmla="*/ 2430884 h 6858000"/>
              <a:gd name="connsiteX3064" fmla="*/ 1983452 w 12188651"/>
              <a:gd name="connsiteY3064" fmla="*/ 2332275 h 6858000"/>
              <a:gd name="connsiteX3065" fmla="*/ 1983452 w 12188651"/>
              <a:gd name="connsiteY3065" fmla="*/ 1945972 h 6858000"/>
              <a:gd name="connsiteX3066" fmla="*/ 263245 w 12188651"/>
              <a:gd name="connsiteY3066" fmla="*/ 1752799 h 6858000"/>
              <a:gd name="connsiteX3067" fmla="*/ 597001 w 12188651"/>
              <a:gd name="connsiteY3067" fmla="*/ 1945952 h 6858000"/>
              <a:gd name="connsiteX3068" fmla="*/ 597001 w 12188651"/>
              <a:gd name="connsiteY3068" fmla="*/ 2332264 h 6858000"/>
              <a:gd name="connsiteX3069" fmla="*/ 263368 w 12188651"/>
              <a:gd name="connsiteY3069" fmla="*/ 2525419 h 6858000"/>
              <a:gd name="connsiteX3070" fmla="*/ 83447 w 12188651"/>
              <a:gd name="connsiteY3070" fmla="*/ 2421295 h 6858000"/>
              <a:gd name="connsiteX3071" fmla="*/ 0 w 12188651"/>
              <a:gd name="connsiteY3071" fmla="*/ 2373002 h 6858000"/>
              <a:gd name="connsiteX3072" fmla="*/ 0 w 12188651"/>
              <a:gd name="connsiteY3072" fmla="*/ 1905204 h 6858000"/>
              <a:gd name="connsiteX3073" fmla="*/ 11217614 w 12188651"/>
              <a:gd name="connsiteY3073" fmla="*/ 1752635 h 6858000"/>
              <a:gd name="connsiteX3074" fmla="*/ 11551377 w 12188651"/>
              <a:gd name="connsiteY3074" fmla="*/ 1945795 h 6858000"/>
              <a:gd name="connsiteX3075" fmla="*/ 11551377 w 12188651"/>
              <a:gd name="connsiteY3075" fmla="*/ 2331944 h 6858000"/>
              <a:gd name="connsiteX3076" fmla="*/ 11217614 w 12188651"/>
              <a:gd name="connsiteY3076" fmla="*/ 2525105 h 6858000"/>
              <a:gd name="connsiteX3077" fmla="*/ 10883851 w 12188651"/>
              <a:gd name="connsiteY3077" fmla="*/ 2331944 h 6858000"/>
              <a:gd name="connsiteX3078" fmla="*/ 10883851 w 12188651"/>
              <a:gd name="connsiteY3078" fmla="*/ 1945795 h 6858000"/>
              <a:gd name="connsiteX3079" fmla="*/ 9163666 w 12188651"/>
              <a:gd name="connsiteY3079" fmla="*/ 1752617 h 6858000"/>
              <a:gd name="connsiteX3080" fmla="*/ 9497429 w 12188651"/>
              <a:gd name="connsiteY3080" fmla="*/ 1945779 h 6858000"/>
              <a:gd name="connsiteX3081" fmla="*/ 9497429 w 12188651"/>
              <a:gd name="connsiteY3081" fmla="*/ 2331929 h 6858000"/>
              <a:gd name="connsiteX3082" fmla="*/ 9163666 w 12188651"/>
              <a:gd name="connsiteY3082" fmla="*/ 2525089 h 6858000"/>
              <a:gd name="connsiteX3083" fmla="*/ 8829903 w 12188651"/>
              <a:gd name="connsiteY3083" fmla="*/ 2331929 h 6858000"/>
              <a:gd name="connsiteX3084" fmla="*/ 8829903 w 12188651"/>
              <a:gd name="connsiteY3084" fmla="*/ 1945778 h 6858000"/>
              <a:gd name="connsiteX3085" fmla="*/ 7109850 w 12188651"/>
              <a:gd name="connsiteY3085" fmla="*/ 1752603 h 6858000"/>
              <a:gd name="connsiteX3086" fmla="*/ 7443613 w 12188651"/>
              <a:gd name="connsiteY3086" fmla="*/ 1945761 h 6858000"/>
              <a:gd name="connsiteX3087" fmla="*/ 7443613 w 12188651"/>
              <a:gd name="connsiteY3087" fmla="*/ 2331916 h 6858000"/>
              <a:gd name="connsiteX3088" fmla="*/ 7109850 w 12188651"/>
              <a:gd name="connsiteY3088" fmla="*/ 2525078 h 6858000"/>
              <a:gd name="connsiteX3089" fmla="*/ 6776085 w 12188651"/>
              <a:gd name="connsiteY3089" fmla="*/ 2331916 h 6858000"/>
              <a:gd name="connsiteX3090" fmla="*/ 6776085 w 12188651"/>
              <a:gd name="connsiteY3090" fmla="*/ 1945761 h 6858000"/>
              <a:gd name="connsiteX3091" fmla="*/ 5055971 w 12188651"/>
              <a:gd name="connsiteY3091" fmla="*/ 1752586 h 6858000"/>
              <a:gd name="connsiteX3092" fmla="*/ 5262114 w 12188651"/>
              <a:gd name="connsiteY3092" fmla="*/ 1871903 h 6858000"/>
              <a:gd name="connsiteX3093" fmla="*/ 5389698 w 12188651"/>
              <a:gd name="connsiteY3093" fmla="*/ 1945736 h 6858000"/>
              <a:gd name="connsiteX3094" fmla="*/ 5389698 w 12188651"/>
              <a:gd name="connsiteY3094" fmla="*/ 2331901 h 6858000"/>
              <a:gd name="connsiteX3095" fmla="*/ 5055949 w 12188651"/>
              <a:gd name="connsiteY3095" fmla="*/ 2525062 h 6858000"/>
              <a:gd name="connsiteX3096" fmla="*/ 4722181 w 12188651"/>
              <a:gd name="connsiteY3096" fmla="*/ 2331905 h 6858000"/>
              <a:gd name="connsiteX3097" fmla="*/ 4722181 w 12188651"/>
              <a:gd name="connsiteY3097" fmla="*/ 1945745 h 6858000"/>
              <a:gd name="connsiteX3098" fmla="*/ 3002152 w 12188651"/>
              <a:gd name="connsiteY3098" fmla="*/ 1752570 h 6858000"/>
              <a:gd name="connsiteX3099" fmla="*/ 3335890 w 12188651"/>
              <a:gd name="connsiteY3099" fmla="*/ 1945712 h 6858000"/>
              <a:gd name="connsiteX3100" fmla="*/ 3335890 w 12188651"/>
              <a:gd name="connsiteY3100" fmla="*/ 2331889 h 6858000"/>
              <a:gd name="connsiteX3101" fmla="*/ 3002127 w 12188651"/>
              <a:gd name="connsiteY3101" fmla="*/ 2525047 h 6858000"/>
              <a:gd name="connsiteX3102" fmla="*/ 2731183 w 12188651"/>
              <a:gd name="connsiteY3102" fmla="*/ 2368243 h 6858000"/>
              <a:gd name="connsiteX3103" fmla="*/ 2668390 w 12188651"/>
              <a:gd name="connsiteY3103" fmla="*/ 2331903 h 6858000"/>
              <a:gd name="connsiteX3104" fmla="*/ 2668390 w 12188651"/>
              <a:gd name="connsiteY3104" fmla="*/ 1945729 h 6858000"/>
              <a:gd name="connsiteX3105" fmla="*/ 948175 w 12188651"/>
              <a:gd name="connsiteY3105" fmla="*/ 1752555 h 6858000"/>
              <a:gd name="connsiteX3106" fmla="*/ 1281914 w 12188651"/>
              <a:gd name="connsiteY3106" fmla="*/ 1945698 h 6858000"/>
              <a:gd name="connsiteX3107" fmla="*/ 1281914 w 12188651"/>
              <a:gd name="connsiteY3107" fmla="*/ 2331876 h 6858000"/>
              <a:gd name="connsiteX3108" fmla="*/ 948153 w 12188651"/>
              <a:gd name="connsiteY3108" fmla="*/ 2525032 h 6858000"/>
              <a:gd name="connsiteX3109" fmla="*/ 940570 w 12188651"/>
              <a:gd name="connsiteY3109" fmla="*/ 2520648 h 6858000"/>
              <a:gd name="connsiteX3110" fmla="*/ 614414 w 12188651"/>
              <a:gd name="connsiteY3110" fmla="*/ 2331889 h 6858000"/>
              <a:gd name="connsiteX3111" fmla="*/ 614414 w 12188651"/>
              <a:gd name="connsiteY3111" fmla="*/ 1945713 h 6858000"/>
              <a:gd name="connsiteX3112" fmla="*/ 10875809 w 12188651"/>
              <a:gd name="connsiteY3112" fmla="*/ 1554804 h 6858000"/>
              <a:gd name="connsiteX3113" fmla="*/ 11201255 w 12188651"/>
              <a:gd name="connsiteY3113" fmla="*/ 1743155 h 6858000"/>
              <a:gd name="connsiteX3114" fmla="*/ 10875678 w 12188651"/>
              <a:gd name="connsiteY3114" fmla="*/ 1931508 h 6858000"/>
              <a:gd name="connsiteX3115" fmla="*/ 10550231 w 12188651"/>
              <a:gd name="connsiteY3115" fmla="*/ 1743155 h 6858000"/>
              <a:gd name="connsiteX3116" fmla="*/ 8821860 w 12188651"/>
              <a:gd name="connsiteY3116" fmla="*/ 1554788 h 6858000"/>
              <a:gd name="connsiteX3117" fmla="*/ 9147308 w 12188651"/>
              <a:gd name="connsiteY3117" fmla="*/ 1743140 h 6858000"/>
              <a:gd name="connsiteX3118" fmla="*/ 8821731 w 12188651"/>
              <a:gd name="connsiteY3118" fmla="*/ 1931491 h 6858000"/>
              <a:gd name="connsiteX3119" fmla="*/ 8496282 w 12188651"/>
              <a:gd name="connsiteY3119" fmla="*/ 1743140 h 6858000"/>
              <a:gd name="connsiteX3120" fmla="*/ 6768043 w 12188651"/>
              <a:gd name="connsiteY3120" fmla="*/ 1554775 h 6858000"/>
              <a:gd name="connsiteX3121" fmla="*/ 7093491 w 12188651"/>
              <a:gd name="connsiteY3121" fmla="*/ 1743124 h 6858000"/>
              <a:gd name="connsiteX3122" fmla="*/ 6767913 w 12188651"/>
              <a:gd name="connsiteY3122" fmla="*/ 1931475 h 6858000"/>
              <a:gd name="connsiteX3123" fmla="*/ 6442466 w 12188651"/>
              <a:gd name="connsiteY3123" fmla="*/ 1743125 h 6858000"/>
              <a:gd name="connsiteX3124" fmla="*/ 4714128 w 12188651"/>
              <a:gd name="connsiteY3124" fmla="*/ 1554758 h 6858000"/>
              <a:gd name="connsiteX3125" fmla="*/ 4997319 w 12188651"/>
              <a:gd name="connsiteY3125" fmla="*/ 1718649 h 6858000"/>
              <a:gd name="connsiteX3126" fmla="*/ 5039593 w 12188651"/>
              <a:gd name="connsiteY3126" fmla="*/ 1743102 h 6858000"/>
              <a:gd name="connsiteX3127" fmla="*/ 4713993 w 12188651"/>
              <a:gd name="connsiteY3127" fmla="*/ 1931459 h 6858000"/>
              <a:gd name="connsiteX3128" fmla="*/ 4512543 w 12188651"/>
              <a:gd name="connsiteY3128" fmla="*/ 1814871 h 6858000"/>
              <a:gd name="connsiteX3129" fmla="*/ 4388549 w 12188651"/>
              <a:gd name="connsiteY3129" fmla="*/ 1743112 h 6858000"/>
              <a:gd name="connsiteX3130" fmla="*/ 2660349 w 12188651"/>
              <a:gd name="connsiteY3130" fmla="*/ 1554742 h 6858000"/>
              <a:gd name="connsiteX3131" fmla="*/ 2985784 w 12188651"/>
              <a:gd name="connsiteY3131" fmla="*/ 1743084 h 6858000"/>
              <a:gd name="connsiteX3132" fmla="*/ 2660193 w 12188651"/>
              <a:gd name="connsiteY3132" fmla="*/ 1931442 h 6858000"/>
              <a:gd name="connsiteX3133" fmla="*/ 2334764 w 12188651"/>
              <a:gd name="connsiteY3133" fmla="*/ 1743101 h 6858000"/>
              <a:gd name="connsiteX3134" fmla="*/ 606372 w 12188651"/>
              <a:gd name="connsiteY3134" fmla="*/ 1554728 h 6858000"/>
              <a:gd name="connsiteX3135" fmla="*/ 931804 w 12188651"/>
              <a:gd name="connsiteY3135" fmla="*/ 1743069 h 6858000"/>
              <a:gd name="connsiteX3136" fmla="*/ 606216 w 12188651"/>
              <a:gd name="connsiteY3136" fmla="*/ 1931425 h 6858000"/>
              <a:gd name="connsiteX3137" fmla="*/ 280783 w 12188651"/>
              <a:gd name="connsiteY3137" fmla="*/ 1743083 h 6858000"/>
              <a:gd name="connsiteX3138" fmla="*/ 12140685 w 12188651"/>
              <a:gd name="connsiteY3138" fmla="*/ 1390835 h 6858000"/>
              <a:gd name="connsiteX3139" fmla="*/ 12168445 w 12188651"/>
              <a:gd name="connsiteY3139" fmla="*/ 1402380 h 6858000"/>
              <a:gd name="connsiteX3140" fmla="*/ 12188651 w 12188651"/>
              <a:gd name="connsiteY3140" fmla="*/ 1422630 h 6858000"/>
              <a:gd name="connsiteX3141" fmla="*/ 12188651 w 12188651"/>
              <a:gd name="connsiteY3141" fmla="*/ 1690880 h 6858000"/>
              <a:gd name="connsiteX3142" fmla="*/ 12034576 w 12188651"/>
              <a:gd name="connsiteY3142" fmla="*/ 1536513 h 6858000"/>
              <a:gd name="connsiteX3143" fmla="*/ 12034576 w 12188651"/>
              <a:gd name="connsiteY3143" fmla="*/ 1481120 h 6858000"/>
              <a:gd name="connsiteX3144" fmla="*/ 12113056 w 12188651"/>
              <a:gd name="connsiteY3144" fmla="*/ 1402380 h 6858000"/>
              <a:gd name="connsiteX3145" fmla="*/ 12140685 w 12188651"/>
              <a:gd name="connsiteY3145" fmla="*/ 1390835 h 6858000"/>
              <a:gd name="connsiteX3146" fmla="*/ 10086867 w 12188651"/>
              <a:gd name="connsiteY3146" fmla="*/ 1390817 h 6858000"/>
              <a:gd name="connsiteX3147" fmla="*/ 10114626 w 12188651"/>
              <a:gd name="connsiteY3147" fmla="*/ 1402365 h 6858000"/>
              <a:gd name="connsiteX3148" fmla="*/ 10179226 w 12188651"/>
              <a:gd name="connsiteY3148" fmla="*/ 1467099 h 6858000"/>
              <a:gd name="connsiteX3149" fmla="*/ 10190770 w 12188651"/>
              <a:gd name="connsiteY3149" fmla="*/ 1478768 h 6858000"/>
              <a:gd name="connsiteX3150" fmla="*/ 10202315 w 12188651"/>
              <a:gd name="connsiteY3150" fmla="*/ 1467099 h 6858000"/>
              <a:gd name="connsiteX3151" fmla="*/ 10266786 w 12188651"/>
              <a:gd name="connsiteY3151" fmla="*/ 1402365 h 6858000"/>
              <a:gd name="connsiteX3152" fmla="*/ 10294543 w 12188651"/>
              <a:gd name="connsiteY3152" fmla="*/ 1390817 h 6858000"/>
              <a:gd name="connsiteX3153" fmla="*/ 10322173 w 12188651"/>
              <a:gd name="connsiteY3153" fmla="*/ 1402365 h 6858000"/>
              <a:gd name="connsiteX3154" fmla="*/ 10400653 w 12188651"/>
              <a:gd name="connsiteY3154" fmla="*/ 1480975 h 6858000"/>
              <a:gd name="connsiteX3155" fmla="*/ 10412198 w 12188651"/>
              <a:gd name="connsiteY3155" fmla="*/ 1508734 h 6858000"/>
              <a:gd name="connsiteX3156" fmla="*/ 10400783 w 12188651"/>
              <a:gd name="connsiteY3156" fmla="*/ 1536497 h 6858000"/>
              <a:gd name="connsiteX3157" fmla="*/ 10190770 w 12188651"/>
              <a:gd name="connsiteY3157" fmla="*/ 1746909 h 6858000"/>
              <a:gd name="connsiteX3158" fmla="*/ 9980757 w 12188651"/>
              <a:gd name="connsiteY3158" fmla="*/ 1536497 h 6858000"/>
              <a:gd name="connsiteX3159" fmla="*/ 9980757 w 12188651"/>
              <a:gd name="connsiteY3159" fmla="*/ 1481104 h 6858000"/>
              <a:gd name="connsiteX3160" fmla="*/ 10059237 w 12188651"/>
              <a:gd name="connsiteY3160" fmla="*/ 1402365 h 6858000"/>
              <a:gd name="connsiteX3161" fmla="*/ 10086867 w 12188651"/>
              <a:gd name="connsiteY3161" fmla="*/ 1390817 h 6858000"/>
              <a:gd name="connsiteX3162" fmla="*/ 8032919 w 12188651"/>
              <a:gd name="connsiteY3162" fmla="*/ 1390801 h 6858000"/>
              <a:gd name="connsiteX3163" fmla="*/ 8060679 w 12188651"/>
              <a:gd name="connsiteY3163" fmla="*/ 1402350 h 6858000"/>
              <a:gd name="connsiteX3164" fmla="*/ 8125278 w 12188651"/>
              <a:gd name="connsiteY3164" fmla="*/ 1467080 h 6858000"/>
              <a:gd name="connsiteX3165" fmla="*/ 8136823 w 12188651"/>
              <a:gd name="connsiteY3165" fmla="*/ 1478755 h 6858000"/>
              <a:gd name="connsiteX3166" fmla="*/ 8148368 w 12188651"/>
              <a:gd name="connsiteY3166" fmla="*/ 1467080 h 6858000"/>
              <a:gd name="connsiteX3167" fmla="*/ 8212837 w 12188651"/>
              <a:gd name="connsiteY3167" fmla="*/ 1402350 h 6858000"/>
              <a:gd name="connsiteX3168" fmla="*/ 8240596 w 12188651"/>
              <a:gd name="connsiteY3168" fmla="*/ 1390801 h 6858000"/>
              <a:gd name="connsiteX3169" fmla="*/ 8268226 w 12188651"/>
              <a:gd name="connsiteY3169" fmla="*/ 1402350 h 6858000"/>
              <a:gd name="connsiteX3170" fmla="*/ 8346707 w 12188651"/>
              <a:gd name="connsiteY3170" fmla="*/ 1480959 h 6858000"/>
              <a:gd name="connsiteX3171" fmla="*/ 8358252 w 12188651"/>
              <a:gd name="connsiteY3171" fmla="*/ 1508720 h 6858000"/>
              <a:gd name="connsiteX3172" fmla="*/ 8346837 w 12188651"/>
              <a:gd name="connsiteY3172" fmla="*/ 1536482 h 6858000"/>
              <a:gd name="connsiteX3173" fmla="*/ 8136823 w 12188651"/>
              <a:gd name="connsiteY3173" fmla="*/ 1746895 h 6858000"/>
              <a:gd name="connsiteX3174" fmla="*/ 7926811 w 12188651"/>
              <a:gd name="connsiteY3174" fmla="*/ 1536482 h 6858000"/>
              <a:gd name="connsiteX3175" fmla="*/ 7926811 w 12188651"/>
              <a:gd name="connsiteY3175" fmla="*/ 1481089 h 6858000"/>
              <a:gd name="connsiteX3176" fmla="*/ 8005289 w 12188651"/>
              <a:gd name="connsiteY3176" fmla="*/ 1402350 h 6858000"/>
              <a:gd name="connsiteX3177" fmla="*/ 8032919 w 12188651"/>
              <a:gd name="connsiteY3177" fmla="*/ 1390801 h 6858000"/>
              <a:gd name="connsiteX3178" fmla="*/ 5979110 w 12188651"/>
              <a:gd name="connsiteY3178" fmla="*/ 1390787 h 6858000"/>
              <a:gd name="connsiteX3179" fmla="*/ 6006869 w 12188651"/>
              <a:gd name="connsiteY3179" fmla="*/ 1402333 h 6858000"/>
              <a:gd name="connsiteX3180" fmla="*/ 6071463 w 12188651"/>
              <a:gd name="connsiteY3180" fmla="*/ 1467065 h 6858000"/>
              <a:gd name="connsiteX3181" fmla="*/ 6083008 w 12188651"/>
              <a:gd name="connsiteY3181" fmla="*/ 1478738 h 6858000"/>
              <a:gd name="connsiteX3182" fmla="*/ 6094550 w 12188651"/>
              <a:gd name="connsiteY3182" fmla="*/ 1467065 h 6858000"/>
              <a:gd name="connsiteX3183" fmla="*/ 6159019 w 12188651"/>
              <a:gd name="connsiteY3183" fmla="*/ 1402333 h 6858000"/>
              <a:gd name="connsiteX3184" fmla="*/ 6186779 w 12188651"/>
              <a:gd name="connsiteY3184" fmla="*/ 1390787 h 6858000"/>
              <a:gd name="connsiteX3185" fmla="*/ 6214409 w 12188651"/>
              <a:gd name="connsiteY3185" fmla="*/ 1402333 h 6858000"/>
              <a:gd name="connsiteX3186" fmla="*/ 6292888 w 12188651"/>
              <a:gd name="connsiteY3186" fmla="*/ 1480945 h 6858000"/>
              <a:gd name="connsiteX3187" fmla="*/ 6304433 w 12188651"/>
              <a:gd name="connsiteY3187" fmla="*/ 1508704 h 6858000"/>
              <a:gd name="connsiteX3188" fmla="*/ 6293017 w 12188651"/>
              <a:gd name="connsiteY3188" fmla="*/ 1536467 h 6858000"/>
              <a:gd name="connsiteX3189" fmla="*/ 6083008 w 12188651"/>
              <a:gd name="connsiteY3189" fmla="*/ 1746878 h 6858000"/>
              <a:gd name="connsiteX3190" fmla="*/ 5873007 w 12188651"/>
              <a:gd name="connsiteY3190" fmla="*/ 1536467 h 6858000"/>
              <a:gd name="connsiteX3191" fmla="*/ 5873007 w 12188651"/>
              <a:gd name="connsiteY3191" fmla="*/ 1481074 h 6858000"/>
              <a:gd name="connsiteX3192" fmla="*/ 5951483 w 12188651"/>
              <a:gd name="connsiteY3192" fmla="*/ 1402333 h 6858000"/>
              <a:gd name="connsiteX3193" fmla="*/ 5979110 w 12188651"/>
              <a:gd name="connsiteY3193" fmla="*/ 1390787 h 6858000"/>
              <a:gd name="connsiteX3194" fmla="*/ 3925347 w 12188651"/>
              <a:gd name="connsiteY3194" fmla="*/ 1390772 h 6858000"/>
              <a:gd name="connsiteX3195" fmla="*/ 3953107 w 12188651"/>
              <a:gd name="connsiteY3195" fmla="*/ 1402317 h 6858000"/>
              <a:gd name="connsiteX3196" fmla="*/ 4017707 w 12188651"/>
              <a:gd name="connsiteY3196" fmla="*/ 1467050 h 6858000"/>
              <a:gd name="connsiteX3197" fmla="*/ 4029252 w 12188651"/>
              <a:gd name="connsiteY3197" fmla="*/ 1478722 h 6858000"/>
              <a:gd name="connsiteX3198" fmla="*/ 4040800 w 12188651"/>
              <a:gd name="connsiteY3198" fmla="*/ 1467050 h 6858000"/>
              <a:gd name="connsiteX3199" fmla="*/ 4105268 w 12188651"/>
              <a:gd name="connsiteY3199" fmla="*/ 1402317 h 6858000"/>
              <a:gd name="connsiteX3200" fmla="*/ 4133031 w 12188651"/>
              <a:gd name="connsiteY3200" fmla="*/ 1390772 h 6858000"/>
              <a:gd name="connsiteX3201" fmla="*/ 4160659 w 12188651"/>
              <a:gd name="connsiteY3201" fmla="*/ 1402317 h 6858000"/>
              <a:gd name="connsiteX3202" fmla="*/ 4239088 w 12188651"/>
              <a:gd name="connsiteY3202" fmla="*/ 1480930 h 6858000"/>
              <a:gd name="connsiteX3203" fmla="*/ 4250643 w 12188651"/>
              <a:gd name="connsiteY3203" fmla="*/ 1508688 h 6858000"/>
              <a:gd name="connsiteX3204" fmla="*/ 4239218 w 12188651"/>
              <a:gd name="connsiteY3204" fmla="*/ 1536452 h 6858000"/>
              <a:gd name="connsiteX3205" fmla="*/ 4029252 w 12188651"/>
              <a:gd name="connsiteY3205" fmla="*/ 1746862 h 6858000"/>
              <a:gd name="connsiteX3206" fmla="*/ 3819232 w 12188651"/>
              <a:gd name="connsiteY3206" fmla="*/ 1536452 h 6858000"/>
              <a:gd name="connsiteX3207" fmla="*/ 3819232 w 12188651"/>
              <a:gd name="connsiteY3207" fmla="*/ 1481059 h 6858000"/>
              <a:gd name="connsiteX3208" fmla="*/ 3897719 w 12188651"/>
              <a:gd name="connsiteY3208" fmla="*/ 1402317 h 6858000"/>
              <a:gd name="connsiteX3209" fmla="*/ 3925347 w 12188651"/>
              <a:gd name="connsiteY3209" fmla="*/ 1390772 h 6858000"/>
              <a:gd name="connsiteX3210" fmla="*/ 1871374 w 12188651"/>
              <a:gd name="connsiteY3210" fmla="*/ 1390756 h 6858000"/>
              <a:gd name="connsiteX3211" fmla="*/ 1899135 w 12188651"/>
              <a:gd name="connsiteY3211" fmla="*/ 1402302 h 6858000"/>
              <a:gd name="connsiteX3212" fmla="*/ 1963733 w 12188651"/>
              <a:gd name="connsiteY3212" fmla="*/ 1467034 h 6858000"/>
              <a:gd name="connsiteX3213" fmla="*/ 1975278 w 12188651"/>
              <a:gd name="connsiteY3213" fmla="*/ 1478707 h 6858000"/>
              <a:gd name="connsiteX3214" fmla="*/ 1986823 w 12188651"/>
              <a:gd name="connsiteY3214" fmla="*/ 1467034 h 6858000"/>
              <a:gd name="connsiteX3215" fmla="*/ 2051293 w 12188651"/>
              <a:gd name="connsiteY3215" fmla="*/ 1402302 h 6858000"/>
              <a:gd name="connsiteX3216" fmla="*/ 2079052 w 12188651"/>
              <a:gd name="connsiteY3216" fmla="*/ 1390756 h 6858000"/>
              <a:gd name="connsiteX3217" fmla="*/ 2106690 w 12188651"/>
              <a:gd name="connsiteY3217" fmla="*/ 1402302 h 6858000"/>
              <a:gd name="connsiteX3218" fmla="*/ 2185169 w 12188651"/>
              <a:gd name="connsiteY3218" fmla="*/ 1480915 h 6858000"/>
              <a:gd name="connsiteX3219" fmla="*/ 2196714 w 12188651"/>
              <a:gd name="connsiteY3219" fmla="*/ 1508674 h 6858000"/>
              <a:gd name="connsiteX3220" fmla="*/ 2185300 w 12188651"/>
              <a:gd name="connsiteY3220" fmla="*/ 1536435 h 6858000"/>
              <a:gd name="connsiteX3221" fmla="*/ 1975278 w 12188651"/>
              <a:gd name="connsiteY3221" fmla="*/ 1746846 h 6858000"/>
              <a:gd name="connsiteX3222" fmla="*/ 1765266 w 12188651"/>
              <a:gd name="connsiteY3222" fmla="*/ 1536435 h 6858000"/>
              <a:gd name="connsiteX3223" fmla="*/ 1765266 w 12188651"/>
              <a:gd name="connsiteY3223" fmla="*/ 1481044 h 6858000"/>
              <a:gd name="connsiteX3224" fmla="*/ 1843744 w 12188651"/>
              <a:gd name="connsiteY3224" fmla="*/ 1402302 h 6858000"/>
              <a:gd name="connsiteX3225" fmla="*/ 1871374 w 12188651"/>
              <a:gd name="connsiteY3225" fmla="*/ 1390756 h 6858000"/>
              <a:gd name="connsiteX3226" fmla="*/ 25213 w 12188651"/>
              <a:gd name="connsiteY3226" fmla="*/ 1390741 h 6858000"/>
              <a:gd name="connsiteX3227" fmla="*/ 52843 w 12188651"/>
              <a:gd name="connsiteY3227" fmla="*/ 1402286 h 6858000"/>
              <a:gd name="connsiteX3228" fmla="*/ 131322 w 12188651"/>
              <a:gd name="connsiteY3228" fmla="*/ 1480899 h 6858000"/>
              <a:gd name="connsiteX3229" fmla="*/ 142866 w 12188651"/>
              <a:gd name="connsiteY3229" fmla="*/ 1508658 h 6858000"/>
              <a:gd name="connsiteX3230" fmla="*/ 131451 w 12188651"/>
              <a:gd name="connsiteY3230" fmla="*/ 1536419 h 6858000"/>
              <a:gd name="connsiteX3231" fmla="*/ 0 w 12188651"/>
              <a:gd name="connsiteY3231" fmla="*/ 1668120 h 6858000"/>
              <a:gd name="connsiteX3232" fmla="*/ 0 w 12188651"/>
              <a:gd name="connsiteY3232" fmla="*/ 1401227 h 6858000"/>
              <a:gd name="connsiteX3233" fmla="*/ 10086867 w 12188651"/>
              <a:gd name="connsiteY3233" fmla="*/ 1374341 h 6858000"/>
              <a:gd name="connsiteX3234" fmla="*/ 10047692 w 12188651"/>
              <a:gd name="connsiteY3234" fmla="*/ 1390688 h 6858000"/>
              <a:gd name="connsiteX3235" fmla="*/ 9969212 w 12188651"/>
              <a:gd name="connsiteY3235" fmla="*/ 1469432 h 6858000"/>
              <a:gd name="connsiteX3236" fmla="*/ 9969212 w 12188651"/>
              <a:gd name="connsiteY3236" fmla="*/ 1548042 h 6858000"/>
              <a:gd name="connsiteX3237" fmla="*/ 10190770 w 12188651"/>
              <a:gd name="connsiteY3237" fmla="*/ 1770130 h 6858000"/>
              <a:gd name="connsiteX3238" fmla="*/ 10412328 w 12188651"/>
              <a:gd name="connsiteY3238" fmla="*/ 1548042 h 6858000"/>
              <a:gd name="connsiteX3239" fmla="*/ 10412328 w 12188651"/>
              <a:gd name="connsiteY3239" fmla="*/ 1469432 h 6858000"/>
              <a:gd name="connsiteX3240" fmla="*/ 10333848 w 12188651"/>
              <a:gd name="connsiteY3240" fmla="*/ 1390817 h 6858000"/>
              <a:gd name="connsiteX3241" fmla="*/ 10294673 w 12188651"/>
              <a:gd name="connsiteY3241" fmla="*/ 1374473 h 6858000"/>
              <a:gd name="connsiteX3242" fmla="*/ 10294543 w 12188651"/>
              <a:gd name="connsiteY3242" fmla="*/ 1374341 h 6858000"/>
              <a:gd name="connsiteX3243" fmla="*/ 10255241 w 12188651"/>
              <a:gd name="connsiteY3243" fmla="*/ 1390817 h 6858000"/>
              <a:gd name="connsiteX3244" fmla="*/ 10190770 w 12188651"/>
              <a:gd name="connsiteY3244" fmla="*/ 1455423 h 6858000"/>
              <a:gd name="connsiteX3245" fmla="*/ 10126171 w 12188651"/>
              <a:gd name="connsiteY3245" fmla="*/ 1390688 h 6858000"/>
              <a:gd name="connsiteX3246" fmla="*/ 10086867 w 12188651"/>
              <a:gd name="connsiteY3246" fmla="*/ 1374341 h 6858000"/>
              <a:gd name="connsiteX3247" fmla="*/ 8032919 w 12188651"/>
              <a:gd name="connsiteY3247" fmla="*/ 1374327 h 6858000"/>
              <a:gd name="connsiteX3248" fmla="*/ 7993744 w 12188651"/>
              <a:gd name="connsiteY3248" fmla="*/ 1390674 h 6858000"/>
              <a:gd name="connsiteX3249" fmla="*/ 7915266 w 12188651"/>
              <a:gd name="connsiteY3249" fmla="*/ 1469418 h 6858000"/>
              <a:gd name="connsiteX3250" fmla="*/ 7915266 w 12188651"/>
              <a:gd name="connsiteY3250" fmla="*/ 1548027 h 6858000"/>
              <a:gd name="connsiteX3251" fmla="*/ 8136823 w 12188651"/>
              <a:gd name="connsiteY3251" fmla="*/ 1770114 h 6858000"/>
              <a:gd name="connsiteX3252" fmla="*/ 8358382 w 12188651"/>
              <a:gd name="connsiteY3252" fmla="*/ 1548027 h 6858000"/>
              <a:gd name="connsiteX3253" fmla="*/ 8358382 w 12188651"/>
              <a:gd name="connsiteY3253" fmla="*/ 1469418 h 6858000"/>
              <a:gd name="connsiteX3254" fmla="*/ 8279902 w 12188651"/>
              <a:gd name="connsiteY3254" fmla="*/ 1390801 h 6858000"/>
              <a:gd name="connsiteX3255" fmla="*/ 8240727 w 12188651"/>
              <a:gd name="connsiteY3255" fmla="*/ 1374457 h 6858000"/>
              <a:gd name="connsiteX3256" fmla="*/ 8240596 w 12188651"/>
              <a:gd name="connsiteY3256" fmla="*/ 1374327 h 6858000"/>
              <a:gd name="connsiteX3257" fmla="*/ 8201292 w 12188651"/>
              <a:gd name="connsiteY3257" fmla="*/ 1390801 h 6858000"/>
              <a:gd name="connsiteX3258" fmla="*/ 8136823 w 12188651"/>
              <a:gd name="connsiteY3258" fmla="*/ 1455407 h 6858000"/>
              <a:gd name="connsiteX3259" fmla="*/ 8072224 w 12188651"/>
              <a:gd name="connsiteY3259" fmla="*/ 1390674 h 6858000"/>
              <a:gd name="connsiteX3260" fmla="*/ 8032919 w 12188651"/>
              <a:gd name="connsiteY3260" fmla="*/ 1374327 h 6858000"/>
              <a:gd name="connsiteX3261" fmla="*/ 5979110 w 12188651"/>
              <a:gd name="connsiteY3261" fmla="*/ 1374312 h 6858000"/>
              <a:gd name="connsiteX3262" fmla="*/ 5939938 w 12188651"/>
              <a:gd name="connsiteY3262" fmla="*/ 1390658 h 6858000"/>
              <a:gd name="connsiteX3263" fmla="*/ 5861464 w 12188651"/>
              <a:gd name="connsiteY3263" fmla="*/ 1469401 h 6858000"/>
              <a:gd name="connsiteX3264" fmla="*/ 5861464 w 12188651"/>
              <a:gd name="connsiteY3264" fmla="*/ 1548011 h 6858000"/>
              <a:gd name="connsiteX3265" fmla="*/ 6083008 w 12188651"/>
              <a:gd name="connsiteY3265" fmla="*/ 1770098 h 6858000"/>
              <a:gd name="connsiteX3266" fmla="*/ 6304562 w 12188651"/>
              <a:gd name="connsiteY3266" fmla="*/ 1548011 h 6858000"/>
              <a:gd name="connsiteX3267" fmla="*/ 6304562 w 12188651"/>
              <a:gd name="connsiteY3267" fmla="*/ 1469401 h 6858000"/>
              <a:gd name="connsiteX3268" fmla="*/ 6226084 w 12188651"/>
              <a:gd name="connsiteY3268" fmla="*/ 1390787 h 6858000"/>
              <a:gd name="connsiteX3269" fmla="*/ 6186909 w 12188651"/>
              <a:gd name="connsiteY3269" fmla="*/ 1374443 h 6858000"/>
              <a:gd name="connsiteX3270" fmla="*/ 6186779 w 12188651"/>
              <a:gd name="connsiteY3270" fmla="*/ 1374312 h 6858000"/>
              <a:gd name="connsiteX3271" fmla="*/ 6147474 w 12188651"/>
              <a:gd name="connsiteY3271" fmla="*/ 1390787 h 6858000"/>
              <a:gd name="connsiteX3272" fmla="*/ 6083008 w 12188651"/>
              <a:gd name="connsiteY3272" fmla="*/ 1455390 h 6858000"/>
              <a:gd name="connsiteX3273" fmla="*/ 6018412 w 12188651"/>
              <a:gd name="connsiteY3273" fmla="*/ 1390658 h 6858000"/>
              <a:gd name="connsiteX3274" fmla="*/ 5979110 w 12188651"/>
              <a:gd name="connsiteY3274" fmla="*/ 1374312 h 6858000"/>
              <a:gd name="connsiteX3275" fmla="*/ 3925347 w 12188651"/>
              <a:gd name="connsiteY3275" fmla="*/ 1374297 h 6858000"/>
              <a:gd name="connsiteX3276" fmla="*/ 3886173 w 12188651"/>
              <a:gd name="connsiteY3276" fmla="*/ 1390643 h 6858000"/>
              <a:gd name="connsiteX3277" fmla="*/ 3807688 w 12188651"/>
              <a:gd name="connsiteY3277" fmla="*/ 1469387 h 6858000"/>
              <a:gd name="connsiteX3278" fmla="*/ 3807688 w 12188651"/>
              <a:gd name="connsiteY3278" fmla="*/ 1547996 h 6858000"/>
              <a:gd name="connsiteX3279" fmla="*/ 4029252 w 12188651"/>
              <a:gd name="connsiteY3279" fmla="*/ 1770082 h 6858000"/>
              <a:gd name="connsiteX3280" fmla="*/ 4250768 w 12188651"/>
              <a:gd name="connsiteY3280" fmla="*/ 1547996 h 6858000"/>
              <a:gd name="connsiteX3281" fmla="*/ 4250768 w 12188651"/>
              <a:gd name="connsiteY3281" fmla="*/ 1469387 h 6858000"/>
              <a:gd name="connsiteX3282" fmla="*/ 4172334 w 12188651"/>
              <a:gd name="connsiteY3282" fmla="*/ 1390772 h 6858000"/>
              <a:gd name="connsiteX3283" fmla="*/ 4133161 w 12188651"/>
              <a:gd name="connsiteY3283" fmla="*/ 1374426 h 6858000"/>
              <a:gd name="connsiteX3284" fmla="*/ 4133031 w 12188651"/>
              <a:gd name="connsiteY3284" fmla="*/ 1374297 h 6858000"/>
              <a:gd name="connsiteX3285" fmla="*/ 4093725 w 12188651"/>
              <a:gd name="connsiteY3285" fmla="*/ 1390772 h 6858000"/>
              <a:gd name="connsiteX3286" fmla="*/ 4029252 w 12188651"/>
              <a:gd name="connsiteY3286" fmla="*/ 1455376 h 6858000"/>
              <a:gd name="connsiteX3287" fmla="*/ 3964654 w 12188651"/>
              <a:gd name="connsiteY3287" fmla="*/ 1390643 h 6858000"/>
              <a:gd name="connsiteX3288" fmla="*/ 3925347 w 12188651"/>
              <a:gd name="connsiteY3288" fmla="*/ 1374297 h 6858000"/>
              <a:gd name="connsiteX3289" fmla="*/ 1871374 w 12188651"/>
              <a:gd name="connsiteY3289" fmla="*/ 1374282 h 6858000"/>
              <a:gd name="connsiteX3290" fmla="*/ 1832200 w 12188651"/>
              <a:gd name="connsiteY3290" fmla="*/ 1390627 h 6858000"/>
              <a:gd name="connsiteX3291" fmla="*/ 1753721 w 12188651"/>
              <a:gd name="connsiteY3291" fmla="*/ 1469369 h 6858000"/>
              <a:gd name="connsiteX3292" fmla="*/ 1753721 w 12188651"/>
              <a:gd name="connsiteY3292" fmla="*/ 1547980 h 6858000"/>
              <a:gd name="connsiteX3293" fmla="*/ 1975278 w 12188651"/>
              <a:gd name="connsiteY3293" fmla="*/ 1770066 h 6858000"/>
              <a:gd name="connsiteX3294" fmla="*/ 2196846 w 12188651"/>
              <a:gd name="connsiteY3294" fmla="*/ 1547980 h 6858000"/>
              <a:gd name="connsiteX3295" fmla="*/ 2196846 w 12188651"/>
              <a:gd name="connsiteY3295" fmla="*/ 1469369 h 6858000"/>
              <a:gd name="connsiteX3296" fmla="*/ 2118368 w 12188651"/>
              <a:gd name="connsiteY3296" fmla="*/ 1390756 h 6858000"/>
              <a:gd name="connsiteX3297" fmla="*/ 2079181 w 12188651"/>
              <a:gd name="connsiteY3297" fmla="*/ 1374411 h 6858000"/>
              <a:gd name="connsiteX3298" fmla="*/ 2079052 w 12188651"/>
              <a:gd name="connsiteY3298" fmla="*/ 1374282 h 6858000"/>
              <a:gd name="connsiteX3299" fmla="*/ 2039748 w 12188651"/>
              <a:gd name="connsiteY3299" fmla="*/ 1390756 h 6858000"/>
              <a:gd name="connsiteX3300" fmla="*/ 1975278 w 12188651"/>
              <a:gd name="connsiteY3300" fmla="*/ 1455359 h 6858000"/>
              <a:gd name="connsiteX3301" fmla="*/ 1910679 w 12188651"/>
              <a:gd name="connsiteY3301" fmla="*/ 1390627 h 6858000"/>
              <a:gd name="connsiteX3302" fmla="*/ 1871374 w 12188651"/>
              <a:gd name="connsiteY3302" fmla="*/ 1374282 h 6858000"/>
              <a:gd name="connsiteX3303" fmla="*/ 0 w 12188651"/>
              <a:gd name="connsiteY3303" fmla="*/ 1204081 h 6858000"/>
              <a:gd name="connsiteX3304" fmla="*/ 186352 w 12188651"/>
              <a:gd name="connsiteY3304" fmla="*/ 1311926 h 6858000"/>
              <a:gd name="connsiteX3305" fmla="*/ 255068 w 12188651"/>
              <a:gd name="connsiteY3305" fmla="*/ 1351694 h 6858000"/>
              <a:gd name="connsiteX3306" fmla="*/ 255068 w 12188651"/>
              <a:gd name="connsiteY3306" fmla="*/ 1737878 h 6858000"/>
              <a:gd name="connsiteX3307" fmla="*/ 0 w 12188651"/>
              <a:gd name="connsiteY3307" fmla="*/ 1885492 h 6858000"/>
              <a:gd name="connsiteX3308" fmla="*/ 0 w 12188651"/>
              <a:gd name="connsiteY3308" fmla="*/ 1691301 h 6858000"/>
              <a:gd name="connsiteX3309" fmla="*/ 142995 w 12188651"/>
              <a:gd name="connsiteY3309" fmla="*/ 1547965 h 6858000"/>
              <a:gd name="connsiteX3310" fmla="*/ 142995 w 12188651"/>
              <a:gd name="connsiteY3310" fmla="*/ 1469353 h 6858000"/>
              <a:gd name="connsiteX3311" fmla="*/ 64516 w 12188651"/>
              <a:gd name="connsiteY3311" fmla="*/ 1390741 h 6858000"/>
              <a:gd name="connsiteX3312" fmla="*/ 25341 w 12188651"/>
              <a:gd name="connsiteY3312" fmla="*/ 1374396 h 6858000"/>
              <a:gd name="connsiteX3313" fmla="*/ 25213 w 12188651"/>
              <a:gd name="connsiteY3313" fmla="*/ 1374267 h 6858000"/>
              <a:gd name="connsiteX3314" fmla="*/ 4296 w 12188651"/>
              <a:gd name="connsiteY3314" fmla="*/ 1378369 h 6858000"/>
              <a:gd name="connsiteX3315" fmla="*/ 0 w 12188651"/>
              <a:gd name="connsiteY3315" fmla="*/ 1381259 h 6858000"/>
              <a:gd name="connsiteX3316" fmla="*/ 12188651 w 12188651"/>
              <a:gd name="connsiteY3316" fmla="*/ 1190935 h 6858000"/>
              <a:gd name="connsiteX3317" fmla="*/ 12188651 w 12188651"/>
              <a:gd name="connsiteY3317" fmla="*/ 1399384 h 6858000"/>
              <a:gd name="connsiteX3318" fmla="*/ 12179990 w 12188651"/>
              <a:gd name="connsiteY3318" fmla="*/ 1390703 h 6858000"/>
              <a:gd name="connsiteX3319" fmla="*/ 12140685 w 12188651"/>
              <a:gd name="connsiteY3319" fmla="*/ 1374358 h 6858000"/>
              <a:gd name="connsiteX3320" fmla="*/ 12101510 w 12188651"/>
              <a:gd name="connsiteY3320" fmla="*/ 1390703 h 6858000"/>
              <a:gd name="connsiteX3321" fmla="*/ 12023031 w 12188651"/>
              <a:gd name="connsiteY3321" fmla="*/ 1469451 h 6858000"/>
              <a:gd name="connsiteX3322" fmla="*/ 12023031 w 12188651"/>
              <a:gd name="connsiteY3322" fmla="*/ 1548057 h 6858000"/>
              <a:gd name="connsiteX3323" fmla="*/ 12188651 w 12188651"/>
              <a:gd name="connsiteY3323" fmla="*/ 1714074 h 6858000"/>
              <a:gd name="connsiteX3324" fmla="*/ 12188651 w 12188651"/>
              <a:gd name="connsiteY3324" fmla="*/ 1898836 h 6858000"/>
              <a:gd name="connsiteX3325" fmla="*/ 11910696 w 12188651"/>
              <a:gd name="connsiteY3325" fmla="*/ 1737973 h 6858000"/>
              <a:gd name="connsiteX3326" fmla="*/ 11910696 w 12188651"/>
              <a:gd name="connsiteY3326" fmla="*/ 1351792 h 6858000"/>
              <a:gd name="connsiteX3327" fmla="*/ 10883981 w 12188651"/>
              <a:gd name="connsiteY3327" fmla="*/ 1163824 h 6858000"/>
              <a:gd name="connsiteX3328" fmla="*/ 11209441 w 12188651"/>
              <a:gd name="connsiteY3328" fmla="*/ 1352175 h 6858000"/>
              <a:gd name="connsiteX3329" fmla="*/ 11209441 w 12188651"/>
              <a:gd name="connsiteY3329" fmla="*/ 1729007 h 6858000"/>
              <a:gd name="connsiteX3330" fmla="*/ 10883981 w 12188651"/>
              <a:gd name="connsiteY3330" fmla="*/ 1540647 h 6858000"/>
              <a:gd name="connsiteX3331" fmla="*/ 10867636 w 12188651"/>
              <a:gd name="connsiteY3331" fmla="*/ 1163824 h 6858000"/>
              <a:gd name="connsiteX3332" fmla="*/ 10867636 w 12188651"/>
              <a:gd name="connsiteY3332" fmla="*/ 1540647 h 6858000"/>
              <a:gd name="connsiteX3333" fmla="*/ 10542045 w 12188651"/>
              <a:gd name="connsiteY3333" fmla="*/ 1729007 h 6858000"/>
              <a:gd name="connsiteX3334" fmla="*/ 10542045 w 12188651"/>
              <a:gd name="connsiteY3334" fmla="*/ 1352175 h 6858000"/>
              <a:gd name="connsiteX3335" fmla="*/ 8830033 w 12188651"/>
              <a:gd name="connsiteY3335" fmla="*/ 1163807 h 6858000"/>
              <a:gd name="connsiteX3336" fmla="*/ 9155493 w 12188651"/>
              <a:gd name="connsiteY3336" fmla="*/ 1352160 h 6858000"/>
              <a:gd name="connsiteX3337" fmla="*/ 9155493 w 12188651"/>
              <a:gd name="connsiteY3337" fmla="*/ 1728992 h 6858000"/>
              <a:gd name="connsiteX3338" fmla="*/ 8830033 w 12188651"/>
              <a:gd name="connsiteY3338" fmla="*/ 1540632 h 6858000"/>
              <a:gd name="connsiteX3339" fmla="*/ 8813688 w 12188651"/>
              <a:gd name="connsiteY3339" fmla="*/ 1163807 h 6858000"/>
              <a:gd name="connsiteX3340" fmla="*/ 8813688 w 12188651"/>
              <a:gd name="connsiteY3340" fmla="*/ 1540632 h 6858000"/>
              <a:gd name="connsiteX3341" fmla="*/ 8488098 w 12188651"/>
              <a:gd name="connsiteY3341" fmla="*/ 1728992 h 6858000"/>
              <a:gd name="connsiteX3342" fmla="*/ 8488098 w 12188651"/>
              <a:gd name="connsiteY3342" fmla="*/ 1352159 h 6858000"/>
              <a:gd name="connsiteX3343" fmla="*/ 6776215 w 12188651"/>
              <a:gd name="connsiteY3343" fmla="*/ 1163791 h 6858000"/>
              <a:gd name="connsiteX3344" fmla="*/ 7101677 w 12188651"/>
              <a:gd name="connsiteY3344" fmla="*/ 1352145 h 6858000"/>
              <a:gd name="connsiteX3345" fmla="*/ 7101677 w 12188651"/>
              <a:gd name="connsiteY3345" fmla="*/ 1728975 h 6858000"/>
              <a:gd name="connsiteX3346" fmla="*/ 6776215 w 12188651"/>
              <a:gd name="connsiteY3346" fmla="*/ 1540617 h 6858000"/>
              <a:gd name="connsiteX3347" fmla="*/ 6759871 w 12188651"/>
              <a:gd name="connsiteY3347" fmla="*/ 1163791 h 6858000"/>
              <a:gd name="connsiteX3348" fmla="*/ 6759871 w 12188651"/>
              <a:gd name="connsiteY3348" fmla="*/ 1540617 h 6858000"/>
              <a:gd name="connsiteX3349" fmla="*/ 6434280 w 12188651"/>
              <a:gd name="connsiteY3349" fmla="*/ 1728975 h 6858000"/>
              <a:gd name="connsiteX3350" fmla="*/ 6434280 w 12188651"/>
              <a:gd name="connsiteY3350" fmla="*/ 1352145 h 6858000"/>
              <a:gd name="connsiteX3351" fmla="*/ 4705942 w 12188651"/>
              <a:gd name="connsiteY3351" fmla="*/ 1163780 h 6858000"/>
              <a:gd name="connsiteX3352" fmla="*/ 4705942 w 12188651"/>
              <a:gd name="connsiteY3352" fmla="*/ 1540601 h 6858000"/>
              <a:gd name="connsiteX3353" fmla="*/ 4380369 w 12188651"/>
              <a:gd name="connsiteY3353" fmla="*/ 1728954 h 6858000"/>
              <a:gd name="connsiteX3354" fmla="*/ 4380369 w 12188651"/>
              <a:gd name="connsiteY3354" fmla="*/ 1352132 h 6858000"/>
              <a:gd name="connsiteX3355" fmla="*/ 4722303 w 12188651"/>
              <a:gd name="connsiteY3355" fmla="*/ 1163775 h 6858000"/>
              <a:gd name="connsiteX3356" fmla="*/ 5047773 w 12188651"/>
              <a:gd name="connsiteY3356" fmla="*/ 1352118 h 6858000"/>
              <a:gd name="connsiteX3357" fmla="*/ 5047773 w 12188651"/>
              <a:gd name="connsiteY3357" fmla="*/ 1728959 h 6858000"/>
              <a:gd name="connsiteX3358" fmla="*/ 5020104 w 12188651"/>
              <a:gd name="connsiteY3358" fmla="*/ 1712952 h 6858000"/>
              <a:gd name="connsiteX3359" fmla="*/ 4722303 w 12188651"/>
              <a:gd name="connsiteY3359" fmla="*/ 1540609 h 6858000"/>
              <a:gd name="connsiteX3360" fmla="*/ 2652150 w 12188651"/>
              <a:gd name="connsiteY3360" fmla="*/ 1163775 h 6858000"/>
              <a:gd name="connsiteX3361" fmla="*/ 2652150 w 12188651"/>
              <a:gd name="connsiteY3361" fmla="*/ 1540587 h 6858000"/>
              <a:gd name="connsiteX3362" fmla="*/ 2326589 w 12188651"/>
              <a:gd name="connsiteY3362" fmla="*/ 1728927 h 6858000"/>
              <a:gd name="connsiteX3363" fmla="*/ 2326589 w 12188651"/>
              <a:gd name="connsiteY3363" fmla="*/ 1352115 h 6858000"/>
              <a:gd name="connsiteX3364" fmla="*/ 2668521 w 12188651"/>
              <a:gd name="connsiteY3364" fmla="*/ 1163761 h 6858000"/>
              <a:gd name="connsiteX3365" fmla="*/ 2993956 w 12188651"/>
              <a:gd name="connsiteY3365" fmla="*/ 1352102 h 6858000"/>
              <a:gd name="connsiteX3366" fmla="*/ 2993956 w 12188651"/>
              <a:gd name="connsiteY3366" fmla="*/ 1728943 h 6858000"/>
              <a:gd name="connsiteX3367" fmla="*/ 2668521 w 12188651"/>
              <a:gd name="connsiteY3367" fmla="*/ 1540601 h 6858000"/>
              <a:gd name="connsiteX3368" fmla="*/ 598173 w 12188651"/>
              <a:gd name="connsiteY3368" fmla="*/ 1163759 h 6858000"/>
              <a:gd name="connsiteX3369" fmla="*/ 598173 w 12188651"/>
              <a:gd name="connsiteY3369" fmla="*/ 1540571 h 6858000"/>
              <a:gd name="connsiteX3370" fmla="*/ 272611 w 12188651"/>
              <a:gd name="connsiteY3370" fmla="*/ 1728912 h 6858000"/>
              <a:gd name="connsiteX3371" fmla="*/ 272611 w 12188651"/>
              <a:gd name="connsiteY3371" fmla="*/ 1352101 h 6858000"/>
              <a:gd name="connsiteX3372" fmla="*/ 614544 w 12188651"/>
              <a:gd name="connsiteY3372" fmla="*/ 1163745 h 6858000"/>
              <a:gd name="connsiteX3373" fmla="*/ 939978 w 12188651"/>
              <a:gd name="connsiteY3373" fmla="*/ 1352086 h 6858000"/>
              <a:gd name="connsiteX3374" fmla="*/ 939978 w 12188651"/>
              <a:gd name="connsiteY3374" fmla="*/ 1728928 h 6858000"/>
              <a:gd name="connsiteX3375" fmla="*/ 614544 w 12188651"/>
              <a:gd name="connsiteY3375" fmla="*/ 1540585 h 6858000"/>
              <a:gd name="connsiteX3376" fmla="*/ 11559549 w 12188651"/>
              <a:gd name="connsiteY3376" fmla="*/ 1159023 h 6858000"/>
              <a:gd name="connsiteX3377" fmla="*/ 11893312 w 12188651"/>
              <a:gd name="connsiteY3377" fmla="*/ 1352175 h 6858000"/>
              <a:gd name="connsiteX3378" fmla="*/ 11893312 w 12188651"/>
              <a:gd name="connsiteY3378" fmla="*/ 1738478 h 6858000"/>
              <a:gd name="connsiteX3379" fmla="*/ 11559679 w 12188651"/>
              <a:gd name="connsiteY3379" fmla="*/ 1931637 h 6858000"/>
              <a:gd name="connsiteX3380" fmla="*/ 11225916 w 12188651"/>
              <a:gd name="connsiteY3380" fmla="*/ 1738478 h 6858000"/>
              <a:gd name="connsiteX3381" fmla="*/ 11225916 w 12188651"/>
              <a:gd name="connsiteY3381" fmla="*/ 1352175 h 6858000"/>
              <a:gd name="connsiteX3382" fmla="*/ 9505601 w 12188651"/>
              <a:gd name="connsiteY3382" fmla="*/ 1159008 h 6858000"/>
              <a:gd name="connsiteX3383" fmla="*/ 9839364 w 12188651"/>
              <a:gd name="connsiteY3383" fmla="*/ 1352160 h 6858000"/>
              <a:gd name="connsiteX3384" fmla="*/ 9839364 w 12188651"/>
              <a:gd name="connsiteY3384" fmla="*/ 1738464 h 6858000"/>
              <a:gd name="connsiteX3385" fmla="*/ 9505732 w 12188651"/>
              <a:gd name="connsiteY3385" fmla="*/ 1931620 h 6858000"/>
              <a:gd name="connsiteX3386" fmla="*/ 9171969 w 12188651"/>
              <a:gd name="connsiteY3386" fmla="*/ 1738463 h 6858000"/>
              <a:gd name="connsiteX3387" fmla="*/ 9171969 w 12188651"/>
              <a:gd name="connsiteY3387" fmla="*/ 1352159 h 6858000"/>
              <a:gd name="connsiteX3388" fmla="*/ 7451785 w 12188651"/>
              <a:gd name="connsiteY3388" fmla="*/ 1158991 h 6858000"/>
              <a:gd name="connsiteX3389" fmla="*/ 7785548 w 12188651"/>
              <a:gd name="connsiteY3389" fmla="*/ 1352145 h 6858000"/>
              <a:gd name="connsiteX3390" fmla="*/ 7785548 w 12188651"/>
              <a:gd name="connsiteY3390" fmla="*/ 1738447 h 6858000"/>
              <a:gd name="connsiteX3391" fmla="*/ 7451915 w 12188651"/>
              <a:gd name="connsiteY3391" fmla="*/ 1931604 h 6858000"/>
              <a:gd name="connsiteX3392" fmla="*/ 7118150 w 12188651"/>
              <a:gd name="connsiteY3392" fmla="*/ 1738447 h 6858000"/>
              <a:gd name="connsiteX3393" fmla="*/ 7118150 w 12188651"/>
              <a:gd name="connsiteY3393" fmla="*/ 1352145 h 6858000"/>
              <a:gd name="connsiteX3394" fmla="*/ 5397886 w 12188651"/>
              <a:gd name="connsiteY3394" fmla="*/ 1158976 h 6858000"/>
              <a:gd name="connsiteX3395" fmla="*/ 5452129 w 12188651"/>
              <a:gd name="connsiteY3395" fmla="*/ 1190368 h 6858000"/>
              <a:gd name="connsiteX3396" fmla="*/ 5731616 w 12188651"/>
              <a:gd name="connsiteY3396" fmla="*/ 1352126 h 6858000"/>
              <a:gd name="connsiteX3397" fmla="*/ 5731616 w 12188651"/>
              <a:gd name="connsiteY3397" fmla="*/ 1738431 h 6858000"/>
              <a:gd name="connsiteX3398" fmla="*/ 5397992 w 12188651"/>
              <a:gd name="connsiteY3398" fmla="*/ 1931587 h 6858000"/>
              <a:gd name="connsiteX3399" fmla="*/ 5182218 w 12188651"/>
              <a:gd name="connsiteY3399" fmla="*/ 1806716 h 6858000"/>
              <a:gd name="connsiteX3400" fmla="*/ 5064275 w 12188651"/>
              <a:gd name="connsiteY3400" fmla="*/ 1738445 h 6858000"/>
              <a:gd name="connsiteX3401" fmla="*/ 5064275 w 12188651"/>
              <a:gd name="connsiteY3401" fmla="*/ 1352132 h 6858000"/>
              <a:gd name="connsiteX3402" fmla="*/ 3344093 w 12188651"/>
              <a:gd name="connsiteY3402" fmla="*/ 1158962 h 6858000"/>
              <a:gd name="connsiteX3403" fmla="*/ 3677824 w 12188651"/>
              <a:gd name="connsiteY3403" fmla="*/ 1352102 h 6858000"/>
              <a:gd name="connsiteX3404" fmla="*/ 3677824 w 12188651"/>
              <a:gd name="connsiteY3404" fmla="*/ 1738415 h 6858000"/>
              <a:gd name="connsiteX3405" fmla="*/ 3344194 w 12188651"/>
              <a:gd name="connsiteY3405" fmla="*/ 1931571 h 6858000"/>
              <a:gd name="connsiteX3406" fmla="*/ 3010459 w 12188651"/>
              <a:gd name="connsiteY3406" fmla="*/ 1738430 h 6858000"/>
              <a:gd name="connsiteX3407" fmla="*/ 3010459 w 12188651"/>
              <a:gd name="connsiteY3407" fmla="*/ 1352115 h 6858000"/>
              <a:gd name="connsiteX3408" fmla="*/ 1290110 w 12188651"/>
              <a:gd name="connsiteY3408" fmla="*/ 1158945 h 6858000"/>
              <a:gd name="connsiteX3409" fmla="*/ 1623849 w 12188651"/>
              <a:gd name="connsiteY3409" fmla="*/ 1352087 h 6858000"/>
              <a:gd name="connsiteX3410" fmla="*/ 1623849 w 12188651"/>
              <a:gd name="connsiteY3410" fmla="*/ 1738399 h 6858000"/>
              <a:gd name="connsiteX3411" fmla="*/ 1290217 w 12188651"/>
              <a:gd name="connsiteY3411" fmla="*/ 1931555 h 6858000"/>
              <a:gd name="connsiteX3412" fmla="*/ 956479 w 12188651"/>
              <a:gd name="connsiteY3412" fmla="*/ 1738413 h 6858000"/>
              <a:gd name="connsiteX3413" fmla="*/ 956479 w 12188651"/>
              <a:gd name="connsiteY3413" fmla="*/ 1352101 h 6858000"/>
              <a:gd name="connsiteX3414" fmla="*/ 10190640 w 12188651"/>
              <a:gd name="connsiteY3414" fmla="*/ 1158620 h 6858000"/>
              <a:gd name="connsiteX3415" fmla="*/ 10524404 w 12188651"/>
              <a:gd name="connsiteY3415" fmla="*/ 1351774 h 6858000"/>
              <a:gd name="connsiteX3416" fmla="*/ 10524404 w 12188651"/>
              <a:gd name="connsiteY3416" fmla="*/ 1737958 h 6858000"/>
              <a:gd name="connsiteX3417" fmla="*/ 10190640 w 12188651"/>
              <a:gd name="connsiteY3417" fmla="*/ 1931118 h 6858000"/>
              <a:gd name="connsiteX3418" fmla="*/ 9856876 w 12188651"/>
              <a:gd name="connsiteY3418" fmla="*/ 1737958 h 6858000"/>
              <a:gd name="connsiteX3419" fmla="*/ 9856876 w 12188651"/>
              <a:gd name="connsiteY3419" fmla="*/ 1351774 h 6858000"/>
              <a:gd name="connsiteX3420" fmla="*/ 8136693 w 12188651"/>
              <a:gd name="connsiteY3420" fmla="*/ 1158604 h 6858000"/>
              <a:gd name="connsiteX3421" fmla="*/ 8470456 w 12188651"/>
              <a:gd name="connsiteY3421" fmla="*/ 1351760 h 6858000"/>
              <a:gd name="connsiteX3422" fmla="*/ 8470456 w 12188651"/>
              <a:gd name="connsiteY3422" fmla="*/ 1737941 h 6858000"/>
              <a:gd name="connsiteX3423" fmla="*/ 8136693 w 12188651"/>
              <a:gd name="connsiteY3423" fmla="*/ 1931100 h 6858000"/>
              <a:gd name="connsiteX3424" fmla="*/ 7802930 w 12188651"/>
              <a:gd name="connsiteY3424" fmla="*/ 1737941 h 6858000"/>
              <a:gd name="connsiteX3425" fmla="*/ 7802930 w 12188651"/>
              <a:gd name="connsiteY3425" fmla="*/ 1351760 h 6858000"/>
              <a:gd name="connsiteX3426" fmla="*/ 6082876 w 12188651"/>
              <a:gd name="connsiteY3426" fmla="*/ 1158588 h 6858000"/>
              <a:gd name="connsiteX3427" fmla="*/ 6416638 w 12188651"/>
              <a:gd name="connsiteY3427" fmla="*/ 1351744 h 6858000"/>
              <a:gd name="connsiteX3428" fmla="*/ 6416638 w 12188651"/>
              <a:gd name="connsiteY3428" fmla="*/ 1737925 h 6858000"/>
              <a:gd name="connsiteX3429" fmla="*/ 6082876 w 12188651"/>
              <a:gd name="connsiteY3429" fmla="*/ 1931085 h 6858000"/>
              <a:gd name="connsiteX3430" fmla="*/ 5749138 w 12188651"/>
              <a:gd name="connsiteY3430" fmla="*/ 1737927 h 6858000"/>
              <a:gd name="connsiteX3431" fmla="*/ 5749138 w 12188651"/>
              <a:gd name="connsiteY3431" fmla="*/ 1351744 h 6858000"/>
              <a:gd name="connsiteX3432" fmla="*/ 4029124 w 12188651"/>
              <a:gd name="connsiteY3432" fmla="*/ 1158575 h 6858000"/>
              <a:gd name="connsiteX3433" fmla="*/ 4362838 w 12188651"/>
              <a:gd name="connsiteY3433" fmla="*/ 1351727 h 6858000"/>
              <a:gd name="connsiteX3434" fmla="*/ 4362838 w 12188651"/>
              <a:gd name="connsiteY3434" fmla="*/ 1737910 h 6858000"/>
              <a:gd name="connsiteX3435" fmla="*/ 4029120 w 12188651"/>
              <a:gd name="connsiteY3435" fmla="*/ 1931068 h 6858000"/>
              <a:gd name="connsiteX3436" fmla="*/ 3695368 w 12188651"/>
              <a:gd name="connsiteY3436" fmla="*/ 1737913 h 6858000"/>
              <a:gd name="connsiteX3437" fmla="*/ 3695368 w 12188651"/>
              <a:gd name="connsiteY3437" fmla="*/ 1351729 h 6858000"/>
              <a:gd name="connsiteX3438" fmla="*/ 1975151 w 12188651"/>
              <a:gd name="connsiteY3438" fmla="*/ 1158559 h 6858000"/>
              <a:gd name="connsiteX3439" fmla="*/ 2252090 w 12188651"/>
              <a:gd name="connsiteY3439" fmla="*/ 1318821 h 6858000"/>
              <a:gd name="connsiteX3440" fmla="*/ 2308917 w 12188651"/>
              <a:gd name="connsiteY3440" fmla="*/ 1351709 h 6858000"/>
              <a:gd name="connsiteX3441" fmla="*/ 2308917 w 12188651"/>
              <a:gd name="connsiteY3441" fmla="*/ 1737894 h 6858000"/>
              <a:gd name="connsiteX3442" fmla="*/ 1975144 w 12188651"/>
              <a:gd name="connsiteY3442" fmla="*/ 1931051 h 6858000"/>
              <a:gd name="connsiteX3443" fmla="*/ 1641388 w 12188651"/>
              <a:gd name="connsiteY3443" fmla="*/ 1737898 h 6858000"/>
              <a:gd name="connsiteX3444" fmla="*/ 1641388 w 12188651"/>
              <a:gd name="connsiteY3444" fmla="*/ 1351714 h 6858000"/>
              <a:gd name="connsiteX3445" fmla="*/ 11902654 w 12188651"/>
              <a:gd name="connsiteY3445" fmla="*/ 960799 h 6858000"/>
              <a:gd name="connsiteX3446" fmla="*/ 12188651 w 12188651"/>
              <a:gd name="connsiteY3446" fmla="*/ 1126327 h 6858000"/>
              <a:gd name="connsiteX3447" fmla="*/ 12188651 w 12188651"/>
              <a:gd name="connsiteY3447" fmla="*/ 1171992 h 6858000"/>
              <a:gd name="connsiteX3448" fmla="*/ 11902524 w 12188651"/>
              <a:gd name="connsiteY3448" fmla="*/ 1337516 h 6858000"/>
              <a:gd name="connsiteX3449" fmla="*/ 11577065 w 12188651"/>
              <a:gd name="connsiteY3449" fmla="*/ 1149161 h 6858000"/>
              <a:gd name="connsiteX3450" fmla="*/ 9848833 w 12188651"/>
              <a:gd name="connsiteY3450" fmla="*/ 960784 h 6858000"/>
              <a:gd name="connsiteX3451" fmla="*/ 10174292 w 12188651"/>
              <a:gd name="connsiteY3451" fmla="*/ 1149145 h 6858000"/>
              <a:gd name="connsiteX3452" fmla="*/ 9848703 w 12188651"/>
              <a:gd name="connsiteY3452" fmla="*/ 1337499 h 6858000"/>
              <a:gd name="connsiteX3453" fmla="*/ 9523246 w 12188651"/>
              <a:gd name="connsiteY3453" fmla="*/ 1149145 h 6858000"/>
              <a:gd name="connsiteX3454" fmla="*/ 7794888 w 12188651"/>
              <a:gd name="connsiteY3454" fmla="*/ 960771 h 6858000"/>
              <a:gd name="connsiteX3455" fmla="*/ 8120344 w 12188651"/>
              <a:gd name="connsiteY3455" fmla="*/ 1149132 h 6858000"/>
              <a:gd name="connsiteX3456" fmla="*/ 7794758 w 12188651"/>
              <a:gd name="connsiteY3456" fmla="*/ 1337484 h 6858000"/>
              <a:gd name="connsiteX3457" fmla="*/ 7469301 w 12188651"/>
              <a:gd name="connsiteY3457" fmla="*/ 1149132 h 6858000"/>
              <a:gd name="connsiteX3458" fmla="*/ 5741094 w 12188651"/>
              <a:gd name="connsiteY3458" fmla="*/ 960756 h 6858000"/>
              <a:gd name="connsiteX3459" fmla="*/ 6066529 w 12188651"/>
              <a:gd name="connsiteY3459" fmla="*/ 1149115 h 6858000"/>
              <a:gd name="connsiteX3460" fmla="*/ 5740963 w 12188651"/>
              <a:gd name="connsiteY3460" fmla="*/ 1337471 h 6858000"/>
              <a:gd name="connsiteX3461" fmla="*/ 5504553 w 12188651"/>
              <a:gd name="connsiteY3461" fmla="*/ 1200643 h 6858000"/>
              <a:gd name="connsiteX3462" fmla="*/ 5415532 w 12188651"/>
              <a:gd name="connsiteY3462" fmla="*/ 1149117 h 6858000"/>
              <a:gd name="connsiteX3463" fmla="*/ 3687323 w 12188651"/>
              <a:gd name="connsiteY3463" fmla="*/ 960742 h 6858000"/>
              <a:gd name="connsiteX3464" fmla="*/ 4012774 w 12188651"/>
              <a:gd name="connsiteY3464" fmla="*/ 1149098 h 6858000"/>
              <a:gd name="connsiteX3465" fmla="*/ 3687188 w 12188651"/>
              <a:gd name="connsiteY3465" fmla="*/ 1337454 h 6858000"/>
              <a:gd name="connsiteX3466" fmla="*/ 3361738 w 12188651"/>
              <a:gd name="connsiteY3466" fmla="*/ 1149102 h 6858000"/>
              <a:gd name="connsiteX3467" fmla="*/ 1633346 w 12188651"/>
              <a:gd name="connsiteY3467" fmla="*/ 960729 h 6858000"/>
              <a:gd name="connsiteX3468" fmla="*/ 1958798 w 12188651"/>
              <a:gd name="connsiteY3468" fmla="*/ 1149083 h 6858000"/>
              <a:gd name="connsiteX3469" fmla="*/ 1633210 w 12188651"/>
              <a:gd name="connsiteY3469" fmla="*/ 1337440 h 6858000"/>
              <a:gd name="connsiteX3470" fmla="*/ 1307756 w 12188651"/>
              <a:gd name="connsiteY3470" fmla="*/ 1149086 h 6858000"/>
              <a:gd name="connsiteX3471" fmla="*/ 11113840 w 12188651"/>
              <a:gd name="connsiteY3471" fmla="*/ 796828 h 6858000"/>
              <a:gd name="connsiteX3472" fmla="*/ 11141600 w 12188651"/>
              <a:gd name="connsiteY3472" fmla="*/ 808373 h 6858000"/>
              <a:gd name="connsiteX3473" fmla="*/ 11206199 w 12188651"/>
              <a:gd name="connsiteY3473" fmla="*/ 873104 h 6858000"/>
              <a:gd name="connsiteX3474" fmla="*/ 11217744 w 12188651"/>
              <a:gd name="connsiteY3474" fmla="*/ 884778 h 6858000"/>
              <a:gd name="connsiteX3475" fmla="*/ 11229289 w 12188651"/>
              <a:gd name="connsiteY3475" fmla="*/ 873104 h 6858000"/>
              <a:gd name="connsiteX3476" fmla="*/ 11293758 w 12188651"/>
              <a:gd name="connsiteY3476" fmla="*/ 808373 h 6858000"/>
              <a:gd name="connsiteX3477" fmla="*/ 11321517 w 12188651"/>
              <a:gd name="connsiteY3477" fmla="*/ 796828 h 6858000"/>
              <a:gd name="connsiteX3478" fmla="*/ 11349147 w 12188651"/>
              <a:gd name="connsiteY3478" fmla="*/ 808373 h 6858000"/>
              <a:gd name="connsiteX3479" fmla="*/ 11427627 w 12188651"/>
              <a:gd name="connsiteY3479" fmla="*/ 886983 h 6858000"/>
              <a:gd name="connsiteX3480" fmla="*/ 11439169 w 12188651"/>
              <a:gd name="connsiteY3480" fmla="*/ 914736 h 6858000"/>
              <a:gd name="connsiteX3481" fmla="*/ 11427757 w 12188651"/>
              <a:gd name="connsiteY3481" fmla="*/ 942490 h 6858000"/>
              <a:gd name="connsiteX3482" fmla="*/ 11217744 w 12188651"/>
              <a:gd name="connsiteY3482" fmla="*/ 1152909 h 6858000"/>
              <a:gd name="connsiteX3483" fmla="*/ 11007731 w 12188651"/>
              <a:gd name="connsiteY3483" fmla="*/ 942490 h 6858000"/>
              <a:gd name="connsiteX3484" fmla="*/ 10996253 w 12188651"/>
              <a:gd name="connsiteY3484" fmla="*/ 914754 h 6858000"/>
              <a:gd name="connsiteX3485" fmla="*/ 11007731 w 12188651"/>
              <a:gd name="connsiteY3485" fmla="*/ 887113 h 6858000"/>
              <a:gd name="connsiteX3486" fmla="*/ 11086210 w 12188651"/>
              <a:gd name="connsiteY3486" fmla="*/ 808373 h 6858000"/>
              <a:gd name="connsiteX3487" fmla="*/ 11113840 w 12188651"/>
              <a:gd name="connsiteY3487" fmla="*/ 796828 h 6858000"/>
              <a:gd name="connsiteX3488" fmla="*/ 9059892 w 12188651"/>
              <a:gd name="connsiteY3488" fmla="*/ 796812 h 6858000"/>
              <a:gd name="connsiteX3489" fmla="*/ 9087652 w 12188651"/>
              <a:gd name="connsiteY3489" fmla="*/ 808358 h 6858000"/>
              <a:gd name="connsiteX3490" fmla="*/ 9152251 w 12188651"/>
              <a:gd name="connsiteY3490" fmla="*/ 873089 h 6858000"/>
              <a:gd name="connsiteX3491" fmla="*/ 9163796 w 12188651"/>
              <a:gd name="connsiteY3491" fmla="*/ 884763 h 6858000"/>
              <a:gd name="connsiteX3492" fmla="*/ 9175341 w 12188651"/>
              <a:gd name="connsiteY3492" fmla="*/ 873089 h 6858000"/>
              <a:gd name="connsiteX3493" fmla="*/ 9239810 w 12188651"/>
              <a:gd name="connsiteY3493" fmla="*/ 808358 h 6858000"/>
              <a:gd name="connsiteX3494" fmla="*/ 9267570 w 12188651"/>
              <a:gd name="connsiteY3494" fmla="*/ 796812 h 6858000"/>
              <a:gd name="connsiteX3495" fmla="*/ 9295200 w 12188651"/>
              <a:gd name="connsiteY3495" fmla="*/ 808358 h 6858000"/>
              <a:gd name="connsiteX3496" fmla="*/ 9373678 w 12188651"/>
              <a:gd name="connsiteY3496" fmla="*/ 886967 h 6858000"/>
              <a:gd name="connsiteX3497" fmla="*/ 9385221 w 12188651"/>
              <a:gd name="connsiteY3497" fmla="*/ 914725 h 6858000"/>
              <a:gd name="connsiteX3498" fmla="*/ 9373809 w 12188651"/>
              <a:gd name="connsiteY3498" fmla="*/ 942476 h 6858000"/>
              <a:gd name="connsiteX3499" fmla="*/ 9163797 w 12188651"/>
              <a:gd name="connsiteY3499" fmla="*/ 1152894 h 6858000"/>
              <a:gd name="connsiteX3500" fmla="*/ 8953784 w 12188651"/>
              <a:gd name="connsiteY3500" fmla="*/ 942476 h 6858000"/>
              <a:gd name="connsiteX3501" fmla="*/ 8942307 w 12188651"/>
              <a:gd name="connsiteY3501" fmla="*/ 914737 h 6858000"/>
              <a:gd name="connsiteX3502" fmla="*/ 8953783 w 12188651"/>
              <a:gd name="connsiteY3502" fmla="*/ 887100 h 6858000"/>
              <a:gd name="connsiteX3503" fmla="*/ 9032263 w 12188651"/>
              <a:gd name="connsiteY3503" fmla="*/ 808358 h 6858000"/>
              <a:gd name="connsiteX3504" fmla="*/ 9059892 w 12188651"/>
              <a:gd name="connsiteY3504" fmla="*/ 796812 h 6858000"/>
              <a:gd name="connsiteX3505" fmla="*/ 7006076 w 12188651"/>
              <a:gd name="connsiteY3505" fmla="*/ 796800 h 6858000"/>
              <a:gd name="connsiteX3506" fmla="*/ 7033834 w 12188651"/>
              <a:gd name="connsiteY3506" fmla="*/ 808345 h 6858000"/>
              <a:gd name="connsiteX3507" fmla="*/ 7098434 w 12188651"/>
              <a:gd name="connsiteY3507" fmla="*/ 873075 h 6858000"/>
              <a:gd name="connsiteX3508" fmla="*/ 7109978 w 12188651"/>
              <a:gd name="connsiteY3508" fmla="*/ 884750 h 6858000"/>
              <a:gd name="connsiteX3509" fmla="*/ 7121523 w 12188651"/>
              <a:gd name="connsiteY3509" fmla="*/ 873075 h 6858000"/>
              <a:gd name="connsiteX3510" fmla="*/ 7185994 w 12188651"/>
              <a:gd name="connsiteY3510" fmla="*/ 808345 h 6858000"/>
              <a:gd name="connsiteX3511" fmla="*/ 7213751 w 12188651"/>
              <a:gd name="connsiteY3511" fmla="*/ 796800 h 6858000"/>
              <a:gd name="connsiteX3512" fmla="*/ 7241381 w 12188651"/>
              <a:gd name="connsiteY3512" fmla="*/ 808345 h 6858000"/>
              <a:gd name="connsiteX3513" fmla="*/ 7319862 w 12188651"/>
              <a:gd name="connsiteY3513" fmla="*/ 886956 h 6858000"/>
              <a:gd name="connsiteX3514" fmla="*/ 7331404 w 12188651"/>
              <a:gd name="connsiteY3514" fmla="*/ 914710 h 6858000"/>
              <a:gd name="connsiteX3515" fmla="*/ 7319992 w 12188651"/>
              <a:gd name="connsiteY3515" fmla="*/ 942463 h 6858000"/>
              <a:gd name="connsiteX3516" fmla="*/ 7109978 w 12188651"/>
              <a:gd name="connsiteY3516" fmla="*/ 1152879 h 6858000"/>
              <a:gd name="connsiteX3517" fmla="*/ 6899966 w 12188651"/>
              <a:gd name="connsiteY3517" fmla="*/ 942463 h 6858000"/>
              <a:gd name="connsiteX3518" fmla="*/ 6888488 w 12188651"/>
              <a:gd name="connsiteY3518" fmla="*/ 914725 h 6858000"/>
              <a:gd name="connsiteX3519" fmla="*/ 6899966 w 12188651"/>
              <a:gd name="connsiteY3519" fmla="*/ 887085 h 6858000"/>
              <a:gd name="connsiteX3520" fmla="*/ 6978446 w 12188651"/>
              <a:gd name="connsiteY3520" fmla="*/ 808345 h 6858000"/>
              <a:gd name="connsiteX3521" fmla="*/ 7006076 w 12188651"/>
              <a:gd name="connsiteY3521" fmla="*/ 796800 h 6858000"/>
              <a:gd name="connsiteX3522" fmla="*/ 4952163 w 12188651"/>
              <a:gd name="connsiteY3522" fmla="*/ 796785 h 6858000"/>
              <a:gd name="connsiteX3523" fmla="*/ 4979931 w 12188651"/>
              <a:gd name="connsiteY3523" fmla="*/ 808330 h 6858000"/>
              <a:gd name="connsiteX3524" fmla="*/ 4999601 w 12188651"/>
              <a:gd name="connsiteY3524" fmla="*/ 828037 h 6858000"/>
              <a:gd name="connsiteX3525" fmla="*/ 5044528 w 12188651"/>
              <a:gd name="connsiteY3525" fmla="*/ 873049 h 6858000"/>
              <a:gd name="connsiteX3526" fmla="*/ 5056083 w 12188651"/>
              <a:gd name="connsiteY3526" fmla="*/ 884723 h 6858000"/>
              <a:gd name="connsiteX3527" fmla="*/ 5056083 w 12188651"/>
              <a:gd name="connsiteY3527" fmla="*/ 884718 h 6858000"/>
              <a:gd name="connsiteX3528" fmla="*/ 5056096 w 12188651"/>
              <a:gd name="connsiteY3528" fmla="*/ 884737 h 6858000"/>
              <a:gd name="connsiteX3529" fmla="*/ 5067648 w 12188651"/>
              <a:gd name="connsiteY3529" fmla="*/ 873062 h 6858000"/>
              <a:gd name="connsiteX3530" fmla="*/ 5132091 w 12188651"/>
              <a:gd name="connsiteY3530" fmla="*/ 808330 h 6858000"/>
              <a:gd name="connsiteX3531" fmla="*/ 5159840 w 12188651"/>
              <a:gd name="connsiteY3531" fmla="*/ 796785 h 6858000"/>
              <a:gd name="connsiteX3532" fmla="*/ 5187487 w 12188651"/>
              <a:gd name="connsiteY3532" fmla="*/ 808327 h 6858000"/>
              <a:gd name="connsiteX3533" fmla="*/ 5260329 w 12188651"/>
              <a:gd name="connsiteY3533" fmla="*/ 881304 h 6858000"/>
              <a:gd name="connsiteX3534" fmla="*/ 5265946 w 12188651"/>
              <a:gd name="connsiteY3534" fmla="*/ 886927 h 6858000"/>
              <a:gd name="connsiteX3535" fmla="*/ 5277479 w 12188651"/>
              <a:gd name="connsiteY3535" fmla="*/ 914688 h 6858000"/>
              <a:gd name="connsiteX3536" fmla="*/ 5266075 w 12188651"/>
              <a:gd name="connsiteY3536" fmla="*/ 942448 h 6858000"/>
              <a:gd name="connsiteX3537" fmla="*/ 5056083 w 12188651"/>
              <a:gd name="connsiteY3537" fmla="*/ 1152860 h 6858000"/>
              <a:gd name="connsiteX3538" fmla="*/ 4940608 w 12188651"/>
              <a:gd name="connsiteY3538" fmla="*/ 1037194 h 6858000"/>
              <a:gd name="connsiteX3539" fmla="*/ 4846044 w 12188651"/>
              <a:gd name="connsiteY3539" fmla="*/ 942452 h 6858000"/>
              <a:gd name="connsiteX3540" fmla="*/ 4834566 w 12188651"/>
              <a:gd name="connsiteY3540" fmla="*/ 914718 h 6858000"/>
              <a:gd name="connsiteX3541" fmla="*/ 4846044 w 12188651"/>
              <a:gd name="connsiteY3541" fmla="*/ 887070 h 6858000"/>
              <a:gd name="connsiteX3542" fmla="*/ 4924518 w 12188651"/>
              <a:gd name="connsiteY3542" fmla="*/ 808330 h 6858000"/>
              <a:gd name="connsiteX3543" fmla="*/ 4952163 w 12188651"/>
              <a:gd name="connsiteY3543" fmla="*/ 796785 h 6858000"/>
              <a:gd name="connsiteX3544" fmla="*/ 2898379 w 12188651"/>
              <a:gd name="connsiteY3544" fmla="*/ 796772 h 6858000"/>
              <a:gd name="connsiteX3545" fmla="*/ 2926124 w 12188651"/>
              <a:gd name="connsiteY3545" fmla="*/ 808309 h 6858000"/>
              <a:gd name="connsiteX3546" fmla="*/ 2990715 w 12188651"/>
              <a:gd name="connsiteY3546" fmla="*/ 873034 h 6858000"/>
              <a:gd name="connsiteX3547" fmla="*/ 3002260 w 12188651"/>
              <a:gd name="connsiteY3547" fmla="*/ 884709 h 6858000"/>
              <a:gd name="connsiteX3548" fmla="*/ 3002266 w 12188651"/>
              <a:gd name="connsiteY3548" fmla="*/ 884703 h 6858000"/>
              <a:gd name="connsiteX3549" fmla="*/ 3002284 w 12188651"/>
              <a:gd name="connsiteY3549" fmla="*/ 884723 h 6858000"/>
              <a:gd name="connsiteX3550" fmla="*/ 3013828 w 12188651"/>
              <a:gd name="connsiteY3550" fmla="*/ 873046 h 6858000"/>
              <a:gd name="connsiteX3551" fmla="*/ 3078300 w 12188651"/>
              <a:gd name="connsiteY3551" fmla="*/ 808316 h 6858000"/>
              <a:gd name="connsiteX3552" fmla="*/ 3106059 w 12188651"/>
              <a:gd name="connsiteY3552" fmla="*/ 796772 h 6858000"/>
              <a:gd name="connsiteX3553" fmla="*/ 3133671 w 12188651"/>
              <a:gd name="connsiteY3553" fmla="*/ 808309 h 6858000"/>
              <a:gd name="connsiteX3554" fmla="*/ 3212143 w 12188651"/>
              <a:gd name="connsiteY3554" fmla="*/ 886914 h 6858000"/>
              <a:gd name="connsiteX3555" fmla="*/ 3223689 w 12188651"/>
              <a:gd name="connsiteY3555" fmla="*/ 914674 h 6858000"/>
              <a:gd name="connsiteX3556" fmla="*/ 3212274 w 12188651"/>
              <a:gd name="connsiteY3556" fmla="*/ 942434 h 6858000"/>
              <a:gd name="connsiteX3557" fmla="*/ 3002266 w 12188651"/>
              <a:gd name="connsiteY3557" fmla="*/ 1152843 h 6858000"/>
              <a:gd name="connsiteX3558" fmla="*/ 2792274 w 12188651"/>
              <a:gd name="connsiteY3558" fmla="*/ 942447 h 6858000"/>
              <a:gd name="connsiteX3559" fmla="*/ 2792274 w 12188651"/>
              <a:gd name="connsiteY3559" fmla="*/ 887057 h 6858000"/>
              <a:gd name="connsiteX3560" fmla="*/ 2870749 w 12188651"/>
              <a:gd name="connsiteY3560" fmla="*/ 808316 h 6858000"/>
              <a:gd name="connsiteX3561" fmla="*/ 2898379 w 12188651"/>
              <a:gd name="connsiteY3561" fmla="*/ 796772 h 6858000"/>
              <a:gd name="connsiteX3562" fmla="*/ 844401 w 12188651"/>
              <a:gd name="connsiteY3562" fmla="*/ 796757 h 6858000"/>
              <a:gd name="connsiteX3563" fmla="*/ 872145 w 12188651"/>
              <a:gd name="connsiteY3563" fmla="*/ 808295 h 6858000"/>
              <a:gd name="connsiteX3564" fmla="*/ 936739 w 12188651"/>
              <a:gd name="connsiteY3564" fmla="*/ 873020 h 6858000"/>
              <a:gd name="connsiteX3565" fmla="*/ 948284 w 12188651"/>
              <a:gd name="connsiteY3565" fmla="*/ 884695 h 6858000"/>
              <a:gd name="connsiteX3566" fmla="*/ 948289 w 12188651"/>
              <a:gd name="connsiteY3566" fmla="*/ 884690 h 6858000"/>
              <a:gd name="connsiteX3567" fmla="*/ 948306 w 12188651"/>
              <a:gd name="connsiteY3567" fmla="*/ 884708 h 6858000"/>
              <a:gd name="connsiteX3568" fmla="*/ 959851 w 12188651"/>
              <a:gd name="connsiteY3568" fmla="*/ 873033 h 6858000"/>
              <a:gd name="connsiteX3569" fmla="*/ 1024320 w 12188651"/>
              <a:gd name="connsiteY3569" fmla="*/ 808302 h 6858000"/>
              <a:gd name="connsiteX3570" fmla="*/ 1052080 w 12188651"/>
              <a:gd name="connsiteY3570" fmla="*/ 796757 h 6858000"/>
              <a:gd name="connsiteX3571" fmla="*/ 1079695 w 12188651"/>
              <a:gd name="connsiteY3571" fmla="*/ 808295 h 6858000"/>
              <a:gd name="connsiteX3572" fmla="*/ 1158166 w 12188651"/>
              <a:gd name="connsiteY3572" fmla="*/ 886900 h 6858000"/>
              <a:gd name="connsiteX3573" fmla="*/ 1169710 w 12188651"/>
              <a:gd name="connsiteY3573" fmla="*/ 914660 h 6858000"/>
              <a:gd name="connsiteX3574" fmla="*/ 1158298 w 12188651"/>
              <a:gd name="connsiteY3574" fmla="*/ 942421 h 6858000"/>
              <a:gd name="connsiteX3575" fmla="*/ 948288 w 12188651"/>
              <a:gd name="connsiteY3575" fmla="*/ 1152829 h 6858000"/>
              <a:gd name="connsiteX3576" fmla="*/ 738294 w 12188651"/>
              <a:gd name="connsiteY3576" fmla="*/ 942434 h 6858000"/>
              <a:gd name="connsiteX3577" fmla="*/ 738294 w 12188651"/>
              <a:gd name="connsiteY3577" fmla="*/ 887043 h 6858000"/>
              <a:gd name="connsiteX3578" fmla="*/ 816772 w 12188651"/>
              <a:gd name="connsiteY3578" fmla="*/ 808302 h 6858000"/>
              <a:gd name="connsiteX3579" fmla="*/ 844401 w 12188651"/>
              <a:gd name="connsiteY3579" fmla="*/ 796757 h 6858000"/>
              <a:gd name="connsiteX3580" fmla="*/ 11113840 w 12188651"/>
              <a:gd name="connsiteY3580" fmla="*/ 780338 h 6858000"/>
              <a:gd name="connsiteX3581" fmla="*/ 11074665 w 12188651"/>
              <a:gd name="connsiteY3581" fmla="*/ 796683 h 6858000"/>
              <a:gd name="connsiteX3582" fmla="*/ 10996186 w 12188651"/>
              <a:gd name="connsiteY3582" fmla="*/ 875425 h 6858000"/>
              <a:gd name="connsiteX3583" fmla="*/ 10979939 w 12188651"/>
              <a:gd name="connsiteY3583" fmla="*/ 914730 h 6858000"/>
              <a:gd name="connsiteX3584" fmla="*/ 10979942 w 12188651"/>
              <a:gd name="connsiteY3584" fmla="*/ 914736 h 6858000"/>
              <a:gd name="connsiteX3585" fmla="*/ 10979939 w 12188651"/>
              <a:gd name="connsiteY3585" fmla="*/ 914744 h 6858000"/>
              <a:gd name="connsiteX3586" fmla="*/ 10996186 w 12188651"/>
              <a:gd name="connsiteY3586" fmla="*/ 954050 h 6858000"/>
              <a:gd name="connsiteX3587" fmla="*/ 11217744 w 12188651"/>
              <a:gd name="connsiteY3587" fmla="*/ 1176145 h 6858000"/>
              <a:gd name="connsiteX3588" fmla="*/ 11439301 w 12188651"/>
              <a:gd name="connsiteY3588" fmla="*/ 954050 h 6858000"/>
              <a:gd name="connsiteX3589" fmla="*/ 11455548 w 12188651"/>
              <a:gd name="connsiteY3589" fmla="*/ 914744 h 6858000"/>
              <a:gd name="connsiteX3590" fmla="*/ 11455545 w 12188651"/>
              <a:gd name="connsiteY3590" fmla="*/ 914736 h 6858000"/>
              <a:gd name="connsiteX3591" fmla="*/ 11455548 w 12188651"/>
              <a:gd name="connsiteY3591" fmla="*/ 914730 h 6858000"/>
              <a:gd name="connsiteX3592" fmla="*/ 11439301 w 12188651"/>
              <a:gd name="connsiteY3592" fmla="*/ 875425 h 6858000"/>
              <a:gd name="connsiteX3593" fmla="*/ 11360822 w 12188651"/>
              <a:gd name="connsiteY3593" fmla="*/ 796812 h 6858000"/>
              <a:gd name="connsiteX3594" fmla="*/ 11321647 w 12188651"/>
              <a:gd name="connsiteY3594" fmla="*/ 780468 h 6858000"/>
              <a:gd name="connsiteX3595" fmla="*/ 11321517 w 12188651"/>
              <a:gd name="connsiteY3595" fmla="*/ 780338 h 6858000"/>
              <a:gd name="connsiteX3596" fmla="*/ 11282213 w 12188651"/>
              <a:gd name="connsiteY3596" fmla="*/ 796812 h 6858000"/>
              <a:gd name="connsiteX3597" fmla="*/ 11217744 w 12188651"/>
              <a:gd name="connsiteY3597" fmla="*/ 861415 h 6858000"/>
              <a:gd name="connsiteX3598" fmla="*/ 11153145 w 12188651"/>
              <a:gd name="connsiteY3598" fmla="*/ 796683 h 6858000"/>
              <a:gd name="connsiteX3599" fmla="*/ 11113840 w 12188651"/>
              <a:gd name="connsiteY3599" fmla="*/ 780338 h 6858000"/>
              <a:gd name="connsiteX3600" fmla="*/ 9059893 w 12188651"/>
              <a:gd name="connsiteY3600" fmla="*/ 780324 h 6858000"/>
              <a:gd name="connsiteX3601" fmla="*/ 9020718 w 12188651"/>
              <a:gd name="connsiteY3601" fmla="*/ 796669 h 6858000"/>
              <a:gd name="connsiteX3602" fmla="*/ 8942239 w 12188651"/>
              <a:gd name="connsiteY3602" fmla="*/ 875411 h 6858000"/>
              <a:gd name="connsiteX3603" fmla="*/ 8925992 w 12188651"/>
              <a:gd name="connsiteY3603" fmla="*/ 914717 h 6858000"/>
              <a:gd name="connsiteX3604" fmla="*/ 8925994 w 12188651"/>
              <a:gd name="connsiteY3604" fmla="*/ 914722 h 6858000"/>
              <a:gd name="connsiteX3605" fmla="*/ 8925991 w 12188651"/>
              <a:gd name="connsiteY3605" fmla="*/ 914730 h 6858000"/>
              <a:gd name="connsiteX3606" fmla="*/ 8942238 w 12188651"/>
              <a:gd name="connsiteY3606" fmla="*/ 954035 h 6858000"/>
              <a:gd name="connsiteX3607" fmla="*/ 9163796 w 12188651"/>
              <a:gd name="connsiteY3607" fmla="*/ 1176130 h 6858000"/>
              <a:gd name="connsiteX3608" fmla="*/ 9385353 w 12188651"/>
              <a:gd name="connsiteY3608" fmla="*/ 954035 h 6858000"/>
              <a:gd name="connsiteX3609" fmla="*/ 9401600 w 12188651"/>
              <a:gd name="connsiteY3609" fmla="*/ 914730 h 6858000"/>
              <a:gd name="connsiteX3610" fmla="*/ 9401598 w 12188651"/>
              <a:gd name="connsiteY3610" fmla="*/ 914725 h 6858000"/>
              <a:gd name="connsiteX3611" fmla="*/ 9401601 w 12188651"/>
              <a:gd name="connsiteY3611" fmla="*/ 914717 h 6858000"/>
              <a:gd name="connsiteX3612" fmla="*/ 9385354 w 12188651"/>
              <a:gd name="connsiteY3612" fmla="*/ 875411 h 6858000"/>
              <a:gd name="connsiteX3613" fmla="*/ 9306876 w 12188651"/>
              <a:gd name="connsiteY3613" fmla="*/ 796800 h 6858000"/>
              <a:gd name="connsiteX3614" fmla="*/ 9267701 w 12188651"/>
              <a:gd name="connsiteY3614" fmla="*/ 780454 h 6858000"/>
              <a:gd name="connsiteX3615" fmla="*/ 9267571 w 12188651"/>
              <a:gd name="connsiteY3615" fmla="*/ 780324 h 6858000"/>
              <a:gd name="connsiteX3616" fmla="*/ 9228266 w 12188651"/>
              <a:gd name="connsiteY3616" fmla="*/ 796800 h 6858000"/>
              <a:gd name="connsiteX3617" fmla="*/ 9163797 w 12188651"/>
              <a:gd name="connsiteY3617" fmla="*/ 861401 h 6858000"/>
              <a:gd name="connsiteX3618" fmla="*/ 9099198 w 12188651"/>
              <a:gd name="connsiteY3618" fmla="*/ 796669 h 6858000"/>
              <a:gd name="connsiteX3619" fmla="*/ 9059893 w 12188651"/>
              <a:gd name="connsiteY3619" fmla="*/ 780324 h 6858000"/>
              <a:gd name="connsiteX3620" fmla="*/ 7006076 w 12188651"/>
              <a:gd name="connsiteY3620" fmla="*/ 780310 h 6858000"/>
              <a:gd name="connsiteX3621" fmla="*/ 6966901 w 12188651"/>
              <a:gd name="connsiteY3621" fmla="*/ 796656 h 6858000"/>
              <a:gd name="connsiteX3622" fmla="*/ 6888421 w 12188651"/>
              <a:gd name="connsiteY3622" fmla="*/ 875397 h 6858000"/>
              <a:gd name="connsiteX3623" fmla="*/ 6872174 w 12188651"/>
              <a:gd name="connsiteY3623" fmla="*/ 914703 h 6858000"/>
              <a:gd name="connsiteX3624" fmla="*/ 6872176 w 12188651"/>
              <a:gd name="connsiteY3624" fmla="*/ 914710 h 6858000"/>
              <a:gd name="connsiteX3625" fmla="*/ 6872174 w 12188651"/>
              <a:gd name="connsiteY3625" fmla="*/ 914717 h 6858000"/>
              <a:gd name="connsiteX3626" fmla="*/ 6888421 w 12188651"/>
              <a:gd name="connsiteY3626" fmla="*/ 954021 h 6858000"/>
              <a:gd name="connsiteX3627" fmla="*/ 7109978 w 12188651"/>
              <a:gd name="connsiteY3627" fmla="*/ 1176113 h 6858000"/>
              <a:gd name="connsiteX3628" fmla="*/ 7331537 w 12188651"/>
              <a:gd name="connsiteY3628" fmla="*/ 954021 h 6858000"/>
              <a:gd name="connsiteX3629" fmla="*/ 7347783 w 12188651"/>
              <a:gd name="connsiteY3629" fmla="*/ 914717 h 6858000"/>
              <a:gd name="connsiteX3630" fmla="*/ 7347780 w 12188651"/>
              <a:gd name="connsiteY3630" fmla="*/ 914710 h 6858000"/>
              <a:gd name="connsiteX3631" fmla="*/ 7347783 w 12188651"/>
              <a:gd name="connsiteY3631" fmla="*/ 914703 h 6858000"/>
              <a:gd name="connsiteX3632" fmla="*/ 7331537 w 12188651"/>
              <a:gd name="connsiteY3632" fmla="*/ 875397 h 6858000"/>
              <a:gd name="connsiteX3633" fmla="*/ 7253057 w 12188651"/>
              <a:gd name="connsiteY3633" fmla="*/ 796785 h 6858000"/>
              <a:gd name="connsiteX3634" fmla="*/ 7213882 w 12188651"/>
              <a:gd name="connsiteY3634" fmla="*/ 780440 h 6858000"/>
              <a:gd name="connsiteX3635" fmla="*/ 7213751 w 12188651"/>
              <a:gd name="connsiteY3635" fmla="*/ 780310 h 6858000"/>
              <a:gd name="connsiteX3636" fmla="*/ 7174449 w 12188651"/>
              <a:gd name="connsiteY3636" fmla="*/ 796785 h 6858000"/>
              <a:gd name="connsiteX3637" fmla="*/ 7109978 w 12188651"/>
              <a:gd name="connsiteY3637" fmla="*/ 861387 h 6858000"/>
              <a:gd name="connsiteX3638" fmla="*/ 7045379 w 12188651"/>
              <a:gd name="connsiteY3638" fmla="*/ 796656 h 6858000"/>
              <a:gd name="connsiteX3639" fmla="*/ 7006076 w 12188651"/>
              <a:gd name="connsiteY3639" fmla="*/ 780310 h 6858000"/>
              <a:gd name="connsiteX3640" fmla="*/ 4952154 w 12188651"/>
              <a:gd name="connsiteY3640" fmla="*/ 780296 h 6858000"/>
              <a:gd name="connsiteX3641" fmla="*/ 4912973 w 12188651"/>
              <a:gd name="connsiteY3641" fmla="*/ 796641 h 6858000"/>
              <a:gd name="connsiteX3642" fmla="*/ 4834497 w 12188651"/>
              <a:gd name="connsiteY3642" fmla="*/ 875382 h 6858000"/>
              <a:gd name="connsiteX3643" fmla="*/ 4834497 w 12188651"/>
              <a:gd name="connsiteY3643" fmla="*/ 953994 h 6858000"/>
              <a:gd name="connsiteX3644" fmla="*/ 4834505 w 12188651"/>
              <a:gd name="connsiteY3644" fmla="*/ 954001 h 6858000"/>
              <a:gd name="connsiteX3645" fmla="*/ 4834511 w 12188651"/>
              <a:gd name="connsiteY3645" fmla="*/ 954008 h 6858000"/>
              <a:gd name="connsiteX3646" fmla="*/ 4925572 w 12188651"/>
              <a:gd name="connsiteY3646" fmla="*/ 1045292 h 6858000"/>
              <a:gd name="connsiteX3647" fmla="*/ 5056083 w 12188651"/>
              <a:gd name="connsiteY3647" fmla="*/ 1176084 h 6858000"/>
              <a:gd name="connsiteX3648" fmla="*/ 5056083 w 12188651"/>
              <a:gd name="connsiteY3648" fmla="*/ 1176081 h 6858000"/>
              <a:gd name="connsiteX3649" fmla="*/ 5056096 w 12188651"/>
              <a:gd name="connsiteY3649" fmla="*/ 1176099 h 6858000"/>
              <a:gd name="connsiteX3650" fmla="*/ 5277619 w 12188651"/>
              <a:gd name="connsiteY3650" fmla="*/ 954008 h 6858000"/>
              <a:gd name="connsiteX3651" fmla="*/ 5277619 w 12188651"/>
              <a:gd name="connsiteY3651" fmla="*/ 875395 h 6858000"/>
              <a:gd name="connsiteX3652" fmla="*/ 5277613 w 12188651"/>
              <a:gd name="connsiteY3652" fmla="*/ 875386 h 6858000"/>
              <a:gd name="connsiteX3653" fmla="*/ 5277613 w 12188651"/>
              <a:gd name="connsiteY3653" fmla="*/ 875382 h 6858000"/>
              <a:gd name="connsiteX3654" fmla="*/ 5199129 w 12188651"/>
              <a:gd name="connsiteY3654" fmla="*/ 796772 h 6858000"/>
              <a:gd name="connsiteX3655" fmla="*/ 5159958 w 12188651"/>
              <a:gd name="connsiteY3655" fmla="*/ 780426 h 6858000"/>
              <a:gd name="connsiteX3656" fmla="*/ 5159834 w 12188651"/>
              <a:gd name="connsiteY3656" fmla="*/ 780296 h 6858000"/>
              <a:gd name="connsiteX3657" fmla="*/ 5120536 w 12188651"/>
              <a:gd name="connsiteY3657" fmla="*/ 796772 h 6858000"/>
              <a:gd name="connsiteX3658" fmla="*/ 5056083 w 12188651"/>
              <a:gd name="connsiteY3658" fmla="*/ 861369 h 6858000"/>
              <a:gd name="connsiteX3659" fmla="*/ 5001140 w 12188651"/>
              <a:gd name="connsiteY3659" fmla="*/ 806336 h 6858000"/>
              <a:gd name="connsiteX3660" fmla="*/ 4991465 w 12188651"/>
              <a:gd name="connsiteY3660" fmla="*/ 796641 h 6858000"/>
              <a:gd name="connsiteX3661" fmla="*/ 4952154 w 12188651"/>
              <a:gd name="connsiteY3661" fmla="*/ 780296 h 6858000"/>
              <a:gd name="connsiteX3662" fmla="*/ 2898359 w 12188651"/>
              <a:gd name="connsiteY3662" fmla="*/ 780282 h 6858000"/>
              <a:gd name="connsiteX3663" fmla="*/ 2859182 w 12188651"/>
              <a:gd name="connsiteY3663" fmla="*/ 796627 h 6858000"/>
              <a:gd name="connsiteX3664" fmla="*/ 2780702 w 12188651"/>
              <a:gd name="connsiteY3664" fmla="*/ 875369 h 6858000"/>
              <a:gd name="connsiteX3665" fmla="*/ 2780702 w 12188651"/>
              <a:gd name="connsiteY3665" fmla="*/ 953981 h 6858000"/>
              <a:gd name="connsiteX3666" fmla="*/ 3002260 w 12188651"/>
              <a:gd name="connsiteY3666" fmla="*/ 1176068 h 6858000"/>
              <a:gd name="connsiteX3667" fmla="*/ 3002266 w 12188651"/>
              <a:gd name="connsiteY3667" fmla="*/ 1176063 h 6858000"/>
              <a:gd name="connsiteX3668" fmla="*/ 3002284 w 12188651"/>
              <a:gd name="connsiteY3668" fmla="*/ 1176082 h 6858000"/>
              <a:gd name="connsiteX3669" fmla="*/ 3223843 w 12188651"/>
              <a:gd name="connsiteY3669" fmla="*/ 953994 h 6858000"/>
              <a:gd name="connsiteX3670" fmla="*/ 3223843 w 12188651"/>
              <a:gd name="connsiteY3670" fmla="*/ 875382 h 6858000"/>
              <a:gd name="connsiteX3671" fmla="*/ 3145363 w 12188651"/>
              <a:gd name="connsiteY3671" fmla="*/ 796772 h 6858000"/>
              <a:gd name="connsiteX3672" fmla="*/ 3126992 w 12188651"/>
              <a:gd name="connsiteY3672" fmla="*/ 784512 h 6858000"/>
              <a:gd name="connsiteX3673" fmla="*/ 3126986 w 12188651"/>
              <a:gd name="connsiteY3673" fmla="*/ 784511 h 6858000"/>
              <a:gd name="connsiteX3674" fmla="*/ 3126967 w 12188651"/>
              <a:gd name="connsiteY3674" fmla="*/ 784499 h 6858000"/>
              <a:gd name="connsiteX3675" fmla="*/ 3106177 w 12188651"/>
              <a:gd name="connsiteY3675" fmla="*/ 780415 h 6858000"/>
              <a:gd name="connsiteX3676" fmla="*/ 3106059 w 12188651"/>
              <a:gd name="connsiteY3676" fmla="*/ 780295 h 6858000"/>
              <a:gd name="connsiteX3677" fmla="*/ 3106051 w 12188651"/>
              <a:gd name="connsiteY3677" fmla="*/ 780298 h 6858000"/>
              <a:gd name="connsiteX3678" fmla="*/ 3106034 w 12188651"/>
              <a:gd name="connsiteY3678" fmla="*/ 780282 h 6858000"/>
              <a:gd name="connsiteX3679" fmla="*/ 3066731 w 12188651"/>
              <a:gd name="connsiteY3679" fmla="*/ 796757 h 6858000"/>
              <a:gd name="connsiteX3680" fmla="*/ 3002266 w 12188651"/>
              <a:gd name="connsiteY3680" fmla="*/ 861353 h 6858000"/>
              <a:gd name="connsiteX3681" fmla="*/ 2937685 w 12188651"/>
              <a:gd name="connsiteY3681" fmla="*/ 796641 h 6858000"/>
              <a:gd name="connsiteX3682" fmla="*/ 2919300 w 12188651"/>
              <a:gd name="connsiteY3682" fmla="*/ 784382 h 6858000"/>
              <a:gd name="connsiteX3683" fmla="*/ 2919293 w 12188651"/>
              <a:gd name="connsiteY3683" fmla="*/ 784381 h 6858000"/>
              <a:gd name="connsiteX3684" fmla="*/ 2919273 w 12188651"/>
              <a:gd name="connsiteY3684" fmla="*/ 784369 h 6858000"/>
              <a:gd name="connsiteX3685" fmla="*/ 2898359 w 12188651"/>
              <a:gd name="connsiteY3685" fmla="*/ 780282 h 6858000"/>
              <a:gd name="connsiteX3686" fmla="*/ 844379 w 12188651"/>
              <a:gd name="connsiteY3686" fmla="*/ 780268 h 6858000"/>
              <a:gd name="connsiteX3687" fmla="*/ 805206 w 12188651"/>
              <a:gd name="connsiteY3687" fmla="*/ 796613 h 6858000"/>
              <a:gd name="connsiteX3688" fmla="*/ 726726 w 12188651"/>
              <a:gd name="connsiteY3688" fmla="*/ 875355 h 6858000"/>
              <a:gd name="connsiteX3689" fmla="*/ 726726 w 12188651"/>
              <a:gd name="connsiteY3689" fmla="*/ 953966 h 6858000"/>
              <a:gd name="connsiteX3690" fmla="*/ 948284 w 12188651"/>
              <a:gd name="connsiteY3690" fmla="*/ 1176053 h 6858000"/>
              <a:gd name="connsiteX3691" fmla="*/ 948288 w 12188651"/>
              <a:gd name="connsiteY3691" fmla="*/ 1176048 h 6858000"/>
              <a:gd name="connsiteX3692" fmla="*/ 948306 w 12188651"/>
              <a:gd name="connsiteY3692" fmla="*/ 1176067 h 6858000"/>
              <a:gd name="connsiteX3693" fmla="*/ 1169863 w 12188651"/>
              <a:gd name="connsiteY3693" fmla="*/ 953980 h 6858000"/>
              <a:gd name="connsiteX3694" fmla="*/ 1169863 w 12188651"/>
              <a:gd name="connsiteY3694" fmla="*/ 875369 h 6858000"/>
              <a:gd name="connsiteX3695" fmla="*/ 1091384 w 12188651"/>
              <a:gd name="connsiteY3695" fmla="*/ 796757 h 6858000"/>
              <a:gd name="connsiteX3696" fmla="*/ 1073012 w 12188651"/>
              <a:gd name="connsiteY3696" fmla="*/ 784498 h 6858000"/>
              <a:gd name="connsiteX3697" fmla="*/ 1073010 w 12188651"/>
              <a:gd name="connsiteY3697" fmla="*/ 784497 h 6858000"/>
              <a:gd name="connsiteX3698" fmla="*/ 1072991 w 12188651"/>
              <a:gd name="connsiteY3698" fmla="*/ 784484 h 6858000"/>
              <a:gd name="connsiteX3699" fmla="*/ 1052198 w 12188651"/>
              <a:gd name="connsiteY3699" fmla="*/ 780401 h 6858000"/>
              <a:gd name="connsiteX3700" fmla="*/ 1052080 w 12188651"/>
              <a:gd name="connsiteY3700" fmla="*/ 780282 h 6858000"/>
              <a:gd name="connsiteX3701" fmla="*/ 1052072 w 12188651"/>
              <a:gd name="connsiteY3701" fmla="*/ 780283 h 6858000"/>
              <a:gd name="connsiteX3702" fmla="*/ 1052057 w 12188651"/>
              <a:gd name="connsiteY3702" fmla="*/ 780268 h 6858000"/>
              <a:gd name="connsiteX3703" fmla="*/ 1012754 w 12188651"/>
              <a:gd name="connsiteY3703" fmla="*/ 796743 h 6858000"/>
              <a:gd name="connsiteX3704" fmla="*/ 948290 w 12188651"/>
              <a:gd name="connsiteY3704" fmla="*/ 861340 h 6858000"/>
              <a:gd name="connsiteX3705" fmla="*/ 883707 w 12188651"/>
              <a:gd name="connsiteY3705" fmla="*/ 796627 h 6858000"/>
              <a:gd name="connsiteX3706" fmla="*/ 865320 w 12188651"/>
              <a:gd name="connsiteY3706" fmla="*/ 784368 h 6858000"/>
              <a:gd name="connsiteX3707" fmla="*/ 865315 w 12188651"/>
              <a:gd name="connsiteY3707" fmla="*/ 784367 h 6858000"/>
              <a:gd name="connsiteX3708" fmla="*/ 865296 w 12188651"/>
              <a:gd name="connsiteY3708" fmla="*/ 784354 h 6858000"/>
              <a:gd name="connsiteX3709" fmla="*/ 844379 w 12188651"/>
              <a:gd name="connsiteY3709" fmla="*/ 780268 h 6858000"/>
              <a:gd name="connsiteX3710" fmla="*/ 11910826 w 12188651"/>
              <a:gd name="connsiteY3710" fmla="*/ 569816 h 6858000"/>
              <a:gd name="connsiteX3711" fmla="*/ 12188651 w 12188651"/>
              <a:gd name="connsiteY3711" fmla="*/ 730603 h 6858000"/>
              <a:gd name="connsiteX3712" fmla="*/ 12188651 w 12188651"/>
              <a:gd name="connsiteY3712" fmla="*/ 1107455 h 6858000"/>
              <a:gd name="connsiteX3713" fmla="*/ 11910826 w 12188651"/>
              <a:gd name="connsiteY3713" fmla="*/ 946654 h 6858000"/>
              <a:gd name="connsiteX3714" fmla="*/ 11894481 w 12188651"/>
              <a:gd name="connsiteY3714" fmla="*/ 569816 h 6858000"/>
              <a:gd name="connsiteX3715" fmla="*/ 11894481 w 12188651"/>
              <a:gd name="connsiteY3715" fmla="*/ 946654 h 6858000"/>
              <a:gd name="connsiteX3716" fmla="*/ 11568890 w 12188651"/>
              <a:gd name="connsiteY3716" fmla="*/ 1135023 h 6858000"/>
              <a:gd name="connsiteX3717" fmla="*/ 11568890 w 12188651"/>
              <a:gd name="connsiteY3717" fmla="*/ 758171 h 6858000"/>
              <a:gd name="connsiteX3718" fmla="*/ 9857006 w 12188651"/>
              <a:gd name="connsiteY3718" fmla="*/ 569803 h 6858000"/>
              <a:gd name="connsiteX3719" fmla="*/ 10182468 w 12188651"/>
              <a:gd name="connsiteY3719" fmla="*/ 758157 h 6858000"/>
              <a:gd name="connsiteX3720" fmla="*/ 10182468 w 12188651"/>
              <a:gd name="connsiteY3720" fmla="*/ 1135005 h 6858000"/>
              <a:gd name="connsiteX3721" fmla="*/ 9857006 w 12188651"/>
              <a:gd name="connsiteY3721" fmla="*/ 946640 h 6858000"/>
              <a:gd name="connsiteX3722" fmla="*/ 9840661 w 12188651"/>
              <a:gd name="connsiteY3722" fmla="*/ 569803 h 6858000"/>
              <a:gd name="connsiteX3723" fmla="*/ 9840661 w 12188651"/>
              <a:gd name="connsiteY3723" fmla="*/ 946640 h 6858000"/>
              <a:gd name="connsiteX3724" fmla="*/ 9515070 w 12188651"/>
              <a:gd name="connsiteY3724" fmla="*/ 1135005 h 6858000"/>
              <a:gd name="connsiteX3725" fmla="*/ 9515070 w 12188651"/>
              <a:gd name="connsiteY3725" fmla="*/ 758157 h 6858000"/>
              <a:gd name="connsiteX3726" fmla="*/ 7803060 w 12188651"/>
              <a:gd name="connsiteY3726" fmla="*/ 569788 h 6858000"/>
              <a:gd name="connsiteX3727" fmla="*/ 8128521 w 12188651"/>
              <a:gd name="connsiteY3727" fmla="*/ 758143 h 6858000"/>
              <a:gd name="connsiteX3728" fmla="*/ 8128521 w 12188651"/>
              <a:gd name="connsiteY3728" fmla="*/ 1134990 h 6858000"/>
              <a:gd name="connsiteX3729" fmla="*/ 7803060 w 12188651"/>
              <a:gd name="connsiteY3729" fmla="*/ 946626 h 6858000"/>
              <a:gd name="connsiteX3730" fmla="*/ 7786715 w 12188651"/>
              <a:gd name="connsiteY3730" fmla="*/ 569788 h 6858000"/>
              <a:gd name="connsiteX3731" fmla="*/ 7786715 w 12188651"/>
              <a:gd name="connsiteY3731" fmla="*/ 946626 h 6858000"/>
              <a:gd name="connsiteX3732" fmla="*/ 7461125 w 12188651"/>
              <a:gd name="connsiteY3732" fmla="*/ 1134990 h 6858000"/>
              <a:gd name="connsiteX3733" fmla="*/ 7461125 w 12188651"/>
              <a:gd name="connsiteY3733" fmla="*/ 758143 h 6858000"/>
              <a:gd name="connsiteX3734" fmla="*/ 5749267 w 12188651"/>
              <a:gd name="connsiteY3734" fmla="*/ 569774 h 6858000"/>
              <a:gd name="connsiteX3735" fmla="*/ 6074705 w 12188651"/>
              <a:gd name="connsiteY3735" fmla="*/ 758130 h 6858000"/>
              <a:gd name="connsiteX3736" fmla="*/ 6074705 w 12188651"/>
              <a:gd name="connsiteY3736" fmla="*/ 1134975 h 6858000"/>
              <a:gd name="connsiteX3737" fmla="*/ 5749267 w 12188651"/>
              <a:gd name="connsiteY3737" fmla="*/ 946613 h 6858000"/>
              <a:gd name="connsiteX3738" fmla="*/ 5732923 w 12188651"/>
              <a:gd name="connsiteY3738" fmla="*/ 569774 h 6858000"/>
              <a:gd name="connsiteX3739" fmla="*/ 5732923 w 12188651"/>
              <a:gd name="connsiteY3739" fmla="*/ 946611 h 6858000"/>
              <a:gd name="connsiteX3740" fmla="*/ 5407356 w 12188651"/>
              <a:gd name="connsiteY3740" fmla="*/ 1134972 h 6858000"/>
              <a:gd name="connsiteX3741" fmla="*/ 5407356 w 12188651"/>
              <a:gd name="connsiteY3741" fmla="*/ 758130 h 6858000"/>
              <a:gd name="connsiteX3742" fmla="*/ 3679146 w 12188651"/>
              <a:gd name="connsiteY3742" fmla="*/ 569764 h 6858000"/>
              <a:gd name="connsiteX3743" fmla="*/ 3679146 w 12188651"/>
              <a:gd name="connsiteY3743" fmla="*/ 946598 h 6858000"/>
              <a:gd name="connsiteX3744" fmla="*/ 3353565 w 12188651"/>
              <a:gd name="connsiteY3744" fmla="*/ 1134955 h 6858000"/>
              <a:gd name="connsiteX3745" fmla="*/ 3353565 w 12188651"/>
              <a:gd name="connsiteY3745" fmla="*/ 758117 h 6858000"/>
              <a:gd name="connsiteX3746" fmla="*/ 3695498 w 12188651"/>
              <a:gd name="connsiteY3746" fmla="*/ 569759 h 6858000"/>
              <a:gd name="connsiteX3747" fmla="*/ 4020947 w 12188651"/>
              <a:gd name="connsiteY3747" fmla="*/ 758112 h 6858000"/>
              <a:gd name="connsiteX3748" fmla="*/ 4020947 w 12188651"/>
              <a:gd name="connsiteY3748" fmla="*/ 1134957 h 6858000"/>
              <a:gd name="connsiteX3749" fmla="*/ 3695498 w 12188651"/>
              <a:gd name="connsiteY3749" fmla="*/ 946601 h 6858000"/>
              <a:gd name="connsiteX3750" fmla="*/ 1625167 w 12188651"/>
              <a:gd name="connsiteY3750" fmla="*/ 569748 h 6858000"/>
              <a:gd name="connsiteX3751" fmla="*/ 1625167 w 12188651"/>
              <a:gd name="connsiteY3751" fmla="*/ 946584 h 6858000"/>
              <a:gd name="connsiteX3752" fmla="*/ 1299584 w 12188651"/>
              <a:gd name="connsiteY3752" fmla="*/ 1134940 h 6858000"/>
              <a:gd name="connsiteX3753" fmla="*/ 1299584 w 12188651"/>
              <a:gd name="connsiteY3753" fmla="*/ 758102 h 6858000"/>
              <a:gd name="connsiteX3754" fmla="*/ 1641516 w 12188651"/>
              <a:gd name="connsiteY3754" fmla="*/ 569745 h 6858000"/>
              <a:gd name="connsiteX3755" fmla="*/ 1966972 w 12188651"/>
              <a:gd name="connsiteY3755" fmla="*/ 758098 h 6858000"/>
              <a:gd name="connsiteX3756" fmla="*/ 1966972 w 12188651"/>
              <a:gd name="connsiteY3756" fmla="*/ 1134943 h 6858000"/>
              <a:gd name="connsiteX3757" fmla="*/ 1641516 w 12188651"/>
              <a:gd name="connsiteY3757" fmla="*/ 946587 h 6858000"/>
              <a:gd name="connsiteX3758" fmla="*/ 10532576 w 12188651"/>
              <a:gd name="connsiteY3758" fmla="*/ 565003 h 6858000"/>
              <a:gd name="connsiteX3759" fmla="*/ 10866339 w 12188651"/>
              <a:gd name="connsiteY3759" fmla="*/ 758157 h 6858000"/>
              <a:gd name="connsiteX3760" fmla="*/ 10866339 w 12188651"/>
              <a:gd name="connsiteY3760" fmla="*/ 1144474 h 6858000"/>
              <a:gd name="connsiteX3761" fmla="*/ 10532706 w 12188651"/>
              <a:gd name="connsiteY3761" fmla="*/ 1337629 h 6858000"/>
              <a:gd name="connsiteX3762" fmla="*/ 10198941 w 12188651"/>
              <a:gd name="connsiteY3762" fmla="*/ 1144474 h 6858000"/>
              <a:gd name="connsiteX3763" fmla="*/ 10198941 w 12188651"/>
              <a:gd name="connsiteY3763" fmla="*/ 758157 h 6858000"/>
              <a:gd name="connsiteX3764" fmla="*/ 8478628 w 12188651"/>
              <a:gd name="connsiteY3764" fmla="*/ 564988 h 6858000"/>
              <a:gd name="connsiteX3765" fmla="*/ 8812392 w 12188651"/>
              <a:gd name="connsiteY3765" fmla="*/ 758143 h 6858000"/>
              <a:gd name="connsiteX3766" fmla="*/ 8812392 w 12188651"/>
              <a:gd name="connsiteY3766" fmla="*/ 1144459 h 6858000"/>
              <a:gd name="connsiteX3767" fmla="*/ 8478758 w 12188651"/>
              <a:gd name="connsiteY3767" fmla="*/ 1337616 h 6858000"/>
              <a:gd name="connsiteX3768" fmla="*/ 8144995 w 12188651"/>
              <a:gd name="connsiteY3768" fmla="*/ 1144459 h 6858000"/>
              <a:gd name="connsiteX3769" fmla="*/ 8144995 w 12188651"/>
              <a:gd name="connsiteY3769" fmla="*/ 758143 h 6858000"/>
              <a:gd name="connsiteX3770" fmla="*/ 6424810 w 12188651"/>
              <a:gd name="connsiteY3770" fmla="*/ 564974 h 6858000"/>
              <a:gd name="connsiteX3771" fmla="*/ 6758573 w 12188651"/>
              <a:gd name="connsiteY3771" fmla="*/ 758130 h 6858000"/>
              <a:gd name="connsiteX3772" fmla="*/ 6758573 w 12188651"/>
              <a:gd name="connsiteY3772" fmla="*/ 1144443 h 6858000"/>
              <a:gd name="connsiteX3773" fmla="*/ 6424940 w 12188651"/>
              <a:gd name="connsiteY3773" fmla="*/ 1337600 h 6858000"/>
              <a:gd name="connsiteX3774" fmla="*/ 6091179 w 12188651"/>
              <a:gd name="connsiteY3774" fmla="*/ 1144443 h 6858000"/>
              <a:gd name="connsiteX3775" fmla="*/ 6091179 w 12188651"/>
              <a:gd name="connsiteY3775" fmla="*/ 758130 h 6858000"/>
              <a:gd name="connsiteX3776" fmla="*/ 4371020 w 12188651"/>
              <a:gd name="connsiteY3776" fmla="*/ 564960 h 6858000"/>
              <a:gd name="connsiteX3777" fmla="*/ 4704777 w 12188651"/>
              <a:gd name="connsiteY3777" fmla="*/ 758114 h 6858000"/>
              <a:gd name="connsiteX3778" fmla="*/ 4704777 w 12188651"/>
              <a:gd name="connsiteY3778" fmla="*/ 1144429 h 6858000"/>
              <a:gd name="connsiteX3779" fmla="*/ 4371146 w 12188651"/>
              <a:gd name="connsiteY3779" fmla="*/ 1337586 h 6858000"/>
              <a:gd name="connsiteX3780" fmla="*/ 4203813 w 12188651"/>
              <a:gd name="connsiteY3780" fmla="*/ 1240748 h 6858000"/>
              <a:gd name="connsiteX3781" fmla="*/ 4037427 w 12188651"/>
              <a:gd name="connsiteY3781" fmla="*/ 1144432 h 6858000"/>
              <a:gd name="connsiteX3782" fmla="*/ 4037427 w 12188651"/>
              <a:gd name="connsiteY3782" fmla="*/ 758117 h 6858000"/>
              <a:gd name="connsiteX3783" fmla="*/ 2317096 w 12188651"/>
              <a:gd name="connsiteY3783" fmla="*/ 564946 h 6858000"/>
              <a:gd name="connsiteX3784" fmla="*/ 2650849 w 12188651"/>
              <a:gd name="connsiteY3784" fmla="*/ 758098 h 6858000"/>
              <a:gd name="connsiteX3785" fmla="*/ 2650849 w 12188651"/>
              <a:gd name="connsiteY3785" fmla="*/ 1144413 h 6858000"/>
              <a:gd name="connsiteX3786" fmla="*/ 2317220 w 12188651"/>
              <a:gd name="connsiteY3786" fmla="*/ 1337570 h 6858000"/>
              <a:gd name="connsiteX3787" fmla="*/ 1983454 w 12188651"/>
              <a:gd name="connsiteY3787" fmla="*/ 1144417 h 6858000"/>
              <a:gd name="connsiteX3788" fmla="*/ 1983454 w 12188651"/>
              <a:gd name="connsiteY3788" fmla="*/ 758102 h 6858000"/>
              <a:gd name="connsiteX3789" fmla="*/ 263248 w 12188651"/>
              <a:gd name="connsiteY3789" fmla="*/ 564931 h 6858000"/>
              <a:gd name="connsiteX3790" fmla="*/ 597003 w 12188651"/>
              <a:gd name="connsiteY3790" fmla="*/ 758084 h 6858000"/>
              <a:gd name="connsiteX3791" fmla="*/ 597003 w 12188651"/>
              <a:gd name="connsiteY3791" fmla="*/ 1144398 h 6858000"/>
              <a:gd name="connsiteX3792" fmla="*/ 263372 w 12188651"/>
              <a:gd name="connsiteY3792" fmla="*/ 1337554 h 6858000"/>
              <a:gd name="connsiteX3793" fmla="*/ 0 w 12188651"/>
              <a:gd name="connsiteY3793" fmla="*/ 1185135 h 6858000"/>
              <a:gd name="connsiteX3794" fmla="*/ 0 w 12188651"/>
              <a:gd name="connsiteY3794" fmla="*/ 717338 h 6858000"/>
              <a:gd name="connsiteX3795" fmla="*/ 11217614 w 12188651"/>
              <a:gd name="connsiteY3795" fmla="*/ 564628 h 6858000"/>
              <a:gd name="connsiteX3796" fmla="*/ 11551377 w 12188651"/>
              <a:gd name="connsiteY3796" fmla="*/ 757782 h 6858000"/>
              <a:gd name="connsiteX3797" fmla="*/ 11551377 w 12188651"/>
              <a:gd name="connsiteY3797" fmla="*/ 1143957 h 6858000"/>
              <a:gd name="connsiteX3798" fmla="*/ 11217614 w 12188651"/>
              <a:gd name="connsiteY3798" fmla="*/ 1337111 h 6858000"/>
              <a:gd name="connsiteX3799" fmla="*/ 10883851 w 12188651"/>
              <a:gd name="connsiteY3799" fmla="*/ 1143959 h 6858000"/>
              <a:gd name="connsiteX3800" fmla="*/ 10883851 w 12188651"/>
              <a:gd name="connsiteY3800" fmla="*/ 757782 h 6858000"/>
              <a:gd name="connsiteX3801" fmla="*/ 9163666 w 12188651"/>
              <a:gd name="connsiteY3801" fmla="*/ 564614 h 6858000"/>
              <a:gd name="connsiteX3802" fmla="*/ 9497429 w 12188651"/>
              <a:gd name="connsiteY3802" fmla="*/ 757768 h 6858000"/>
              <a:gd name="connsiteX3803" fmla="*/ 9497429 w 12188651"/>
              <a:gd name="connsiteY3803" fmla="*/ 1143944 h 6858000"/>
              <a:gd name="connsiteX3804" fmla="*/ 9163666 w 12188651"/>
              <a:gd name="connsiteY3804" fmla="*/ 1337098 h 6858000"/>
              <a:gd name="connsiteX3805" fmla="*/ 8829903 w 12188651"/>
              <a:gd name="connsiteY3805" fmla="*/ 1143941 h 6858000"/>
              <a:gd name="connsiteX3806" fmla="*/ 8829903 w 12188651"/>
              <a:gd name="connsiteY3806" fmla="*/ 757768 h 6858000"/>
              <a:gd name="connsiteX3807" fmla="*/ 7109850 w 12188651"/>
              <a:gd name="connsiteY3807" fmla="*/ 564599 h 6858000"/>
              <a:gd name="connsiteX3808" fmla="*/ 7443613 w 12188651"/>
              <a:gd name="connsiteY3808" fmla="*/ 757755 h 6858000"/>
              <a:gd name="connsiteX3809" fmla="*/ 7443613 w 12188651"/>
              <a:gd name="connsiteY3809" fmla="*/ 1143928 h 6858000"/>
              <a:gd name="connsiteX3810" fmla="*/ 7109850 w 12188651"/>
              <a:gd name="connsiteY3810" fmla="*/ 1337082 h 6858000"/>
              <a:gd name="connsiteX3811" fmla="*/ 6776085 w 12188651"/>
              <a:gd name="connsiteY3811" fmla="*/ 1143928 h 6858000"/>
              <a:gd name="connsiteX3812" fmla="*/ 6776085 w 12188651"/>
              <a:gd name="connsiteY3812" fmla="*/ 757755 h 6858000"/>
              <a:gd name="connsiteX3813" fmla="*/ 5055971 w 12188651"/>
              <a:gd name="connsiteY3813" fmla="*/ 564585 h 6858000"/>
              <a:gd name="connsiteX3814" fmla="*/ 5143887 w 12188651"/>
              <a:gd name="connsiteY3814" fmla="*/ 615477 h 6858000"/>
              <a:gd name="connsiteX3815" fmla="*/ 5389701 w 12188651"/>
              <a:gd name="connsiteY3815" fmla="*/ 757730 h 6858000"/>
              <a:gd name="connsiteX3816" fmla="*/ 5389701 w 12188651"/>
              <a:gd name="connsiteY3816" fmla="*/ 1143911 h 6858000"/>
              <a:gd name="connsiteX3817" fmla="*/ 5055949 w 12188651"/>
              <a:gd name="connsiteY3817" fmla="*/ 1337066 h 6858000"/>
              <a:gd name="connsiteX3818" fmla="*/ 4722183 w 12188651"/>
              <a:gd name="connsiteY3818" fmla="*/ 1143920 h 6858000"/>
              <a:gd name="connsiteX3819" fmla="*/ 4722183 w 12188651"/>
              <a:gd name="connsiteY3819" fmla="*/ 757740 h 6858000"/>
              <a:gd name="connsiteX3820" fmla="*/ 3002159 w 12188651"/>
              <a:gd name="connsiteY3820" fmla="*/ 564571 h 6858000"/>
              <a:gd name="connsiteX3821" fmla="*/ 3016027 w 12188651"/>
              <a:gd name="connsiteY3821" fmla="*/ 572597 h 6858000"/>
              <a:gd name="connsiteX3822" fmla="*/ 3335897 w 12188651"/>
              <a:gd name="connsiteY3822" fmla="*/ 757711 h 6858000"/>
              <a:gd name="connsiteX3823" fmla="*/ 3335897 w 12188651"/>
              <a:gd name="connsiteY3823" fmla="*/ 1143896 h 6858000"/>
              <a:gd name="connsiteX3824" fmla="*/ 3002127 w 12188651"/>
              <a:gd name="connsiteY3824" fmla="*/ 1337052 h 6858000"/>
              <a:gd name="connsiteX3825" fmla="*/ 2668394 w 12188651"/>
              <a:gd name="connsiteY3825" fmla="*/ 1143911 h 6858000"/>
              <a:gd name="connsiteX3826" fmla="*/ 2668394 w 12188651"/>
              <a:gd name="connsiteY3826" fmla="*/ 757727 h 6858000"/>
              <a:gd name="connsiteX3827" fmla="*/ 948179 w 12188651"/>
              <a:gd name="connsiteY3827" fmla="*/ 564556 h 6858000"/>
              <a:gd name="connsiteX3828" fmla="*/ 1281917 w 12188651"/>
              <a:gd name="connsiteY3828" fmla="*/ 757697 h 6858000"/>
              <a:gd name="connsiteX3829" fmla="*/ 1281917 w 12188651"/>
              <a:gd name="connsiteY3829" fmla="*/ 1143881 h 6858000"/>
              <a:gd name="connsiteX3830" fmla="*/ 948154 w 12188651"/>
              <a:gd name="connsiteY3830" fmla="*/ 1337037 h 6858000"/>
              <a:gd name="connsiteX3831" fmla="*/ 740385 w 12188651"/>
              <a:gd name="connsiteY3831" fmla="*/ 1216797 h 6858000"/>
              <a:gd name="connsiteX3832" fmla="*/ 614417 w 12188651"/>
              <a:gd name="connsiteY3832" fmla="*/ 1143897 h 6858000"/>
              <a:gd name="connsiteX3833" fmla="*/ 614417 w 12188651"/>
              <a:gd name="connsiteY3833" fmla="*/ 757713 h 6858000"/>
              <a:gd name="connsiteX3834" fmla="*/ 10875809 w 12188651"/>
              <a:gd name="connsiteY3834" fmla="*/ 366803 h 6858000"/>
              <a:gd name="connsiteX3835" fmla="*/ 11201256 w 12188651"/>
              <a:gd name="connsiteY3835" fmla="*/ 555149 h 6858000"/>
              <a:gd name="connsiteX3836" fmla="*/ 10875678 w 12188651"/>
              <a:gd name="connsiteY3836" fmla="*/ 743498 h 6858000"/>
              <a:gd name="connsiteX3837" fmla="*/ 10550231 w 12188651"/>
              <a:gd name="connsiteY3837" fmla="*/ 555149 h 6858000"/>
              <a:gd name="connsiteX3838" fmla="*/ 8821860 w 12188651"/>
              <a:gd name="connsiteY3838" fmla="*/ 366789 h 6858000"/>
              <a:gd name="connsiteX3839" fmla="*/ 9147308 w 12188651"/>
              <a:gd name="connsiteY3839" fmla="*/ 555135 h 6858000"/>
              <a:gd name="connsiteX3840" fmla="*/ 8821731 w 12188651"/>
              <a:gd name="connsiteY3840" fmla="*/ 743485 h 6858000"/>
              <a:gd name="connsiteX3841" fmla="*/ 8496282 w 12188651"/>
              <a:gd name="connsiteY3841" fmla="*/ 555135 h 6858000"/>
              <a:gd name="connsiteX3842" fmla="*/ 6768043 w 12188651"/>
              <a:gd name="connsiteY3842" fmla="*/ 366774 h 6858000"/>
              <a:gd name="connsiteX3843" fmla="*/ 7093491 w 12188651"/>
              <a:gd name="connsiteY3843" fmla="*/ 555121 h 6858000"/>
              <a:gd name="connsiteX3844" fmla="*/ 6767913 w 12188651"/>
              <a:gd name="connsiteY3844" fmla="*/ 743469 h 6858000"/>
              <a:gd name="connsiteX3845" fmla="*/ 6442466 w 12188651"/>
              <a:gd name="connsiteY3845" fmla="*/ 555121 h 6858000"/>
              <a:gd name="connsiteX3846" fmla="*/ 4714128 w 12188651"/>
              <a:gd name="connsiteY3846" fmla="*/ 366759 h 6858000"/>
              <a:gd name="connsiteX3847" fmla="*/ 5039593 w 12188651"/>
              <a:gd name="connsiteY3847" fmla="*/ 555101 h 6858000"/>
              <a:gd name="connsiteX3848" fmla="*/ 4713993 w 12188651"/>
              <a:gd name="connsiteY3848" fmla="*/ 743455 h 6858000"/>
              <a:gd name="connsiteX3849" fmla="*/ 4388549 w 12188651"/>
              <a:gd name="connsiteY3849" fmla="*/ 555110 h 6858000"/>
              <a:gd name="connsiteX3850" fmla="*/ 2660353 w 12188651"/>
              <a:gd name="connsiteY3850" fmla="*/ 366745 h 6858000"/>
              <a:gd name="connsiteX3851" fmla="*/ 2961041 w 12188651"/>
              <a:gd name="connsiteY3851" fmla="*/ 540764 h 6858000"/>
              <a:gd name="connsiteX3852" fmla="*/ 2985786 w 12188651"/>
              <a:gd name="connsiteY3852" fmla="*/ 555084 h 6858000"/>
              <a:gd name="connsiteX3853" fmla="*/ 2660196 w 12188651"/>
              <a:gd name="connsiteY3853" fmla="*/ 743441 h 6858000"/>
              <a:gd name="connsiteX3854" fmla="*/ 2334766 w 12188651"/>
              <a:gd name="connsiteY3854" fmla="*/ 555101 h 6858000"/>
              <a:gd name="connsiteX3855" fmla="*/ 606375 w 12188651"/>
              <a:gd name="connsiteY3855" fmla="*/ 366730 h 6858000"/>
              <a:gd name="connsiteX3856" fmla="*/ 931808 w 12188651"/>
              <a:gd name="connsiteY3856" fmla="*/ 555071 h 6858000"/>
              <a:gd name="connsiteX3857" fmla="*/ 606218 w 12188651"/>
              <a:gd name="connsiteY3857" fmla="*/ 743426 h 6858000"/>
              <a:gd name="connsiteX3858" fmla="*/ 280784 w 12188651"/>
              <a:gd name="connsiteY3858" fmla="*/ 555086 h 6858000"/>
              <a:gd name="connsiteX3859" fmla="*/ 12140685 w 12188651"/>
              <a:gd name="connsiteY3859" fmla="*/ 202966 h 6858000"/>
              <a:gd name="connsiteX3860" fmla="*/ 12168445 w 12188651"/>
              <a:gd name="connsiteY3860" fmla="*/ 214509 h 6858000"/>
              <a:gd name="connsiteX3861" fmla="*/ 12188651 w 12188651"/>
              <a:gd name="connsiteY3861" fmla="*/ 234757 h 6858000"/>
              <a:gd name="connsiteX3862" fmla="*/ 12188651 w 12188651"/>
              <a:gd name="connsiteY3862" fmla="*/ 503007 h 6858000"/>
              <a:gd name="connsiteX3863" fmla="*/ 12034576 w 12188651"/>
              <a:gd name="connsiteY3863" fmla="*/ 348641 h 6858000"/>
              <a:gd name="connsiteX3864" fmla="*/ 12034576 w 12188651"/>
              <a:gd name="connsiteY3864" fmla="*/ 293253 h 6858000"/>
              <a:gd name="connsiteX3865" fmla="*/ 12113056 w 12188651"/>
              <a:gd name="connsiteY3865" fmla="*/ 214509 h 6858000"/>
              <a:gd name="connsiteX3866" fmla="*/ 12140685 w 12188651"/>
              <a:gd name="connsiteY3866" fmla="*/ 202966 h 6858000"/>
              <a:gd name="connsiteX3867" fmla="*/ 10086867 w 12188651"/>
              <a:gd name="connsiteY3867" fmla="*/ 202950 h 6858000"/>
              <a:gd name="connsiteX3868" fmla="*/ 10114626 w 12188651"/>
              <a:gd name="connsiteY3868" fmla="*/ 214495 h 6858000"/>
              <a:gd name="connsiteX3869" fmla="*/ 10179226 w 12188651"/>
              <a:gd name="connsiteY3869" fmla="*/ 279226 h 6858000"/>
              <a:gd name="connsiteX3870" fmla="*/ 10190770 w 12188651"/>
              <a:gd name="connsiteY3870" fmla="*/ 290903 h 6858000"/>
              <a:gd name="connsiteX3871" fmla="*/ 10202315 w 12188651"/>
              <a:gd name="connsiteY3871" fmla="*/ 279226 h 6858000"/>
              <a:gd name="connsiteX3872" fmla="*/ 10266786 w 12188651"/>
              <a:gd name="connsiteY3872" fmla="*/ 214495 h 6858000"/>
              <a:gd name="connsiteX3873" fmla="*/ 10294543 w 12188651"/>
              <a:gd name="connsiteY3873" fmla="*/ 202950 h 6858000"/>
              <a:gd name="connsiteX3874" fmla="*/ 10322173 w 12188651"/>
              <a:gd name="connsiteY3874" fmla="*/ 214495 h 6858000"/>
              <a:gd name="connsiteX3875" fmla="*/ 10400653 w 12188651"/>
              <a:gd name="connsiteY3875" fmla="*/ 293106 h 6858000"/>
              <a:gd name="connsiteX3876" fmla="*/ 10412198 w 12188651"/>
              <a:gd name="connsiteY3876" fmla="*/ 320867 h 6858000"/>
              <a:gd name="connsiteX3877" fmla="*/ 10400783 w 12188651"/>
              <a:gd name="connsiteY3877" fmla="*/ 348627 h 6858000"/>
              <a:gd name="connsiteX3878" fmla="*/ 10190770 w 12188651"/>
              <a:gd name="connsiteY3878" fmla="*/ 559036 h 6858000"/>
              <a:gd name="connsiteX3879" fmla="*/ 9980757 w 12188651"/>
              <a:gd name="connsiteY3879" fmla="*/ 348627 h 6858000"/>
              <a:gd name="connsiteX3880" fmla="*/ 9980757 w 12188651"/>
              <a:gd name="connsiteY3880" fmla="*/ 293236 h 6858000"/>
              <a:gd name="connsiteX3881" fmla="*/ 10059237 w 12188651"/>
              <a:gd name="connsiteY3881" fmla="*/ 214495 h 6858000"/>
              <a:gd name="connsiteX3882" fmla="*/ 10086867 w 12188651"/>
              <a:gd name="connsiteY3882" fmla="*/ 202950 h 6858000"/>
              <a:gd name="connsiteX3883" fmla="*/ 8032919 w 12188651"/>
              <a:gd name="connsiteY3883" fmla="*/ 202936 h 6858000"/>
              <a:gd name="connsiteX3884" fmla="*/ 8060679 w 12188651"/>
              <a:gd name="connsiteY3884" fmla="*/ 214481 h 6858000"/>
              <a:gd name="connsiteX3885" fmla="*/ 8125278 w 12188651"/>
              <a:gd name="connsiteY3885" fmla="*/ 279212 h 6858000"/>
              <a:gd name="connsiteX3886" fmla="*/ 8136823 w 12188651"/>
              <a:gd name="connsiteY3886" fmla="*/ 290888 h 6858000"/>
              <a:gd name="connsiteX3887" fmla="*/ 8148368 w 12188651"/>
              <a:gd name="connsiteY3887" fmla="*/ 279212 h 6858000"/>
              <a:gd name="connsiteX3888" fmla="*/ 8212837 w 12188651"/>
              <a:gd name="connsiteY3888" fmla="*/ 214481 h 6858000"/>
              <a:gd name="connsiteX3889" fmla="*/ 8240596 w 12188651"/>
              <a:gd name="connsiteY3889" fmla="*/ 202936 h 6858000"/>
              <a:gd name="connsiteX3890" fmla="*/ 8268226 w 12188651"/>
              <a:gd name="connsiteY3890" fmla="*/ 214481 h 6858000"/>
              <a:gd name="connsiteX3891" fmla="*/ 8346707 w 12188651"/>
              <a:gd name="connsiteY3891" fmla="*/ 293091 h 6858000"/>
              <a:gd name="connsiteX3892" fmla="*/ 8358252 w 12188651"/>
              <a:gd name="connsiteY3892" fmla="*/ 320853 h 6858000"/>
              <a:gd name="connsiteX3893" fmla="*/ 8346837 w 12188651"/>
              <a:gd name="connsiteY3893" fmla="*/ 348613 h 6858000"/>
              <a:gd name="connsiteX3894" fmla="*/ 8136823 w 12188651"/>
              <a:gd name="connsiteY3894" fmla="*/ 559021 h 6858000"/>
              <a:gd name="connsiteX3895" fmla="*/ 7926811 w 12188651"/>
              <a:gd name="connsiteY3895" fmla="*/ 348613 h 6858000"/>
              <a:gd name="connsiteX3896" fmla="*/ 7926811 w 12188651"/>
              <a:gd name="connsiteY3896" fmla="*/ 293223 h 6858000"/>
              <a:gd name="connsiteX3897" fmla="*/ 8005289 w 12188651"/>
              <a:gd name="connsiteY3897" fmla="*/ 214481 h 6858000"/>
              <a:gd name="connsiteX3898" fmla="*/ 8032919 w 12188651"/>
              <a:gd name="connsiteY3898" fmla="*/ 202936 h 6858000"/>
              <a:gd name="connsiteX3899" fmla="*/ 5979111 w 12188651"/>
              <a:gd name="connsiteY3899" fmla="*/ 202922 h 6858000"/>
              <a:gd name="connsiteX3900" fmla="*/ 6006869 w 12188651"/>
              <a:gd name="connsiteY3900" fmla="*/ 214466 h 6858000"/>
              <a:gd name="connsiteX3901" fmla="*/ 6071463 w 12188651"/>
              <a:gd name="connsiteY3901" fmla="*/ 279197 h 6858000"/>
              <a:gd name="connsiteX3902" fmla="*/ 6083008 w 12188651"/>
              <a:gd name="connsiteY3902" fmla="*/ 290872 h 6858000"/>
              <a:gd name="connsiteX3903" fmla="*/ 6094550 w 12188651"/>
              <a:gd name="connsiteY3903" fmla="*/ 279197 h 6858000"/>
              <a:gd name="connsiteX3904" fmla="*/ 6159019 w 12188651"/>
              <a:gd name="connsiteY3904" fmla="*/ 214466 h 6858000"/>
              <a:gd name="connsiteX3905" fmla="*/ 6186779 w 12188651"/>
              <a:gd name="connsiteY3905" fmla="*/ 202922 h 6858000"/>
              <a:gd name="connsiteX3906" fmla="*/ 6214409 w 12188651"/>
              <a:gd name="connsiteY3906" fmla="*/ 214466 h 6858000"/>
              <a:gd name="connsiteX3907" fmla="*/ 6292888 w 12188651"/>
              <a:gd name="connsiteY3907" fmla="*/ 293078 h 6858000"/>
              <a:gd name="connsiteX3908" fmla="*/ 6304433 w 12188651"/>
              <a:gd name="connsiteY3908" fmla="*/ 320838 h 6858000"/>
              <a:gd name="connsiteX3909" fmla="*/ 6293017 w 12188651"/>
              <a:gd name="connsiteY3909" fmla="*/ 348599 h 6858000"/>
              <a:gd name="connsiteX3910" fmla="*/ 6083008 w 12188651"/>
              <a:gd name="connsiteY3910" fmla="*/ 559007 h 6858000"/>
              <a:gd name="connsiteX3911" fmla="*/ 5873007 w 12188651"/>
              <a:gd name="connsiteY3911" fmla="*/ 348599 h 6858000"/>
              <a:gd name="connsiteX3912" fmla="*/ 5873007 w 12188651"/>
              <a:gd name="connsiteY3912" fmla="*/ 293208 h 6858000"/>
              <a:gd name="connsiteX3913" fmla="*/ 5951485 w 12188651"/>
              <a:gd name="connsiteY3913" fmla="*/ 214466 h 6858000"/>
              <a:gd name="connsiteX3914" fmla="*/ 5979111 w 12188651"/>
              <a:gd name="connsiteY3914" fmla="*/ 202922 h 6858000"/>
              <a:gd name="connsiteX3915" fmla="*/ 3925350 w 12188651"/>
              <a:gd name="connsiteY3915" fmla="*/ 202907 h 6858000"/>
              <a:gd name="connsiteX3916" fmla="*/ 3953107 w 12188651"/>
              <a:gd name="connsiteY3916" fmla="*/ 214451 h 6858000"/>
              <a:gd name="connsiteX3917" fmla="*/ 4017710 w 12188651"/>
              <a:gd name="connsiteY3917" fmla="*/ 279184 h 6858000"/>
              <a:gd name="connsiteX3918" fmla="*/ 4029255 w 12188651"/>
              <a:gd name="connsiteY3918" fmla="*/ 290858 h 6858000"/>
              <a:gd name="connsiteX3919" fmla="*/ 4040802 w 12188651"/>
              <a:gd name="connsiteY3919" fmla="*/ 279184 h 6858000"/>
              <a:gd name="connsiteX3920" fmla="*/ 4105272 w 12188651"/>
              <a:gd name="connsiteY3920" fmla="*/ 214451 h 6858000"/>
              <a:gd name="connsiteX3921" fmla="*/ 4133033 w 12188651"/>
              <a:gd name="connsiteY3921" fmla="*/ 202907 h 6858000"/>
              <a:gd name="connsiteX3922" fmla="*/ 4160664 w 12188651"/>
              <a:gd name="connsiteY3922" fmla="*/ 214451 h 6858000"/>
              <a:gd name="connsiteX3923" fmla="*/ 4239091 w 12188651"/>
              <a:gd name="connsiteY3923" fmla="*/ 293063 h 6858000"/>
              <a:gd name="connsiteX3924" fmla="*/ 4250643 w 12188651"/>
              <a:gd name="connsiteY3924" fmla="*/ 320823 h 6858000"/>
              <a:gd name="connsiteX3925" fmla="*/ 4239218 w 12188651"/>
              <a:gd name="connsiteY3925" fmla="*/ 348583 h 6858000"/>
              <a:gd name="connsiteX3926" fmla="*/ 4029255 w 12188651"/>
              <a:gd name="connsiteY3926" fmla="*/ 558992 h 6858000"/>
              <a:gd name="connsiteX3927" fmla="*/ 3819236 w 12188651"/>
              <a:gd name="connsiteY3927" fmla="*/ 348583 h 6858000"/>
              <a:gd name="connsiteX3928" fmla="*/ 3819236 w 12188651"/>
              <a:gd name="connsiteY3928" fmla="*/ 293193 h 6858000"/>
              <a:gd name="connsiteX3929" fmla="*/ 3897721 w 12188651"/>
              <a:gd name="connsiteY3929" fmla="*/ 214451 h 6858000"/>
              <a:gd name="connsiteX3930" fmla="*/ 3925350 w 12188651"/>
              <a:gd name="connsiteY3930" fmla="*/ 202907 h 6858000"/>
              <a:gd name="connsiteX3931" fmla="*/ 1871377 w 12188651"/>
              <a:gd name="connsiteY3931" fmla="*/ 202891 h 6858000"/>
              <a:gd name="connsiteX3932" fmla="*/ 1899135 w 12188651"/>
              <a:gd name="connsiteY3932" fmla="*/ 214436 h 6858000"/>
              <a:gd name="connsiteX3933" fmla="*/ 1963735 w 12188651"/>
              <a:gd name="connsiteY3933" fmla="*/ 279169 h 6858000"/>
              <a:gd name="connsiteX3934" fmla="*/ 1975281 w 12188651"/>
              <a:gd name="connsiteY3934" fmla="*/ 290844 h 6858000"/>
              <a:gd name="connsiteX3935" fmla="*/ 1986824 w 12188651"/>
              <a:gd name="connsiteY3935" fmla="*/ 279169 h 6858000"/>
              <a:gd name="connsiteX3936" fmla="*/ 2051295 w 12188651"/>
              <a:gd name="connsiteY3936" fmla="*/ 214436 h 6858000"/>
              <a:gd name="connsiteX3937" fmla="*/ 2079054 w 12188651"/>
              <a:gd name="connsiteY3937" fmla="*/ 202891 h 6858000"/>
              <a:gd name="connsiteX3938" fmla="*/ 2106692 w 12188651"/>
              <a:gd name="connsiteY3938" fmla="*/ 214436 h 6858000"/>
              <a:gd name="connsiteX3939" fmla="*/ 2185175 w 12188651"/>
              <a:gd name="connsiteY3939" fmla="*/ 293048 h 6858000"/>
              <a:gd name="connsiteX3940" fmla="*/ 2196719 w 12188651"/>
              <a:gd name="connsiteY3940" fmla="*/ 320809 h 6858000"/>
              <a:gd name="connsiteX3941" fmla="*/ 2185303 w 12188651"/>
              <a:gd name="connsiteY3941" fmla="*/ 348569 h 6858000"/>
              <a:gd name="connsiteX3942" fmla="*/ 1975281 w 12188651"/>
              <a:gd name="connsiteY3942" fmla="*/ 558978 h 6858000"/>
              <a:gd name="connsiteX3943" fmla="*/ 1765268 w 12188651"/>
              <a:gd name="connsiteY3943" fmla="*/ 348569 h 6858000"/>
              <a:gd name="connsiteX3944" fmla="*/ 1765268 w 12188651"/>
              <a:gd name="connsiteY3944" fmla="*/ 293179 h 6858000"/>
              <a:gd name="connsiteX3945" fmla="*/ 1843747 w 12188651"/>
              <a:gd name="connsiteY3945" fmla="*/ 214436 h 6858000"/>
              <a:gd name="connsiteX3946" fmla="*/ 1871377 w 12188651"/>
              <a:gd name="connsiteY3946" fmla="*/ 202891 h 6858000"/>
              <a:gd name="connsiteX3947" fmla="*/ 25217 w 12188651"/>
              <a:gd name="connsiteY3947" fmla="*/ 202877 h 6858000"/>
              <a:gd name="connsiteX3948" fmla="*/ 52846 w 12188651"/>
              <a:gd name="connsiteY3948" fmla="*/ 214422 h 6858000"/>
              <a:gd name="connsiteX3949" fmla="*/ 131324 w 12188651"/>
              <a:gd name="connsiteY3949" fmla="*/ 293033 h 6858000"/>
              <a:gd name="connsiteX3950" fmla="*/ 142867 w 12188651"/>
              <a:gd name="connsiteY3950" fmla="*/ 320794 h 6858000"/>
              <a:gd name="connsiteX3951" fmla="*/ 131454 w 12188651"/>
              <a:gd name="connsiteY3951" fmla="*/ 348554 h 6858000"/>
              <a:gd name="connsiteX3952" fmla="*/ 0 w 12188651"/>
              <a:gd name="connsiteY3952" fmla="*/ 480257 h 6858000"/>
              <a:gd name="connsiteX3953" fmla="*/ 0 w 12188651"/>
              <a:gd name="connsiteY3953" fmla="*/ 213364 h 6858000"/>
              <a:gd name="connsiteX3954" fmla="*/ 10086867 w 12188651"/>
              <a:gd name="connsiteY3954" fmla="*/ 186475 h 6858000"/>
              <a:gd name="connsiteX3955" fmla="*/ 10047692 w 12188651"/>
              <a:gd name="connsiteY3955" fmla="*/ 202821 h 6858000"/>
              <a:gd name="connsiteX3956" fmla="*/ 9969212 w 12188651"/>
              <a:gd name="connsiteY3956" fmla="*/ 281561 h 6858000"/>
              <a:gd name="connsiteX3957" fmla="*/ 9969212 w 12188651"/>
              <a:gd name="connsiteY3957" fmla="*/ 360173 h 6858000"/>
              <a:gd name="connsiteX3958" fmla="*/ 10190770 w 12188651"/>
              <a:gd name="connsiteY3958" fmla="*/ 582255 h 6858000"/>
              <a:gd name="connsiteX3959" fmla="*/ 10412328 w 12188651"/>
              <a:gd name="connsiteY3959" fmla="*/ 360173 h 6858000"/>
              <a:gd name="connsiteX3960" fmla="*/ 10412328 w 12188651"/>
              <a:gd name="connsiteY3960" fmla="*/ 281561 h 6858000"/>
              <a:gd name="connsiteX3961" fmla="*/ 10333848 w 12188651"/>
              <a:gd name="connsiteY3961" fmla="*/ 202950 h 6858000"/>
              <a:gd name="connsiteX3962" fmla="*/ 10294673 w 12188651"/>
              <a:gd name="connsiteY3962" fmla="*/ 186606 h 6858000"/>
              <a:gd name="connsiteX3963" fmla="*/ 10294543 w 12188651"/>
              <a:gd name="connsiteY3963" fmla="*/ 186475 h 6858000"/>
              <a:gd name="connsiteX3964" fmla="*/ 10255241 w 12188651"/>
              <a:gd name="connsiteY3964" fmla="*/ 202950 h 6858000"/>
              <a:gd name="connsiteX3965" fmla="*/ 10190770 w 12188651"/>
              <a:gd name="connsiteY3965" fmla="*/ 267553 h 6858000"/>
              <a:gd name="connsiteX3966" fmla="*/ 10126171 w 12188651"/>
              <a:gd name="connsiteY3966" fmla="*/ 202821 h 6858000"/>
              <a:gd name="connsiteX3967" fmla="*/ 10086867 w 12188651"/>
              <a:gd name="connsiteY3967" fmla="*/ 186475 h 6858000"/>
              <a:gd name="connsiteX3968" fmla="*/ 8032919 w 12188651"/>
              <a:gd name="connsiteY3968" fmla="*/ 186461 h 6858000"/>
              <a:gd name="connsiteX3969" fmla="*/ 7993744 w 12188651"/>
              <a:gd name="connsiteY3969" fmla="*/ 202806 h 6858000"/>
              <a:gd name="connsiteX3970" fmla="*/ 7915266 w 12188651"/>
              <a:gd name="connsiteY3970" fmla="*/ 281547 h 6858000"/>
              <a:gd name="connsiteX3971" fmla="*/ 7915266 w 12188651"/>
              <a:gd name="connsiteY3971" fmla="*/ 360159 h 6858000"/>
              <a:gd name="connsiteX3972" fmla="*/ 8136823 w 12188651"/>
              <a:gd name="connsiteY3972" fmla="*/ 582242 h 6858000"/>
              <a:gd name="connsiteX3973" fmla="*/ 8358382 w 12188651"/>
              <a:gd name="connsiteY3973" fmla="*/ 360159 h 6858000"/>
              <a:gd name="connsiteX3974" fmla="*/ 8358382 w 12188651"/>
              <a:gd name="connsiteY3974" fmla="*/ 281547 h 6858000"/>
              <a:gd name="connsiteX3975" fmla="*/ 8279902 w 12188651"/>
              <a:gd name="connsiteY3975" fmla="*/ 202936 h 6858000"/>
              <a:gd name="connsiteX3976" fmla="*/ 8240727 w 12188651"/>
              <a:gd name="connsiteY3976" fmla="*/ 186591 h 6858000"/>
              <a:gd name="connsiteX3977" fmla="*/ 8240596 w 12188651"/>
              <a:gd name="connsiteY3977" fmla="*/ 186461 h 6858000"/>
              <a:gd name="connsiteX3978" fmla="*/ 8201292 w 12188651"/>
              <a:gd name="connsiteY3978" fmla="*/ 202936 h 6858000"/>
              <a:gd name="connsiteX3979" fmla="*/ 8136823 w 12188651"/>
              <a:gd name="connsiteY3979" fmla="*/ 267537 h 6858000"/>
              <a:gd name="connsiteX3980" fmla="*/ 8072224 w 12188651"/>
              <a:gd name="connsiteY3980" fmla="*/ 202806 h 6858000"/>
              <a:gd name="connsiteX3981" fmla="*/ 8032919 w 12188651"/>
              <a:gd name="connsiteY3981" fmla="*/ 186461 h 6858000"/>
              <a:gd name="connsiteX3982" fmla="*/ 5979111 w 12188651"/>
              <a:gd name="connsiteY3982" fmla="*/ 186446 h 6858000"/>
              <a:gd name="connsiteX3983" fmla="*/ 5939940 w 12188651"/>
              <a:gd name="connsiteY3983" fmla="*/ 202790 h 6858000"/>
              <a:gd name="connsiteX3984" fmla="*/ 5861464 w 12188651"/>
              <a:gd name="connsiteY3984" fmla="*/ 281532 h 6858000"/>
              <a:gd name="connsiteX3985" fmla="*/ 5861464 w 12188651"/>
              <a:gd name="connsiteY3985" fmla="*/ 360144 h 6858000"/>
              <a:gd name="connsiteX3986" fmla="*/ 6083008 w 12188651"/>
              <a:gd name="connsiteY3986" fmla="*/ 582227 h 6858000"/>
              <a:gd name="connsiteX3987" fmla="*/ 6304562 w 12188651"/>
              <a:gd name="connsiteY3987" fmla="*/ 360144 h 6858000"/>
              <a:gd name="connsiteX3988" fmla="*/ 6304562 w 12188651"/>
              <a:gd name="connsiteY3988" fmla="*/ 281532 h 6858000"/>
              <a:gd name="connsiteX3989" fmla="*/ 6226084 w 12188651"/>
              <a:gd name="connsiteY3989" fmla="*/ 202922 h 6858000"/>
              <a:gd name="connsiteX3990" fmla="*/ 6186909 w 12188651"/>
              <a:gd name="connsiteY3990" fmla="*/ 186576 h 6858000"/>
              <a:gd name="connsiteX3991" fmla="*/ 6186779 w 12188651"/>
              <a:gd name="connsiteY3991" fmla="*/ 186446 h 6858000"/>
              <a:gd name="connsiteX3992" fmla="*/ 6147474 w 12188651"/>
              <a:gd name="connsiteY3992" fmla="*/ 202922 h 6858000"/>
              <a:gd name="connsiteX3993" fmla="*/ 6083008 w 12188651"/>
              <a:gd name="connsiteY3993" fmla="*/ 267522 h 6858000"/>
              <a:gd name="connsiteX3994" fmla="*/ 6018412 w 12188651"/>
              <a:gd name="connsiteY3994" fmla="*/ 202790 h 6858000"/>
              <a:gd name="connsiteX3995" fmla="*/ 5979111 w 12188651"/>
              <a:gd name="connsiteY3995" fmla="*/ 186446 h 6858000"/>
              <a:gd name="connsiteX3996" fmla="*/ 3925350 w 12188651"/>
              <a:gd name="connsiteY3996" fmla="*/ 186431 h 6858000"/>
              <a:gd name="connsiteX3997" fmla="*/ 3886173 w 12188651"/>
              <a:gd name="connsiteY3997" fmla="*/ 202777 h 6858000"/>
              <a:gd name="connsiteX3998" fmla="*/ 3807690 w 12188651"/>
              <a:gd name="connsiteY3998" fmla="*/ 281518 h 6858000"/>
              <a:gd name="connsiteX3999" fmla="*/ 3807690 w 12188651"/>
              <a:gd name="connsiteY3999" fmla="*/ 360128 h 6858000"/>
              <a:gd name="connsiteX4000" fmla="*/ 4029255 w 12188651"/>
              <a:gd name="connsiteY4000" fmla="*/ 582213 h 6858000"/>
              <a:gd name="connsiteX4001" fmla="*/ 4250768 w 12188651"/>
              <a:gd name="connsiteY4001" fmla="*/ 360128 h 6858000"/>
              <a:gd name="connsiteX4002" fmla="*/ 4250768 w 12188651"/>
              <a:gd name="connsiteY4002" fmla="*/ 281518 h 6858000"/>
              <a:gd name="connsiteX4003" fmla="*/ 4172338 w 12188651"/>
              <a:gd name="connsiteY4003" fmla="*/ 202907 h 6858000"/>
              <a:gd name="connsiteX4004" fmla="*/ 4133162 w 12188651"/>
              <a:gd name="connsiteY4004" fmla="*/ 186561 h 6858000"/>
              <a:gd name="connsiteX4005" fmla="*/ 4133033 w 12188651"/>
              <a:gd name="connsiteY4005" fmla="*/ 186431 h 6858000"/>
              <a:gd name="connsiteX4006" fmla="*/ 4093728 w 12188651"/>
              <a:gd name="connsiteY4006" fmla="*/ 202907 h 6858000"/>
              <a:gd name="connsiteX4007" fmla="*/ 4029255 w 12188651"/>
              <a:gd name="connsiteY4007" fmla="*/ 267508 h 6858000"/>
              <a:gd name="connsiteX4008" fmla="*/ 3964656 w 12188651"/>
              <a:gd name="connsiteY4008" fmla="*/ 202777 h 6858000"/>
              <a:gd name="connsiteX4009" fmla="*/ 3925350 w 12188651"/>
              <a:gd name="connsiteY4009" fmla="*/ 186431 h 6858000"/>
              <a:gd name="connsiteX4010" fmla="*/ 1871377 w 12188651"/>
              <a:gd name="connsiteY4010" fmla="*/ 186416 h 6858000"/>
              <a:gd name="connsiteX4011" fmla="*/ 1832202 w 12188651"/>
              <a:gd name="connsiteY4011" fmla="*/ 202761 h 6858000"/>
              <a:gd name="connsiteX4012" fmla="*/ 1753725 w 12188651"/>
              <a:gd name="connsiteY4012" fmla="*/ 281503 h 6858000"/>
              <a:gd name="connsiteX4013" fmla="*/ 1753725 w 12188651"/>
              <a:gd name="connsiteY4013" fmla="*/ 360115 h 6858000"/>
              <a:gd name="connsiteX4014" fmla="*/ 1975281 w 12188651"/>
              <a:gd name="connsiteY4014" fmla="*/ 582199 h 6858000"/>
              <a:gd name="connsiteX4015" fmla="*/ 2196847 w 12188651"/>
              <a:gd name="connsiteY4015" fmla="*/ 360115 h 6858000"/>
              <a:gd name="connsiteX4016" fmla="*/ 2196847 w 12188651"/>
              <a:gd name="connsiteY4016" fmla="*/ 281503 h 6858000"/>
              <a:gd name="connsiteX4017" fmla="*/ 2118368 w 12188651"/>
              <a:gd name="connsiteY4017" fmla="*/ 202891 h 6858000"/>
              <a:gd name="connsiteX4018" fmla="*/ 2079182 w 12188651"/>
              <a:gd name="connsiteY4018" fmla="*/ 186547 h 6858000"/>
              <a:gd name="connsiteX4019" fmla="*/ 2079054 w 12188651"/>
              <a:gd name="connsiteY4019" fmla="*/ 186416 h 6858000"/>
              <a:gd name="connsiteX4020" fmla="*/ 2039750 w 12188651"/>
              <a:gd name="connsiteY4020" fmla="*/ 202891 h 6858000"/>
              <a:gd name="connsiteX4021" fmla="*/ 1975281 w 12188651"/>
              <a:gd name="connsiteY4021" fmla="*/ 267493 h 6858000"/>
              <a:gd name="connsiteX4022" fmla="*/ 1910682 w 12188651"/>
              <a:gd name="connsiteY4022" fmla="*/ 202761 h 6858000"/>
              <a:gd name="connsiteX4023" fmla="*/ 1871377 w 12188651"/>
              <a:gd name="connsiteY4023" fmla="*/ 186416 h 6858000"/>
              <a:gd name="connsiteX4024" fmla="*/ 0 w 12188651"/>
              <a:gd name="connsiteY4024" fmla="*/ 16212 h 6858000"/>
              <a:gd name="connsiteX4025" fmla="*/ 255071 w 12188651"/>
              <a:gd name="connsiteY4025" fmla="*/ 163827 h 6858000"/>
              <a:gd name="connsiteX4026" fmla="*/ 255071 w 12188651"/>
              <a:gd name="connsiteY4026" fmla="*/ 550010 h 6858000"/>
              <a:gd name="connsiteX4027" fmla="*/ 0 w 12188651"/>
              <a:gd name="connsiteY4027" fmla="*/ 697625 h 6858000"/>
              <a:gd name="connsiteX4028" fmla="*/ 0 w 12188651"/>
              <a:gd name="connsiteY4028" fmla="*/ 503439 h 6858000"/>
              <a:gd name="connsiteX4029" fmla="*/ 143000 w 12188651"/>
              <a:gd name="connsiteY4029" fmla="*/ 360100 h 6858000"/>
              <a:gd name="connsiteX4030" fmla="*/ 143000 w 12188651"/>
              <a:gd name="connsiteY4030" fmla="*/ 281489 h 6858000"/>
              <a:gd name="connsiteX4031" fmla="*/ 64519 w 12188651"/>
              <a:gd name="connsiteY4031" fmla="*/ 202877 h 6858000"/>
              <a:gd name="connsiteX4032" fmla="*/ 25344 w 12188651"/>
              <a:gd name="connsiteY4032" fmla="*/ 186532 h 6858000"/>
              <a:gd name="connsiteX4033" fmla="*/ 25217 w 12188651"/>
              <a:gd name="connsiteY4033" fmla="*/ 186401 h 6858000"/>
              <a:gd name="connsiteX4034" fmla="*/ 4299 w 12188651"/>
              <a:gd name="connsiteY4034" fmla="*/ 190504 h 6858000"/>
              <a:gd name="connsiteX4035" fmla="*/ 0 w 12188651"/>
              <a:gd name="connsiteY4035" fmla="*/ 193396 h 6858000"/>
              <a:gd name="connsiteX4036" fmla="*/ 12188651 w 12188651"/>
              <a:gd name="connsiteY4036" fmla="*/ 3063 h 6858000"/>
              <a:gd name="connsiteX4037" fmla="*/ 12188651 w 12188651"/>
              <a:gd name="connsiteY4037" fmla="*/ 211515 h 6858000"/>
              <a:gd name="connsiteX4038" fmla="*/ 12179990 w 12188651"/>
              <a:gd name="connsiteY4038" fmla="*/ 202835 h 6858000"/>
              <a:gd name="connsiteX4039" fmla="*/ 12140685 w 12188651"/>
              <a:gd name="connsiteY4039" fmla="*/ 186490 h 6858000"/>
              <a:gd name="connsiteX4040" fmla="*/ 12101510 w 12188651"/>
              <a:gd name="connsiteY4040" fmla="*/ 202835 h 6858000"/>
              <a:gd name="connsiteX4041" fmla="*/ 12023031 w 12188651"/>
              <a:gd name="connsiteY4041" fmla="*/ 281576 h 6858000"/>
              <a:gd name="connsiteX4042" fmla="*/ 12023031 w 12188651"/>
              <a:gd name="connsiteY4042" fmla="*/ 360188 h 6858000"/>
              <a:gd name="connsiteX4043" fmla="*/ 12188651 w 12188651"/>
              <a:gd name="connsiteY4043" fmla="*/ 526200 h 6858000"/>
              <a:gd name="connsiteX4044" fmla="*/ 12188651 w 12188651"/>
              <a:gd name="connsiteY4044" fmla="*/ 710954 h 6858000"/>
              <a:gd name="connsiteX4045" fmla="*/ 11910696 w 12188651"/>
              <a:gd name="connsiteY4045" fmla="*/ 550094 h 6858000"/>
              <a:gd name="connsiteX4046" fmla="*/ 11910696 w 12188651"/>
              <a:gd name="connsiteY4046" fmla="*/ 163920 h 6858000"/>
              <a:gd name="connsiteX4047" fmla="*/ 11643950 w 12188651"/>
              <a:gd name="connsiteY4047" fmla="*/ 0 h 6858000"/>
              <a:gd name="connsiteX4048" fmla="*/ 12161201 w 12188651"/>
              <a:gd name="connsiteY4048" fmla="*/ 0 h 6858000"/>
              <a:gd name="connsiteX4049" fmla="*/ 11902524 w 12188651"/>
              <a:gd name="connsiteY4049" fmla="*/ 149646 h 6858000"/>
              <a:gd name="connsiteX4050" fmla="*/ 11509496 w 12188651"/>
              <a:gd name="connsiteY4050" fmla="*/ 0 h 6858000"/>
              <a:gd name="connsiteX4051" fmla="*/ 11609622 w 12188651"/>
              <a:gd name="connsiteY4051" fmla="*/ 0 h 6858000"/>
              <a:gd name="connsiteX4052" fmla="*/ 11893312 w 12188651"/>
              <a:gd name="connsiteY4052" fmla="*/ 164177 h 6858000"/>
              <a:gd name="connsiteX4053" fmla="*/ 11893312 w 12188651"/>
              <a:gd name="connsiteY4053" fmla="*/ 550471 h 6858000"/>
              <a:gd name="connsiteX4054" fmla="*/ 11559679 w 12188651"/>
              <a:gd name="connsiteY4054" fmla="*/ 743626 h 6858000"/>
              <a:gd name="connsiteX4055" fmla="*/ 11225916 w 12188651"/>
              <a:gd name="connsiteY4055" fmla="*/ 550471 h 6858000"/>
              <a:gd name="connsiteX4056" fmla="*/ 11225916 w 12188651"/>
              <a:gd name="connsiteY4056" fmla="*/ 164178 h 6858000"/>
              <a:gd name="connsiteX4057" fmla="*/ 10959725 w 12188651"/>
              <a:gd name="connsiteY4057" fmla="*/ 0 h 6858000"/>
              <a:gd name="connsiteX4058" fmla="*/ 11475502 w 12188651"/>
              <a:gd name="connsiteY4058" fmla="*/ 0 h 6858000"/>
              <a:gd name="connsiteX4059" fmla="*/ 11217614 w 12188651"/>
              <a:gd name="connsiteY4059" fmla="*/ 149246 h 6858000"/>
              <a:gd name="connsiteX4060" fmla="*/ 10883981 w 12188651"/>
              <a:gd name="connsiteY4060" fmla="*/ 0 h 6858000"/>
              <a:gd name="connsiteX4061" fmla="*/ 10925760 w 12188651"/>
              <a:gd name="connsiteY4061" fmla="*/ 0 h 6858000"/>
              <a:gd name="connsiteX4062" fmla="*/ 11209441 w 12188651"/>
              <a:gd name="connsiteY4062" fmla="*/ 164177 h 6858000"/>
              <a:gd name="connsiteX4063" fmla="*/ 11209441 w 12188651"/>
              <a:gd name="connsiteY4063" fmla="*/ 541003 h 6858000"/>
              <a:gd name="connsiteX4064" fmla="*/ 10883981 w 12188651"/>
              <a:gd name="connsiteY4064" fmla="*/ 352647 h 6858000"/>
              <a:gd name="connsiteX4065" fmla="*/ 10825841 w 12188651"/>
              <a:gd name="connsiteY4065" fmla="*/ 0 h 6858000"/>
              <a:gd name="connsiteX4066" fmla="*/ 10867636 w 12188651"/>
              <a:gd name="connsiteY4066" fmla="*/ 0 h 6858000"/>
              <a:gd name="connsiteX4067" fmla="*/ 10867636 w 12188651"/>
              <a:gd name="connsiteY4067" fmla="*/ 352647 h 6858000"/>
              <a:gd name="connsiteX4068" fmla="*/ 10542045 w 12188651"/>
              <a:gd name="connsiteY4068" fmla="*/ 541003 h 6858000"/>
              <a:gd name="connsiteX4069" fmla="*/ 10542045 w 12188651"/>
              <a:gd name="connsiteY4069" fmla="*/ 164178 h 6858000"/>
              <a:gd name="connsiteX4070" fmla="*/ 10273927 w 12188651"/>
              <a:gd name="connsiteY4070" fmla="*/ 0 h 6858000"/>
              <a:gd name="connsiteX4071" fmla="*/ 10791383 w 12188651"/>
              <a:gd name="connsiteY4071" fmla="*/ 0 h 6858000"/>
              <a:gd name="connsiteX4072" fmla="*/ 10532706 w 12188651"/>
              <a:gd name="connsiteY4072" fmla="*/ 149760 h 6858000"/>
              <a:gd name="connsiteX4073" fmla="*/ 10140095 w 12188651"/>
              <a:gd name="connsiteY4073" fmla="*/ 0 h 6858000"/>
              <a:gd name="connsiteX4074" fmla="*/ 10241185 w 12188651"/>
              <a:gd name="connsiteY4074" fmla="*/ 0 h 6858000"/>
              <a:gd name="connsiteX4075" fmla="*/ 10524404 w 12188651"/>
              <a:gd name="connsiteY4075" fmla="*/ 163905 h 6858000"/>
              <a:gd name="connsiteX4076" fmla="*/ 10524404 w 12188651"/>
              <a:gd name="connsiteY4076" fmla="*/ 550081 h 6858000"/>
              <a:gd name="connsiteX4077" fmla="*/ 10190640 w 12188651"/>
              <a:gd name="connsiteY4077" fmla="*/ 743237 h 6858000"/>
              <a:gd name="connsiteX4078" fmla="*/ 9856876 w 12188651"/>
              <a:gd name="connsiteY4078" fmla="*/ 550081 h 6858000"/>
              <a:gd name="connsiteX4079" fmla="*/ 9856876 w 12188651"/>
              <a:gd name="connsiteY4079" fmla="*/ 163905 h 6858000"/>
              <a:gd name="connsiteX4080" fmla="*/ 9590156 w 12188651"/>
              <a:gd name="connsiteY4080" fmla="*/ 0 h 6858000"/>
              <a:gd name="connsiteX4081" fmla="*/ 10107355 w 12188651"/>
              <a:gd name="connsiteY4081" fmla="*/ 0 h 6858000"/>
              <a:gd name="connsiteX4082" fmla="*/ 9848703 w 12188651"/>
              <a:gd name="connsiteY4082" fmla="*/ 149632 h 6858000"/>
              <a:gd name="connsiteX4083" fmla="*/ 9455523 w 12188651"/>
              <a:gd name="connsiteY4083" fmla="*/ 0 h 6858000"/>
              <a:gd name="connsiteX4084" fmla="*/ 9555699 w 12188651"/>
              <a:gd name="connsiteY4084" fmla="*/ 0 h 6858000"/>
              <a:gd name="connsiteX4085" fmla="*/ 9839364 w 12188651"/>
              <a:gd name="connsiteY4085" fmla="*/ 164163 h 6858000"/>
              <a:gd name="connsiteX4086" fmla="*/ 9839364 w 12188651"/>
              <a:gd name="connsiteY4086" fmla="*/ 550457 h 6858000"/>
              <a:gd name="connsiteX4087" fmla="*/ 9505732 w 12188651"/>
              <a:gd name="connsiteY4087" fmla="*/ 743612 h 6858000"/>
              <a:gd name="connsiteX4088" fmla="*/ 9171969 w 12188651"/>
              <a:gd name="connsiteY4088" fmla="*/ 550457 h 6858000"/>
              <a:gd name="connsiteX4089" fmla="*/ 9171969 w 12188651"/>
              <a:gd name="connsiteY4089" fmla="*/ 164163 h 6858000"/>
              <a:gd name="connsiteX4090" fmla="*/ 8905803 w 12188651"/>
              <a:gd name="connsiteY4090" fmla="*/ 0 h 6858000"/>
              <a:gd name="connsiteX4091" fmla="*/ 9421530 w 12188651"/>
              <a:gd name="connsiteY4091" fmla="*/ 0 h 6858000"/>
              <a:gd name="connsiteX4092" fmla="*/ 9163666 w 12188651"/>
              <a:gd name="connsiteY4092" fmla="*/ 149231 h 6858000"/>
              <a:gd name="connsiteX4093" fmla="*/ 8830033 w 12188651"/>
              <a:gd name="connsiteY4093" fmla="*/ 0 h 6858000"/>
              <a:gd name="connsiteX4094" fmla="*/ 8871836 w 12188651"/>
              <a:gd name="connsiteY4094" fmla="*/ 0 h 6858000"/>
              <a:gd name="connsiteX4095" fmla="*/ 9155493 w 12188651"/>
              <a:gd name="connsiteY4095" fmla="*/ 164163 h 6858000"/>
              <a:gd name="connsiteX4096" fmla="*/ 9155493 w 12188651"/>
              <a:gd name="connsiteY4096" fmla="*/ 540989 h 6858000"/>
              <a:gd name="connsiteX4097" fmla="*/ 8830033 w 12188651"/>
              <a:gd name="connsiteY4097" fmla="*/ 352632 h 6858000"/>
              <a:gd name="connsiteX4098" fmla="*/ 8771868 w 12188651"/>
              <a:gd name="connsiteY4098" fmla="*/ 0 h 6858000"/>
              <a:gd name="connsiteX4099" fmla="*/ 8813688 w 12188651"/>
              <a:gd name="connsiteY4099" fmla="*/ 0 h 6858000"/>
              <a:gd name="connsiteX4100" fmla="*/ 8813688 w 12188651"/>
              <a:gd name="connsiteY4100" fmla="*/ 352633 h 6858000"/>
              <a:gd name="connsiteX4101" fmla="*/ 8488098 w 12188651"/>
              <a:gd name="connsiteY4101" fmla="*/ 540989 h 6858000"/>
              <a:gd name="connsiteX4102" fmla="*/ 8488098 w 12188651"/>
              <a:gd name="connsiteY4102" fmla="*/ 164163 h 6858000"/>
              <a:gd name="connsiteX4103" fmla="*/ 8220006 w 12188651"/>
              <a:gd name="connsiteY4103" fmla="*/ 0 h 6858000"/>
              <a:gd name="connsiteX4104" fmla="*/ 8737411 w 12188651"/>
              <a:gd name="connsiteY4104" fmla="*/ 0 h 6858000"/>
              <a:gd name="connsiteX4105" fmla="*/ 8478758 w 12188651"/>
              <a:gd name="connsiteY4105" fmla="*/ 149746 h 6858000"/>
              <a:gd name="connsiteX4106" fmla="*/ 8086123 w 12188651"/>
              <a:gd name="connsiteY4106" fmla="*/ 0 h 6858000"/>
              <a:gd name="connsiteX4107" fmla="*/ 8187263 w 12188651"/>
              <a:gd name="connsiteY4107" fmla="*/ 0 h 6858000"/>
              <a:gd name="connsiteX4108" fmla="*/ 8470456 w 12188651"/>
              <a:gd name="connsiteY4108" fmla="*/ 163890 h 6858000"/>
              <a:gd name="connsiteX4109" fmla="*/ 8470456 w 12188651"/>
              <a:gd name="connsiteY4109" fmla="*/ 550066 h 6858000"/>
              <a:gd name="connsiteX4110" fmla="*/ 8136693 w 12188651"/>
              <a:gd name="connsiteY4110" fmla="*/ 743223 h 6858000"/>
              <a:gd name="connsiteX4111" fmla="*/ 7802930 w 12188651"/>
              <a:gd name="connsiteY4111" fmla="*/ 550066 h 6858000"/>
              <a:gd name="connsiteX4112" fmla="*/ 7802930 w 12188651"/>
              <a:gd name="connsiteY4112" fmla="*/ 163890 h 6858000"/>
              <a:gd name="connsiteX4113" fmla="*/ 7536237 w 12188651"/>
              <a:gd name="connsiteY4113" fmla="*/ 0 h 6858000"/>
              <a:gd name="connsiteX4114" fmla="*/ 8053383 w 12188651"/>
              <a:gd name="connsiteY4114" fmla="*/ 0 h 6858000"/>
              <a:gd name="connsiteX4115" fmla="*/ 7794758 w 12188651"/>
              <a:gd name="connsiteY4115" fmla="*/ 149616 h 6858000"/>
              <a:gd name="connsiteX4116" fmla="*/ 7401681 w 12188651"/>
              <a:gd name="connsiteY4116" fmla="*/ 0 h 6858000"/>
              <a:gd name="connsiteX4117" fmla="*/ 7501908 w 12188651"/>
              <a:gd name="connsiteY4117" fmla="*/ 0 h 6858000"/>
              <a:gd name="connsiteX4118" fmla="*/ 7785548 w 12188651"/>
              <a:gd name="connsiteY4118" fmla="*/ 164149 h 6858000"/>
              <a:gd name="connsiteX4119" fmla="*/ 7785548 w 12188651"/>
              <a:gd name="connsiteY4119" fmla="*/ 550443 h 6858000"/>
              <a:gd name="connsiteX4120" fmla="*/ 7451915 w 12188651"/>
              <a:gd name="connsiteY4120" fmla="*/ 743599 h 6858000"/>
              <a:gd name="connsiteX4121" fmla="*/ 7118150 w 12188651"/>
              <a:gd name="connsiteY4121" fmla="*/ 550443 h 6858000"/>
              <a:gd name="connsiteX4122" fmla="*/ 7118150 w 12188651"/>
              <a:gd name="connsiteY4122" fmla="*/ 164149 h 6858000"/>
              <a:gd name="connsiteX4123" fmla="*/ 6852010 w 12188651"/>
              <a:gd name="connsiteY4123" fmla="*/ 0 h 6858000"/>
              <a:gd name="connsiteX4124" fmla="*/ 7367688 w 12188651"/>
              <a:gd name="connsiteY4124" fmla="*/ 0 h 6858000"/>
              <a:gd name="connsiteX4125" fmla="*/ 7109850 w 12188651"/>
              <a:gd name="connsiteY4125" fmla="*/ 149217 h 6858000"/>
              <a:gd name="connsiteX4126" fmla="*/ 6776215 w 12188651"/>
              <a:gd name="connsiteY4126" fmla="*/ 0 h 6858000"/>
              <a:gd name="connsiteX4127" fmla="*/ 6818044 w 12188651"/>
              <a:gd name="connsiteY4127" fmla="*/ 0 h 6858000"/>
              <a:gd name="connsiteX4128" fmla="*/ 7101677 w 12188651"/>
              <a:gd name="connsiteY4128" fmla="*/ 164149 h 6858000"/>
              <a:gd name="connsiteX4129" fmla="*/ 7101677 w 12188651"/>
              <a:gd name="connsiteY4129" fmla="*/ 540974 h 6858000"/>
              <a:gd name="connsiteX4130" fmla="*/ 6776215 w 12188651"/>
              <a:gd name="connsiteY4130" fmla="*/ 352617 h 6858000"/>
              <a:gd name="connsiteX4131" fmla="*/ 6718025 w 12188651"/>
              <a:gd name="connsiteY4131" fmla="*/ 0 h 6858000"/>
              <a:gd name="connsiteX4132" fmla="*/ 6759871 w 12188651"/>
              <a:gd name="connsiteY4132" fmla="*/ 0 h 6858000"/>
              <a:gd name="connsiteX4133" fmla="*/ 6759871 w 12188651"/>
              <a:gd name="connsiteY4133" fmla="*/ 352617 h 6858000"/>
              <a:gd name="connsiteX4134" fmla="*/ 6434280 w 12188651"/>
              <a:gd name="connsiteY4134" fmla="*/ 540974 h 6858000"/>
              <a:gd name="connsiteX4135" fmla="*/ 6434280 w 12188651"/>
              <a:gd name="connsiteY4135" fmla="*/ 164149 h 6858000"/>
              <a:gd name="connsiteX4136" fmla="*/ 6166213 w 12188651"/>
              <a:gd name="connsiteY4136" fmla="*/ 0 h 6858000"/>
              <a:gd name="connsiteX4137" fmla="*/ 6683567 w 12188651"/>
              <a:gd name="connsiteY4137" fmla="*/ 0 h 6858000"/>
              <a:gd name="connsiteX4138" fmla="*/ 6424940 w 12188651"/>
              <a:gd name="connsiteY4138" fmla="*/ 149731 h 6858000"/>
              <a:gd name="connsiteX4139" fmla="*/ 6032286 w 12188651"/>
              <a:gd name="connsiteY4139" fmla="*/ 0 h 6858000"/>
              <a:gd name="connsiteX4140" fmla="*/ 6133471 w 12188651"/>
              <a:gd name="connsiteY4140" fmla="*/ 0 h 6858000"/>
              <a:gd name="connsiteX4141" fmla="*/ 6416638 w 12188651"/>
              <a:gd name="connsiteY4141" fmla="*/ 163875 h 6858000"/>
              <a:gd name="connsiteX4142" fmla="*/ 6416638 w 12188651"/>
              <a:gd name="connsiteY4142" fmla="*/ 550053 h 6858000"/>
              <a:gd name="connsiteX4143" fmla="*/ 6082876 w 12188651"/>
              <a:gd name="connsiteY4143" fmla="*/ 743207 h 6858000"/>
              <a:gd name="connsiteX4144" fmla="*/ 5749140 w 12188651"/>
              <a:gd name="connsiteY4144" fmla="*/ 550054 h 6858000"/>
              <a:gd name="connsiteX4145" fmla="*/ 5749140 w 12188651"/>
              <a:gd name="connsiteY4145" fmla="*/ 163875 h 6858000"/>
              <a:gd name="connsiteX4146" fmla="*/ 5482485 w 12188651"/>
              <a:gd name="connsiteY4146" fmla="*/ 0 h 6858000"/>
              <a:gd name="connsiteX4147" fmla="*/ 5999546 w 12188651"/>
              <a:gd name="connsiteY4147" fmla="*/ 0 h 6858000"/>
              <a:gd name="connsiteX4148" fmla="*/ 5740963 w 12188651"/>
              <a:gd name="connsiteY4148" fmla="*/ 149601 h 6858000"/>
              <a:gd name="connsiteX4149" fmla="*/ 5347761 w 12188651"/>
              <a:gd name="connsiteY4149" fmla="*/ 0 h 6858000"/>
              <a:gd name="connsiteX4150" fmla="*/ 5448034 w 12188651"/>
              <a:gd name="connsiteY4150" fmla="*/ 0 h 6858000"/>
              <a:gd name="connsiteX4151" fmla="*/ 5731618 w 12188651"/>
              <a:gd name="connsiteY4151" fmla="*/ 164130 h 6858000"/>
              <a:gd name="connsiteX4152" fmla="*/ 5731618 w 12188651"/>
              <a:gd name="connsiteY4152" fmla="*/ 550429 h 6858000"/>
              <a:gd name="connsiteX4153" fmla="*/ 5398000 w 12188651"/>
              <a:gd name="connsiteY4153" fmla="*/ 743584 h 6858000"/>
              <a:gd name="connsiteX4154" fmla="*/ 5064275 w 12188651"/>
              <a:gd name="connsiteY4154" fmla="*/ 550443 h 6858000"/>
              <a:gd name="connsiteX4155" fmla="*/ 5064275 w 12188651"/>
              <a:gd name="connsiteY4155" fmla="*/ 164134 h 6858000"/>
              <a:gd name="connsiteX4156" fmla="*/ 4798110 w 12188651"/>
              <a:gd name="connsiteY4156" fmla="*/ 0 h 6858000"/>
              <a:gd name="connsiteX4157" fmla="*/ 5313753 w 12188651"/>
              <a:gd name="connsiteY4157" fmla="*/ 0 h 6858000"/>
              <a:gd name="connsiteX4158" fmla="*/ 5055955 w 12188651"/>
              <a:gd name="connsiteY4158" fmla="*/ 149201 h 6858000"/>
              <a:gd name="connsiteX4159" fmla="*/ 4816718 w 12188651"/>
              <a:gd name="connsiteY4159" fmla="*/ 10771 h 6858000"/>
              <a:gd name="connsiteX4160" fmla="*/ 4722313 w 12188651"/>
              <a:gd name="connsiteY4160" fmla="*/ 0 h 6858000"/>
              <a:gd name="connsiteX4161" fmla="*/ 4764172 w 12188651"/>
              <a:gd name="connsiteY4161" fmla="*/ 0 h 6858000"/>
              <a:gd name="connsiteX4162" fmla="*/ 5047775 w 12188651"/>
              <a:gd name="connsiteY4162" fmla="*/ 164120 h 6858000"/>
              <a:gd name="connsiteX4163" fmla="*/ 5047775 w 12188651"/>
              <a:gd name="connsiteY4163" fmla="*/ 540960 h 6858000"/>
              <a:gd name="connsiteX4164" fmla="*/ 4722313 w 12188651"/>
              <a:gd name="connsiteY4164" fmla="*/ 352611 h 6858000"/>
              <a:gd name="connsiteX4165" fmla="*/ 4664088 w 12188651"/>
              <a:gd name="connsiteY4165" fmla="*/ 0 h 6858000"/>
              <a:gd name="connsiteX4166" fmla="*/ 4705942 w 12188651"/>
              <a:gd name="connsiteY4166" fmla="*/ 0 h 6858000"/>
              <a:gd name="connsiteX4167" fmla="*/ 4705942 w 12188651"/>
              <a:gd name="connsiteY4167" fmla="*/ 352603 h 6858000"/>
              <a:gd name="connsiteX4168" fmla="*/ 4380369 w 12188651"/>
              <a:gd name="connsiteY4168" fmla="*/ 540954 h 6858000"/>
              <a:gd name="connsiteX4169" fmla="*/ 4380369 w 12188651"/>
              <a:gd name="connsiteY4169" fmla="*/ 164134 h 6858000"/>
              <a:gd name="connsiteX4170" fmla="*/ 4112484 w 12188651"/>
              <a:gd name="connsiteY4170" fmla="*/ 0 h 6858000"/>
              <a:gd name="connsiteX4171" fmla="*/ 4629754 w 12188651"/>
              <a:gd name="connsiteY4171" fmla="*/ 0 h 6858000"/>
              <a:gd name="connsiteX4172" fmla="*/ 4371146 w 12188651"/>
              <a:gd name="connsiteY4172" fmla="*/ 149717 h 6858000"/>
              <a:gd name="connsiteX4173" fmla="*/ 3978507 w 12188651"/>
              <a:gd name="connsiteY4173" fmla="*/ 0 h 6858000"/>
              <a:gd name="connsiteX4174" fmla="*/ 4079738 w 12188651"/>
              <a:gd name="connsiteY4174" fmla="*/ 0 h 6858000"/>
              <a:gd name="connsiteX4175" fmla="*/ 4207107 w 12188651"/>
              <a:gd name="connsiteY4175" fmla="*/ 73731 h 6858000"/>
              <a:gd name="connsiteX4176" fmla="*/ 4362838 w 12188651"/>
              <a:gd name="connsiteY4176" fmla="*/ 163859 h 6858000"/>
              <a:gd name="connsiteX4177" fmla="*/ 4362838 w 12188651"/>
              <a:gd name="connsiteY4177" fmla="*/ 550038 h 6858000"/>
              <a:gd name="connsiteX4178" fmla="*/ 4029120 w 12188651"/>
              <a:gd name="connsiteY4178" fmla="*/ 743194 h 6858000"/>
              <a:gd name="connsiteX4179" fmla="*/ 3695368 w 12188651"/>
              <a:gd name="connsiteY4179" fmla="*/ 550042 h 6858000"/>
              <a:gd name="connsiteX4180" fmla="*/ 3695368 w 12188651"/>
              <a:gd name="connsiteY4180" fmla="*/ 163860 h 6858000"/>
              <a:gd name="connsiteX4181" fmla="*/ 3428727 w 12188651"/>
              <a:gd name="connsiteY4181" fmla="*/ 0 h 6858000"/>
              <a:gd name="connsiteX4182" fmla="*/ 3945759 w 12188651"/>
              <a:gd name="connsiteY4182" fmla="*/ 0 h 6858000"/>
              <a:gd name="connsiteX4183" fmla="*/ 3687190 w 12188651"/>
              <a:gd name="connsiteY4183" fmla="*/ 149586 h 6858000"/>
              <a:gd name="connsiteX4184" fmla="*/ 3293942 w 12188651"/>
              <a:gd name="connsiteY4184" fmla="*/ 0 h 6858000"/>
              <a:gd name="connsiteX4185" fmla="*/ 3394267 w 12188651"/>
              <a:gd name="connsiteY4185" fmla="*/ 0 h 6858000"/>
              <a:gd name="connsiteX4186" fmla="*/ 3677828 w 12188651"/>
              <a:gd name="connsiteY4186" fmla="*/ 164102 h 6858000"/>
              <a:gd name="connsiteX4187" fmla="*/ 3677828 w 12188651"/>
              <a:gd name="connsiteY4187" fmla="*/ 550415 h 6858000"/>
              <a:gd name="connsiteX4188" fmla="*/ 3344198 w 12188651"/>
              <a:gd name="connsiteY4188" fmla="*/ 743570 h 6858000"/>
              <a:gd name="connsiteX4189" fmla="*/ 3010461 w 12188651"/>
              <a:gd name="connsiteY4189" fmla="*/ 550429 h 6858000"/>
              <a:gd name="connsiteX4190" fmla="*/ 3010461 w 12188651"/>
              <a:gd name="connsiteY4190" fmla="*/ 164119 h 6858000"/>
              <a:gd name="connsiteX4191" fmla="*/ 2744346 w 12188651"/>
              <a:gd name="connsiteY4191" fmla="*/ 0 h 6858000"/>
              <a:gd name="connsiteX4192" fmla="*/ 3259920 w 12188651"/>
              <a:gd name="connsiteY4192" fmla="*/ 0 h 6858000"/>
              <a:gd name="connsiteX4193" fmla="*/ 3002133 w 12188651"/>
              <a:gd name="connsiteY4193" fmla="*/ 149187 h 6858000"/>
              <a:gd name="connsiteX4194" fmla="*/ 2867142 w 12188651"/>
              <a:gd name="connsiteY4194" fmla="*/ 71063 h 6858000"/>
              <a:gd name="connsiteX4195" fmla="*/ 2668523 w 12188651"/>
              <a:gd name="connsiteY4195" fmla="*/ 0 h 6858000"/>
              <a:gd name="connsiteX4196" fmla="*/ 2710404 w 12188651"/>
              <a:gd name="connsiteY4196" fmla="*/ 0 h 6858000"/>
              <a:gd name="connsiteX4197" fmla="*/ 2993958 w 12188651"/>
              <a:gd name="connsiteY4197" fmla="*/ 164103 h 6858000"/>
              <a:gd name="connsiteX4198" fmla="*/ 2993958 w 12188651"/>
              <a:gd name="connsiteY4198" fmla="*/ 540944 h 6858000"/>
              <a:gd name="connsiteX4199" fmla="*/ 2778118 w 12188651"/>
              <a:gd name="connsiteY4199" fmla="*/ 416029 h 6858000"/>
              <a:gd name="connsiteX4200" fmla="*/ 2737216 w 12188651"/>
              <a:gd name="connsiteY4200" fmla="*/ 392357 h 6858000"/>
              <a:gd name="connsiteX4201" fmla="*/ 2734179 w 12188651"/>
              <a:gd name="connsiteY4201" fmla="*/ 390600 h 6858000"/>
              <a:gd name="connsiteX4202" fmla="*/ 2668523 w 12188651"/>
              <a:gd name="connsiteY4202" fmla="*/ 352604 h 6858000"/>
              <a:gd name="connsiteX4203" fmla="*/ 2610283 w 12188651"/>
              <a:gd name="connsiteY4203" fmla="*/ 0 h 6858000"/>
              <a:gd name="connsiteX4204" fmla="*/ 2652154 w 12188651"/>
              <a:gd name="connsiteY4204" fmla="*/ 0 h 6858000"/>
              <a:gd name="connsiteX4205" fmla="*/ 2652154 w 12188651"/>
              <a:gd name="connsiteY4205" fmla="*/ 352589 h 6858000"/>
              <a:gd name="connsiteX4206" fmla="*/ 2326593 w 12188651"/>
              <a:gd name="connsiteY4206" fmla="*/ 540928 h 6858000"/>
              <a:gd name="connsiteX4207" fmla="*/ 2326593 w 12188651"/>
              <a:gd name="connsiteY4207" fmla="*/ 164119 h 6858000"/>
              <a:gd name="connsiteX4208" fmla="*/ 2058538 w 12188651"/>
              <a:gd name="connsiteY4208" fmla="*/ 0 h 6858000"/>
              <a:gd name="connsiteX4209" fmla="*/ 2575794 w 12188651"/>
              <a:gd name="connsiteY4209" fmla="*/ 0 h 6858000"/>
              <a:gd name="connsiteX4210" fmla="*/ 2317223 w 12188651"/>
              <a:gd name="connsiteY4210" fmla="*/ 149702 h 6858000"/>
              <a:gd name="connsiteX4211" fmla="*/ 2260282 w 12188651"/>
              <a:gd name="connsiteY4211" fmla="*/ 116749 h 6858000"/>
              <a:gd name="connsiteX4212" fmla="*/ 1924507 w 12188651"/>
              <a:gd name="connsiteY4212" fmla="*/ 0 h 6858000"/>
              <a:gd name="connsiteX4213" fmla="*/ 2025801 w 12188651"/>
              <a:gd name="connsiteY4213" fmla="*/ 0 h 6858000"/>
              <a:gd name="connsiteX4214" fmla="*/ 2308919 w 12188651"/>
              <a:gd name="connsiteY4214" fmla="*/ 163842 h 6858000"/>
              <a:gd name="connsiteX4215" fmla="*/ 2308919 w 12188651"/>
              <a:gd name="connsiteY4215" fmla="*/ 550024 h 6858000"/>
              <a:gd name="connsiteX4216" fmla="*/ 1975146 w 12188651"/>
              <a:gd name="connsiteY4216" fmla="*/ 743180 h 6858000"/>
              <a:gd name="connsiteX4217" fmla="*/ 1641391 w 12188651"/>
              <a:gd name="connsiteY4217" fmla="*/ 550028 h 6858000"/>
              <a:gd name="connsiteX4218" fmla="*/ 1641391 w 12188651"/>
              <a:gd name="connsiteY4218" fmla="*/ 163846 h 6858000"/>
              <a:gd name="connsiteX4219" fmla="*/ 1374768 w 12188651"/>
              <a:gd name="connsiteY4219" fmla="*/ 0 h 6858000"/>
              <a:gd name="connsiteX4220" fmla="*/ 1891761 w 12188651"/>
              <a:gd name="connsiteY4220" fmla="*/ 0 h 6858000"/>
              <a:gd name="connsiteX4221" fmla="*/ 1633212 w 12188651"/>
              <a:gd name="connsiteY4221" fmla="*/ 149572 h 6858000"/>
              <a:gd name="connsiteX4222" fmla="*/ 1239933 w 12188651"/>
              <a:gd name="connsiteY4222" fmla="*/ 0 h 6858000"/>
              <a:gd name="connsiteX4223" fmla="*/ 1340313 w 12188651"/>
              <a:gd name="connsiteY4223" fmla="*/ 0 h 6858000"/>
              <a:gd name="connsiteX4224" fmla="*/ 1623852 w 12188651"/>
              <a:gd name="connsiteY4224" fmla="*/ 164090 h 6858000"/>
              <a:gd name="connsiteX4225" fmla="*/ 1623852 w 12188651"/>
              <a:gd name="connsiteY4225" fmla="*/ 550400 h 6858000"/>
              <a:gd name="connsiteX4226" fmla="*/ 1290219 w 12188651"/>
              <a:gd name="connsiteY4226" fmla="*/ 743557 h 6858000"/>
              <a:gd name="connsiteX4227" fmla="*/ 956480 w 12188651"/>
              <a:gd name="connsiteY4227" fmla="*/ 550415 h 6858000"/>
              <a:gd name="connsiteX4228" fmla="*/ 956480 w 12188651"/>
              <a:gd name="connsiteY4228" fmla="*/ 164104 h 6858000"/>
              <a:gd name="connsiteX4229" fmla="*/ 690398 w 12188651"/>
              <a:gd name="connsiteY4229" fmla="*/ 0 h 6858000"/>
              <a:gd name="connsiteX4230" fmla="*/ 1205918 w 12188651"/>
              <a:gd name="connsiteY4230" fmla="*/ 0 h 6858000"/>
              <a:gd name="connsiteX4231" fmla="*/ 948156 w 12188651"/>
              <a:gd name="connsiteY4231" fmla="*/ 149172 h 6858000"/>
              <a:gd name="connsiteX4232" fmla="*/ 614547 w 12188651"/>
              <a:gd name="connsiteY4232" fmla="*/ 0 h 6858000"/>
              <a:gd name="connsiteX4233" fmla="*/ 656453 w 12188651"/>
              <a:gd name="connsiteY4233" fmla="*/ 0 h 6858000"/>
              <a:gd name="connsiteX4234" fmla="*/ 939981 w 12188651"/>
              <a:gd name="connsiteY4234" fmla="*/ 164089 h 6858000"/>
              <a:gd name="connsiteX4235" fmla="*/ 939981 w 12188651"/>
              <a:gd name="connsiteY4235" fmla="*/ 540931 h 6858000"/>
              <a:gd name="connsiteX4236" fmla="*/ 760662 w 12188651"/>
              <a:gd name="connsiteY4236" fmla="*/ 437152 h 6858000"/>
              <a:gd name="connsiteX4237" fmla="*/ 614547 w 12188651"/>
              <a:gd name="connsiteY4237" fmla="*/ 352589 h 6858000"/>
              <a:gd name="connsiteX4238" fmla="*/ 556281 w 12188651"/>
              <a:gd name="connsiteY4238" fmla="*/ 0 h 6858000"/>
              <a:gd name="connsiteX4239" fmla="*/ 598177 w 12188651"/>
              <a:gd name="connsiteY4239" fmla="*/ 0 h 6858000"/>
              <a:gd name="connsiteX4240" fmla="*/ 598177 w 12188651"/>
              <a:gd name="connsiteY4240" fmla="*/ 352574 h 6858000"/>
              <a:gd name="connsiteX4241" fmla="*/ 272612 w 12188651"/>
              <a:gd name="connsiteY4241" fmla="*/ 540915 h 6858000"/>
              <a:gd name="connsiteX4242" fmla="*/ 272612 w 12188651"/>
              <a:gd name="connsiteY4242" fmla="*/ 164104 h 6858000"/>
              <a:gd name="connsiteX4243" fmla="*/ 4723 w 12188651"/>
              <a:gd name="connsiteY4243" fmla="*/ 0 h 6858000"/>
              <a:gd name="connsiteX4244" fmla="*/ 521923 w 12188651"/>
              <a:gd name="connsiteY4244" fmla="*/ 0 h 6858000"/>
              <a:gd name="connsiteX4245" fmla="*/ 263373 w 12188651"/>
              <a:gd name="connsiteY4245" fmla="*/ 14968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Lst>
            <a:rect l="l" t="t" r="r" b="b"/>
            <a:pathLst>
              <a:path w="12188651" h="6858000">
                <a:moveTo>
                  <a:pt x="2898356" y="6736207"/>
                </a:moveTo>
                <a:lnTo>
                  <a:pt x="2926103" y="6747747"/>
                </a:lnTo>
                <a:lnTo>
                  <a:pt x="2990703" y="6812479"/>
                </a:lnTo>
                <a:lnTo>
                  <a:pt x="3002247" y="6824154"/>
                </a:lnTo>
                <a:lnTo>
                  <a:pt x="3002260" y="6824142"/>
                </a:lnTo>
                <a:lnTo>
                  <a:pt x="3002268" y="6824154"/>
                </a:lnTo>
                <a:lnTo>
                  <a:pt x="3013815" y="6812479"/>
                </a:lnTo>
                <a:lnTo>
                  <a:pt x="3078283" y="6747747"/>
                </a:lnTo>
                <a:lnTo>
                  <a:pt x="3106032" y="6736207"/>
                </a:lnTo>
                <a:lnTo>
                  <a:pt x="3133652" y="6747747"/>
                </a:lnTo>
                <a:lnTo>
                  <a:pt x="3212130" y="6826359"/>
                </a:lnTo>
                <a:cubicBezTo>
                  <a:pt x="3219521" y="6833753"/>
                  <a:pt x="3223544" y="6843613"/>
                  <a:pt x="3223674" y="6854120"/>
                </a:cubicBezTo>
                <a:lnTo>
                  <a:pt x="3222078" y="6858000"/>
                </a:lnTo>
                <a:lnTo>
                  <a:pt x="2782374" y="6858000"/>
                </a:lnTo>
                <a:lnTo>
                  <a:pt x="2780774" y="6854136"/>
                </a:lnTo>
                <a:cubicBezTo>
                  <a:pt x="2780774" y="6844099"/>
                  <a:pt x="2784604" y="6834078"/>
                  <a:pt x="2792259" y="6826489"/>
                </a:cubicBezTo>
                <a:lnTo>
                  <a:pt x="2870736" y="6747747"/>
                </a:lnTo>
                <a:close/>
                <a:moveTo>
                  <a:pt x="844377" y="6736207"/>
                </a:moveTo>
                <a:lnTo>
                  <a:pt x="872125" y="6747747"/>
                </a:lnTo>
                <a:lnTo>
                  <a:pt x="936724" y="6812479"/>
                </a:lnTo>
                <a:lnTo>
                  <a:pt x="948269" y="6824154"/>
                </a:lnTo>
                <a:lnTo>
                  <a:pt x="948282" y="6824142"/>
                </a:lnTo>
                <a:lnTo>
                  <a:pt x="948294" y="6824154"/>
                </a:lnTo>
                <a:lnTo>
                  <a:pt x="959838" y="6812479"/>
                </a:lnTo>
                <a:lnTo>
                  <a:pt x="1024306" y="6747747"/>
                </a:lnTo>
                <a:lnTo>
                  <a:pt x="1052055" y="6736207"/>
                </a:lnTo>
                <a:lnTo>
                  <a:pt x="1079674" y="6747747"/>
                </a:lnTo>
                <a:lnTo>
                  <a:pt x="1158152" y="6826359"/>
                </a:lnTo>
                <a:cubicBezTo>
                  <a:pt x="1165546" y="6833753"/>
                  <a:pt x="1169568" y="6843613"/>
                  <a:pt x="1169697" y="6854120"/>
                </a:cubicBezTo>
                <a:lnTo>
                  <a:pt x="1168102" y="6858000"/>
                </a:lnTo>
                <a:lnTo>
                  <a:pt x="728400" y="6858000"/>
                </a:lnTo>
                <a:lnTo>
                  <a:pt x="726801" y="6854136"/>
                </a:lnTo>
                <a:cubicBezTo>
                  <a:pt x="726801" y="6844099"/>
                  <a:pt x="730627" y="6834078"/>
                  <a:pt x="738281" y="6826489"/>
                </a:cubicBezTo>
                <a:lnTo>
                  <a:pt x="816760" y="6747747"/>
                </a:lnTo>
                <a:close/>
                <a:moveTo>
                  <a:pt x="4952154" y="6736204"/>
                </a:moveTo>
                <a:lnTo>
                  <a:pt x="4979914" y="6747747"/>
                </a:lnTo>
                <a:lnTo>
                  <a:pt x="5044520" y="6812479"/>
                </a:lnTo>
                <a:lnTo>
                  <a:pt x="5056064" y="6824154"/>
                </a:lnTo>
                <a:lnTo>
                  <a:pt x="5056083" y="6824144"/>
                </a:lnTo>
                <a:lnTo>
                  <a:pt x="5056087" y="6824154"/>
                </a:lnTo>
                <a:lnTo>
                  <a:pt x="5067633" y="6812479"/>
                </a:lnTo>
                <a:lnTo>
                  <a:pt x="5132089" y="6747747"/>
                </a:lnTo>
                <a:lnTo>
                  <a:pt x="5159834" y="6736204"/>
                </a:lnTo>
                <a:lnTo>
                  <a:pt x="5187464" y="6747747"/>
                </a:lnTo>
                <a:lnTo>
                  <a:pt x="5265932" y="6826359"/>
                </a:lnTo>
                <a:cubicBezTo>
                  <a:pt x="5273331" y="6833753"/>
                  <a:pt x="5277341" y="6843613"/>
                  <a:pt x="5277479" y="6854120"/>
                </a:cubicBezTo>
                <a:lnTo>
                  <a:pt x="5275883" y="6858000"/>
                </a:lnTo>
                <a:lnTo>
                  <a:pt x="4836166" y="6858000"/>
                </a:lnTo>
                <a:lnTo>
                  <a:pt x="4834566" y="6854136"/>
                </a:lnTo>
                <a:cubicBezTo>
                  <a:pt x="4834566" y="6844099"/>
                  <a:pt x="4838398" y="6834078"/>
                  <a:pt x="4846044" y="6826489"/>
                </a:cubicBezTo>
                <a:lnTo>
                  <a:pt x="4924518" y="6747747"/>
                </a:lnTo>
                <a:close/>
                <a:moveTo>
                  <a:pt x="11113840" y="6736202"/>
                </a:moveTo>
                <a:cubicBezTo>
                  <a:pt x="11124348" y="6736202"/>
                  <a:pt x="11134206" y="6740354"/>
                  <a:pt x="11141600" y="6747747"/>
                </a:cubicBezTo>
                <a:lnTo>
                  <a:pt x="11206199" y="6812479"/>
                </a:lnTo>
                <a:lnTo>
                  <a:pt x="11217744" y="6824154"/>
                </a:lnTo>
                <a:lnTo>
                  <a:pt x="11229289" y="6812479"/>
                </a:lnTo>
                <a:lnTo>
                  <a:pt x="11293758" y="6747747"/>
                </a:lnTo>
                <a:cubicBezTo>
                  <a:pt x="11301152" y="6740224"/>
                  <a:pt x="11311011" y="6736202"/>
                  <a:pt x="11321517" y="6736202"/>
                </a:cubicBezTo>
                <a:cubicBezTo>
                  <a:pt x="11331896" y="6736202"/>
                  <a:pt x="11341755" y="6740354"/>
                  <a:pt x="11349147" y="6747747"/>
                </a:cubicBezTo>
                <a:lnTo>
                  <a:pt x="11427627" y="6826359"/>
                </a:lnTo>
                <a:cubicBezTo>
                  <a:pt x="11435021" y="6833753"/>
                  <a:pt x="11439042" y="6843613"/>
                  <a:pt x="11439172" y="6854120"/>
                </a:cubicBezTo>
                <a:lnTo>
                  <a:pt x="11437577" y="6858000"/>
                </a:lnTo>
                <a:lnTo>
                  <a:pt x="10997850" y="6858000"/>
                </a:lnTo>
                <a:lnTo>
                  <a:pt x="10996251" y="6854136"/>
                </a:lnTo>
                <a:cubicBezTo>
                  <a:pt x="10996251" y="6844099"/>
                  <a:pt x="11000077" y="6834078"/>
                  <a:pt x="11007731" y="6826489"/>
                </a:cubicBezTo>
                <a:lnTo>
                  <a:pt x="11086210" y="6747747"/>
                </a:lnTo>
                <a:cubicBezTo>
                  <a:pt x="11093605" y="6740354"/>
                  <a:pt x="11103333" y="6736202"/>
                  <a:pt x="11113840" y="6736202"/>
                </a:cubicBezTo>
                <a:close/>
                <a:moveTo>
                  <a:pt x="9059892" y="6736202"/>
                </a:moveTo>
                <a:lnTo>
                  <a:pt x="9087652" y="6747747"/>
                </a:lnTo>
                <a:lnTo>
                  <a:pt x="9152251" y="6812479"/>
                </a:lnTo>
                <a:lnTo>
                  <a:pt x="9163796" y="6824154"/>
                </a:lnTo>
                <a:lnTo>
                  <a:pt x="9163797" y="6824154"/>
                </a:lnTo>
                <a:lnTo>
                  <a:pt x="9175342" y="6812479"/>
                </a:lnTo>
                <a:lnTo>
                  <a:pt x="9239811" y="6747747"/>
                </a:lnTo>
                <a:lnTo>
                  <a:pt x="9267570" y="6736202"/>
                </a:lnTo>
                <a:lnTo>
                  <a:pt x="9295200" y="6747747"/>
                </a:lnTo>
                <a:lnTo>
                  <a:pt x="9373678" y="6826359"/>
                </a:lnTo>
                <a:cubicBezTo>
                  <a:pt x="9381073" y="6833753"/>
                  <a:pt x="9385093" y="6843613"/>
                  <a:pt x="9385223" y="6854120"/>
                </a:cubicBezTo>
                <a:lnTo>
                  <a:pt x="9383628" y="6858000"/>
                </a:lnTo>
                <a:lnTo>
                  <a:pt x="8943904" y="6858000"/>
                </a:lnTo>
                <a:lnTo>
                  <a:pt x="8942305" y="6854136"/>
                </a:lnTo>
                <a:cubicBezTo>
                  <a:pt x="8942305" y="6844099"/>
                  <a:pt x="8946131" y="6834078"/>
                  <a:pt x="8953784" y="6826489"/>
                </a:cubicBezTo>
                <a:lnTo>
                  <a:pt x="9032264" y="6747747"/>
                </a:lnTo>
                <a:close/>
                <a:moveTo>
                  <a:pt x="7006076" y="6736202"/>
                </a:moveTo>
                <a:cubicBezTo>
                  <a:pt x="7016582" y="6736202"/>
                  <a:pt x="7026440" y="6740354"/>
                  <a:pt x="7033834" y="6747747"/>
                </a:cubicBezTo>
                <a:lnTo>
                  <a:pt x="7098434" y="6812479"/>
                </a:lnTo>
                <a:lnTo>
                  <a:pt x="7109978" y="6824154"/>
                </a:lnTo>
                <a:lnTo>
                  <a:pt x="7121523" y="6812479"/>
                </a:lnTo>
                <a:lnTo>
                  <a:pt x="7185994" y="6747747"/>
                </a:lnTo>
                <a:cubicBezTo>
                  <a:pt x="7193387" y="6740224"/>
                  <a:pt x="7203245" y="6736202"/>
                  <a:pt x="7213751" y="6736202"/>
                </a:cubicBezTo>
                <a:cubicBezTo>
                  <a:pt x="7224130" y="6736202"/>
                  <a:pt x="7233989" y="6740354"/>
                  <a:pt x="7241381" y="6747747"/>
                </a:cubicBezTo>
                <a:lnTo>
                  <a:pt x="7319862" y="6826359"/>
                </a:lnTo>
                <a:cubicBezTo>
                  <a:pt x="7327255" y="6833753"/>
                  <a:pt x="7331276" y="6843613"/>
                  <a:pt x="7331407" y="6854120"/>
                </a:cubicBezTo>
                <a:lnTo>
                  <a:pt x="7329812" y="6858000"/>
                </a:lnTo>
                <a:lnTo>
                  <a:pt x="6890084" y="6858000"/>
                </a:lnTo>
                <a:lnTo>
                  <a:pt x="6888485" y="6854136"/>
                </a:lnTo>
                <a:cubicBezTo>
                  <a:pt x="6888485" y="6844099"/>
                  <a:pt x="6892312" y="6834078"/>
                  <a:pt x="6899966" y="6826489"/>
                </a:cubicBezTo>
                <a:lnTo>
                  <a:pt x="6978446" y="6747747"/>
                </a:lnTo>
                <a:cubicBezTo>
                  <a:pt x="6985839" y="6740354"/>
                  <a:pt x="6995568" y="6736202"/>
                  <a:pt x="7006076" y="6736202"/>
                </a:cubicBezTo>
                <a:close/>
                <a:moveTo>
                  <a:pt x="3679133" y="6509063"/>
                </a:moveTo>
                <a:lnTo>
                  <a:pt x="3679133" y="6858000"/>
                </a:lnTo>
                <a:lnTo>
                  <a:pt x="3353551" y="6858000"/>
                </a:lnTo>
                <a:lnTo>
                  <a:pt x="3353551" y="6697415"/>
                </a:lnTo>
                <a:close/>
                <a:moveTo>
                  <a:pt x="3695482" y="6509061"/>
                </a:moveTo>
                <a:lnTo>
                  <a:pt x="4020937" y="6697415"/>
                </a:lnTo>
                <a:lnTo>
                  <a:pt x="4020937" y="6858000"/>
                </a:lnTo>
                <a:lnTo>
                  <a:pt x="3695482" y="6858000"/>
                </a:lnTo>
                <a:close/>
                <a:moveTo>
                  <a:pt x="1641506" y="6509061"/>
                </a:moveTo>
                <a:lnTo>
                  <a:pt x="1966962" y="6697415"/>
                </a:lnTo>
                <a:lnTo>
                  <a:pt x="1966962" y="6858000"/>
                </a:lnTo>
                <a:lnTo>
                  <a:pt x="1641506" y="6858000"/>
                </a:lnTo>
                <a:close/>
                <a:moveTo>
                  <a:pt x="1625155" y="6509061"/>
                </a:moveTo>
                <a:lnTo>
                  <a:pt x="1625155" y="6858000"/>
                </a:lnTo>
                <a:lnTo>
                  <a:pt x="1299571" y="6858000"/>
                </a:lnTo>
                <a:lnTo>
                  <a:pt x="1299571" y="6697415"/>
                </a:lnTo>
                <a:close/>
                <a:moveTo>
                  <a:pt x="5749262" y="6509059"/>
                </a:moveTo>
                <a:lnTo>
                  <a:pt x="6074705" y="6697415"/>
                </a:lnTo>
                <a:lnTo>
                  <a:pt x="6074705" y="6858000"/>
                </a:lnTo>
                <a:lnTo>
                  <a:pt x="5749262" y="6858000"/>
                </a:lnTo>
                <a:close/>
                <a:moveTo>
                  <a:pt x="5732919" y="6509059"/>
                </a:moveTo>
                <a:lnTo>
                  <a:pt x="5732919" y="6858000"/>
                </a:lnTo>
                <a:lnTo>
                  <a:pt x="5407350" y="6858000"/>
                </a:lnTo>
                <a:lnTo>
                  <a:pt x="5407350" y="6697415"/>
                </a:lnTo>
                <a:close/>
                <a:moveTo>
                  <a:pt x="11910826" y="6509058"/>
                </a:moveTo>
                <a:lnTo>
                  <a:pt x="12188651" y="6669846"/>
                </a:lnTo>
                <a:lnTo>
                  <a:pt x="12188651" y="6858000"/>
                </a:lnTo>
                <a:lnTo>
                  <a:pt x="11910826" y="6858000"/>
                </a:lnTo>
                <a:close/>
                <a:moveTo>
                  <a:pt x="11894481" y="6509058"/>
                </a:moveTo>
                <a:lnTo>
                  <a:pt x="11894481" y="6858000"/>
                </a:lnTo>
                <a:lnTo>
                  <a:pt x="11568890" y="6858000"/>
                </a:lnTo>
                <a:lnTo>
                  <a:pt x="11568890" y="6697415"/>
                </a:lnTo>
                <a:close/>
                <a:moveTo>
                  <a:pt x="9857006" y="6509058"/>
                </a:moveTo>
                <a:lnTo>
                  <a:pt x="10182468" y="6697415"/>
                </a:lnTo>
                <a:lnTo>
                  <a:pt x="10182468" y="6858000"/>
                </a:lnTo>
                <a:lnTo>
                  <a:pt x="9857006" y="6858000"/>
                </a:lnTo>
                <a:close/>
                <a:moveTo>
                  <a:pt x="9840661" y="6509058"/>
                </a:moveTo>
                <a:lnTo>
                  <a:pt x="9840661" y="6858000"/>
                </a:lnTo>
                <a:lnTo>
                  <a:pt x="9515070" y="6858000"/>
                </a:lnTo>
                <a:lnTo>
                  <a:pt x="9515070" y="6697415"/>
                </a:lnTo>
                <a:close/>
                <a:moveTo>
                  <a:pt x="7803060" y="6509058"/>
                </a:moveTo>
                <a:lnTo>
                  <a:pt x="8128521" y="6697415"/>
                </a:lnTo>
                <a:lnTo>
                  <a:pt x="8128521" y="6858000"/>
                </a:lnTo>
                <a:lnTo>
                  <a:pt x="7803060" y="6858000"/>
                </a:lnTo>
                <a:close/>
                <a:moveTo>
                  <a:pt x="7786715" y="6509058"/>
                </a:moveTo>
                <a:lnTo>
                  <a:pt x="7786715" y="6858000"/>
                </a:lnTo>
                <a:lnTo>
                  <a:pt x="7461125" y="6858000"/>
                </a:lnTo>
                <a:lnTo>
                  <a:pt x="7461125" y="6697415"/>
                </a:lnTo>
                <a:close/>
                <a:moveTo>
                  <a:pt x="2317076" y="6504260"/>
                </a:moveTo>
                <a:lnTo>
                  <a:pt x="2650835" y="6697415"/>
                </a:lnTo>
                <a:lnTo>
                  <a:pt x="2650835" y="6858000"/>
                </a:lnTo>
                <a:lnTo>
                  <a:pt x="1983442" y="6858000"/>
                </a:lnTo>
                <a:lnTo>
                  <a:pt x="1983442" y="6697415"/>
                </a:lnTo>
                <a:close/>
                <a:moveTo>
                  <a:pt x="263230" y="6504260"/>
                </a:moveTo>
                <a:lnTo>
                  <a:pt x="596989" y="6697415"/>
                </a:lnTo>
                <a:lnTo>
                  <a:pt x="596989" y="6858000"/>
                </a:lnTo>
                <a:lnTo>
                  <a:pt x="0" y="6858000"/>
                </a:lnTo>
                <a:lnTo>
                  <a:pt x="0" y="6656657"/>
                </a:lnTo>
                <a:close/>
                <a:moveTo>
                  <a:pt x="10532576" y="6504258"/>
                </a:moveTo>
                <a:lnTo>
                  <a:pt x="10866339" y="6697415"/>
                </a:lnTo>
                <a:lnTo>
                  <a:pt x="10866339" y="6858000"/>
                </a:lnTo>
                <a:lnTo>
                  <a:pt x="10198941" y="6858000"/>
                </a:lnTo>
                <a:lnTo>
                  <a:pt x="10198941" y="6697415"/>
                </a:lnTo>
                <a:close/>
                <a:moveTo>
                  <a:pt x="8478628" y="6504258"/>
                </a:moveTo>
                <a:lnTo>
                  <a:pt x="8812392" y="6697415"/>
                </a:lnTo>
                <a:lnTo>
                  <a:pt x="8812392" y="6858000"/>
                </a:lnTo>
                <a:lnTo>
                  <a:pt x="8144995" y="6858000"/>
                </a:lnTo>
                <a:lnTo>
                  <a:pt x="8144995" y="6697415"/>
                </a:lnTo>
                <a:close/>
                <a:moveTo>
                  <a:pt x="6424810" y="6504258"/>
                </a:moveTo>
                <a:lnTo>
                  <a:pt x="6758573" y="6697415"/>
                </a:lnTo>
                <a:lnTo>
                  <a:pt x="6758573" y="6858000"/>
                </a:lnTo>
                <a:lnTo>
                  <a:pt x="6091179" y="6858000"/>
                </a:lnTo>
                <a:lnTo>
                  <a:pt x="6091179" y="6697415"/>
                </a:lnTo>
                <a:close/>
                <a:moveTo>
                  <a:pt x="4371009" y="6504258"/>
                </a:moveTo>
                <a:lnTo>
                  <a:pt x="4704773" y="6697415"/>
                </a:lnTo>
                <a:lnTo>
                  <a:pt x="4704773" y="6858000"/>
                </a:lnTo>
                <a:lnTo>
                  <a:pt x="4037417" y="6858000"/>
                </a:lnTo>
                <a:lnTo>
                  <a:pt x="4037417" y="6697415"/>
                </a:lnTo>
                <a:close/>
                <a:moveTo>
                  <a:pt x="3002127" y="6504006"/>
                </a:moveTo>
                <a:lnTo>
                  <a:pt x="3335880" y="6697155"/>
                </a:lnTo>
                <a:lnTo>
                  <a:pt x="3335880" y="6858000"/>
                </a:lnTo>
                <a:lnTo>
                  <a:pt x="3238471" y="6858000"/>
                </a:lnTo>
                <a:lnTo>
                  <a:pt x="3240074" y="6854120"/>
                </a:lnTo>
                <a:cubicBezTo>
                  <a:pt x="3240074" y="6839883"/>
                  <a:pt x="3234660" y="6825646"/>
                  <a:pt x="3223830" y="6814814"/>
                </a:cubicBezTo>
                <a:lnTo>
                  <a:pt x="3145351" y="6736202"/>
                </a:lnTo>
                <a:cubicBezTo>
                  <a:pt x="3134450" y="6725305"/>
                  <a:pt x="3120314" y="6719857"/>
                  <a:pt x="3106173" y="6719857"/>
                </a:cubicBezTo>
                <a:lnTo>
                  <a:pt x="3106046" y="6719727"/>
                </a:lnTo>
                <a:lnTo>
                  <a:pt x="3106024" y="6719731"/>
                </a:lnTo>
                <a:lnTo>
                  <a:pt x="3106018" y="6719727"/>
                </a:lnTo>
                <a:cubicBezTo>
                  <a:pt x="3091751" y="6719727"/>
                  <a:pt x="3077614" y="6725176"/>
                  <a:pt x="3066715" y="6736202"/>
                </a:cubicBezTo>
                <a:lnTo>
                  <a:pt x="3002260" y="6800792"/>
                </a:lnTo>
                <a:lnTo>
                  <a:pt x="2937672" y="6736072"/>
                </a:lnTo>
                <a:cubicBezTo>
                  <a:pt x="2926776" y="6725176"/>
                  <a:pt x="2912631" y="6719727"/>
                  <a:pt x="2898367" y="6719727"/>
                </a:cubicBezTo>
                <a:lnTo>
                  <a:pt x="2898356" y="6719730"/>
                </a:lnTo>
                <a:lnTo>
                  <a:pt x="2898342" y="6719727"/>
                </a:lnTo>
                <a:cubicBezTo>
                  <a:pt x="2884072" y="6719727"/>
                  <a:pt x="2869934" y="6725176"/>
                  <a:pt x="2859168" y="6736072"/>
                </a:cubicBezTo>
                <a:lnTo>
                  <a:pt x="2780689" y="6814814"/>
                </a:lnTo>
                <a:cubicBezTo>
                  <a:pt x="2769856" y="6825646"/>
                  <a:pt x="2764442" y="6839883"/>
                  <a:pt x="2764442" y="6854120"/>
                </a:cubicBezTo>
                <a:lnTo>
                  <a:pt x="2766045" y="6858000"/>
                </a:lnTo>
                <a:lnTo>
                  <a:pt x="2668379" y="6858000"/>
                </a:lnTo>
                <a:lnTo>
                  <a:pt x="2668379" y="6697155"/>
                </a:lnTo>
                <a:close/>
                <a:moveTo>
                  <a:pt x="948152" y="6504006"/>
                </a:moveTo>
                <a:lnTo>
                  <a:pt x="1281903" y="6697155"/>
                </a:lnTo>
                <a:lnTo>
                  <a:pt x="1281903" y="6858000"/>
                </a:lnTo>
                <a:lnTo>
                  <a:pt x="1184494" y="6858000"/>
                </a:lnTo>
                <a:lnTo>
                  <a:pt x="1186097" y="6854120"/>
                </a:lnTo>
                <a:cubicBezTo>
                  <a:pt x="1186097" y="6839883"/>
                  <a:pt x="1180679" y="6825646"/>
                  <a:pt x="1169850" y="6814814"/>
                </a:cubicBezTo>
                <a:lnTo>
                  <a:pt x="1091372" y="6736202"/>
                </a:lnTo>
                <a:cubicBezTo>
                  <a:pt x="1080476" y="6725305"/>
                  <a:pt x="1066336" y="6719857"/>
                  <a:pt x="1052196" y="6719857"/>
                </a:cubicBezTo>
                <a:lnTo>
                  <a:pt x="1052065" y="6719727"/>
                </a:lnTo>
                <a:lnTo>
                  <a:pt x="1052048" y="6719731"/>
                </a:lnTo>
                <a:lnTo>
                  <a:pt x="1052044" y="6719727"/>
                </a:lnTo>
                <a:cubicBezTo>
                  <a:pt x="1037774" y="6719727"/>
                  <a:pt x="1023635" y="6725176"/>
                  <a:pt x="1012740" y="6736202"/>
                </a:cubicBezTo>
                <a:lnTo>
                  <a:pt x="948282" y="6800792"/>
                </a:lnTo>
                <a:lnTo>
                  <a:pt x="883695" y="6736072"/>
                </a:lnTo>
                <a:cubicBezTo>
                  <a:pt x="872796" y="6725176"/>
                  <a:pt x="858659" y="6719727"/>
                  <a:pt x="844389" y="6719727"/>
                </a:cubicBezTo>
                <a:lnTo>
                  <a:pt x="844377" y="6719730"/>
                </a:lnTo>
                <a:lnTo>
                  <a:pt x="844365" y="6719727"/>
                </a:lnTo>
                <a:cubicBezTo>
                  <a:pt x="830096" y="6719727"/>
                  <a:pt x="815958" y="6725176"/>
                  <a:pt x="805191" y="6736072"/>
                </a:cubicBezTo>
                <a:lnTo>
                  <a:pt x="726712" y="6814814"/>
                </a:lnTo>
                <a:cubicBezTo>
                  <a:pt x="715880" y="6825646"/>
                  <a:pt x="710465" y="6839883"/>
                  <a:pt x="710465" y="6854120"/>
                </a:cubicBezTo>
                <a:lnTo>
                  <a:pt x="712069" y="6858000"/>
                </a:lnTo>
                <a:lnTo>
                  <a:pt x="614404" y="6858000"/>
                </a:lnTo>
                <a:lnTo>
                  <a:pt x="614404" y="6697155"/>
                </a:lnTo>
                <a:close/>
                <a:moveTo>
                  <a:pt x="5055949" y="6504005"/>
                </a:moveTo>
                <a:lnTo>
                  <a:pt x="5389688" y="6697155"/>
                </a:lnTo>
                <a:lnTo>
                  <a:pt x="5389688" y="6858000"/>
                </a:lnTo>
                <a:lnTo>
                  <a:pt x="5292268" y="6858000"/>
                </a:lnTo>
                <a:lnTo>
                  <a:pt x="5293870" y="6854120"/>
                </a:lnTo>
                <a:cubicBezTo>
                  <a:pt x="5293870" y="6839883"/>
                  <a:pt x="5288456" y="6825646"/>
                  <a:pt x="5277615" y="6814814"/>
                </a:cubicBezTo>
                <a:lnTo>
                  <a:pt x="5199142" y="6736202"/>
                </a:lnTo>
                <a:cubicBezTo>
                  <a:pt x="5188246" y="6725305"/>
                  <a:pt x="5174097" y="6719857"/>
                  <a:pt x="5159966" y="6719857"/>
                </a:cubicBezTo>
                <a:lnTo>
                  <a:pt x="5159837" y="6719727"/>
                </a:lnTo>
                <a:lnTo>
                  <a:pt x="5159824" y="6719729"/>
                </a:lnTo>
                <a:lnTo>
                  <a:pt x="5159824" y="6719727"/>
                </a:lnTo>
                <a:cubicBezTo>
                  <a:pt x="5145561" y="6719727"/>
                  <a:pt x="5131424" y="6725176"/>
                  <a:pt x="5120526" y="6736202"/>
                </a:cubicBezTo>
                <a:lnTo>
                  <a:pt x="5056083" y="6800794"/>
                </a:lnTo>
                <a:lnTo>
                  <a:pt x="4991465" y="6736072"/>
                </a:lnTo>
                <a:cubicBezTo>
                  <a:pt x="4980573" y="6725176"/>
                  <a:pt x="4966424" y="6719727"/>
                  <a:pt x="4952157" y="6719727"/>
                </a:cubicBezTo>
                <a:lnTo>
                  <a:pt x="4952154" y="6719728"/>
                </a:lnTo>
                <a:lnTo>
                  <a:pt x="4952148" y="6719727"/>
                </a:lnTo>
                <a:cubicBezTo>
                  <a:pt x="4937875" y="6719727"/>
                  <a:pt x="4923734" y="6725176"/>
                  <a:pt x="4912971" y="6736072"/>
                </a:cubicBezTo>
                <a:lnTo>
                  <a:pt x="4834495" y="6814814"/>
                </a:lnTo>
                <a:cubicBezTo>
                  <a:pt x="4823655" y="6825646"/>
                  <a:pt x="4818244" y="6839883"/>
                  <a:pt x="4818244" y="6854120"/>
                </a:cubicBezTo>
                <a:lnTo>
                  <a:pt x="4819847" y="6858000"/>
                </a:lnTo>
                <a:lnTo>
                  <a:pt x="4722171" y="6858000"/>
                </a:lnTo>
                <a:lnTo>
                  <a:pt x="4722171" y="6697155"/>
                </a:lnTo>
                <a:close/>
                <a:moveTo>
                  <a:pt x="11217614" y="6503998"/>
                </a:moveTo>
                <a:lnTo>
                  <a:pt x="11551377" y="6697155"/>
                </a:lnTo>
                <a:lnTo>
                  <a:pt x="11551377" y="6858000"/>
                </a:lnTo>
                <a:lnTo>
                  <a:pt x="11453944" y="6858000"/>
                </a:lnTo>
                <a:lnTo>
                  <a:pt x="11455548" y="6854120"/>
                </a:lnTo>
                <a:cubicBezTo>
                  <a:pt x="11455548" y="6839883"/>
                  <a:pt x="11450133" y="6825646"/>
                  <a:pt x="11439301" y="6814814"/>
                </a:cubicBezTo>
                <a:lnTo>
                  <a:pt x="11360822" y="6736202"/>
                </a:lnTo>
                <a:cubicBezTo>
                  <a:pt x="11349927" y="6725305"/>
                  <a:pt x="11335787" y="6719857"/>
                  <a:pt x="11321647" y="6719857"/>
                </a:cubicBezTo>
                <a:lnTo>
                  <a:pt x="11321517" y="6719727"/>
                </a:lnTo>
                <a:cubicBezTo>
                  <a:pt x="11307249" y="6719727"/>
                  <a:pt x="11293110" y="6725176"/>
                  <a:pt x="11282213" y="6736202"/>
                </a:cubicBezTo>
                <a:lnTo>
                  <a:pt x="11217744" y="6800804"/>
                </a:lnTo>
                <a:lnTo>
                  <a:pt x="11153145" y="6736072"/>
                </a:lnTo>
                <a:cubicBezTo>
                  <a:pt x="11142248" y="6725176"/>
                  <a:pt x="11128108" y="6719727"/>
                  <a:pt x="11113840" y="6719727"/>
                </a:cubicBezTo>
                <a:cubicBezTo>
                  <a:pt x="11099571" y="6719727"/>
                  <a:pt x="11085432" y="6725176"/>
                  <a:pt x="11074665" y="6736072"/>
                </a:cubicBezTo>
                <a:lnTo>
                  <a:pt x="10996186" y="6814814"/>
                </a:lnTo>
                <a:cubicBezTo>
                  <a:pt x="10985354" y="6825646"/>
                  <a:pt x="10979939" y="6839883"/>
                  <a:pt x="10979939" y="6854120"/>
                </a:cubicBezTo>
                <a:lnTo>
                  <a:pt x="10981543" y="6858000"/>
                </a:lnTo>
                <a:lnTo>
                  <a:pt x="10883851" y="6858000"/>
                </a:lnTo>
                <a:lnTo>
                  <a:pt x="10883851" y="6697155"/>
                </a:lnTo>
                <a:close/>
                <a:moveTo>
                  <a:pt x="9163666" y="6503998"/>
                </a:moveTo>
                <a:lnTo>
                  <a:pt x="9497429" y="6697155"/>
                </a:lnTo>
                <a:lnTo>
                  <a:pt x="9497429" y="6858000"/>
                </a:lnTo>
                <a:lnTo>
                  <a:pt x="9399997" y="6858000"/>
                </a:lnTo>
                <a:lnTo>
                  <a:pt x="9401601" y="6854120"/>
                </a:lnTo>
                <a:cubicBezTo>
                  <a:pt x="9401601" y="6839883"/>
                  <a:pt x="9396185" y="6825646"/>
                  <a:pt x="9385354" y="6814814"/>
                </a:cubicBezTo>
                <a:lnTo>
                  <a:pt x="9306876" y="6736202"/>
                </a:lnTo>
                <a:cubicBezTo>
                  <a:pt x="9295978" y="6725305"/>
                  <a:pt x="9281840" y="6719857"/>
                  <a:pt x="9267701" y="6719857"/>
                </a:cubicBezTo>
                <a:lnTo>
                  <a:pt x="9267571" y="6719727"/>
                </a:lnTo>
                <a:lnTo>
                  <a:pt x="9267570" y="6719727"/>
                </a:lnTo>
                <a:cubicBezTo>
                  <a:pt x="9253302" y="6719727"/>
                  <a:pt x="9239161" y="6725176"/>
                  <a:pt x="9228265" y="6736202"/>
                </a:cubicBezTo>
                <a:lnTo>
                  <a:pt x="9163796" y="6800804"/>
                </a:lnTo>
                <a:lnTo>
                  <a:pt x="9099198" y="6736072"/>
                </a:lnTo>
                <a:cubicBezTo>
                  <a:pt x="9088300" y="6725176"/>
                  <a:pt x="9074162" y="6719727"/>
                  <a:pt x="9059893" y="6719727"/>
                </a:cubicBezTo>
                <a:lnTo>
                  <a:pt x="9059892" y="6719727"/>
                </a:lnTo>
                <a:cubicBezTo>
                  <a:pt x="9045623" y="6719727"/>
                  <a:pt x="9031483" y="6725176"/>
                  <a:pt x="9020717" y="6736072"/>
                </a:cubicBezTo>
                <a:lnTo>
                  <a:pt x="8942238" y="6814814"/>
                </a:lnTo>
                <a:cubicBezTo>
                  <a:pt x="8931407" y="6825646"/>
                  <a:pt x="8925991" y="6839883"/>
                  <a:pt x="8925991" y="6854120"/>
                </a:cubicBezTo>
                <a:lnTo>
                  <a:pt x="8927595" y="6858000"/>
                </a:lnTo>
                <a:lnTo>
                  <a:pt x="8829903" y="6858000"/>
                </a:lnTo>
                <a:lnTo>
                  <a:pt x="8829903" y="6697155"/>
                </a:lnTo>
                <a:close/>
                <a:moveTo>
                  <a:pt x="7109850" y="6503998"/>
                </a:moveTo>
                <a:lnTo>
                  <a:pt x="7443613" y="6697155"/>
                </a:lnTo>
                <a:lnTo>
                  <a:pt x="7443613" y="6858000"/>
                </a:lnTo>
                <a:lnTo>
                  <a:pt x="7346179" y="6858000"/>
                </a:lnTo>
                <a:lnTo>
                  <a:pt x="7347783" y="6854120"/>
                </a:lnTo>
                <a:cubicBezTo>
                  <a:pt x="7347783" y="6839883"/>
                  <a:pt x="7342368" y="6825646"/>
                  <a:pt x="7331537" y="6814814"/>
                </a:cubicBezTo>
                <a:lnTo>
                  <a:pt x="7253057" y="6736202"/>
                </a:lnTo>
                <a:cubicBezTo>
                  <a:pt x="7242161" y="6725305"/>
                  <a:pt x="7228022" y="6719857"/>
                  <a:pt x="7213882" y="6719857"/>
                </a:cubicBezTo>
                <a:lnTo>
                  <a:pt x="7213751" y="6719727"/>
                </a:lnTo>
                <a:cubicBezTo>
                  <a:pt x="7199483" y="6719727"/>
                  <a:pt x="7185345" y="6725176"/>
                  <a:pt x="7174449" y="6736202"/>
                </a:cubicBezTo>
                <a:lnTo>
                  <a:pt x="7109978" y="6800804"/>
                </a:lnTo>
                <a:lnTo>
                  <a:pt x="7045379" y="6736072"/>
                </a:lnTo>
                <a:cubicBezTo>
                  <a:pt x="7034483" y="6725176"/>
                  <a:pt x="7020344" y="6719727"/>
                  <a:pt x="7006076" y="6719727"/>
                </a:cubicBezTo>
                <a:cubicBezTo>
                  <a:pt x="6991805" y="6719727"/>
                  <a:pt x="6977666" y="6725176"/>
                  <a:pt x="6966901" y="6736072"/>
                </a:cubicBezTo>
                <a:lnTo>
                  <a:pt x="6888421" y="6814814"/>
                </a:lnTo>
                <a:cubicBezTo>
                  <a:pt x="6877589" y="6825646"/>
                  <a:pt x="6872173" y="6839883"/>
                  <a:pt x="6872173" y="6854120"/>
                </a:cubicBezTo>
                <a:lnTo>
                  <a:pt x="6873777" y="6858000"/>
                </a:lnTo>
                <a:lnTo>
                  <a:pt x="6776085" y="6858000"/>
                </a:lnTo>
                <a:lnTo>
                  <a:pt x="6776085" y="6697155"/>
                </a:lnTo>
                <a:close/>
                <a:moveTo>
                  <a:pt x="2660324" y="6306179"/>
                </a:moveTo>
                <a:lnTo>
                  <a:pt x="2985774" y="6494528"/>
                </a:lnTo>
                <a:lnTo>
                  <a:pt x="2660196" y="6682877"/>
                </a:lnTo>
                <a:lnTo>
                  <a:pt x="2334751" y="6494528"/>
                </a:lnTo>
                <a:close/>
                <a:moveTo>
                  <a:pt x="606349" y="6306179"/>
                </a:moveTo>
                <a:lnTo>
                  <a:pt x="931795" y="6494528"/>
                </a:lnTo>
                <a:lnTo>
                  <a:pt x="606218" y="6682877"/>
                </a:lnTo>
                <a:lnTo>
                  <a:pt x="280770" y="6494528"/>
                </a:lnTo>
                <a:close/>
                <a:moveTo>
                  <a:pt x="4714117" y="6306174"/>
                </a:moveTo>
                <a:lnTo>
                  <a:pt x="5039591" y="6494528"/>
                </a:lnTo>
                <a:lnTo>
                  <a:pt x="4713993" y="6682882"/>
                </a:lnTo>
                <a:lnTo>
                  <a:pt x="4388541" y="6494528"/>
                </a:lnTo>
                <a:close/>
                <a:moveTo>
                  <a:pt x="10875808" y="6306171"/>
                </a:moveTo>
                <a:lnTo>
                  <a:pt x="11201269" y="6494528"/>
                </a:lnTo>
                <a:lnTo>
                  <a:pt x="10875679" y="6682885"/>
                </a:lnTo>
                <a:lnTo>
                  <a:pt x="10550217" y="6494528"/>
                </a:lnTo>
                <a:close/>
                <a:moveTo>
                  <a:pt x="8821860" y="6306171"/>
                </a:moveTo>
                <a:lnTo>
                  <a:pt x="9147321" y="6494528"/>
                </a:lnTo>
                <a:lnTo>
                  <a:pt x="8821731" y="6682885"/>
                </a:lnTo>
                <a:lnTo>
                  <a:pt x="8496269" y="6494528"/>
                </a:lnTo>
                <a:close/>
                <a:moveTo>
                  <a:pt x="6768043" y="6306171"/>
                </a:moveTo>
                <a:lnTo>
                  <a:pt x="7093505" y="6494528"/>
                </a:lnTo>
                <a:lnTo>
                  <a:pt x="6767913" y="6682885"/>
                </a:lnTo>
                <a:lnTo>
                  <a:pt x="6442452" y="6494528"/>
                </a:lnTo>
                <a:close/>
                <a:moveTo>
                  <a:pt x="12140685" y="6142204"/>
                </a:moveTo>
                <a:cubicBezTo>
                  <a:pt x="12151191" y="6142204"/>
                  <a:pt x="12161050" y="6146356"/>
                  <a:pt x="12168445" y="6153749"/>
                </a:cubicBezTo>
                <a:lnTo>
                  <a:pt x="12188651" y="6173997"/>
                </a:lnTo>
                <a:lnTo>
                  <a:pt x="12188651" y="6442248"/>
                </a:lnTo>
                <a:lnTo>
                  <a:pt x="12034576" y="6287882"/>
                </a:lnTo>
                <a:cubicBezTo>
                  <a:pt x="12019270" y="6272575"/>
                  <a:pt x="12019270" y="6247668"/>
                  <a:pt x="12034576" y="6232490"/>
                </a:cubicBezTo>
                <a:lnTo>
                  <a:pt x="12113056" y="6153749"/>
                </a:lnTo>
                <a:cubicBezTo>
                  <a:pt x="12120448" y="6146356"/>
                  <a:pt x="12130178" y="6142204"/>
                  <a:pt x="12140685" y="6142204"/>
                </a:cubicBezTo>
                <a:close/>
                <a:moveTo>
                  <a:pt x="10086867" y="6142204"/>
                </a:moveTo>
                <a:cubicBezTo>
                  <a:pt x="10097374" y="6142204"/>
                  <a:pt x="10107232" y="6146356"/>
                  <a:pt x="10114626" y="6153749"/>
                </a:cubicBezTo>
                <a:lnTo>
                  <a:pt x="10179226" y="6218481"/>
                </a:lnTo>
                <a:lnTo>
                  <a:pt x="10190770" y="6230155"/>
                </a:lnTo>
                <a:lnTo>
                  <a:pt x="10202315" y="6218481"/>
                </a:lnTo>
                <a:lnTo>
                  <a:pt x="10266786" y="6153749"/>
                </a:lnTo>
                <a:cubicBezTo>
                  <a:pt x="10274178" y="6146226"/>
                  <a:pt x="10284037" y="6142204"/>
                  <a:pt x="10294543" y="6142204"/>
                </a:cubicBezTo>
                <a:cubicBezTo>
                  <a:pt x="10304922" y="6142204"/>
                  <a:pt x="10314781" y="6146356"/>
                  <a:pt x="10322173" y="6153749"/>
                </a:cubicBezTo>
                <a:lnTo>
                  <a:pt x="10400653" y="6232360"/>
                </a:lnTo>
                <a:cubicBezTo>
                  <a:pt x="10408047" y="6239755"/>
                  <a:pt x="10412068" y="6249614"/>
                  <a:pt x="10412198" y="6260121"/>
                </a:cubicBezTo>
                <a:cubicBezTo>
                  <a:pt x="10412198" y="6270629"/>
                  <a:pt x="10408176" y="6280488"/>
                  <a:pt x="10400783" y="6287882"/>
                </a:cubicBezTo>
                <a:lnTo>
                  <a:pt x="10190770" y="6498291"/>
                </a:lnTo>
                <a:lnTo>
                  <a:pt x="9980757" y="6287882"/>
                </a:lnTo>
                <a:cubicBezTo>
                  <a:pt x="9965450" y="6272575"/>
                  <a:pt x="9965450" y="6247668"/>
                  <a:pt x="9980757" y="6232490"/>
                </a:cubicBezTo>
                <a:lnTo>
                  <a:pt x="10059237" y="6153749"/>
                </a:lnTo>
                <a:cubicBezTo>
                  <a:pt x="10066631" y="6146356"/>
                  <a:pt x="10076359" y="6142204"/>
                  <a:pt x="10086867" y="6142204"/>
                </a:cubicBezTo>
                <a:close/>
                <a:moveTo>
                  <a:pt x="8032919" y="6142204"/>
                </a:moveTo>
                <a:cubicBezTo>
                  <a:pt x="8043427" y="6142204"/>
                  <a:pt x="8053285" y="6146356"/>
                  <a:pt x="8060679" y="6153749"/>
                </a:cubicBezTo>
                <a:lnTo>
                  <a:pt x="8125278" y="6218481"/>
                </a:lnTo>
                <a:lnTo>
                  <a:pt x="8136823" y="6230155"/>
                </a:lnTo>
                <a:lnTo>
                  <a:pt x="8148368" y="6218481"/>
                </a:lnTo>
                <a:lnTo>
                  <a:pt x="8212837" y="6153749"/>
                </a:lnTo>
                <a:cubicBezTo>
                  <a:pt x="8220232" y="6146226"/>
                  <a:pt x="8230090" y="6142204"/>
                  <a:pt x="8240596" y="6142204"/>
                </a:cubicBezTo>
                <a:cubicBezTo>
                  <a:pt x="8250975" y="6142204"/>
                  <a:pt x="8260834" y="6146356"/>
                  <a:pt x="8268226" y="6153749"/>
                </a:cubicBezTo>
                <a:lnTo>
                  <a:pt x="8346707" y="6232360"/>
                </a:lnTo>
                <a:cubicBezTo>
                  <a:pt x="8354100" y="6239755"/>
                  <a:pt x="8358121" y="6249614"/>
                  <a:pt x="8358252" y="6260121"/>
                </a:cubicBezTo>
                <a:cubicBezTo>
                  <a:pt x="8358252" y="6270629"/>
                  <a:pt x="8354229" y="6280488"/>
                  <a:pt x="8346837" y="6287882"/>
                </a:cubicBezTo>
                <a:lnTo>
                  <a:pt x="8136823" y="6498291"/>
                </a:lnTo>
                <a:lnTo>
                  <a:pt x="7926811" y="6287882"/>
                </a:lnTo>
                <a:cubicBezTo>
                  <a:pt x="7911503" y="6272575"/>
                  <a:pt x="7911503" y="6247668"/>
                  <a:pt x="7926811" y="6232490"/>
                </a:cubicBezTo>
                <a:lnTo>
                  <a:pt x="8005289" y="6153749"/>
                </a:lnTo>
                <a:cubicBezTo>
                  <a:pt x="8012684" y="6146356"/>
                  <a:pt x="8022413" y="6142204"/>
                  <a:pt x="8032919" y="6142204"/>
                </a:cubicBezTo>
                <a:close/>
                <a:moveTo>
                  <a:pt x="5979109" y="6142204"/>
                </a:moveTo>
                <a:cubicBezTo>
                  <a:pt x="5989617" y="6142204"/>
                  <a:pt x="5999474" y="6146356"/>
                  <a:pt x="6006867" y="6153749"/>
                </a:cubicBezTo>
                <a:lnTo>
                  <a:pt x="6071463" y="6218481"/>
                </a:lnTo>
                <a:lnTo>
                  <a:pt x="6083006" y="6230155"/>
                </a:lnTo>
                <a:lnTo>
                  <a:pt x="6094550" y="6218481"/>
                </a:lnTo>
                <a:lnTo>
                  <a:pt x="6159019" y="6153749"/>
                </a:lnTo>
                <a:cubicBezTo>
                  <a:pt x="6166413" y="6146226"/>
                  <a:pt x="6176271" y="6142204"/>
                  <a:pt x="6186779" y="6142204"/>
                </a:cubicBezTo>
                <a:cubicBezTo>
                  <a:pt x="6197156" y="6142204"/>
                  <a:pt x="6207014" y="6146356"/>
                  <a:pt x="6214409" y="6153749"/>
                </a:cubicBezTo>
                <a:lnTo>
                  <a:pt x="6292888" y="6232360"/>
                </a:lnTo>
                <a:cubicBezTo>
                  <a:pt x="6300282" y="6239755"/>
                  <a:pt x="6304303" y="6249614"/>
                  <a:pt x="6304433" y="6260121"/>
                </a:cubicBezTo>
                <a:cubicBezTo>
                  <a:pt x="6304433" y="6270629"/>
                  <a:pt x="6300412" y="6280488"/>
                  <a:pt x="6293017" y="6287882"/>
                </a:cubicBezTo>
                <a:lnTo>
                  <a:pt x="6083006" y="6498291"/>
                </a:lnTo>
                <a:lnTo>
                  <a:pt x="5873007" y="6287882"/>
                </a:lnTo>
                <a:cubicBezTo>
                  <a:pt x="5857700" y="6272575"/>
                  <a:pt x="5857700" y="6247668"/>
                  <a:pt x="5873007" y="6232490"/>
                </a:cubicBezTo>
                <a:lnTo>
                  <a:pt x="5951483" y="6153749"/>
                </a:lnTo>
                <a:cubicBezTo>
                  <a:pt x="5958873" y="6146356"/>
                  <a:pt x="5968603" y="6142204"/>
                  <a:pt x="5979109" y="6142204"/>
                </a:cubicBezTo>
                <a:close/>
                <a:moveTo>
                  <a:pt x="3925340" y="6142204"/>
                </a:moveTo>
                <a:cubicBezTo>
                  <a:pt x="3935843" y="6142204"/>
                  <a:pt x="3945706" y="6146356"/>
                  <a:pt x="3953098" y="6153749"/>
                </a:cubicBezTo>
                <a:lnTo>
                  <a:pt x="4017696" y="6218481"/>
                </a:lnTo>
                <a:lnTo>
                  <a:pt x="4029239" y="6230155"/>
                </a:lnTo>
                <a:lnTo>
                  <a:pt x="4040788" y="6218481"/>
                </a:lnTo>
                <a:lnTo>
                  <a:pt x="4105258" y="6153749"/>
                </a:lnTo>
                <a:cubicBezTo>
                  <a:pt x="4112654" y="6146226"/>
                  <a:pt x="4122515" y="6142204"/>
                  <a:pt x="4133019" y="6142204"/>
                </a:cubicBezTo>
                <a:cubicBezTo>
                  <a:pt x="4143398" y="6142204"/>
                  <a:pt x="4153258" y="6146356"/>
                  <a:pt x="4160649" y="6153749"/>
                </a:cubicBezTo>
                <a:lnTo>
                  <a:pt x="4239088" y="6232360"/>
                </a:lnTo>
                <a:cubicBezTo>
                  <a:pt x="4246485" y="6239755"/>
                  <a:pt x="4250503" y="6249614"/>
                  <a:pt x="4250634" y="6260121"/>
                </a:cubicBezTo>
                <a:cubicBezTo>
                  <a:pt x="4250634" y="6270629"/>
                  <a:pt x="4246611" y="6280488"/>
                  <a:pt x="4239218" y="6287882"/>
                </a:cubicBezTo>
                <a:lnTo>
                  <a:pt x="4029239" y="6498291"/>
                </a:lnTo>
                <a:lnTo>
                  <a:pt x="3819224" y="6287882"/>
                </a:lnTo>
                <a:cubicBezTo>
                  <a:pt x="3803916" y="6272575"/>
                  <a:pt x="3803916" y="6247668"/>
                  <a:pt x="3819224" y="6232490"/>
                </a:cubicBezTo>
                <a:lnTo>
                  <a:pt x="3897706" y="6153749"/>
                </a:lnTo>
                <a:cubicBezTo>
                  <a:pt x="3905103" y="6146356"/>
                  <a:pt x="3914833" y="6142204"/>
                  <a:pt x="3925340" y="6142204"/>
                </a:cubicBezTo>
                <a:close/>
                <a:moveTo>
                  <a:pt x="1871365" y="6142204"/>
                </a:moveTo>
                <a:cubicBezTo>
                  <a:pt x="1881872" y="6142204"/>
                  <a:pt x="1891731" y="6146356"/>
                  <a:pt x="1899125" y="6153749"/>
                </a:cubicBezTo>
                <a:lnTo>
                  <a:pt x="1963725" y="6218481"/>
                </a:lnTo>
                <a:lnTo>
                  <a:pt x="1975268" y="6230155"/>
                </a:lnTo>
                <a:lnTo>
                  <a:pt x="1986815" y="6218481"/>
                </a:lnTo>
                <a:lnTo>
                  <a:pt x="2051282" y="6153749"/>
                </a:lnTo>
                <a:cubicBezTo>
                  <a:pt x="2058678" y="6146226"/>
                  <a:pt x="2068534" y="6142204"/>
                  <a:pt x="2079043" y="6142204"/>
                </a:cubicBezTo>
                <a:cubicBezTo>
                  <a:pt x="2089421" y="6142204"/>
                  <a:pt x="2099286" y="6146356"/>
                  <a:pt x="2106680" y="6153749"/>
                </a:cubicBezTo>
                <a:lnTo>
                  <a:pt x="2185159" y="6232360"/>
                </a:lnTo>
                <a:cubicBezTo>
                  <a:pt x="2192551" y="6239755"/>
                  <a:pt x="2196574" y="6249614"/>
                  <a:pt x="2196704" y="6260121"/>
                </a:cubicBezTo>
                <a:cubicBezTo>
                  <a:pt x="2196704" y="6270629"/>
                  <a:pt x="2192683" y="6280488"/>
                  <a:pt x="2185289" y="6287882"/>
                </a:cubicBezTo>
                <a:lnTo>
                  <a:pt x="1975268" y="6498291"/>
                </a:lnTo>
                <a:lnTo>
                  <a:pt x="1765256" y="6287882"/>
                </a:lnTo>
                <a:cubicBezTo>
                  <a:pt x="1749949" y="6272575"/>
                  <a:pt x="1749949" y="6247668"/>
                  <a:pt x="1765256" y="6232490"/>
                </a:cubicBezTo>
                <a:lnTo>
                  <a:pt x="1843735" y="6153749"/>
                </a:lnTo>
                <a:cubicBezTo>
                  <a:pt x="1851131" y="6146356"/>
                  <a:pt x="1860858" y="6142204"/>
                  <a:pt x="1871365" y="6142204"/>
                </a:cubicBezTo>
                <a:close/>
                <a:moveTo>
                  <a:pt x="25201" y="6142204"/>
                </a:moveTo>
                <a:cubicBezTo>
                  <a:pt x="35579" y="6142204"/>
                  <a:pt x="45437" y="6146356"/>
                  <a:pt x="52832" y="6153749"/>
                </a:cubicBezTo>
                <a:lnTo>
                  <a:pt x="131310" y="6232360"/>
                </a:lnTo>
                <a:cubicBezTo>
                  <a:pt x="138704" y="6239755"/>
                  <a:pt x="142726" y="6249614"/>
                  <a:pt x="142854" y="6260121"/>
                </a:cubicBezTo>
                <a:cubicBezTo>
                  <a:pt x="142854" y="6270629"/>
                  <a:pt x="138833" y="6280488"/>
                  <a:pt x="131440" y="6287882"/>
                </a:cubicBezTo>
                <a:lnTo>
                  <a:pt x="0" y="6419570"/>
                </a:lnTo>
                <a:lnTo>
                  <a:pt x="0" y="6152685"/>
                </a:lnTo>
                <a:close/>
                <a:moveTo>
                  <a:pt x="10086867" y="6125729"/>
                </a:moveTo>
                <a:cubicBezTo>
                  <a:pt x="10072597" y="6125729"/>
                  <a:pt x="10058458" y="6131177"/>
                  <a:pt x="10047692" y="6142074"/>
                </a:cubicBezTo>
                <a:lnTo>
                  <a:pt x="9969212" y="6220816"/>
                </a:lnTo>
                <a:cubicBezTo>
                  <a:pt x="9947549" y="6242480"/>
                  <a:pt x="9947549" y="6277763"/>
                  <a:pt x="9969212" y="6299428"/>
                </a:cubicBezTo>
                <a:lnTo>
                  <a:pt x="10190770" y="6521512"/>
                </a:lnTo>
                <a:lnTo>
                  <a:pt x="10412328" y="6299428"/>
                </a:lnTo>
                <a:cubicBezTo>
                  <a:pt x="10433990" y="6277763"/>
                  <a:pt x="10433990" y="6242480"/>
                  <a:pt x="10412328" y="6220816"/>
                </a:cubicBezTo>
                <a:lnTo>
                  <a:pt x="10333848" y="6142204"/>
                </a:lnTo>
                <a:cubicBezTo>
                  <a:pt x="10322953" y="6131307"/>
                  <a:pt x="10308813" y="6125859"/>
                  <a:pt x="10294673" y="6125859"/>
                </a:cubicBezTo>
                <a:lnTo>
                  <a:pt x="10294543" y="6125729"/>
                </a:lnTo>
                <a:cubicBezTo>
                  <a:pt x="10280275" y="6125729"/>
                  <a:pt x="10266136" y="6131177"/>
                  <a:pt x="10255241" y="6142204"/>
                </a:cubicBezTo>
                <a:lnTo>
                  <a:pt x="10190770" y="6206806"/>
                </a:lnTo>
                <a:lnTo>
                  <a:pt x="10126171" y="6142074"/>
                </a:lnTo>
                <a:cubicBezTo>
                  <a:pt x="10115274" y="6131177"/>
                  <a:pt x="10101136" y="6125729"/>
                  <a:pt x="10086867" y="6125729"/>
                </a:cubicBezTo>
                <a:close/>
                <a:moveTo>
                  <a:pt x="8032919" y="6125729"/>
                </a:moveTo>
                <a:cubicBezTo>
                  <a:pt x="8018650" y="6125729"/>
                  <a:pt x="8004511" y="6131177"/>
                  <a:pt x="7993744" y="6142074"/>
                </a:cubicBezTo>
                <a:lnTo>
                  <a:pt x="7915266" y="6220816"/>
                </a:lnTo>
                <a:cubicBezTo>
                  <a:pt x="7893603" y="6242480"/>
                  <a:pt x="7893603" y="6277763"/>
                  <a:pt x="7915266" y="6299428"/>
                </a:cubicBezTo>
                <a:lnTo>
                  <a:pt x="8136823" y="6521512"/>
                </a:lnTo>
                <a:lnTo>
                  <a:pt x="8358382" y="6299428"/>
                </a:lnTo>
                <a:cubicBezTo>
                  <a:pt x="8380044" y="6277763"/>
                  <a:pt x="8380044" y="6242480"/>
                  <a:pt x="8358382" y="6220816"/>
                </a:cubicBezTo>
                <a:lnTo>
                  <a:pt x="8279902" y="6142204"/>
                </a:lnTo>
                <a:cubicBezTo>
                  <a:pt x="8269006" y="6131307"/>
                  <a:pt x="8254866" y="6125859"/>
                  <a:pt x="8240727" y="6125859"/>
                </a:cubicBezTo>
                <a:lnTo>
                  <a:pt x="8240596" y="6125729"/>
                </a:lnTo>
                <a:cubicBezTo>
                  <a:pt x="8226328" y="6125729"/>
                  <a:pt x="8212190" y="6131177"/>
                  <a:pt x="8201292" y="6142204"/>
                </a:cubicBezTo>
                <a:lnTo>
                  <a:pt x="8136823" y="6206806"/>
                </a:lnTo>
                <a:lnTo>
                  <a:pt x="8072224" y="6142074"/>
                </a:lnTo>
                <a:cubicBezTo>
                  <a:pt x="8061328" y="6131177"/>
                  <a:pt x="8047187" y="6125729"/>
                  <a:pt x="8032919" y="6125729"/>
                </a:cubicBezTo>
                <a:close/>
                <a:moveTo>
                  <a:pt x="5979109" y="6125729"/>
                </a:moveTo>
                <a:cubicBezTo>
                  <a:pt x="5964841" y="6125729"/>
                  <a:pt x="5950702" y="6131177"/>
                  <a:pt x="5939936" y="6142074"/>
                </a:cubicBezTo>
                <a:lnTo>
                  <a:pt x="5861462" y="6220816"/>
                </a:lnTo>
                <a:cubicBezTo>
                  <a:pt x="5839801" y="6242480"/>
                  <a:pt x="5839801" y="6277763"/>
                  <a:pt x="5861462" y="6299428"/>
                </a:cubicBezTo>
                <a:lnTo>
                  <a:pt x="6083006" y="6521512"/>
                </a:lnTo>
                <a:lnTo>
                  <a:pt x="6304562" y="6299428"/>
                </a:lnTo>
                <a:cubicBezTo>
                  <a:pt x="6326226" y="6277763"/>
                  <a:pt x="6326226" y="6242480"/>
                  <a:pt x="6304562" y="6220816"/>
                </a:cubicBezTo>
                <a:lnTo>
                  <a:pt x="6226084" y="6142204"/>
                </a:lnTo>
                <a:cubicBezTo>
                  <a:pt x="6215186" y="6131307"/>
                  <a:pt x="6201048" y="6125859"/>
                  <a:pt x="6186909" y="6125859"/>
                </a:cubicBezTo>
                <a:lnTo>
                  <a:pt x="6186779" y="6125729"/>
                </a:lnTo>
                <a:cubicBezTo>
                  <a:pt x="6172511" y="6125729"/>
                  <a:pt x="6158370" y="6131177"/>
                  <a:pt x="6147474" y="6142204"/>
                </a:cubicBezTo>
                <a:lnTo>
                  <a:pt x="6083006" y="6206806"/>
                </a:lnTo>
                <a:lnTo>
                  <a:pt x="6018412" y="6142074"/>
                </a:lnTo>
                <a:cubicBezTo>
                  <a:pt x="6007514" y="6131177"/>
                  <a:pt x="5993378" y="6125729"/>
                  <a:pt x="5979109" y="6125729"/>
                </a:cubicBezTo>
                <a:close/>
                <a:moveTo>
                  <a:pt x="3925340" y="6125729"/>
                </a:moveTo>
                <a:cubicBezTo>
                  <a:pt x="3911071" y="6125729"/>
                  <a:pt x="3896930" y="6131177"/>
                  <a:pt x="3886162" y="6142074"/>
                </a:cubicBezTo>
                <a:lnTo>
                  <a:pt x="3807680" y="6220816"/>
                </a:lnTo>
                <a:cubicBezTo>
                  <a:pt x="3786016" y="6242480"/>
                  <a:pt x="3786016" y="6277763"/>
                  <a:pt x="3807680" y="6299428"/>
                </a:cubicBezTo>
                <a:lnTo>
                  <a:pt x="4029239" y="6521512"/>
                </a:lnTo>
                <a:lnTo>
                  <a:pt x="4250759" y="6299428"/>
                </a:lnTo>
                <a:cubicBezTo>
                  <a:pt x="4272423" y="6277763"/>
                  <a:pt x="4272423" y="6242480"/>
                  <a:pt x="4250759" y="6220816"/>
                </a:cubicBezTo>
                <a:lnTo>
                  <a:pt x="4172324" y="6142204"/>
                </a:lnTo>
                <a:cubicBezTo>
                  <a:pt x="4161428" y="6131307"/>
                  <a:pt x="4147289" y="6125859"/>
                  <a:pt x="4133150" y="6125859"/>
                </a:cubicBezTo>
                <a:lnTo>
                  <a:pt x="4133019" y="6125729"/>
                </a:lnTo>
                <a:cubicBezTo>
                  <a:pt x="4118750" y="6125729"/>
                  <a:pt x="4104611" y="6131177"/>
                  <a:pt x="4093716" y="6142204"/>
                </a:cubicBezTo>
                <a:lnTo>
                  <a:pt x="4029239" y="6206806"/>
                </a:lnTo>
                <a:lnTo>
                  <a:pt x="3964640" y="6142074"/>
                </a:lnTo>
                <a:cubicBezTo>
                  <a:pt x="3953745" y="6131177"/>
                  <a:pt x="3939605" y="6125729"/>
                  <a:pt x="3925340" y="6125729"/>
                </a:cubicBezTo>
                <a:close/>
                <a:moveTo>
                  <a:pt x="1871365" y="6125729"/>
                </a:moveTo>
                <a:cubicBezTo>
                  <a:pt x="1857096" y="6125729"/>
                  <a:pt x="1842957" y="6131177"/>
                  <a:pt x="1832190" y="6142074"/>
                </a:cubicBezTo>
                <a:lnTo>
                  <a:pt x="1753712" y="6220816"/>
                </a:lnTo>
                <a:cubicBezTo>
                  <a:pt x="1732049" y="6242480"/>
                  <a:pt x="1732049" y="6277763"/>
                  <a:pt x="1753712" y="6299428"/>
                </a:cubicBezTo>
                <a:lnTo>
                  <a:pt x="1975268" y="6521512"/>
                </a:lnTo>
                <a:lnTo>
                  <a:pt x="2196833" y="6299428"/>
                </a:lnTo>
                <a:cubicBezTo>
                  <a:pt x="2218494" y="6277763"/>
                  <a:pt x="2218494" y="6242480"/>
                  <a:pt x="2196833" y="6220816"/>
                </a:cubicBezTo>
                <a:lnTo>
                  <a:pt x="2118354" y="6142204"/>
                </a:lnTo>
                <a:cubicBezTo>
                  <a:pt x="2107457" y="6131307"/>
                  <a:pt x="2093311" y="6125859"/>
                  <a:pt x="2079172" y="6125859"/>
                </a:cubicBezTo>
                <a:lnTo>
                  <a:pt x="2079043" y="6125729"/>
                </a:lnTo>
                <a:cubicBezTo>
                  <a:pt x="2064774" y="6125729"/>
                  <a:pt x="2050635" y="6131177"/>
                  <a:pt x="2039739" y="6142204"/>
                </a:cubicBezTo>
                <a:lnTo>
                  <a:pt x="1975268" y="6206806"/>
                </a:lnTo>
                <a:lnTo>
                  <a:pt x="1910670" y="6142074"/>
                </a:lnTo>
                <a:cubicBezTo>
                  <a:pt x="1899773" y="6131177"/>
                  <a:pt x="1885634" y="6125729"/>
                  <a:pt x="1871365" y="6125729"/>
                </a:cubicBezTo>
                <a:close/>
                <a:moveTo>
                  <a:pt x="0" y="5955550"/>
                </a:moveTo>
                <a:lnTo>
                  <a:pt x="255057" y="6103157"/>
                </a:lnTo>
                <a:lnTo>
                  <a:pt x="255057" y="6489340"/>
                </a:lnTo>
                <a:lnTo>
                  <a:pt x="0" y="6636947"/>
                </a:lnTo>
                <a:lnTo>
                  <a:pt x="0" y="6442752"/>
                </a:lnTo>
                <a:lnTo>
                  <a:pt x="142984" y="6299428"/>
                </a:lnTo>
                <a:cubicBezTo>
                  <a:pt x="164648" y="6277763"/>
                  <a:pt x="164648" y="6242480"/>
                  <a:pt x="142984" y="6220816"/>
                </a:cubicBezTo>
                <a:lnTo>
                  <a:pt x="64505" y="6142204"/>
                </a:lnTo>
                <a:cubicBezTo>
                  <a:pt x="53609" y="6131307"/>
                  <a:pt x="39470" y="6125859"/>
                  <a:pt x="25329" y="6125859"/>
                </a:cubicBezTo>
                <a:lnTo>
                  <a:pt x="25201" y="6125729"/>
                </a:lnTo>
                <a:cubicBezTo>
                  <a:pt x="18067" y="6125729"/>
                  <a:pt x="10965" y="6127091"/>
                  <a:pt x="4284" y="6129832"/>
                </a:cubicBezTo>
                <a:lnTo>
                  <a:pt x="0" y="6132714"/>
                </a:lnTo>
                <a:close/>
                <a:moveTo>
                  <a:pt x="12188651" y="5942299"/>
                </a:moveTo>
                <a:lnTo>
                  <a:pt x="12188651" y="6150753"/>
                </a:lnTo>
                <a:lnTo>
                  <a:pt x="12179990" y="6142074"/>
                </a:lnTo>
                <a:cubicBezTo>
                  <a:pt x="12169092" y="6131177"/>
                  <a:pt x="12154954" y="6125729"/>
                  <a:pt x="12140685" y="6125729"/>
                </a:cubicBezTo>
                <a:cubicBezTo>
                  <a:pt x="12126416" y="6125729"/>
                  <a:pt x="12112276" y="6131177"/>
                  <a:pt x="12101510" y="6142074"/>
                </a:cubicBezTo>
                <a:lnTo>
                  <a:pt x="12023031" y="6220816"/>
                </a:lnTo>
                <a:cubicBezTo>
                  <a:pt x="12001368" y="6242480"/>
                  <a:pt x="12001368" y="6277763"/>
                  <a:pt x="12023031" y="6299428"/>
                </a:cubicBezTo>
                <a:lnTo>
                  <a:pt x="12188651" y="6465441"/>
                </a:lnTo>
                <a:lnTo>
                  <a:pt x="12188651" y="6650199"/>
                </a:lnTo>
                <a:lnTo>
                  <a:pt x="11910696" y="6489340"/>
                </a:lnTo>
                <a:lnTo>
                  <a:pt x="11910696" y="6103158"/>
                </a:lnTo>
                <a:close/>
                <a:moveTo>
                  <a:pt x="2668510" y="5915205"/>
                </a:moveTo>
                <a:lnTo>
                  <a:pt x="2993944" y="6103545"/>
                </a:lnTo>
                <a:lnTo>
                  <a:pt x="2993944" y="6480372"/>
                </a:lnTo>
                <a:lnTo>
                  <a:pt x="2668510" y="6292032"/>
                </a:lnTo>
                <a:close/>
                <a:moveTo>
                  <a:pt x="2652138" y="5915205"/>
                </a:moveTo>
                <a:lnTo>
                  <a:pt x="2652138" y="6292032"/>
                </a:lnTo>
                <a:lnTo>
                  <a:pt x="2326578" y="6480371"/>
                </a:lnTo>
                <a:lnTo>
                  <a:pt x="2326578" y="6103545"/>
                </a:lnTo>
                <a:close/>
                <a:moveTo>
                  <a:pt x="614534" y="5915205"/>
                </a:moveTo>
                <a:lnTo>
                  <a:pt x="939967" y="6103545"/>
                </a:lnTo>
                <a:lnTo>
                  <a:pt x="939967" y="6480373"/>
                </a:lnTo>
                <a:lnTo>
                  <a:pt x="614534" y="6292032"/>
                </a:lnTo>
                <a:close/>
                <a:moveTo>
                  <a:pt x="598162" y="5915205"/>
                </a:moveTo>
                <a:lnTo>
                  <a:pt x="598162" y="6292032"/>
                </a:lnTo>
                <a:lnTo>
                  <a:pt x="272599" y="6480372"/>
                </a:lnTo>
                <a:lnTo>
                  <a:pt x="272599" y="6103545"/>
                </a:lnTo>
                <a:close/>
                <a:moveTo>
                  <a:pt x="4722303" y="5915196"/>
                </a:moveTo>
                <a:lnTo>
                  <a:pt x="5047767" y="6103545"/>
                </a:lnTo>
                <a:lnTo>
                  <a:pt x="5047767" y="6480376"/>
                </a:lnTo>
                <a:lnTo>
                  <a:pt x="4722303" y="6292032"/>
                </a:lnTo>
                <a:close/>
                <a:moveTo>
                  <a:pt x="4705942" y="5915194"/>
                </a:moveTo>
                <a:lnTo>
                  <a:pt x="4705942" y="6292032"/>
                </a:lnTo>
                <a:lnTo>
                  <a:pt x="4380369" y="6480381"/>
                </a:lnTo>
                <a:lnTo>
                  <a:pt x="4380369" y="6103545"/>
                </a:lnTo>
                <a:close/>
                <a:moveTo>
                  <a:pt x="10883981" y="5915189"/>
                </a:moveTo>
                <a:lnTo>
                  <a:pt x="11209441" y="6103545"/>
                </a:lnTo>
                <a:lnTo>
                  <a:pt x="11209441" y="6480388"/>
                </a:lnTo>
                <a:lnTo>
                  <a:pt x="10883981" y="6292032"/>
                </a:lnTo>
                <a:close/>
                <a:moveTo>
                  <a:pt x="10867636" y="5915189"/>
                </a:moveTo>
                <a:lnTo>
                  <a:pt x="10867636" y="6292032"/>
                </a:lnTo>
                <a:lnTo>
                  <a:pt x="10542045" y="6480389"/>
                </a:lnTo>
                <a:lnTo>
                  <a:pt x="10542045" y="6103545"/>
                </a:lnTo>
                <a:close/>
                <a:moveTo>
                  <a:pt x="8830033" y="5915189"/>
                </a:moveTo>
                <a:lnTo>
                  <a:pt x="9155493" y="6103545"/>
                </a:lnTo>
                <a:lnTo>
                  <a:pt x="9155493" y="6480388"/>
                </a:lnTo>
                <a:lnTo>
                  <a:pt x="8830033" y="6292032"/>
                </a:lnTo>
                <a:close/>
                <a:moveTo>
                  <a:pt x="8813688" y="5915189"/>
                </a:moveTo>
                <a:lnTo>
                  <a:pt x="8813688" y="6292032"/>
                </a:lnTo>
                <a:lnTo>
                  <a:pt x="8488098" y="6480388"/>
                </a:lnTo>
                <a:lnTo>
                  <a:pt x="8488098" y="6103545"/>
                </a:lnTo>
                <a:close/>
                <a:moveTo>
                  <a:pt x="6776215" y="5915189"/>
                </a:moveTo>
                <a:lnTo>
                  <a:pt x="7101677" y="6103545"/>
                </a:lnTo>
                <a:lnTo>
                  <a:pt x="7101677" y="6480389"/>
                </a:lnTo>
                <a:lnTo>
                  <a:pt x="6776215" y="6292032"/>
                </a:lnTo>
                <a:close/>
                <a:moveTo>
                  <a:pt x="6759871" y="5915189"/>
                </a:moveTo>
                <a:lnTo>
                  <a:pt x="6759871" y="6292032"/>
                </a:lnTo>
                <a:lnTo>
                  <a:pt x="6434280" y="6480389"/>
                </a:lnTo>
                <a:lnTo>
                  <a:pt x="6434280" y="6103545"/>
                </a:lnTo>
                <a:close/>
                <a:moveTo>
                  <a:pt x="3344066" y="5910397"/>
                </a:moveTo>
                <a:lnTo>
                  <a:pt x="3677812" y="6103545"/>
                </a:lnTo>
                <a:lnTo>
                  <a:pt x="3677812" y="6489859"/>
                </a:lnTo>
                <a:lnTo>
                  <a:pt x="3344198" y="6683007"/>
                </a:lnTo>
                <a:lnTo>
                  <a:pt x="3010447" y="6489859"/>
                </a:lnTo>
                <a:lnTo>
                  <a:pt x="3010447" y="6103545"/>
                </a:lnTo>
                <a:close/>
                <a:moveTo>
                  <a:pt x="1290088" y="5910397"/>
                </a:moveTo>
                <a:lnTo>
                  <a:pt x="1623838" y="6103545"/>
                </a:lnTo>
                <a:lnTo>
                  <a:pt x="1623838" y="6489859"/>
                </a:lnTo>
                <a:lnTo>
                  <a:pt x="1290218" y="6683007"/>
                </a:lnTo>
                <a:lnTo>
                  <a:pt x="956469" y="6489859"/>
                </a:lnTo>
                <a:lnTo>
                  <a:pt x="956469" y="6103545"/>
                </a:lnTo>
                <a:close/>
                <a:moveTo>
                  <a:pt x="5397866" y="5910393"/>
                </a:moveTo>
                <a:lnTo>
                  <a:pt x="5731614" y="6103545"/>
                </a:lnTo>
                <a:lnTo>
                  <a:pt x="5731614" y="6489859"/>
                </a:lnTo>
                <a:lnTo>
                  <a:pt x="5398000" y="6683010"/>
                </a:lnTo>
                <a:lnTo>
                  <a:pt x="5064265" y="6489859"/>
                </a:lnTo>
                <a:lnTo>
                  <a:pt x="5064265" y="6103545"/>
                </a:lnTo>
                <a:close/>
                <a:moveTo>
                  <a:pt x="11559549" y="5910389"/>
                </a:moveTo>
                <a:lnTo>
                  <a:pt x="11893312" y="6103545"/>
                </a:lnTo>
                <a:lnTo>
                  <a:pt x="11893312" y="6489859"/>
                </a:lnTo>
                <a:lnTo>
                  <a:pt x="11559679" y="6683015"/>
                </a:lnTo>
                <a:lnTo>
                  <a:pt x="11225916" y="6489859"/>
                </a:lnTo>
                <a:lnTo>
                  <a:pt x="11225916" y="6103545"/>
                </a:lnTo>
                <a:close/>
                <a:moveTo>
                  <a:pt x="9505601" y="5910389"/>
                </a:moveTo>
                <a:lnTo>
                  <a:pt x="9839364" y="6103545"/>
                </a:lnTo>
                <a:lnTo>
                  <a:pt x="9839364" y="6489859"/>
                </a:lnTo>
                <a:lnTo>
                  <a:pt x="9505732" y="6683015"/>
                </a:lnTo>
                <a:lnTo>
                  <a:pt x="9171969" y="6489859"/>
                </a:lnTo>
                <a:lnTo>
                  <a:pt x="9171969" y="6103545"/>
                </a:lnTo>
                <a:close/>
                <a:moveTo>
                  <a:pt x="7451785" y="5910389"/>
                </a:moveTo>
                <a:lnTo>
                  <a:pt x="7785548" y="6103545"/>
                </a:lnTo>
                <a:lnTo>
                  <a:pt x="7785548" y="6489859"/>
                </a:lnTo>
                <a:lnTo>
                  <a:pt x="7451915" y="6683015"/>
                </a:lnTo>
                <a:lnTo>
                  <a:pt x="7118150" y="6489859"/>
                </a:lnTo>
                <a:lnTo>
                  <a:pt x="7118150" y="6103545"/>
                </a:lnTo>
                <a:close/>
                <a:moveTo>
                  <a:pt x="4029112" y="5910002"/>
                </a:moveTo>
                <a:lnTo>
                  <a:pt x="4213228" y="6016569"/>
                </a:lnTo>
                <a:lnTo>
                  <a:pt x="4362832" y="6103157"/>
                </a:lnTo>
                <a:lnTo>
                  <a:pt x="4362832" y="6489340"/>
                </a:lnTo>
                <a:lnTo>
                  <a:pt x="4029112" y="6682495"/>
                </a:lnTo>
                <a:lnTo>
                  <a:pt x="3695358" y="6489340"/>
                </a:lnTo>
                <a:lnTo>
                  <a:pt x="3695358" y="6103157"/>
                </a:lnTo>
                <a:close/>
                <a:moveTo>
                  <a:pt x="1975138" y="5910002"/>
                </a:moveTo>
                <a:lnTo>
                  <a:pt x="2308904" y="6103157"/>
                </a:lnTo>
                <a:lnTo>
                  <a:pt x="2308904" y="6489340"/>
                </a:lnTo>
                <a:lnTo>
                  <a:pt x="1975138" y="6682495"/>
                </a:lnTo>
                <a:lnTo>
                  <a:pt x="1641379" y="6489340"/>
                </a:lnTo>
                <a:lnTo>
                  <a:pt x="1641379" y="6103157"/>
                </a:lnTo>
                <a:close/>
                <a:moveTo>
                  <a:pt x="10190640" y="5910001"/>
                </a:moveTo>
                <a:lnTo>
                  <a:pt x="10524404" y="6103158"/>
                </a:lnTo>
                <a:lnTo>
                  <a:pt x="10524404" y="6489340"/>
                </a:lnTo>
                <a:lnTo>
                  <a:pt x="10190640" y="6682497"/>
                </a:lnTo>
                <a:lnTo>
                  <a:pt x="9856876" y="6489340"/>
                </a:lnTo>
                <a:lnTo>
                  <a:pt x="9856876" y="6103158"/>
                </a:lnTo>
                <a:close/>
                <a:moveTo>
                  <a:pt x="8136693" y="5910001"/>
                </a:moveTo>
                <a:lnTo>
                  <a:pt x="8470456" y="6103158"/>
                </a:lnTo>
                <a:lnTo>
                  <a:pt x="8470456" y="6489340"/>
                </a:lnTo>
                <a:lnTo>
                  <a:pt x="8136693" y="6682497"/>
                </a:lnTo>
                <a:lnTo>
                  <a:pt x="7802930" y="6489340"/>
                </a:lnTo>
                <a:lnTo>
                  <a:pt x="7802930" y="6103158"/>
                </a:lnTo>
                <a:close/>
                <a:moveTo>
                  <a:pt x="6082876" y="5910001"/>
                </a:moveTo>
                <a:lnTo>
                  <a:pt x="6416638" y="6103158"/>
                </a:lnTo>
                <a:lnTo>
                  <a:pt x="6416638" y="6489340"/>
                </a:lnTo>
                <a:lnTo>
                  <a:pt x="6082876" y="6682497"/>
                </a:lnTo>
                <a:lnTo>
                  <a:pt x="5749136" y="6489340"/>
                </a:lnTo>
                <a:lnTo>
                  <a:pt x="5749136" y="6103157"/>
                </a:lnTo>
                <a:close/>
                <a:moveTo>
                  <a:pt x="3687309" y="5712175"/>
                </a:moveTo>
                <a:lnTo>
                  <a:pt x="4012766" y="5900530"/>
                </a:lnTo>
                <a:lnTo>
                  <a:pt x="3687182" y="6088884"/>
                </a:lnTo>
                <a:lnTo>
                  <a:pt x="3361724" y="5900530"/>
                </a:lnTo>
                <a:close/>
                <a:moveTo>
                  <a:pt x="1633334" y="5712175"/>
                </a:moveTo>
                <a:lnTo>
                  <a:pt x="1958791" y="5900530"/>
                </a:lnTo>
                <a:lnTo>
                  <a:pt x="1633203" y="6088884"/>
                </a:lnTo>
                <a:lnTo>
                  <a:pt x="1307745" y="5900530"/>
                </a:lnTo>
                <a:close/>
                <a:moveTo>
                  <a:pt x="11902654" y="5712174"/>
                </a:moveTo>
                <a:lnTo>
                  <a:pt x="12188651" y="5877692"/>
                </a:lnTo>
                <a:lnTo>
                  <a:pt x="12188651" y="5923360"/>
                </a:lnTo>
                <a:lnTo>
                  <a:pt x="11902524" y="6088886"/>
                </a:lnTo>
                <a:lnTo>
                  <a:pt x="11577062" y="5900531"/>
                </a:lnTo>
                <a:close/>
                <a:moveTo>
                  <a:pt x="9848833" y="5712174"/>
                </a:moveTo>
                <a:lnTo>
                  <a:pt x="10174295" y="5900531"/>
                </a:lnTo>
                <a:lnTo>
                  <a:pt x="9848703" y="6088886"/>
                </a:lnTo>
                <a:lnTo>
                  <a:pt x="9523243" y="5900531"/>
                </a:lnTo>
                <a:close/>
                <a:moveTo>
                  <a:pt x="7794888" y="5712174"/>
                </a:moveTo>
                <a:lnTo>
                  <a:pt x="8120347" y="5900531"/>
                </a:lnTo>
                <a:lnTo>
                  <a:pt x="7794758" y="6088886"/>
                </a:lnTo>
                <a:lnTo>
                  <a:pt x="7469298" y="5900531"/>
                </a:lnTo>
                <a:close/>
                <a:moveTo>
                  <a:pt x="5741090" y="5712174"/>
                </a:moveTo>
                <a:lnTo>
                  <a:pt x="6066531" y="5900531"/>
                </a:lnTo>
                <a:lnTo>
                  <a:pt x="5740963" y="6088886"/>
                </a:lnTo>
                <a:lnTo>
                  <a:pt x="5415520" y="5900530"/>
                </a:lnTo>
                <a:lnTo>
                  <a:pt x="5655997" y="5761405"/>
                </a:lnTo>
                <a:close/>
                <a:moveTo>
                  <a:pt x="3106034" y="5548339"/>
                </a:moveTo>
                <a:lnTo>
                  <a:pt x="3133652" y="5559879"/>
                </a:lnTo>
                <a:lnTo>
                  <a:pt x="3212133" y="5638491"/>
                </a:lnTo>
                <a:cubicBezTo>
                  <a:pt x="3219527" y="5645885"/>
                  <a:pt x="3223546" y="5655745"/>
                  <a:pt x="3223677" y="5666252"/>
                </a:cubicBezTo>
                <a:cubicBezTo>
                  <a:pt x="3223677" y="5676760"/>
                  <a:pt x="3219657" y="5686618"/>
                  <a:pt x="3212262" y="5694012"/>
                </a:cubicBezTo>
                <a:lnTo>
                  <a:pt x="3002260" y="5904411"/>
                </a:lnTo>
                <a:lnTo>
                  <a:pt x="2792261" y="5694012"/>
                </a:lnTo>
                <a:cubicBezTo>
                  <a:pt x="2776952" y="5678705"/>
                  <a:pt x="2776952" y="5653798"/>
                  <a:pt x="2792261" y="5638621"/>
                </a:cubicBezTo>
                <a:lnTo>
                  <a:pt x="2870738" y="5559879"/>
                </a:lnTo>
                <a:lnTo>
                  <a:pt x="2898359" y="5548340"/>
                </a:lnTo>
                <a:lnTo>
                  <a:pt x="2926105" y="5559879"/>
                </a:lnTo>
                <a:lnTo>
                  <a:pt x="2990706" y="5624611"/>
                </a:lnTo>
                <a:lnTo>
                  <a:pt x="3002248" y="5636286"/>
                </a:lnTo>
                <a:lnTo>
                  <a:pt x="3002260" y="5636275"/>
                </a:lnTo>
                <a:lnTo>
                  <a:pt x="3002272" y="5636286"/>
                </a:lnTo>
                <a:lnTo>
                  <a:pt x="3013817" y="5624611"/>
                </a:lnTo>
                <a:lnTo>
                  <a:pt x="3078286" y="5559879"/>
                </a:lnTo>
                <a:close/>
                <a:moveTo>
                  <a:pt x="844380" y="5548339"/>
                </a:moveTo>
                <a:lnTo>
                  <a:pt x="872128" y="5559879"/>
                </a:lnTo>
                <a:lnTo>
                  <a:pt x="936727" y="5624611"/>
                </a:lnTo>
                <a:lnTo>
                  <a:pt x="948272" y="5636286"/>
                </a:lnTo>
                <a:lnTo>
                  <a:pt x="948285" y="5636274"/>
                </a:lnTo>
                <a:lnTo>
                  <a:pt x="948296" y="5636286"/>
                </a:lnTo>
                <a:lnTo>
                  <a:pt x="959841" y="5624611"/>
                </a:lnTo>
                <a:lnTo>
                  <a:pt x="1024310" y="5559879"/>
                </a:lnTo>
                <a:lnTo>
                  <a:pt x="1052058" y="5548339"/>
                </a:lnTo>
                <a:lnTo>
                  <a:pt x="1079676" y="5559879"/>
                </a:lnTo>
                <a:lnTo>
                  <a:pt x="1158155" y="5638491"/>
                </a:lnTo>
                <a:cubicBezTo>
                  <a:pt x="1165549" y="5645885"/>
                  <a:pt x="1169570" y="5655745"/>
                  <a:pt x="1169700" y="5666252"/>
                </a:cubicBezTo>
                <a:cubicBezTo>
                  <a:pt x="1169700" y="5676760"/>
                  <a:pt x="1165679" y="5686618"/>
                  <a:pt x="1158286" y="5694012"/>
                </a:cubicBezTo>
                <a:lnTo>
                  <a:pt x="948285" y="5904410"/>
                </a:lnTo>
                <a:lnTo>
                  <a:pt x="738284" y="5694012"/>
                </a:lnTo>
                <a:cubicBezTo>
                  <a:pt x="722976" y="5678705"/>
                  <a:pt x="722976" y="5653798"/>
                  <a:pt x="738284" y="5638621"/>
                </a:cubicBezTo>
                <a:lnTo>
                  <a:pt x="816760" y="5559879"/>
                </a:lnTo>
                <a:close/>
                <a:moveTo>
                  <a:pt x="4952154" y="5548336"/>
                </a:moveTo>
                <a:lnTo>
                  <a:pt x="4979914" y="5559879"/>
                </a:lnTo>
                <a:lnTo>
                  <a:pt x="5044521" y="5624611"/>
                </a:lnTo>
                <a:lnTo>
                  <a:pt x="5056064" y="5636286"/>
                </a:lnTo>
                <a:lnTo>
                  <a:pt x="5056083" y="5636276"/>
                </a:lnTo>
                <a:lnTo>
                  <a:pt x="5056087" y="5636286"/>
                </a:lnTo>
                <a:lnTo>
                  <a:pt x="5067633" y="5624611"/>
                </a:lnTo>
                <a:lnTo>
                  <a:pt x="5132089" y="5559879"/>
                </a:lnTo>
                <a:lnTo>
                  <a:pt x="5159834" y="5548336"/>
                </a:lnTo>
                <a:lnTo>
                  <a:pt x="5187464" y="5559879"/>
                </a:lnTo>
                <a:lnTo>
                  <a:pt x="5265932" y="5638491"/>
                </a:lnTo>
                <a:cubicBezTo>
                  <a:pt x="5273331" y="5645885"/>
                  <a:pt x="5277344" y="5655745"/>
                  <a:pt x="5277479" y="5666252"/>
                </a:cubicBezTo>
                <a:cubicBezTo>
                  <a:pt x="5277479" y="5676760"/>
                  <a:pt x="5273469" y="5686618"/>
                  <a:pt x="5266071" y="5694012"/>
                </a:cubicBezTo>
                <a:lnTo>
                  <a:pt x="5056083" y="5904412"/>
                </a:lnTo>
                <a:lnTo>
                  <a:pt x="4846044" y="5694012"/>
                </a:lnTo>
                <a:cubicBezTo>
                  <a:pt x="4830736" y="5678705"/>
                  <a:pt x="4830736" y="5653798"/>
                  <a:pt x="4846044" y="5638621"/>
                </a:cubicBezTo>
                <a:lnTo>
                  <a:pt x="4924518" y="5559879"/>
                </a:lnTo>
                <a:close/>
                <a:moveTo>
                  <a:pt x="11113840" y="5548334"/>
                </a:moveTo>
                <a:cubicBezTo>
                  <a:pt x="11124348" y="5548334"/>
                  <a:pt x="11134206" y="5552486"/>
                  <a:pt x="11141600" y="5559879"/>
                </a:cubicBezTo>
                <a:lnTo>
                  <a:pt x="11206199" y="5624611"/>
                </a:lnTo>
                <a:lnTo>
                  <a:pt x="11217744" y="5636286"/>
                </a:lnTo>
                <a:lnTo>
                  <a:pt x="11229289" y="5624611"/>
                </a:lnTo>
                <a:lnTo>
                  <a:pt x="11293758" y="5559879"/>
                </a:lnTo>
                <a:cubicBezTo>
                  <a:pt x="11301152" y="5552356"/>
                  <a:pt x="11311011" y="5548334"/>
                  <a:pt x="11321517" y="5548334"/>
                </a:cubicBezTo>
                <a:cubicBezTo>
                  <a:pt x="11331896" y="5548334"/>
                  <a:pt x="11341755" y="5552486"/>
                  <a:pt x="11349147" y="5559879"/>
                </a:cubicBezTo>
                <a:lnTo>
                  <a:pt x="11427627" y="5638491"/>
                </a:lnTo>
                <a:cubicBezTo>
                  <a:pt x="11435021" y="5645885"/>
                  <a:pt x="11439042" y="5655745"/>
                  <a:pt x="11439172" y="5666252"/>
                </a:cubicBezTo>
                <a:cubicBezTo>
                  <a:pt x="11439172" y="5676760"/>
                  <a:pt x="11435150" y="5686618"/>
                  <a:pt x="11427757" y="5694012"/>
                </a:cubicBezTo>
                <a:lnTo>
                  <a:pt x="11217744" y="5904422"/>
                </a:lnTo>
                <a:lnTo>
                  <a:pt x="11007731" y="5694012"/>
                </a:lnTo>
                <a:cubicBezTo>
                  <a:pt x="10992424" y="5678705"/>
                  <a:pt x="10992424" y="5653798"/>
                  <a:pt x="11007731" y="5638621"/>
                </a:cubicBezTo>
                <a:lnTo>
                  <a:pt x="11086210" y="5559879"/>
                </a:lnTo>
                <a:cubicBezTo>
                  <a:pt x="11093605" y="5552486"/>
                  <a:pt x="11103333" y="5548334"/>
                  <a:pt x="11113840" y="5548334"/>
                </a:cubicBezTo>
                <a:close/>
                <a:moveTo>
                  <a:pt x="9059892" y="5548334"/>
                </a:moveTo>
                <a:lnTo>
                  <a:pt x="9087652" y="5559879"/>
                </a:lnTo>
                <a:lnTo>
                  <a:pt x="9152251" y="5624611"/>
                </a:lnTo>
                <a:lnTo>
                  <a:pt x="9163796" y="5636286"/>
                </a:lnTo>
                <a:lnTo>
                  <a:pt x="9163797" y="5636286"/>
                </a:lnTo>
                <a:lnTo>
                  <a:pt x="9175342" y="5624611"/>
                </a:lnTo>
                <a:lnTo>
                  <a:pt x="9239811" y="5559879"/>
                </a:lnTo>
                <a:lnTo>
                  <a:pt x="9267570" y="5548334"/>
                </a:lnTo>
                <a:lnTo>
                  <a:pt x="9295200" y="5559879"/>
                </a:lnTo>
                <a:lnTo>
                  <a:pt x="9373678" y="5638491"/>
                </a:lnTo>
                <a:cubicBezTo>
                  <a:pt x="9381073" y="5645885"/>
                  <a:pt x="9385093" y="5655745"/>
                  <a:pt x="9385223" y="5666252"/>
                </a:cubicBezTo>
                <a:cubicBezTo>
                  <a:pt x="9385223" y="5676760"/>
                  <a:pt x="9381203" y="5686618"/>
                  <a:pt x="9373808" y="5694012"/>
                </a:cubicBezTo>
                <a:lnTo>
                  <a:pt x="9163797" y="5904422"/>
                </a:lnTo>
                <a:lnTo>
                  <a:pt x="8953784" y="5694012"/>
                </a:lnTo>
                <a:cubicBezTo>
                  <a:pt x="8938478" y="5678705"/>
                  <a:pt x="8938478" y="5653798"/>
                  <a:pt x="8953784" y="5638621"/>
                </a:cubicBezTo>
                <a:lnTo>
                  <a:pt x="9032264" y="5559879"/>
                </a:lnTo>
                <a:close/>
                <a:moveTo>
                  <a:pt x="7006076" y="5548334"/>
                </a:moveTo>
                <a:cubicBezTo>
                  <a:pt x="7016582" y="5548334"/>
                  <a:pt x="7026440" y="5552486"/>
                  <a:pt x="7033834" y="5559879"/>
                </a:cubicBezTo>
                <a:lnTo>
                  <a:pt x="7098434" y="5624611"/>
                </a:lnTo>
                <a:lnTo>
                  <a:pt x="7109978" y="5636286"/>
                </a:lnTo>
                <a:lnTo>
                  <a:pt x="7121523" y="5624611"/>
                </a:lnTo>
                <a:lnTo>
                  <a:pt x="7185994" y="5559879"/>
                </a:lnTo>
                <a:cubicBezTo>
                  <a:pt x="7193387" y="5552356"/>
                  <a:pt x="7203245" y="5548334"/>
                  <a:pt x="7213751" y="5548334"/>
                </a:cubicBezTo>
                <a:cubicBezTo>
                  <a:pt x="7224130" y="5548334"/>
                  <a:pt x="7233989" y="5552486"/>
                  <a:pt x="7241381" y="5559879"/>
                </a:cubicBezTo>
                <a:lnTo>
                  <a:pt x="7319862" y="5638491"/>
                </a:lnTo>
                <a:cubicBezTo>
                  <a:pt x="7327255" y="5645885"/>
                  <a:pt x="7331276" y="5655745"/>
                  <a:pt x="7331407" y="5666252"/>
                </a:cubicBezTo>
                <a:cubicBezTo>
                  <a:pt x="7331407" y="5676760"/>
                  <a:pt x="7327384" y="5686618"/>
                  <a:pt x="7319992" y="5694012"/>
                </a:cubicBezTo>
                <a:lnTo>
                  <a:pt x="7109978" y="5904422"/>
                </a:lnTo>
                <a:lnTo>
                  <a:pt x="6899966" y="5694012"/>
                </a:lnTo>
                <a:cubicBezTo>
                  <a:pt x="6884658" y="5678705"/>
                  <a:pt x="6884658" y="5653798"/>
                  <a:pt x="6899966" y="5638621"/>
                </a:cubicBezTo>
                <a:lnTo>
                  <a:pt x="6978446" y="5559879"/>
                </a:lnTo>
                <a:cubicBezTo>
                  <a:pt x="6985839" y="5552486"/>
                  <a:pt x="6995568" y="5548334"/>
                  <a:pt x="7006076" y="5548334"/>
                </a:cubicBezTo>
                <a:close/>
                <a:moveTo>
                  <a:pt x="11113840" y="5531859"/>
                </a:moveTo>
                <a:cubicBezTo>
                  <a:pt x="11099571" y="5531859"/>
                  <a:pt x="11085432" y="5537308"/>
                  <a:pt x="11074665" y="5548204"/>
                </a:cubicBezTo>
                <a:lnTo>
                  <a:pt x="10996186" y="5626946"/>
                </a:lnTo>
                <a:cubicBezTo>
                  <a:pt x="10974523" y="5648610"/>
                  <a:pt x="10974523" y="5683894"/>
                  <a:pt x="10996186" y="5705558"/>
                </a:cubicBezTo>
                <a:lnTo>
                  <a:pt x="11217744" y="5927642"/>
                </a:lnTo>
                <a:lnTo>
                  <a:pt x="11439301" y="5705558"/>
                </a:lnTo>
                <a:cubicBezTo>
                  <a:pt x="11460964" y="5683894"/>
                  <a:pt x="11460964" y="5648610"/>
                  <a:pt x="11439301" y="5626946"/>
                </a:cubicBezTo>
                <a:lnTo>
                  <a:pt x="11360822" y="5548334"/>
                </a:lnTo>
                <a:cubicBezTo>
                  <a:pt x="11349927" y="5537438"/>
                  <a:pt x="11335787" y="5531989"/>
                  <a:pt x="11321647" y="5531989"/>
                </a:cubicBezTo>
                <a:lnTo>
                  <a:pt x="11321517" y="5531859"/>
                </a:lnTo>
                <a:cubicBezTo>
                  <a:pt x="11307249" y="5531859"/>
                  <a:pt x="11293110" y="5537308"/>
                  <a:pt x="11282213" y="5548334"/>
                </a:cubicBezTo>
                <a:lnTo>
                  <a:pt x="11217744" y="5612936"/>
                </a:lnTo>
                <a:lnTo>
                  <a:pt x="11153145" y="5548204"/>
                </a:lnTo>
                <a:cubicBezTo>
                  <a:pt x="11142248" y="5537308"/>
                  <a:pt x="11128108" y="5531859"/>
                  <a:pt x="11113840" y="5531859"/>
                </a:cubicBezTo>
                <a:close/>
                <a:moveTo>
                  <a:pt x="9059892" y="5531859"/>
                </a:moveTo>
                <a:cubicBezTo>
                  <a:pt x="9045623" y="5531859"/>
                  <a:pt x="9031483" y="5537308"/>
                  <a:pt x="9020717" y="5548204"/>
                </a:cubicBezTo>
                <a:lnTo>
                  <a:pt x="8942238" y="5626946"/>
                </a:lnTo>
                <a:cubicBezTo>
                  <a:pt x="8920575" y="5648610"/>
                  <a:pt x="8920575" y="5683894"/>
                  <a:pt x="8942238" y="5705558"/>
                </a:cubicBezTo>
                <a:lnTo>
                  <a:pt x="9163796" y="5927642"/>
                </a:lnTo>
                <a:lnTo>
                  <a:pt x="9163797" y="5927642"/>
                </a:lnTo>
                <a:lnTo>
                  <a:pt x="9385354" y="5705558"/>
                </a:lnTo>
                <a:cubicBezTo>
                  <a:pt x="9407017" y="5683894"/>
                  <a:pt x="9407017" y="5648610"/>
                  <a:pt x="9385354" y="5626946"/>
                </a:cubicBezTo>
                <a:lnTo>
                  <a:pt x="9306876" y="5548334"/>
                </a:lnTo>
                <a:cubicBezTo>
                  <a:pt x="9295978" y="5537438"/>
                  <a:pt x="9281840" y="5531989"/>
                  <a:pt x="9267701" y="5531989"/>
                </a:cubicBezTo>
                <a:lnTo>
                  <a:pt x="9267571" y="5531859"/>
                </a:lnTo>
                <a:lnTo>
                  <a:pt x="9267570" y="5531859"/>
                </a:lnTo>
                <a:cubicBezTo>
                  <a:pt x="9253302" y="5531859"/>
                  <a:pt x="9239161" y="5537308"/>
                  <a:pt x="9228265" y="5548334"/>
                </a:cubicBezTo>
                <a:lnTo>
                  <a:pt x="9163797" y="5612936"/>
                </a:lnTo>
                <a:lnTo>
                  <a:pt x="9099198" y="5548204"/>
                </a:lnTo>
                <a:cubicBezTo>
                  <a:pt x="9088300" y="5537308"/>
                  <a:pt x="9074162" y="5531859"/>
                  <a:pt x="9059893" y="5531859"/>
                </a:cubicBezTo>
                <a:close/>
                <a:moveTo>
                  <a:pt x="7006076" y="5531859"/>
                </a:moveTo>
                <a:cubicBezTo>
                  <a:pt x="6991805" y="5531859"/>
                  <a:pt x="6977666" y="5537308"/>
                  <a:pt x="6966901" y="5548204"/>
                </a:cubicBezTo>
                <a:lnTo>
                  <a:pt x="6888421" y="5626946"/>
                </a:lnTo>
                <a:cubicBezTo>
                  <a:pt x="6866758" y="5648610"/>
                  <a:pt x="6866758" y="5683894"/>
                  <a:pt x="6888421" y="5705558"/>
                </a:cubicBezTo>
                <a:lnTo>
                  <a:pt x="7109978" y="5927642"/>
                </a:lnTo>
                <a:lnTo>
                  <a:pt x="7331537" y="5705558"/>
                </a:lnTo>
                <a:cubicBezTo>
                  <a:pt x="7353199" y="5683894"/>
                  <a:pt x="7353199" y="5648610"/>
                  <a:pt x="7331537" y="5626946"/>
                </a:cubicBezTo>
                <a:lnTo>
                  <a:pt x="7253057" y="5548334"/>
                </a:lnTo>
                <a:cubicBezTo>
                  <a:pt x="7242161" y="5537438"/>
                  <a:pt x="7228022" y="5531989"/>
                  <a:pt x="7213882" y="5531989"/>
                </a:cubicBezTo>
                <a:lnTo>
                  <a:pt x="7213751" y="5531859"/>
                </a:lnTo>
                <a:cubicBezTo>
                  <a:pt x="7199483" y="5531859"/>
                  <a:pt x="7185345" y="5537308"/>
                  <a:pt x="7174449" y="5548334"/>
                </a:cubicBezTo>
                <a:lnTo>
                  <a:pt x="7109978" y="5612936"/>
                </a:lnTo>
                <a:lnTo>
                  <a:pt x="7045379" y="5548204"/>
                </a:lnTo>
                <a:cubicBezTo>
                  <a:pt x="7034483" y="5537308"/>
                  <a:pt x="7020344" y="5531859"/>
                  <a:pt x="7006076" y="5531859"/>
                </a:cubicBezTo>
                <a:close/>
                <a:moveTo>
                  <a:pt x="4952148" y="5531859"/>
                </a:moveTo>
                <a:cubicBezTo>
                  <a:pt x="4937875" y="5531859"/>
                  <a:pt x="4923734" y="5537308"/>
                  <a:pt x="4912971" y="5548204"/>
                </a:cubicBezTo>
                <a:lnTo>
                  <a:pt x="4834495" y="5626946"/>
                </a:lnTo>
                <a:cubicBezTo>
                  <a:pt x="4812828" y="5648610"/>
                  <a:pt x="4812828" y="5683894"/>
                  <a:pt x="4834495" y="5705558"/>
                </a:cubicBezTo>
                <a:lnTo>
                  <a:pt x="5056064" y="5927642"/>
                </a:lnTo>
                <a:lnTo>
                  <a:pt x="5056083" y="5927632"/>
                </a:lnTo>
                <a:lnTo>
                  <a:pt x="5056087" y="5927642"/>
                </a:lnTo>
                <a:lnTo>
                  <a:pt x="5277615" y="5705558"/>
                </a:lnTo>
                <a:cubicBezTo>
                  <a:pt x="5299287" y="5683894"/>
                  <a:pt x="5299287" y="5648610"/>
                  <a:pt x="5277615" y="5626946"/>
                </a:cubicBezTo>
                <a:lnTo>
                  <a:pt x="5199142" y="5548334"/>
                </a:lnTo>
                <a:cubicBezTo>
                  <a:pt x="5188246" y="5537438"/>
                  <a:pt x="5174097" y="5531989"/>
                  <a:pt x="5159966" y="5531989"/>
                </a:cubicBezTo>
                <a:lnTo>
                  <a:pt x="5159837" y="5531859"/>
                </a:lnTo>
                <a:lnTo>
                  <a:pt x="5159824" y="5531861"/>
                </a:lnTo>
                <a:lnTo>
                  <a:pt x="5159824" y="5531859"/>
                </a:lnTo>
                <a:cubicBezTo>
                  <a:pt x="5145561" y="5531859"/>
                  <a:pt x="5131424" y="5537308"/>
                  <a:pt x="5120536" y="5548334"/>
                </a:cubicBezTo>
                <a:lnTo>
                  <a:pt x="5056083" y="5612926"/>
                </a:lnTo>
                <a:lnTo>
                  <a:pt x="4991467" y="5548204"/>
                </a:lnTo>
                <a:cubicBezTo>
                  <a:pt x="4980575" y="5537308"/>
                  <a:pt x="4966424" y="5531859"/>
                  <a:pt x="4952157" y="5531859"/>
                </a:cubicBezTo>
                <a:lnTo>
                  <a:pt x="4952154" y="5531860"/>
                </a:lnTo>
                <a:close/>
                <a:moveTo>
                  <a:pt x="2898346" y="5531859"/>
                </a:moveTo>
                <a:cubicBezTo>
                  <a:pt x="2884074" y="5531859"/>
                  <a:pt x="2869937" y="5537308"/>
                  <a:pt x="2859169" y="5548204"/>
                </a:cubicBezTo>
                <a:lnTo>
                  <a:pt x="2780693" y="5626946"/>
                </a:lnTo>
                <a:cubicBezTo>
                  <a:pt x="2759029" y="5648610"/>
                  <a:pt x="2759029" y="5683894"/>
                  <a:pt x="2780693" y="5705558"/>
                </a:cubicBezTo>
                <a:lnTo>
                  <a:pt x="3002248" y="5927642"/>
                </a:lnTo>
                <a:lnTo>
                  <a:pt x="3002260" y="5927631"/>
                </a:lnTo>
                <a:lnTo>
                  <a:pt x="3002272" y="5927642"/>
                </a:lnTo>
                <a:lnTo>
                  <a:pt x="3223830" y="5705558"/>
                </a:lnTo>
                <a:cubicBezTo>
                  <a:pt x="3245495" y="5683894"/>
                  <a:pt x="3245495" y="5648610"/>
                  <a:pt x="3223830" y="5626946"/>
                </a:cubicBezTo>
                <a:lnTo>
                  <a:pt x="3145351" y="5548334"/>
                </a:lnTo>
                <a:cubicBezTo>
                  <a:pt x="3134454" y="5537438"/>
                  <a:pt x="3120316" y="5531989"/>
                  <a:pt x="3106175" y="5531989"/>
                </a:cubicBezTo>
                <a:lnTo>
                  <a:pt x="3106046" y="5531859"/>
                </a:lnTo>
                <a:lnTo>
                  <a:pt x="3106028" y="5531863"/>
                </a:lnTo>
                <a:lnTo>
                  <a:pt x="3106023" y="5531859"/>
                </a:lnTo>
                <a:cubicBezTo>
                  <a:pt x="3091754" y="5531859"/>
                  <a:pt x="3077614" y="5537308"/>
                  <a:pt x="3066719" y="5548334"/>
                </a:cubicBezTo>
                <a:lnTo>
                  <a:pt x="3002260" y="5612925"/>
                </a:lnTo>
                <a:lnTo>
                  <a:pt x="2937674" y="5548204"/>
                </a:lnTo>
                <a:cubicBezTo>
                  <a:pt x="2926776" y="5537308"/>
                  <a:pt x="2912635" y="5531859"/>
                  <a:pt x="2898371" y="5531859"/>
                </a:cubicBezTo>
                <a:lnTo>
                  <a:pt x="2898359" y="5531862"/>
                </a:lnTo>
                <a:close/>
                <a:moveTo>
                  <a:pt x="844367" y="5531859"/>
                </a:moveTo>
                <a:cubicBezTo>
                  <a:pt x="830100" y="5531859"/>
                  <a:pt x="815961" y="5537308"/>
                  <a:pt x="805194" y="5548204"/>
                </a:cubicBezTo>
                <a:lnTo>
                  <a:pt x="726714" y="5626946"/>
                </a:lnTo>
                <a:cubicBezTo>
                  <a:pt x="705052" y="5648610"/>
                  <a:pt x="705052" y="5683894"/>
                  <a:pt x="726714" y="5705558"/>
                </a:cubicBezTo>
                <a:lnTo>
                  <a:pt x="948272" y="5927642"/>
                </a:lnTo>
                <a:lnTo>
                  <a:pt x="948285" y="5927630"/>
                </a:lnTo>
                <a:lnTo>
                  <a:pt x="948296" y="5927642"/>
                </a:lnTo>
                <a:lnTo>
                  <a:pt x="1169852" y="5705558"/>
                </a:lnTo>
                <a:cubicBezTo>
                  <a:pt x="1191514" y="5683894"/>
                  <a:pt x="1191514" y="5648610"/>
                  <a:pt x="1169852" y="5626946"/>
                </a:cubicBezTo>
                <a:lnTo>
                  <a:pt x="1091374" y="5548334"/>
                </a:lnTo>
                <a:cubicBezTo>
                  <a:pt x="1080478" y="5537438"/>
                  <a:pt x="1066339" y="5531989"/>
                  <a:pt x="1052199" y="5531989"/>
                </a:cubicBezTo>
                <a:lnTo>
                  <a:pt x="1052070" y="5531859"/>
                </a:lnTo>
                <a:lnTo>
                  <a:pt x="1052050" y="5531863"/>
                </a:lnTo>
                <a:lnTo>
                  <a:pt x="1052046" y="5531859"/>
                </a:lnTo>
                <a:cubicBezTo>
                  <a:pt x="1037777" y="5531859"/>
                  <a:pt x="1023638" y="5537308"/>
                  <a:pt x="1012742" y="5548334"/>
                </a:cubicBezTo>
                <a:lnTo>
                  <a:pt x="948285" y="5612924"/>
                </a:lnTo>
                <a:lnTo>
                  <a:pt x="883696" y="5548204"/>
                </a:lnTo>
                <a:cubicBezTo>
                  <a:pt x="872800" y="5537308"/>
                  <a:pt x="858660" y="5531859"/>
                  <a:pt x="844392" y="5531859"/>
                </a:cubicBezTo>
                <a:lnTo>
                  <a:pt x="844380" y="5531862"/>
                </a:lnTo>
                <a:close/>
                <a:moveTo>
                  <a:pt x="3695484" y="5321194"/>
                </a:moveTo>
                <a:lnTo>
                  <a:pt x="4020937" y="5509547"/>
                </a:lnTo>
                <a:lnTo>
                  <a:pt x="4020937" y="5886386"/>
                </a:lnTo>
                <a:lnTo>
                  <a:pt x="3695484" y="5698034"/>
                </a:lnTo>
                <a:close/>
                <a:moveTo>
                  <a:pt x="3679135" y="5321194"/>
                </a:moveTo>
                <a:lnTo>
                  <a:pt x="3679135" y="5698034"/>
                </a:lnTo>
                <a:lnTo>
                  <a:pt x="3353555" y="5886385"/>
                </a:lnTo>
                <a:lnTo>
                  <a:pt x="3353555" y="5509547"/>
                </a:lnTo>
                <a:close/>
                <a:moveTo>
                  <a:pt x="1625159" y="5321194"/>
                </a:moveTo>
                <a:lnTo>
                  <a:pt x="1625159" y="5698034"/>
                </a:lnTo>
                <a:lnTo>
                  <a:pt x="1299574" y="5886386"/>
                </a:lnTo>
                <a:lnTo>
                  <a:pt x="1299574" y="5509547"/>
                </a:lnTo>
                <a:close/>
                <a:moveTo>
                  <a:pt x="1641508" y="5321193"/>
                </a:moveTo>
                <a:lnTo>
                  <a:pt x="1966963" y="5509547"/>
                </a:lnTo>
                <a:lnTo>
                  <a:pt x="1966963" y="5886386"/>
                </a:lnTo>
                <a:lnTo>
                  <a:pt x="1641508" y="5698034"/>
                </a:lnTo>
                <a:close/>
                <a:moveTo>
                  <a:pt x="5749264" y="5321192"/>
                </a:moveTo>
                <a:lnTo>
                  <a:pt x="6074705" y="5509548"/>
                </a:lnTo>
                <a:lnTo>
                  <a:pt x="6074705" y="5886390"/>
                </a:lnTo>
                <a:lnTo>
                  <a:pt x="5749264" y="5698034"/>
                </a:lnTo>
                <a:close/>
                <a:moveTo>
                  <a:pt x="11910826" y="5321191"/>
                </a:moveTo>
                <a:lnTo>
                  <a:pt x="12188651" y="5481979"/>
                </a:lnTo>
                <a:lnTo>
                  <a:pt x="12188651" y="5858821"/>
                </a:lnTo>
                <a:lnTo>
                  <a:pt x="11910826" y="5698034"/>
                </a:lnTo>
                <a:close/>
                <a:moveTo>
                  <a:pt x="11894481" y="5321191"/>
                </a:moveTo>
                <a:lnTo>
                  <a:pt x="11894481" y="5698034"/>
                </a:lnTo>
                <a:lnTo>
                  <a:pt x="11568890" y="5886390"/>
                </a:lnTo>
                <a:lnTo>
                  <a:pt x="11568890" y="5509548"/>
                </a:lnTo>
                <a:close/>
                <a:moveTo>
                  <a:pt x="9857006" y="5321191"/>
                </a:moveTo>
                <a:lnTo>
                  <a:pt x="10182468" y="5509548"/>
                </a:lnTo>
                <a:lnTo>
                  <a:pt x="10182468" y="5886390"/>
                </a:lnTo>
                <a:lnTo>
                  <a:pt x="9857006" y="5698034"/>
                </a:lnTo>
                <a:close/>
                <a:moveTo>
                  <a:pt x="9840661" y="5321191"/>
                </a:moveTo>
                <a:lnTo>
                  <a:pt x="9840661" y="5698034"/>
                </a:lnTo>
                <a:lnTo>
                  <a:pt x="9515070" y="5886390"/>
                </a:lnTo>
                <a:lnTo>
                  <a:pt x="9515070" y="5509548"/>
                </a:lnTo>
                <a:close/>
                <a:moveTo>
                  <a:pt x="7803060" y="5321191"/>
                </a:moveTo>
                <a:lnTo>
                  <a:pt x="8128521" y="5509548"/>
                </a:lnTo>
                <a:lnTo>
                  <a:pt x="8128521" y="5886390"/>
                </a:lnTo>
                <a:lnTo>
                  <a:pt x="7803060" y="5698034"/>
                </a:lnTo>
                <a:close/>
                <a:moveTo>
                  <a:pt x="7786715" y="5321191"/>
                </a:moveTo>
                <a:lnTo>
                  <a:pt x="7786715" y="5698034"/>
                </a:lnTo>
                <a:lnTo>
                  <a:pt x="7461125" y="5886390"/>
                </a:lnTo>
                <a:lnTo>
                  <a:pt x="7461125" y="5509548"/>
                </a:lnTo>
                <a:close/>
                <a:moveTo>
                  <a:pt x="5732919" y="5321191"/>
                </a:moveTo>
                <a:lnTo>
                  <a:pt x="5732919" y="5698034"/>
                </a:lnTo>
                <a:lnTo>
                  <a:pt x="5407350" y="5886387"/>
                </a:lnTo>
                <a:lnTo>
                  <a:pt x="5407350" y="5509547"/>
                </a:lnTo>
                <a:lnTo>
                  <a:pt x="5539925" y="5432844"/>
                </a:lnTo>
                <a:close/>
                <a:moveTo>
                  <a:pt x="2317081" y="5316392"/>
                </a:moveTo>
                <a:lnTo>
                  <a:pt x="2650837" y="5509547"/>
                </a:lnTo>
                <a:lnTo>
                  <a:pt x="2650837" y="5895861"/>
                </a:lnTo>
                <a:lnTo>
                  <a:pt x="2317210" y="6089014"/>
                </a:lnTo>
                <a:lnTo>
                  <a:pt x="1983444" y="5895861"/>
                </a:lnTo>
                <a:lnTo>
                  <a:pt x="1983444" y="5509547"/>
                </a:lnTo>
                <a:close/>
                <a:moveTo>
                  <a:pt x="263233" y="5316392"/>
                </a:moveTo>
                <a:lnTo>
                  <a:pt x="596992" y="5509547"/>
                </a:lnTo>
                <a:lnTo>
                  <a:pt x="596992" y="5895861"/>
                </a:lnTo>
                <a:lnTo>
                  <a:pt x="263362" y="6089014"/>
                </a:lnTo>
                <a:lnTo>
                  <a:pt x="0" y="5936601"/>
                </a:lnTo>
                <a:lnTo>
                  <a:pt x="0" y="5468791"/>
                </a:lnTo>
                <a:close/>
                <a:moveTo>
                  <a:pt x="10532576" y="5316391"/>
                </a:moveTo>
                <a:lnTo>
                  <a:pt x="10866339" y="5509548"/>
                </a:lnTo>
                <a:lnTo>
                  <a:pt x="10866339" y="5895861"/>
                </a:lnTo>
                <a:lnTo>
                  <a:pt x="10532706" y="6089016"/>
                </a:lnTo>
                <a:lnTo>
                  <a:pt x="10198941" y="5895861"/>
                </a:lnTo>
                <a:lnTo>
                  <a:pt x="10198941" y="5509548"/>
                </a:lnTo>
                <a:close/>
                <a:moveTo>
                  <a:pt x="8478628" y="5316391"/>
                </a:moveTo>
                <a:lnTo>
                  <a:pt x="8812392" y="5509548"/>
                </a:lnTo>
                <a:lnTo>
                  <a:pt x="8812392" y="5895861"/>
                </a:lnTo>
                <a:lnTo>
                  <a:pt x="8478758" y="6089016"/>
                </a:lnTo>
                <a:lnTo>
                  <a:pt x="8144995" y="5895861"/>
                </a:lnTo>
                <a:lnTo>
                  <a:pt x="8144995" y="5509548"/>
                </a:lnTo>
                <a:close/>
                <a:moveTo>
                  <a:pt x="6424810" y="5316391"/>
                </a:moveTo>
                <a:lnTo>
                  <a:pt x="6758573" y="5509548"/>
                </a:lnTo>
                <a:lnTo>
                  <a:pt x="6758573" y="5895861"/>
                </a:lnTo>
                <a:lnTo>
                  <a:pt x="6424940" y="6089016"/>
                </a:lnTo>
                <a:lnTo>
                  <a:pt x="6091179" y="5895861"/>
                </a:lnTo>
                <a:lnTo>
                  <a:pt x="6091179" y="5509548"/>
                </a:lnTo>
                <a:close/>
                <a:moveTo>
                  <a:pt x="4371009" y="5316391"/>
                </a:moveTo>
                <a:lnTo>
                  <a:pt x="4704773" y="5509548"/>
                </a:lnTo>
                <a:lnTo>
                  <a:pt x="4704773" y="5895861"/>
                </a:lnTo>
                <a:lnTo>
                  <a:pt x="4371144" y="6089016"/>
                </a:lnTo>
                <a:lnTo>
                  <a:pt x="4037419" y="5895861"/>
                </a:lnTo>
                <a:lnTo>
                  <a:pt x="4037419" y="5509547"/>
                </a:lnTo>
                <a:lnTo>
                  <a:pt x="4248574" y="5387277"/>
                </a:lnTo>
                <a:close/>
                <a:moveTo>
                  <a:pt x="3002131" y="5316139"/>
                </a:moveTo>
                <a:lnTo>
                  <a:pt x="3335884" y="5509288"/>
                </a:lnTo>
                <a:lnTo>
                  <a:pt x="3335884" y="5895471"/>
                </a:lnTo>
                <a:lnTo>
                  <a:pt x="3002133" y="6088619"/>
                </a:lnTo>
                <a:lnTo>
                  <a:pt x="2668383" y="5895470"/>
                </a:lnTo>
                <a:lnTo>
                  <a:pt x="2668383" y="5509287"/>
                </a:lnTo>
                <a:close/>
                <a:moveTo>
                  <a:pt x="948155" y="5316139"/>
                </a:moveTo>
                <a:lnTo>
                  <a:pt x="1281905" y="5509288"/>
                </a:lnTo>
                <a:lnTo>
                  <a:pt x="1281905" y="5895471"/>
                </a:lnTo>
                <a:lnTo>
                  <a:pt x="948156" y="6088620"/>
                </a:lnTo>
                <a:lnTo>
                  <a:pt x="614407" y="5895470"/>
                </a:lnTo>
                <a:lnTo>
                  <a:pt x="614407" y="5509287"/>
                </a:lnTo>
                <a:close/>
                <a:moveTo>
                  <a:pt x="5055949" y="5316138"/>
                </a:moveTo>
                <a:lnTo>
                  <a:pt x="5389688" y="5509288"/>
                </a:lnTo>
                <a:lnTo>
                  <a:pt x="5389688" y="5895471"/>
                </a:lnTo>
                <a:lnTo>
                  <a:pt x="5055955" y="6088620"/>
                </a:lnTo>
                <a:lnTo>
                  <a:pt x="4722171" y="5895470"/>
                </a:lnTo>
                <a:lnTo>
                  <a:pt x="4722171" y="5509287"/>
                </a:lnTo>
                <a:lnTo>
                  <a:pt x="4848154" y="5436375"/>
                </a:lnTo>
                <a:close/>
                <a:moveTo>
                  <a:pt x="11217614" y="5316132"/>
                </a:moveTo>
                <a:lnTo>
                  <a:pt x="11551377" y="5509288"/>
                </a:lnTo>
                <a:lnTo>
                  <a:pt x="11551377" y="5895470"/>
                </a:lnTo>
                <a:lnTo>
                  <a:pt x="11217614" y="6088627"/>
                </a:lnTo>
                <a:lnTo>
                  <a:pt x="10883851" y="5895470"/>
                </a:lnTo>
                <a:lnTo>
                  <a:pt x="10883851" y="5509288"/>
                </a:lnTo>
                <a:close/>
                <a:moveTo>
                  <a:pt x="9163666" y="5316132"/>
                </a:moveTo>
                <a:lnTo>
                  <a:pt x="9497429" y="5509288"/>
                </a:lnTo>
                <a:lnTo>
                  <a:pt x="9497429" y="5895470"/>
                </a:lnTo>
                <a:lnTo>
                  <a:pt x="9163666" y="6088627"/>
                </a:lnTo>
                <a:lnTo>
                  <a:pt x="8829903" y="5895470"/>
                </a:lnTo>
                <a:lnTo>
                  <a:pt x="8829903" y="5509288"/>
                </a:lnTo>
                <a:close/>
                <a:moveTo>
                  <a:pt x="7109850" y="5316132"/>
                </a:moveTo>
                <a:lnTo>
                  <a:pt x="7443613" y="5509288"/>
                </a:lnTo>
                <a:lnTo>
                  <a:pt x="7443613" y="5895470"/>
                </a:lnTo>
                <a:lnTo>
                  <a:pt x="7109850" y="6088627"/>
                </a:lnTo>
                <a:lnTo>
                  <a:pt x="6776085" y="5895470"/>
                </a:lnTo>
                <a:lnTo>
                  <a:pt x="6776085" y="5509288"/>
                </a:lnTo>
                <a:close/>
                <a:moveTo>
                  <a:pt x="2660328" y="5118312"/>
                </a:moveTo>
                <a:lnTo>
                  <a:pt x="2985776" y="5306661"/>
                </a:lnTo>
                <a:lnTo>
                  <a:pt x="2660199" y="5495010"/>
                </a:lnTo>
                <a:lnTo>
                  <a:pt x="2334754" y="5306660"/>
                </a:lnTo>
                <a:close/>
                <a:moveTo>
                  <a:pt x="606350" y="5118312"/>
                </a:moveTo>
                <a:lnTo>
                  <a:pt x="931797" y="5306661"/>
                </a:lnTo>
                <a:lnTo>
                  <a:pt x="606221" y="5495010"/>
                </a:lnTo>
                <a:lnTo>
                  <a:pt x="280773" y="5306660"/>
                </a:lnTo>
                <a:close/>
                <a:moveTo>
                  <a:pt x="4714113" y="5118307"/>
                </a:moveTo>
                <a:lnTo>
                  <a:pt x="5039591" y="5306661"/>
                </a:lnTo>
                <a:lnTo>
                  <a:pt x="4977019" y="5342855"/>
                </a:lnTo>
                <a:lnTo>
                  <a:pt x="4713993" y="5495014"/>
                </a:lnTo>
                <a:lnTo>
                  <a:pt x="4388541" y="5306660"/>
                </a:lnTo>
                <a:close/>
                <a:moveTo>
                  <a:pt x="10875808" y="5118305"/>
                </a:moveTo>
                <a:lnTo>
                  <a:pt x="11201268" y="5306661"/>
                </a:lnTo>
                <a:lnTo>
                  <a:pt x="10875679" y="5495017"/>
                </a:lnTo>
                <a:lnTo>
                  <a:pt x="10550218" y="5306661"/>
                </a:lnTo>
                <a:close/>
                <a:moveTo>
                  <a:pt x="8821860" y="5118305"/>
                </a:moveTo>
                <a:lnTo>
                  <a:pt x="9147320" y="5306661"/>
                </a:lnTo>
                <a:lnTo>
                  <a:pt x="8821730" y="5495017"/>
                </a:lnTo>
                <a:lnTo>
                  <a:pt x="8496270" y="5306661"/>
                </a:lnTo>
                <a:close/>
                <a:moveTo>
                  <a:pt x="6768043" y="5118305"/>
                </a:moveTo>
                <a:lnTo>
                  <a:pt x="7093504" y="5306661"/>
                </a:lnTo>
                <a:lnTo>
                  <a:pt x="6767913" y="5495017"/>
                </a:lnTo>
                <a:lnTo>
                  <a:pt x="6442453" y="5306661"/>
                </a:lnTo>
                <a:close/>
                <a:moveTo>
                  <a:pt x="12140685" y="4954335"/>
                </a:moveTo>
                <a:cubicBezTo>
                  <a:pt x="12151191" y="4954335"/>
                  <a:pt x="12161050" y="4958487"/>
                  <a:pt x="12168445" y="4965880"/>
                </a:cubicBezTo>
                <a:lnTo>
                  <a:pt x="12188651" y="4986128"/>
                </a:lnTo>
                <a:lnTo>
                  <a:pt x="12188651" y="5254379"/>
                </a:lnTo>
                <a:lnTo>
                  <a:pt x="12034576" y="5100013"/>
                </a:lnTo>
                <a:cubicBezTo>
                  <a:pt x="12019270" y="5084706"/>
                  <a:pt x="12019270" y="5059799"/>
                  <a:pt x="12034576" y="5044621"/>
                </a:cubicBezTo>
                <a:lnTo>
                  <a:pt x="12113056" y="4965880"/>
                </a:lnTo>
                <a:cubicBezTo>
                  <a:pt x="12120448" y="4958487"/>
                  <a:pt x="12130178" y="4954335"/>
                  <a:pt x="12140685" y="4954335"/>
                </a:cubicBezTo>
                <a:close/>
                <a:moveTo>
                  <a:pt x="10086867" y="4954335"/>
                </a:moveTo>
                <a:cubicBezTo>
                  <a:pt x="10097374" y="4954335"/>
                  <a:pt x="10107232" y="4958487"/>
                  <a:pt x="10114626" y="4965880"/>
                </a:cubicBezTo>
                <a:lnTo>
                  <a:pt x="10179226" y="5030612"/>
                </a:lnTo>
                <a:lnTo>
                  <a:pt x="10190770" y="5042286"/>
                </a:lnTo>
                <a:lnTo>
                  <a:pt x="10202315" y="5030612"/>
                </a:lnTo>
                <a:lnTo>
                  <a:pt x="10266786" y="4965880"/>
                </a:lnTo>
                <a:cubicBezTo>
                  <a:pt x="10274178" y="4958357"/>
                  <a:pt x="10284037" y="4954335"/>
                  <a:pt x="10294543" y="4954335"/>
                </a:cubicBezTo>
                <a:cubicBezTo>
                  <a:pt x="10304922" y="4954335"/>
                  <a:pt x="10314781" y="4958487"/>
                  <a:pt x="10322173" y="4965880"/>
                </a:cubicBezTo>
                <a:lnTo>
                  <a:pt x="10400653" y="5044492"/>
                </a:lnTo>
                <a:cubicBezTo>
                  <a:pt x="10408047" y="5051886"/>
                  <a:pt x="10412068" y="5061745"/>
                  <a:pt x="10412198" y="5072252"/>
                </a:cubicBezTo>
                <a:cubicBezTo>
                  <a:pt x="10412198" y="5082760"/>
                  <a:pt x="10408176" y="5092619"/>
                  <a:pt x="10400783" y="5100013"/>
                </a:cubicBezTo>
                <a:lnTo>
                  <a:pt x="10190770" y="5310423"/>
                </a:lnTo>
                <a:lnTo>
                  <a:pt x="9980757" y="5100013"/>
                </a:lnTo>
                <a:cubicBezTo>
                  <a:pt x="9965450" y="5084706"/>
                  <a:pt x="9965450" y="5059799"/>
                  <a:pt x="9980757" y="5044621"/>
                </a:cubicBezTo>
                <a:lnTo>
                  <a:pt x="10059237" y="4965880"/>
                </a:lnTo>
                <a:cubicBezTo>
                  <a:pt x="10066631" y="4958487"/>
                  <a:pt x="10076359" y="4954335"/>
                  <a:pt x="10086867" y="4954335"/>
                </a:cubicBezTo>
                <a:close/>
                <a:moveTo>
                  <a:pt x="8032919" y="4954335"/>
                </a:moveTo>
                <a:cubicBezTo>
                  <a:pt x="8043427" y="4954335"/>
                  <a:pt x="8053285" y="4958487"/>
                  <a:pt x="8060679" y="4965880"/>
                </a:cubicBezTo>
                <a:lnTo>
                  <a:pt x="8125278" y="5030612"/>
                </a:lnTo>
                <a:lnTo>
                  <a:pt x="8136823" y="5042286"/>
                </a:lnTo>
                <a:lnTo>
                  <a:pt x="8148368" y="5030612"/>
                </a:lnTo>
                <a:lnTo>
                  <a:pt x="8212837" y="4965880"/>
                </a:lnTo>
                <a:cubicBezTo>
                  <a:pt x="8220232" y="4958357"/>
                  <a:pt x="8230090" y="4954335"/>
                  <a:pt x="8240596" y="4954335"/>
                </a:cubicBezTo>
                <a:cubicBezTo>
                  <a:pt x="8250975" y="4954335"/>
                  <a:pt x="8260834" y="4958487"/>
                  <a:pt x="8268226" y="4965880"/>
                </a:cubicBezTo>
                <a:lnTo>
                  <a:pt x="8346707" y="5044492"/>
                </a:lnTo>
                <a:cubicBezTo>
                  <a:pt x="8354100" y="5051886"/>
                  <a:pt x="8358121" y="5061745"/>
                  <a:pt x="8358252" y="5072252"/>
                </a:cubicBezTo>
                <a:cubicBezTo>
                  <a:pt x="8358252" y="5082760"/>
                  <a:pt x="8354229" y="5092619"/>
                  <a:pt x="8346837" y="5100013"/>
                </a:cubicBezTo>
                <a:lnTo>
                  <a:pt x="8136823" y="5310423"/>
                </a:lnTo>
                <a:lnTo>
                  <a:pt x="7926811" y="5100013"/>
                </a:lnTo>
                <a:cubicBezTo>
                  <a:pt x="7911503" y="5084706"/>
                  <a:pt x="7911503" y="5059799"/>
                  <a:pt x="7926811" y="5044621"/>
                </a:cubicBezTo>
                <a:lnTo>
                  <a:pt x="8005289" y="4965880"/>
                </a:lnTo>
                <a:cubicBezTo>
                  <a:pt x="8012684" y="4958487"/>
                  <a:pt x="8022413" y="4954335"/>
                  <a:pt x="8032919" y="4954335"/>
                </a:cubicBezTo>
                <a:close/>
                <a:moveTo>
                  <a:pt x="5979109" y="4954335"/>
                </a:moveTo>
                <a:cubicBezTo>
                  <a:pt x="5989617" y="4954335"/>
                  <a:pt x="5999474" y="4958487"/>
                  <a:pt x="6006867" y="4965880"/>
                </a:cubicBezTo>
                <a:lnTo>
                  <a:pt x="6071463" y="5030612"/>
                </a:lnTo>
                <a:lnTo>
                  <a:pt x="6083006" y="5042286"/>
                </a:lnTo>
                <a:lnTo>
                  <a:pt x="6094550" y="5030612"/>
                </a:lnTo>
                <a:lnTo>
                  <a:pt x="6159019" y="4965880"/>
                </a:lnTo>
                <a:cubicBezTo>
                  <a:pt x="6166413" y="4958357"/>
                  <a:pt x="6176271" y="4954335"/>
                  <a:pt x="6186779" y="4954335"/>
                </a:cubicBezTo>
                <a:cubicBezTo>
                  <a:pt x="6197156" y="4954335"/>
                  <a:pt x="6207014" y="4958487"/>
                  <a:pt x="6214409" y="4965880"/>
                </a:cubicBezTo>
                <a:lnTo>
                  <a:pt x="6292888" y="5044492"/>
                </a:lnTo>
                <a:cubicBezTo>
                  <a:pt x="6300282" y="5051886"/>
                  <a:pt x="6304303" y="5061745"/>
                  <a:pt x="6304433" y="5072252"/>
                </a:cubicBezTo>
                <a:cubicBezTo>
                  <a:pt x="6304433" y="5082760"/>
                  <a:pt x="6300412" y="5092619"/>
                  <a:pt x="6293017" y="5100013"/>
                </a:cubicBezTo>
                <a:lnTo>
                  <a:pt x="6083006" y="5310423"/>
                </a:lnTo>
                <a:lnTo>
                  <a:pt x="5873007" y="5100013"/>
                </a:lnTo>
                <a:cubicBezTo>
                  <a:pt x="5857702" y="5084706"/>
                  <a:pt x="5857702" y="5059799"/>
                  <a:pt x="5873007" y="5044621"/>
                </a:cubicBezTo>
                <a:lnTo>
                  <a:pt x="5951483" y="4965880"/>
                </a:lnTo>
                <a:cubicBezTo>
                  <a:pt x="5958874" y="4958487"/>
                  <a:pt x="5968603" y="4954335"/>
                  <a:pt x="5979109" y="4954335"/>
                </a:cubicBezTo>
                <a:close/>
                <a:moveTo>
                  <a:pt x="3925342" y="4954335"/>
                </a:moveTo>
                <a:cubicBezTo>
                  <a:pt x="3935847" y="4954335"/>
                  <a:pt x="3945706" y="4958487"/>
                  <a:pt x="3953100" y="4965880"/>
                </a:cubicBezTo>
                <a:lnTo>
                  <a:pt x="4017699" y="5030612"/>
                </a:lnTo>
                <a:lnTo>
                  <a:pt x="4029246" y="5042286"/>
                </a:lnTo>
                <a:lnTo>
                  <a:pt x="4040790" y="5030612"/>
                </a:lnTo>
                <a:lnTo>
                  <a:pt x="4105262" y="4965880"/>
                </a:lnTo>
                <a:cubicBezTo>
                  <a:pt x="4112656" y="4958357"/>
                  <a:pt x="4122515" y="4954335"/>
                  <a:pt x="4133023" y="4954335"/>
                </a:cubicBezTo>
                <a:cubicBezTo>
                  <a:pt x="4143400" y="4954335"/>
                  <a:pt x="4153261" y="4958487"/>
                  <a:pt x="4160653" y="4965880"/>
                </a:cubicBezTo>
                <a:lnTo>
                  <a:pt x="4239088" y="5044492"/>
                </a:lnTo>
                <a:cubicBezTo>
                  <a:pt x="4246485" y="5051886"/>
                  <a:pt x="4250503" y="5061745"/>
                  <a:pt x="4250634" y="5072252"/>
                </a:cubicBezTo>
                <a:cubicBezTo>
                  <a:pt x="4250634" y="5082760"/>
                  <a:pt x="4246611" y="5092619"/>
                  <a:pt x="4239218" y="5100013"/>
                </a:cubicBezTo>
                <a:lnTo>
                  <a:pt x="4029246" y="5310423"/>
                </a:lnTo>
                <a:lnTo>
                  <a:pt x="3819226" y="5100013"/>
                </a:lnTo>
                <a:cubicBezTo>
                  <a:pt x="3803920" y="5084706"/>
                  <a:pt x="3803920" y="5059799"/>
                  <a:pt x="3819226" y="5044621"/>
                </a:cubicBezTo>
                <a:lnTo>
                  <a:pt x="3897709" y="4965880"/>
                </a:lnTo>
                <a:cubicBezTo>
                  <a:pt x="3905106" y="4958487"/>
                  <a:pt x="3914833" y="4954335"/>
                  <a:pt x="3925342" y="4954335"/>
                </a:cubicBezTo>
                <a:close/>
                <a:moveTo>
                  <a:pt x="1871366" y="4954335"/>
                </a:moveTo>
                <a:cubicBezTo>
                  <a:pt x="1881875" y="4954335"/>
                  <a:pt x="1891733" y="4958487"/>
                  <a:pt x="1899126" y="4965880"/>
                </a:cubicBezTo>
                <a:lnTo>
                  <a:pt x="1963727" y="5030612"/>
                </a:lnTo>
                <a:lnTo>
                  <a:pt x="1975271" y="5042286"/>
                </a:lnTo>
                <a:lnTo>
                  <a:pt x="1986816" y="5030612"/>
                </a:lnTo>
                <a:lnTo>
                  <a:pt x="2051285" y="4965880"/>
                </a:lnTo>
                <a:cubicBezTo>
                  <a:pt x="2058680" y="4958357"/>
                  <a:pt x="2068537" y="4954335"/>
                  <a:pt x="2079045" y="4954335"/>
                </a:cubicBezTo>
                <a:cubicBezTo>
                  <a:pt x="2089423" y="4954335"/>
                  <a:pt x="2099288" y="4958487"/>
                  <a:pt x="2106680" y="4965880"/>
                </a:cubicBezTo>
                <a:lnTo>
                  <a:pt x="2185159" y="5044492"/>
                </a:lnTo>
                <a:cubicBezTo>
                  <a:pt x="2192554" y="5051886"/>
                  <a:pt x="2196577" y="5061745"/>
                  <a:pt x="2196706" y="5072252"/>
                </a:cubicBezTo>
                <a:cubicBezTo>
                  <a:pt x="2196706" y="5082760"/>
                  <a:pt x="2192687" y="5092619"/>
                  <a:pt x="2185291" y="5100013"/>
                </a:cubicBezTo>
                <a:lnTo>
                  <a:pt x="1975271" y="5310423"/>
                </a:lnTo>
                <a:lnTo>
                  <a:pt x="1765258" y="5100013"/>
                </a:lnTo>
                <a:cubicBezTo>
                  <a:pt x="1749951" y="5084706"/>
                  <a:pt x="1749951" y="5059799"/>
                  <a:pt x="1765258" y="5044621"/>
                </a:cubicBezTo>
                <a:lnTo>
                  <a:pt x="1843739" y="4965880"/>
                </a:lnTo>
                <a:cubicBezTo>
                  <a:pt x="1851133" y="4958487"/>
                  <a:pt x="1860860" y="4954335"/>
                  <a:pt x="1871366" y="4954335"/>
                </a:cubicBezTo>
                <a:close/>
                <a:moveTo>
                  <a:pt x="25204" y="4954335"/>
                </a:moveTo>
                <a:cubicBezTo>
                  <a:pt x="35581" y="4954335"/>
                  <a:pt x="45440" y="4958487"/>
                  <a:pt x="52835" y="4965880"/>
                </a:cubicBezTo>
                <a:lnTo>
                  <a:pt x="131313" y="5044492"/>
                </a:lnTo>
                <a:cubicBezTo>
                  <a:pt x="138707" y="5051886"/>
                  <a:pt x="142728" y="5061745"/>
                  <a:pt x="142857" y="5072252"/>
                </a:cubicBezTo>
                <a:cubicBezTo>
                  <a:pt x="142857" y="5082760"/>
                  <a:pt x="138836" y="5092619"/>
                  <a:pt x="131443" y="5100013"/>
                </a:cubicBezTo>
                <a:lnTo>
                  <a:pt x="0" y="5231705"/>
                </a:lnTo>
                <a:lnTo>
                  <a:pt x="0" y="4964818"/>
                </a:lnTo>
                <a:close/>
                <a:moveTo>
                  <a:pt x="10086867" y="4937860"/>
                </a:moveTo>
                <a:cubicBezTo>
                  <a:pt x="10072597" y="4937860"/>
                  <a:pt x="10058458" y="4943308"/>
                  <a:pt x="10047692" y="4954205"/>
                </a:cubicBezTo>
                <a:lnTo>
                  <a:pt x="9969212" y="5032947"/>
                </a:lnTo>
                <a:cubicBezTo>
                  <a:pt x="9947549" y="5054611"/>
                  <a:pt x="9947549" y="5089895"/>
                  <a:pt x="9969212" y="5111559"/>
                </a:cubicBezTo>
                <a:lnTo>
                  <a:pt x="10190770" y="5333643"/>
                </a:lnTo>
                <a:lnTo>
                  <a:pt x="10412328" y="5111559"/>
                </a:lnTo>
                <a:cubicBezTo>
                  <a:pt x="10433990" y="5089895"/>
                  <a:pt x="10433990" y="5054611"/>
                  <a:pt x="10412328" y="5032947"/>
                </a:cubicBezTo>
                <a:lnTo>
                  <a:pt x="10333848" y="4954335"/>
                </a:lnTo>
                <a:cubicBezTo>
                  <a:pt x="10322953" y="4943438"/>
                  <a:pt x="10308813" y="4937990"/>
                  <a:pt x="10294673" y="4937990"/>
                </a:cubicBezTo>
                <a:lnTo>
                  <a:pt x="10294543" y="4937860"/>
                </a:lnTo>
                <a:cubicBezTo>
                  <a:pt x="10280275" y="4937860"/>
                  <a:pt x="10266136" y="4943308"/>
                  <a:pt x="10255241" y="4954335"/>
                </a:cubicBezTo>
                <a:lnTo>
                  <a:pt x="10190770" y="5018937"/>
                </a:lnTo>
                <a:lnTo>
                  <a:pt x="10126171" y="4954205"/>
                </a:lnTo>
                <a:cubicBezTo>
                  <a:pt x="10115274" y="4943308"/>
                  <a:pt x="10101136" y="4937860"/>
                  <a:pt x="10086867" y="4937860"/>
                </a:cubicBezTo>
                <a:close/>
                <a:moveTo>
                  <a:pt x="8032919" y="4937860"/>
                </a:moveTo>
                <a:cubicBezTo>
                  <a:pt x="8018650" y="4937860"/>
                  <a:pt x="8004511" y="4943308"/>
                  <a:pt x="7993744" y="4954205"/>
                </a:cubicBezTo>
                <a:lnTo>
                  <a:pt x="7915266" y="5032947"/>
                </a:lnTo>
                <a:cubicBezTo>
                  <a:pt x="7893603" y="5054611"/>
                  <a:pt x="7893603" y="5089895"/>
                  <a:pt x="7915266" y="5111559"/>
                </a:cubicBezTo>
                <a:lnTo>
                  <a:pt x="8136823" y="5333643"/>
                </a:lnTo>
                <a:lnTo>
                  <a:pt x="8358382" y="5111559"/>
                </a:lnTo>
                <a:cubicBezTo>
                  <a:pt x="8380044" y="5089895"/>
                  <a:pt x="8380044" y="5054611"/>
                  <a:pt x="8358382" y="5032947"/>
                </a:cubicBezTo>
                <a:lnTo>
                  <a:pt x="8279902" y="4954335"/>
                </a:lnTo>
                <a:cubicBezTo>
                  <a:pt x="8269006" y="4943438"/>
                  <a:pt x="8254866" y="4937990"/>
                  <a:pt x="8240727" y="4937990"/>
                </a:cubicBezTo>
                <a:lnTo>
                  <a:pt x="8240596" y="4937860"/>
                </a:lnTo>
                <a:cubicBezTo>
                  <a:pt x="8226328" y="4937860"/>
                  <a:pt x="8212190" y="4943308"/>
                  <a:pt x="8201292" y="4954335"/>
                </a:cubicBezTo>
                <a:lnTo>
                  <a:pt x="8136823" y="5018937"/>
                </a:lnTo>
                <a:lnTo>
                  <a:pt x="8072224" y="4954205"/>
                </a:lnTo>
                <a:cubicBezTo>
                  <a:pt x="8061328" y="4943308"/>
                  <a:pt x="8047187" y="4937860"/>
                  <a:pt x="8032919" y="4937860"/>
                </a:cubicBezTo>
                <a:close/>
                <a:moveTo>
                  <a:pt x="5979109" y="4937860"/>
                </a:moveTo>
                <a:cubicBezTo>
                  <a:pt x="5964841" y="4937860"/>
                  <a:pt x="5950702" y="4943308"/>
                  <a:pt x="5939936" y="4954205"/>
                </a:cubicBezTo>
                <a:lnTo>
                  <a:pt x="5861462" y="5032947"/>
                </a:lnTo>
                <a:cubicBezTo>
                  <a:pt x="5839801" y="5054611"/>
                  <a:pt x="5839801" y="5089895"/>
                  <a:pt x="5861462" y="5111559"/>
                </a:cubicBezTo>
                <a:lnTo>
                  <a:pt x="6083006" y="5333643"/>
                </a:lnTo>
                <a:lnTo>
                  <a:pt x="6304562" y="5111559"/>
                </a:lnTo>
                <a:cubicBezTo>
                  <a:pt x="6326226" y="5089895"/>
                  <a:pt x="6326226" y="5054611"/>
                  <a:pt x="6304562" y="5032947"/>
                </a:cubicBezTo>
                <a:lnTo>
                  <a:pt x="6226084" y="4954335"/>
                </a:lnTo>
                <a:cubicBezTo>
                  <a:pt x="6215186" y="4943438"/>
                  <a:pt x="6201048" y="4937990"/>
                  <a:pt x="6186909" y="4937990"/>
                </a:cubicBezTo>
                <a:lnTo>
                  <a:pt x="6186779" y="4937860"/>
                </a:lnTo>
                <a:cubicBezTo>
                  <a:pt x="6172511" y="4937860"/>
                  <a:pt x="6158370" y="4943308"/>
                  <a:pt x="6147474" y="4954335"/>
                </a:cubicBezTo>
                <a:lnTo>
                  <a:pt x="6083006" y="5018937"/>
                </a:lnTo>
                <a:lnTo>
                  <a:pt x="6018412" y="4954205"/>
                </a:lnTo>
                <a:cubicBezTo>
                  <a:pt x="6007516" y="4943308"/>
                  <a:pt x="5993378" y="4937860"/>
                  <a:pt x="5979109" y="4937860"/>
                </a:cubicBezTo>
                <a:close/>
                <a:moveTo>
                  <a:pt x="3925342" y="4937860"/>
                </a:moveTo>
                <a:cubicBezTo>
                  <a:pt x="3911075" y="4937860"/>
                  <a:pt x="3896932" y="4943308"/>
                  <a:pt x="3886165" y="4954205"/>
                </a:cubicBezTo>
                <a:lnTo>
                  <a:pt x="3807682" y="5032947"/>
                </a:lnTo>
                <a:cubicBezTo>
                  <a:pt x="3786020" y="5054611"/>
                  <a:pt x="3786020" y="5089895"/>
                  <a:pt x="3807682" y="5111559"/>
                </a:cubicBezTo>
                <a:lnTo>
                  <a:pt x="4029246" y="5333643"/>
                </a:lnTo>
                <a:lnTo>
                  <a:pt x="4250759" y="5111559"/>
                </a:lnTo>
                <a:cubicBezTo>
                  <a:pt x="4272423" y="5089895"/>
                  <a:pt x="4272423" y="5054611"/>
                  <a:pt x="4250759" y="5032947"/>
                </a:cubicBezTo>
                <a:lnTo>
                  <a:pt x="4172326" y="4954335"/>
                </a:lnTo>
                <a:cubicBezTo>
                  <a:pt x="4161432" y="4943438"/>
                  <a:pt x="4147291" y="4937990"/>
                  <a:pt x="4133153" y="4937990"/>
                </a:cubicBezTo>
                <a:lnTo>
                  <a:pt x="4133023" y="4937860"/>
                </a:lnTo>
                <a:cubicBezTo>
                  <a:pt x="4118751" y="4937860"/>
                  <a:pt x="4104611" y="4943308"/>
                  <a:pt x="4093717" y="4954335"/>
                </a:cubicBezTo>
                <a:lnTo>
                  <a:pt x="4029246" y="5018937"/>
                </a:lnTo>
                <a:lnTo>
                  <a:pt x="3964644" y="4954205"/>
                </a:lnTo>
                <a:cubicBezTo>
                  <a:pt x="3953748" y="4943308"/>
                  <a:pt x="3939609" y="4937860"/>
                  <a:pt x="3925342" y="4937860"/>
                </a:cubicBezTo>
                <a:close/>
                <a:moveTo>
                  <a:pt x="1871366" y="4937860"/>
                </a:moveTo>
                <a:cubicBezTo>
                  <a:pt x="1857098" y="4937860"/>
                  <a:pt x="1842960" y="4943308"/>
                  <a:pt x="1832193" y="4954205"/>
                </a:cubicBezTo>
                <a:lnTo>
                  <a:pt x="1753714" y="5032947"/>
                </a:lnTo>
                <a:cubicBezTo>
                  <a:pt x="1732053" y="5054611"/>
                  <a:pt x="1732053" y="5089895"/>
                  <a:pt x="1753714" y="5111559"/>
                </a:cubicBezTo>
                <a:lnTo>
                  <a:pt x="1975271" y="5333643"/>
                </a:lnTo>
                <a:lnTo>
                  <a:pt x="2196836" y="5111559"/>
                </a:lnTo>
                <a:cubicBezTo>
                  <a:pt x="2218500" y="5089895"/>
                  <a:pt x="2218500" y="5054611"/>
                  <a:pt x="2196836" y="5032947"/>
                </a:cubicBezTo>
                <a:lnTo>
                  <a:pt x="2118358" y="4954335"/>
                </a:lnTo>
                <a:cubicBezTo>
                  <a:pt x="2107459" y="4943438"/>
                  <a:pt x="2093314" y="4937990"/>
                  <a:pt x="2079175" y="4937990"/>
                </a:cubicBezTo>
                <a:lnTo>
                  <a:pt x="2079045" y="4937860"/>
                </a:lnTo>
                <a:cubicBezTo>
                  <a:pt x="2064776" y="4937860"/>
                  <a:pt x="2050637" y="4943308"/>
                  <a:pt x="2039742" y="4954335"/>
                </a:cubicBezTo>
                <a:lnTo>
                  <a:pt x="1975271" y="5018937"/>
                </a:lnTo>
                <a:lnTo>
                  <a:pt x="1910671" y="4954205"/>
                </a:lnTo>
                <a:cubicBezTo>
                  <a:pt x="1899774" y="4943308"/>
                  <a:pt x="1885636" y="4937860"/>
                  <a:pt x="1871366" y="4937860"/>
                </a:cubicBezTo>
                <a:close/>
                <a:moveTo>
                  <a:pt x="0" y="4767681"/>
                </a:moveTo>
                <a:lnTo>
                  <a:pt x="255060" y="4915290"/>
                </a:lnTo>
                <a:lnTo>
                  <a:pt x="255060" y="5301473"/>
                </a:lnTo>
                <a:lnTo>
                  <a:pt x="0" y="5449082"/>
                </a:lnTo>
                <a:lnTo>
                  <a:pt x="0" y="5254886"/>
                </a:lnTo>
                <a:lnTo>
                  <a:pt x="142988" y="5111559"/>
                </a:lnTo>
                <a:cubicBezTo>
                  <a:pt x="164651" y="5089895"/>
                  <a:pt x="164651" y="5054611"/>
                  <a:pt x="142988" y="5032947"/>
                </a:cubicBezTo>
                <a:lnTo>
                  <a:pt x="64507" y="4954335"/>
                </a:lnTo>
                <a:cubicBezTo>
                  <a:pt x="53612" y="4943438"/>
                  <a:pt x="39473" y="4937990"/>
                  <a:pt x="25332" y="4937990"/>
                </a:cubicBezTo>
                <a:lnTo>
                  <a:pt x="25204" y="4937860"/>
                </a:lnTo>
                <a:cubicBezTo>
                  <a:pt x="18070" y="4937860"/>
                  <a:pt x="10968" y="4939222"/>
                  <a:pt x="4287" y="4941963"/>
                </a:cubicBezTo>
                <a:lnTo>
                  <a:pt x="0" y="4944847"/>
                </a:lnTo>
                <a:close/>
                <a:moveTo>
                  <a:pt x="12188651" y="4754431"/>
                </a:moveTo>
                <a:lnTo>
                  <a:pt x="12188651" y="4962884"/>
                </a:lnTo>
                <a:lnTo>
                  <a:pt x="12179990" y="4954205"/>
                </a:lnTo>
                <a:cubicBezTo>
                  <a:pt x="12169092" y="4943308"/>
                  <a:pt x="12154954" y="4937860"/>
                  <a:pt x="12140685" y="4937860"/>
                </a:cubicBezTo>
                <a:cubicBezTo>
                  <a:pt x="12126416" y="4937860"/>
                  <a:pt x="12112276" y="4943308"/>
                  <a:pt x="12101510" y="4954205"/>
                </a:cubicBezTo>
                <a:lnTo>
                  <a:pt x="12023031" y="5032947"/>
                </a:lnTo>
                <a:cubicBezTo>
                  <a:pt x="12001368" y="5054611"/>
                  <a:pt x="12001368" y="5089895"/>
                  <a:pt x="12023031" y="5111559"/>
                </a:cubicBezTo>
                <a:lnTo>
                  <a:pt x="12188651" y="5277572"/>
                </a:lnTo>
                <a:lnTo>
                  <a:pt x="12188651" y="5462331"/>
                </a:lnTo>
                <a:lnTo>
                  <a:pt x="11910696" y="5301472"/>
                </a:lnTo>
                <a:lnTo>
                  <a:pt x="11910696" y="4915290"/>
                </a:lnTo>
                <a:close/>
                <a:moveTo>
                  <a:pt x="2668513" y="4727338"/>
                </a:moveTo>
                <a:lnTo>
                  <a:pt x="2993946" y="4915678"/>
                </a:lnTo>
                <a:lnTo>
                  <a:pt x="2993946" y="5292504"/>
                </a:lnTo>
                <a:lnTo>
                  <a:pt x="2668513" y="5104164"/>
                </a:lnTo>
                <a:close/>
                <a:moveTo>
                  <a:pt x="614537" y="4727338"/>
                </a:moveTo>
                <a:lnTo>
                  <a:pt x="939970" y="4915678"/>
                </a:lnTo>
                <a:lnTo>
                  <a:pt x="939970" y="5292505"/>
                </a:lnTo>
                <a:lnTo>
                  <a:pt x="614537" y="5104164"/>
                </a:lnTo>
                <a:close/>
                <a:moveTo>
                  <a:pt x="2652140" y="4727337"/>
                </a:moveTo>
                <a:lnTo>
                  <a:pt x="2652140" y="5104165"/>
                </a:lnTo>
                <a:lnTo>
                  <a:pt x="2326580" y="5292504"/>
                </a:lnTo>
                <a:lnTo>
                  <a:pt x="2326580" y="4915677"/>
                </a:lnTo>
                <a:close/>
                <a:moveTo>
                  <a:pt x="598165" y="4727336"/>
                </a:moveTo>
                <a:lnTo>
                  <a:pt x="598165" y="5104165"/>
                </a:lnTo>
                <a:lnTo>
                  <a:pt x="272602" y="5292505"/>
                </a:lnTo>
                <a:lnTo>
                  <a:pt x="272602" y="4915677"/>
                </a:lnTo>
                <a:close/>
                <a:moveTo>
                  <a:pt x="4722303" y="4727330"/>
                </a:moveTo>
                <a:lnTo>
                  <a:pt x="5047768" y="4915678"/>
                </a:lnTo>
                <a:lnTo>
                  <a:pt x="5047768" y="5292507"/>
                </a:lnTo>
                <a:lnTo>
                  <a:pt x="4722303" y="5104164"/>
                </a:lnTo>
                <a:close/>
                <a:moveTo>
                  <a:pt x="4705942" y="4727326"/>
                </a:moveTo>
                <a:lnTo>
                  <a:pt x="4705942" y="5104165"/>
                </a:lnTo>
                <a:lnTo>
                  <a:pt x="4598874" y="5166110"/>
                </a:lnTo>
                <a:lnTo>
                  <a:pt x="4380369" y="5292515"/>
                </a:lnTo>
                <a:lnTo>
                  <a:pt x="4380369" y="4915677"/>
                </a:lnTo>
                <a:close/>
                <a:moveTo>
                  <a:pt x="10883981" y="4727322"/>
                </a:moveTo>
                <a:lnTo>
                  <a:pt x="11209441" y="4915678"/>
                </a:lnTo>
                <a:lnTo>
                  <a:pt x="11209441" y="5292520"/>
                </a:lnTo>
                <a:lnTo>
                  <a:pt x="10883981" y="5104164"/>
                </a:lnTo>
                <a:close/>
                <a:moveTo>
                  <a:pt x="10867636" y="4727322"/>
                </a:moveTo>
                <a:lnTo>
                  <a:pt x="10867636" y="5104164"/>
                </a:lnTo>
                <a:lnTo>
                  <a:pt x="10542045" y="5292521"/>
                </a:lnTo>
                <a:lnTo>
                  <a:pt x="10542045" y="4915678"/>
                </a:lnTo>
                <a:close/>
                <a:moveTo>
                  <a:pt x="8830033" y="4727322"/>
                </a:moveTo>
                <a:lnTo>
                  <a:pt x="9155493" y="4915678"/>
                </a:lnTo>
                <a:lnTo>
                  <a:pt x="9155493" y="5292520"/>
                </a:lnTo>
                <a:lnTo>
                  <a:pt x="8830033" y="5104164"/>
                </a:lnTo>
                <a:close/>
                <a:moveTo>
                  <a:pt x="8813688" y="4727322"/>
                </a:moveTo>
                <a:lnTo>
                  <a:pt x="8813688" y="5104164"/>
                </a:lnTo>
                <a:lnTo>
                  <a:pt x="8488098" y="5292520"/>
                </a:lnTo>
                <a:lnTo>
                  <a:pt x="8488098" y="4915678"/>
                </a:lnTo>
                <a:close/>
                <a:moveTo>
                  <a:pt x="6776215" y="4727322"/>
                </a:moveTo>
                <a:lnTo>
                  <a:pt x="7101677" y="4915678"/>
                </a:lnTo>
                <a:lnTo>
                  <a:pt x="7101677" y="5292521"/>
                </a:lnTo>
                <a:lnTo>
                  <a:pt x="6776215" y="5104164"/>
                </a:lnTo>
                <a:close/>
                <a:moveTo>
                  <a:pt x="6759871" y="4727322"/>
                </a:moveTo>
                <a:lnTo>
                  <a:pt x="6759871" y="5104164"/>
                </a:lnTo>
                <a:lnTo>
                  <a:pt x="6434280" y="5292521"/>
                </a:lnTo>
                <a:lnTo>
                  <a:pt x="6434280" y="4915678"/>
                </a:lnTo>
                <a:close/>
                <a:moveTo>
                  <a:pt x="3344069" y="4722530"/>
                </a:moveTo>
                <a:lnTo>
                  <a:pt x="3677814" y="4915678"/>
                </a:lnTo>
                <a:lnTo>
                  <a:pt x="3677814" y="5301992"/>
                </a:lnTo>
                <a:lnTo>
                  <a:pt x="3344201" y="5495140"/>
                </a:lnTo>
                <a:lnTo>
                  <a:pt x="3010451" y="5301991"/>
                </a:lnTo>
                <a:lnTo>
                  <a:pt x="3010451" y="4915677"/>
                </a:lnTo>
                <a:close/>
                <a:moveTo>
                  <a:pt x="1290091" y="4722529"/>
                </a:moveTo>
                <a:lnTo>
                  <a:pt x="1623841" y="4915678"/>
                </a:lnTo>
                <a:lnTo>
                  <a:pt x="1623841" y="5301992"/>
                </a:lnTo>
                <a:lnTo>
                  <a:pt x="1290221" y="5495140"/>
                </a:lnTo>
                <a:lnTo>
                  <a:pt x="956471" y="5301991"/>
                </a:lnTo>
                <a:lnTo>
                  <a:pt x="956471" y="4915677"/>
                </a:lnTo>
                <a:close/>
                <a:moveTo>
                  <a:pt x="5397866" y="4722526"/>
                </a:moveTo>
                <a:lnTo>
                  <a:pt x="5731614" y="4915678"/>
                </a:lnTo>
                <a:lnTo>
                  <a:pt x="5731614" y="5301991"/>
                </a:lnTo>
                <a:lnTo>
                  <a:pt x="5571733" y="5394557"/>
                </a:lnTo>
                <a:lnTo>
                  <a:pt x="5398006" y="5495143"/>
                </a:lnTo>
                <a:lnTo>
                  <a:pt x="5064265" y="5301991"/>
                </a:lnTo>
                <a:lnTo>
                  <a:pt x="5064265" y="4915677"/>
                </a:lnTo>
                <a:close/>
                <a:moveTo>
                  <a:pt x="11559549" y="4722522"/>
                </a:moveTo>
                <a:lnTo>
                  <a:pt x="11893312" y="4915678"/>
                </a:lnTo>
                <a:lnTo>
                  <a:pt x="11893312" y="5301991"/>
                </a:lnTo>
                <a:lnTo>
                  <a:pt x="11559680" y="5495147"/>
                </a:lnTo>
                <a:lnTo>
                  <a:pt x="11225916" y="5301991"/>
                </a:lnTo>
                <a:lnTo>
                  <a:pt x="11225916" y="4915678"/>
                </a:lnTo>
                <a:close/>
                <a:moveTo>
                  <a:pt x="9505601" y="4722522"/>
                </a:moveTo>
                <a:lnTo>
                  <a:pt x="9839364" y="4915678"/>
                </a:lnTo>
                <a:lnTo>
                  <a:pt x="9839364" y="5301991"/>
                </a:lnTo>
                <a:lnTo>
                  <a:pt x="9505731" y="5495147"/>
                </a:lnTo>
                <a:lnTo>
                  <a:pt x="9171969" y="5301991"/>
                </a:lnTo>
                <a:lnTo>
                  <a:pt x="9171969" y="4915678"/>
                </a:lnTo>
                <a:close/>
                <a:moveTo>
                  <a:pt x="7451785" y="4722522"/>
                </a:moveTo>
                <a:lnTo>
                  <a:pt x="7785548" y="4915678"/>
                </a:lnTo>
                <a:lnTo>
                  <a:pt x="7785548" y="5301991"/>
                </a:lnTo>
                <a:lnTo>
                  <a:pt x="7451915" y="5495147"/>
                </a:lnTo>
                <a:lnTo>
                  <a:pt x="7118150" y="5301991"/>
                </a:lnTo>
                <a:lnTo>
                  <a:pt x="7118150" y="4915678"/>
                </a:lnTo>
                <a:close/>
                <a:moveTo>
                  <a:pt x="4029112" y="4722135"/>
                </a:moveTo>
                <a:lnTo>
                  <a:pt x="4362838" y="4915290"/>
                </a:lnTo>
                <a:lnTo>
                  <a:pt x="4362838" y="5301473"/>
                </a:lnTo>
                <a:lnTo>
                  <a:pt x="4337499" y="5316139"/>
                </a:lnTo>
                <a:lnTo>
                  <a:pt x="4029115" y="5494627"/>
                </a:lnTo>
                <a:lnTo>
                  <a:pt x="3695358" y="5301472"/>
                </a:lnTo>
                <a:lnTo>
                  <a:pt x="3695358" y="4915289"/>
                </a:lnTo>
                <a:close/>
                <a:moveTo>
                  <a:pt x="1975140" y="4722135"/>
                </a:moveTo>
                <a:lnTo>
                  <a:pt x="2308909" y="4915290"/>
                </a:lnTo>
                <a:lnTo>
                  <a:pt x="2308909" y="5301473"/>
                </a:lnTo>
                <a:lnTo>
                  <a:pt x="1975142" y="5494627"/>
                </a:lnTo>
                <a:lnTo>
                  <a:pt x="1641381" y="5301472"/>
                </a:lnTo>
                <a:lnTo>
                  <a:pt x="1641381" y="4915289"/>
                </a:lnTo>
                <a:close/>
                <a:moveTo>
                  <a:pt x="10190640" y="4722133"/>
                </a:moveTo>
                <a:lnTo>
                  <a:pt x="10524404" y="4915290"/>
                </a:lnTo>
                <a:lnTo>
                  <a:pt x="10524404" y="5301472"/>
                </a:lnTo>
                <a:lnTo>
                  <a:pt x="10190640" y="5494629"/>
                </a:lnTo>
                <a:lnTo>
                  <a:pt x="9856876" y="5301472"/>
                </a:lnTo>
                <a:lnTo>
                  <a:pt x="9856876" y="4915290"/>
                </a:lnTo>
                <a:close/>
                <a:moveTo>
                  <a:pt x="8136693" y="4722133"/>
                </a:moveTo>
                <a:lnTo>
                  <a:pt x="8470456" y="4915290"/>
                </a:lnTo>
                <a:lnTo>
                  <a:pt x="8470456" y="5301472"/>
                </a:lnTo>
                <a:lnTo>
                  <a:pt x="8136693" y="5494629"/>
                </a:lnTo>
                <a:lnTo>
                  <a:pt x="7802930" y="5301472"/>
                </a:lnTo>
                <a:lnTo>
                  <a:pt x="7802930" y="4915290"/>
                </a:lnTo>
                <a:close/>
                <a:moveTo>
                  <a:pt x="6082876" y="4722133"/>
                </a:moveTo>
                <a:lnTo>
                  <a:pt x="6416638" y="4915290"/>
                </a:lnTo>
                <a:lnTo>
                  <a:pt x="6416638" y="5301472"/>
                </a:lnTo>
                <a:lnTo>
                  <a:pt x="6082876" y="5494629"/>
                </a:lnTo>
                <a:lnTo>
                  <a:pt x="5749136" y="5301472"/>
                </a:lnTo>
                <a:lnTo>
                  <a:pt x="5749136" y="4915289"/>
                </a:lnTo>
                <a:lnTo>
                  <a:pt x="5849860" y="4856993"/>
                </a:lnTo>
                <a:close/>
                <a:moveTo>
                  <a:pt x="3687311" y="4524307"/>
                </a:moveTo>
                <a:lnTo>
                  <a:pt x="4012766" y="4712663"/>
                </a:lnTo>
                <a:lnTo>
                  <a:pt x="3687184" y="4901018"/>
                </a:lnTo>
                <a:lnTo>
                  <a:pt x="3361728" y="4712662"/>
                </a:lnTo>
                <a:close/>
                <a:moveTo>
                  <a:pt x="1633335" y="4524307"/>
                </a:moveTo>
                <a:lnTo>
                  <a:pt x="1958793" y="4712663"/>
                </a:lnTo>
                <a:lnTo>
                  <a:pt x="1633206" y="4901018"/>
                </a:lnTo>
                <a:lnTo>
                  <a:pt x="1307748" y="4712662"/>
                </a:lnTo>
                <a:close/>
                <a:moveTo>
                  <a:pt x="11902654" y="4524306"/>
                </a:moveTo>
                <a:lnTo>
                  <a:pt x="12188651" y="4689824"/>
                </a:lnTo>
                <a:lnTo>
                  <a:pt x="12188651" y="4735492"/>
                </a:lnTo>
                <a:lnTo>
                  <a:pt x="11902524" y="4901019"/>
                </a:lnTo>
                <a:lnTo>
                  <a:pt x="11577062" y="4712663"/>
                </a:lnTo>
                <a:close/>
                <a:moveTo>
                  <a:pt x="9848833" y="4524306"/>
                </a:moveTo>
                <a:lnTo>
                  <a:pt x="10174295" y="4712663"/>
                </a:lnTo>
                <a:lnTo>
                  <a:pt x="9848703" y="4901019"/>
                </a:lnTo>
                <a:lnTo>
                  <a:pt x="9523243" y="4712663"/>
                </a:lnTo>
                <a:close/>
                <a:moveTo>
                  <a:pt x="7794888" y="4524306"/>
                </a:moveTo>
                <a:lnTo>
                  <a:pt x="8120347" y="4712663"/>
                </a:lnTo>
                <a:lnTo>
                  <a:pt x="7794758" y="4901019"/>
                </a:lnTo>
                <a:lnTo>
                  <a:pt x="7469298" y="4712663"/>
                </a:lnTo>
                <a:close/>
                <a:moveTo>
                  <a:pt x="5741090" y="4524306"/>
                </a:moveTo>
                <a:lnTo>
                  <a:pt x="6066531" y="4712663"/>
                </a:lnTo>
                <a:lnTo>
                  <a:pt x="5740963" y="4901019"/>
                </a:lnTo>
                <a:lnTo>
                  <a:pt x="5415520" y="4712662"/>
                </a:lnTo>
                <a:close/>
                <a:moveTo>
                  <a:pt x="2898361" y="4360472"/>
                </a:moveTo>
                <a:lnTo>
                  <a:pt x="2926109" y="4372012"/>
                </a:lnTo>
                <a:lnTo>
                  <a:pt x="2990709" y="4436743"/>
                </a:lnTo>
                <a:lnTo>
                  <a:pt x="3002253" y="4448418"/>
                </a:lnTo>
                <a:lnTo>
                  <a:pt x="3002263" y="4448406"/>
                </a:lnTo>
                <a:lnTo>
                  <a:pt x="3002276" y="4448418"/>
                </a:lnTo>
                <a:lnTo>
                  <a:pt x="3013818" y="4436743"/>
                </a:lnTo>
                <a:lnTo>
                  <a:pt x="3078289" y="4372012"/>
                </a:lnTo>
                <a:lnTo>
                  <a:pt x="3106038" y="4360472"/>
                </a:lnTo>
                <a:lnTo>
                  <a:pt x="3133656" y="4372012"/>
                </a:lnTo>
                <a:lnTo>
                  <a:pt x="3212135" y="4450623"/>
                </a:lnTo>
                <a:cubicBezTo>
                  <a:pt x="3219531" y="4458018"/>
                  <a:pt x="3223550" y="4467877"/>
                  <a:pt x="3223679" y="4478384"/>
                </a:cubicBezTo>
                <a:cubicBezTo>
                  <a:pt x="3223679" y="4488892"/>
                  <a:pt x="3219660" y="4498751"/>
                  <a:pt x="3212265" y="4506145"/>
                </a:cubicBezTo>
                <a:lnTo>
                  <a:pt x="3002263" y="4716542"/>
                </a:lnTo>
                <a:lnTo>
                  <a:pt x="2792265" y="4506145"/>
                </a:lnTo>
                <a:cubicBezTo>
                  <a:pt x="2776956" y="4490837"/>
                  <a:pt x="2776956" y="4465930"/>
                  <a:pt x="2792265" y="4450753"/>
                </a:cubicBezTo>
                <a:lnTo>
                  <a:pt x="2870741" y="4372012"/>
                </a:lnTo>
                <a:close/>
                <a:moveTo>
                  <a:pt x="844383" y="4360472"/>
                </a:moveTo>
                <a:lnTo>
                  <a:pt x="872131" y="4372012"/>
                </a:lnTo>
                <a:lnTo>
                  <a:pt x="936730" y="4436743"/>
                </a:lnTo>
                <a:lnTo>
                  <a:pt x="948275" y="4448418"/>
                </a:lnTo>
                <a:lnTo>
                  <a:pt x="948287" y="4448407"/>
                </a:lnTo>
                <a:lnTo>
                  <a:pt x="948298" y="4448418"/>
                </a:lnTo>
                <a:lnTo>
                  <a:pt x="959843" y="4436743"/>
                </a:lnTo>
                <a:lnTo>
                  <a:pt x="1024312" y="4372012"/>
                </a:lnTo>
                <a:lnTo>
                  <a:pt x="1052060" y="4360472"/>
                </a:lnTo>
                <a:lnTo>
                  <a:pt x="1079679" y="4372012"/>
                </a:lnTo>
                <a:lnTo>
                  <a:pt x="1158157" y="4450623"/>
                </a:lnTo>
                <a:cubicBezTo>
                  <a:pt x="1165552" y="4458018"/>
                  <a:pt x="1169574" y="4467877"/>
                  <a:pt x="1169703" y="4478384"/>
                </a:cubicBezTo>
                <a:cubicBezTo>
                  <a:pt x="1169703" y="4488892"/>
                  <a:pt x="1165682" y="4498751"/>
                  <a:pt x="1158288" y="4506145"/>
                </a:cubicBezTo>
                <a:lnTo>
                  <a:pt x="948287" y="4716543"/>
                </a:lnTo>
                <a:lnTo>
                  <a:pt x="738286" y="4506145"/>
                </a:lnTo>
                <a:cubicBezTo>
                  <a:pt x="722979" y="4490837"/>
                  <a:pt x="722979" y="4465930"/>
                  <a:pt x="738286" y="4450753"/>
                </a:cubicBezTo>
                <a:lnTo>
                  <a:pt x="816763" y="4372012"/>
                </a:lnTo>
                <a:close/>
                <a:moveTo>
                  <a:pt x="4952155" y="4360469"/>
                </a:moveTo>
                <a:lnTo>
                  <a:pt x="4979914" y="4372012"/>
                </a:lnTo>
                <a:lnTo>
                  <a:pt x="5044521" y="4436743"/>
                </a:lnTo>
                <a:lnTo>
                  <a:pt x="5056064" y="4448418"/>
                </a:lnTo>
                <a:lnTo>
                  <a:pt x="5056083" y="4448408"/>
                </a:lnTo>
                <a:lnTo>
                  <a:pt x="5056087" y="4448418"/>
                </a:lnTo>
                <a:lnTo>
                  <a:pt x="5067642" y="4436743"/>
                </a:lnTo>
                <a:lnTo>
                  <a:pt x="5132091" y="4372012"/>
                </a:lnTo>
                <a:lnTo>
                  <a:pt x="5159834" y="4360469"/>
                </a:lnTo>
                <a:lnTo>
                  <a:pt x="5187464" y="4372012"/>
                </a:lnTo>
                <a:lnTo>
                  <a:pt x="5265932" y="4450623"/>
                </a:lnTo>
                <a:cubicBezTo>
                  <a:pt x="5273331" y="4458018"/>
                  <a:pt x="5277344" y="4467877"/>
                  <a:pt x="5277479" y="4478384"/>
                </a:cubicBezTo>
                <a:cubicBezTo>
                  <a:pt x="5277479" y="4488892"/>
                  <a:pt x="5273469" y="4498751"/>
                  <a:pt x="5266071" y="4506145"/>
                </a:cubicBezTo>
                <a:lnTo>
                  <a:pt x="5056083" y="4716544"/>
                </a:lnTo>
                <a:lnTo>
                  <a:pt x="4846044" y="4506145"/>
                </a:lnTo>
                <a:cubicBezTo>
                  <a:pt x="4830739" y="4490837"/>
                  <a:pt x="4830739" y="4465930"/>
                  <a:pt x="4846044" y="4450753"/>
                </a:cubicBezTo>
                <a:lnTo>
                  <a:pt x="4924518" y="4372012"/>
                </a:lnTo>
                <a:close/>
                <a:moveTo>
                  <a:pt x="11113840" y="4360467"/>
                </a:moveTo>
                <a:cubicBezTo>
                  <a:pt x="11124348" y="4360467"/>
                  <a:pt x="11134206" y="4364618"/>
                  <a:pt x="11141600" y="4372012"/>
                </a:cubicBezTo>
                <a:lnTo>
                  <a:pt x="11206199" y="4436743"/>
                </a:lnTo>
                <a:lnTo>
                  <a:pt x="11217744" y="4448418"/>
                </a:lnTo>
                <a:lnTo>
                  <a:pt x="11229289" y="4436743"/>
                </a:lnTo>
                <a:lnTo>
                  <a:pt x="11293758" y="4372012"/>
                </a:lnTo>
                <a:cubicBezTo>
                  <a:pt x="11301152" y="4364488"/>
                  <a:pt x="11311011" y="4360467"/>
                  <a:pt x="11321517" y="4360467"/>
                </a:cubicBezTo>
                <a:cubicBezTo>
                  <a:pt x="11331896" y="4360467"/>
                  <a:pt x="11341755" y="4364618"/>
                  <a:pt x="11349147" y="4372012"/>
                </a:cubicBezTo>
                <a:lnTo>
                  <a:pt x="11427627" y="4450623"/>
                </a:lnTo>
                <a:cubicBezTo>
                  <a:pt x="11435021" y="4458018"/>
                  <a:pt x="11439042" y="4467877"/>
                  <a:pt x="11439172" y="4478384"/>
                </a:cubicBezTo>
                <a:cubicBezTo>
                  <a:pt x="11439172" y="4488892"/>
                  <a:pt x="11435150" y="4498751"/>
                  <a:pt x="11427757" y="4506145"/>
                </a:cubicBezTo>
                <a:lnTo>
                  <a:pt x="11217744" y="4716554"/>
                </a:lnTo>
                <a:lnTo>
                  <a:pt x="11007731" y="4506145"/>
                </a:lnTo>
                <a:cubicBezTo>
                  <a:pt x="10992424" y="4490837"/>
                  <a:pt x="10992424" y="4465930"/>
                  <a:pt x="11007731" y="4450753"/>
                </a:cubicBezTo>
                <a:lnTo>
                  <a:pt x="11086210" y="4372012"/>
                </a:lnTo>
                <a:cubicBezTo>
                  <a:pt x="11093605" y="4364618"/>
                  <a:pt x="11103333" y="4360467"/>
                  <a:pt x="11113840" y="4360467"/>
                </a:cubicBezTo>
                <a:close/>
                <a:moveTo>
                  <a:pt x="9059893" y="4360467"/>
                </a:moveTo>
                <a:lnTo>
                  <a:pt x="9087652" y="4372012"/>
                </a:lnTo>
                <a:lnTo>
                  <a:pt x="9152251" y="4436743"/>
                </a:lnTo>
                <a:lnTo>
                  <a:pt x="9163796" y="4448418"/>
                </a:lnTo>
                <a:lnTo>
                  <a:pt x="9163797" y="4448418"/>
                </a:lnTo>
                <a:lnTo>
                  <a:pt x="9175342" y="4436743"/>
                </a:lnTo>
                <a:lnTo>
                  <a:pt x="9239811" y="4372012"/>
                </a:lnTo>
                <a:lnTo>
                  <a:pt x="9267571" y="4360467"/>
                </a:lnTo>
                <a:lnTo>
                  <a:pt x="9295200" y="4372012"/>
                </a:lnTo>
                <a:lnTo>
                  <a:pt x="9373678" y="4450623"/>
                </a:lnTo>
                <a:cubicBezTo>
                  <a:pt x="9381073" y="4458018"/>
                  <a:pt x="9385093" y="4467877"/>
                  <a:pt x="9385223" y="4478384"/>
                </a:cubicBezTo>
                <a:cubicBezTo>
                  <a:pt x="9385223" y="4488892"/>
                  <a:pt x="9381203" y="4498751"/>
                  <a:pt x="9373808" y="4506145"/>
                </a:cubicBezTo>
                <a:lnTo>
                  <a:pt x="9163796" y="4716554"/>
                </a:lnTo>
                <a:lnTo>
                  <a:pt x="8953784" y="4506145"/>
                </a:lnTo>
                <a:cubicBezTo>
                  <a:pt x="8938478" y="4490837"/>
                  <a:pt x="8938478" y="4465930"/>
                  <a:pt x="8953784" y="4450753"/>
                </a:cubicBezTo>
                <a:lnTo>
                  <a:pt x="9032264" y="4372012"/>
                </a:lnTo>
                <a:close/>
                <a:moveTo>
                  <a:pt x="7006076" y="4360467"/>
                </a:moveTo>
                <a:cubicBezTo>
                  <a:pt x="7016582" y="4360467"/>
                  <a:pt x="7026440" y="4364618"/>
                  <a:pt x="7033834" y="4372012"/>
                </a:cubicBezTo>
                <a:lnTo>
                  <a:pt x="7098434" y="4436743"/>
                </a:lnTo>
                <a:lnTo>
                  <a:pt x="7109978" y="4448418"/>
                </a:lnTo>
                <a:lnTo>
                  <a:pt x="7121523" y="4436743"/>
                </a:lnTo>
                <a:lnTo>
                  <a:pt x="7185994" y="4372012"/>
                </a:lnTo>
                <a:cubicBezTo>
                  <a:pt x="7193387" y="4364488"/>
                  <a:pt x="7203245" y="4360467"/>
                  <a:pt x="7213751" y="4360467"/>
                </a:cubicBezTo>
                <a:cubicBezTo>
                  <a:pt x="7224130" y="4360467"/>
                  <a:pt x="7233989" y="4364618"/>
                  <a:pt x="7241381" y="4372012"/>
                </a:cubicBezTo>
                <a:lnTo>
                  <a:pt x="7319862" y="4450623"/>
                </a:lnTo>
                <a:cubicBezTo>
                  <a:pt x="7327255" y="4458018"/>
                  <a:pt x="7331276" y="4467877"/>
                  <a:pt x="7331407" y="4478384"/>
                </a:cubicBezTo>
                <a:cubicBezTo>
                  <a:pt x="7331407" y="4488892"/>
                  <a:pt x="7327384" y="4498751"/>
                  <a:pt x="7319992" y="4506145"/>
                </a:cubicBezTo>
                <a:lnTo>
                  <a:pt x="7109978" y="4716554"/>
                </a:lnTo>
                <a:lnTo>
                  <a:pt x="6899966" y="4506145"/>
                </a:lnTo>
                <a:cubicBezTo>
                  <a:pt x="6884658" y="4490837"/>
                  <a:pt x="6884658" y="4465930"/>
                  <a:pt x="6899966" y="4450753"/>
                </a:cubicBezTo>
                <a:lnTo>
                  <a:pt x="6978446" y="4372012"/>
                </a:lnTo>
                <a:cubicBezTo>
                  <a:pt x="6985839" y="4364618"/>
                  <a:pt x="6995568" y="4360467"/>
                  <a:pt x="7006076" y="4360467"/>
                </a:cubicBezTo>
                <a:close/>
                <a:moveTo>
                  <a:pt x="11113840" y="4343992"/>
                </a:moveTo>
                <a:cubicBezTo>
                  <a:pt x="11099571" y="4343992"/>
                  <a:pt x="11085432" y="4349440"/>
                  <a:pt x="11074665" y="4360336"/>
                </a:cubicBezTo>
                <a:lnTo>
                  <a:pt x="10996186" y="4439078"/>
                </a:lnTo>
                <a:cubicBezTo>
                  <a:pt x="10974523" y="4460743"/>
                  <a:pt x="10974523" y="4496026"/>
                  <a:pt x="10996186" y="4517690"/>
                </a:cubicBezTo>
                <a:lnTo>
                  <a:pt x="11217744" y="4739774"/>
                </a:lnTo>
                <a:lnTo>
                  <a:pt x="11439301" y="4517690"/>
                </a:lnTo>
                <a:cubicBezTo>
                  <a:pt x="11460964" y="4496026"/>
                  <a:pt x="11460964" y="4460743"/>
                  <a:pt x="11439301" y="4439078"/>
                </a:cubicBezTo>
                <a:lnTo>
                  <a:pt x="11360822" y="4360467"/>
                </a:lnTo>
                <a:cubicBezTo>
                  <a:pt x="11349927" y="4349570"/>
                  <a:pt x="11335787" y="4344121"/>
                  <a:pt x="11321647" y="4344121"/>
                </a:cubicBezTo>
                <a:lnTo>
                  <a:pt x="11321517" y="4343992"/>
                </a:lnTo>
                <a:cubicBezTo>
                  <a:pt x="11307249" y="4343992"/>
                  <a:pt x="11293110" y="4349440"/>
                  <a:pt x="11282213" y="4360467"/>
                </a:cubicBezTo>
                <a:lnTo>
                  <a:pt x="11217744" y="4425069"/>
                </a:lnTo>
                <a:lnTo>
                  <a:pt x="11153145" y="4360336"/>
                </a:lnTo>
                <a:cubicBezTo>
                  <a:pt x="11142248" y="4349440"/>
                  <a:pt x="11128108" y="4343992"/>
                  <a:pt x="11113840" y="4343992"/>
                </a:cubicBezTo>
                <a:close/>
                <a:moveTo>
                  <a:pt x="9059892" y="4343992"/>
                </a:moveTo>
                <a:cubicBezTo>
                  <a:pt x="9045623" y="4343992"/>
                  <a:pt x="9031483" y="4349440"/>
                  <a:pt x="9020717" y="4360336"/>
                </a:cubicBezTo>
                <a:lnTo>
                  <a:pt x="8942238" y="4439078"/>
                </a:lnTo>
                <a:cubicBezTo>
                  <a:pt x="8920575" y="4460743"/>
                  <a:pt x="8920575" y="4496026"/>
                  <a:pt x="8942238" y="4517690"/>
                </a:cubicBezTo>
                <a:lnTo>
                  <a:pt x="9163796" y="4739774"/>
                </a:lnTo>
                <a:lnTo>
                  <a:pt x="9163797" y="4739774"/>
                </a:lnTo>
                <a:lnTo>
                  <a:pt x="9385354" y="4517690"/>
                </a:lnTo>
                <a:cubicBezTo>
                  <a:pt x="9407017" y="4496026"/>
                  <a:pt x="9407017" y="4460743"/>
                  <a:pt x="9385354" y="4439078"/>
                </a:cubicBezTo>
                <a:lnTo>
                  <a:pt x="9306876" y="4360467"/>
                </a:lnTo>
                <a:cubicBezTo>
                  <a:pt x="9295978" y="4349570"/>
                  <a:pt x="9281840" y="4344121"/>
                  <a:pt x="9267701" y="4344121"/>
                </a:cubicBezTo>
                <a:lnTo>
                  <a:pt x="9267571" y="4343992"/>
                </a:lnTo>
                <a:lnTo>
                  <a:pt x="9267570" y="4343992"/>
                </a:lnTo>
                <a:cubicBezTo>
                  <a:pt x="9253302" y="4343992"/>
                  <a:pt x="9239161" y="4349440"/>
                  <a:pt x="9228265" y="4360467"/>
                </a:cubicBezTo>
                <a:lnTo>
                  <a:pt x="9163796" y="4425069"/>
                </a:lnTo>
                <a:lnTo>
                  <a:pt x="9099198" y="4360336"/>
                </a:lnTo>
                <a:cubicBezTo>
                  <a:pt x="9088300" y="4349440"/>
                  <a:pt x="9074162" y="4343992"/>
                  <a:pt x="9059893" y="4343992"/>
                </a:cubicBezTo>
                <a:close/>
                <a:moveTo>
                  <a:pt x="7006076" y="4343992"/>
                </a:moveTo>
                <a:cubicBezTo>
                  <a:pt x="6991805" y="4343992"/>
                  <a:pt x="6977666" y="4349440"/>
                  <a:pt x="6966901" y="4360336"/>
                </a:cubicBezTo>
                <a:lnTo>
                  <a:pt x="6888421" y="4439078"/>
                </a:lnTo>
                <a:cubicBezTo>
                  <a:pt x="6866758" y="4460743"/>
                  <a:pt x="6866758" y="4496026"/>
                  <a:pt x="6888421" y="4517690"/>
                </a:cubicBezTo>
                <a:lnTo>
                  <a:pt x="7109978" y="4739774"/>
                </a:lnTo>
                <a:lnTo>
                  <a:pt x="7331537" y="4517690"/>
                </a:lnTo>
                <a:cubicBezTo>
                  <a:pt x="7353199" y="4496026"/>
                  <a:pt x="7353199" y="4460743"/>
                  <a:pt x="7331537" y="4439078"/>
                </a:cubicBezTo>
                <a:lnTo>
                  <a:pt x="7253057" y="4360467"/>
                </a:lnTo>
                <a:cubicBezTo>
                  <a:pt x="7242161" y="4349570"/>
                  <a:pt x="7228022" y="4344121"/>
                  <a:pt x="7213882" y="4344121"/>
                </a:cubicBezTo>
                <a:lnTo>
                  <a:pt x="7213751" y="4343992"/>
                </a:lnTo>
                <a:cubicBezTo>
                  <a:pt x="7199483" y="4343992"/>
                  <a:pt x="7185345" y="4349440"/>
                  <a:pt x="7174449" y="4360467"/>
                </a:cubicBezTo>
                <a:lnTo>
                  <a:pt x="7109978" y="4425069"/>
                </a:lnTo>
                <a:lnTo>
                  <a:pt x="7045379" y="4360336"/>
                </a:lnTo>
                <a:cubicBezTo>
                  <a:pt x="7034483" y="4349440"/>
                  <a:pt x="7020344" y="4343992"/>
                  <a:pt x="7006076" y="4343992"/>
                </a:cubicBezTo>
                <a:close/>
                <a:moveTo>
                  <a:pt x="4952148" y="4343992"/>
                </a:moveTo>
                <a:cubicBezTo>
                  <a:pt x="4937875" y="4343992"/>
                  <a:pt x="4923734" y="4349440"/>
                  <a:pt x="4912971" y="4360336"/>
                </a:cubicBezTo>
                <a:lnTo>
                  <a:pt x="4834495" y="4439078"/>
                </a:lnTo>
                <a:cubicBezTo>
                  <a:pt x="4812828" y="4460743"/>
                  <a:pt x="4812828" y="4496026"/>
                  <a:pt x="4834495" y="4517690"/>
                </a:cubicBezTo>
                <a:lnTo>
                  <a:pt x="5056064" y="4739774"/>
                </a:lnTo>
                <a:lnTo>
                  <a:pt x="5056083" y="4739764"/>
                </a:lnTo>
                <a:lnTo>
                  <a:pt x="5056087" y="4739774"/>
                </a:lnTo>
                <a:lnTo>
                  <a:pt x="5277615" y="4517690"/>
                </a:lnTo>
                <a:cubicBezTo>
                  <a:pt x="5299295" y="4496026"/>
                  <a:pt x="5299295" y="4460743"/>
                  <a:pt x="5277615" y="4439078"/>
                </a:cubicBezTo>
                <a:lnTo>
                  <a:pt x="5199142" y="4360467"/>
                </a:lnTo>
                <a:cubicBezTo>
                  <a:pt x="5188246" y="4349570"/>
                  <a:pt x="5174097" y="4344121"/>
                  <a:pt x="5159966" y="4344121"/>
                </a:cubicBezTo>
                <a:lnTo>
                  <a:pt x="5159837" y="4343992"/>
                </a:lnTo>
                <a:lnTo>
                  <a:pt x="5159834" y="4343994"/>
                </a:lnTo>
                <a:lnTo>
                  <a:pt x="5159824" y="4343992"/>
                </a:lnTo>
                <a:cubicBezTo>
                  <a:pt x="5145561" y="4343992"/>
                  <a:pt x="5131424" y="4349440"/>
                  <a:pt x="5120536" y="4360467"/>
                </a:cubicBezTo>
                <a:lnTo>
                  <a:pt x="5056083" y="4425059"/>
                </a:lnTo>
                <a:lnTo>
                  <a:pt x="4991467" y="4360336"/>
                </a:lnTo>
                <a:cubicBezTo>
                  <a:pt x="4980575" y="4349440"/>
                  <a:pt x="4966424" y="4343992"/>
                  <a:pt x="4952157" y="4343992"/>
                </a:cubicBezTo>
                <a:lnTo>
                  <a:pt x="4952155" y="4343993"/>
                </a:lnTo>
                <a:close/>
                <a:moveTo>
                  <a:pt x="2898351" y="4343992"/>
                </a:moveTo>
                <a:cubicBezTo>
                  <a:pt x="2884078" y="4343992"/>
                  <a:pt x="2869941" y="4349440"/>
                  <a:pt x="2859173" y="4360336"/>
                </a:cubicBezTo>
                <a:lnTo>
                  <a:pt x="2780695" y="4439078"/>
                </a:lnTo>
                <a:cubicBezTo>
                  <a:pt x="2759031" y="4460743"/>
                  <a:pt x="2759031" y="4496026"/>
                  <a:pt x="2780695" y="4517690"/>
                </a:cubicBezTo>
                <a:lnTo>
                  <a:pt x="3002253" y="4739774"/>
                </a:lnTo>
                <a:lnTo>
                  <a:pt x="3002263" y="4739762"/>
                </a:lnTo>
                <a:lnTo>
                  <a:pt x="3002276" y="4739774"/>
                </a:lnTo>
                <a:lnTo>
                  <a:pt x="3223832" y="4517690"/>
                </a:lnTo>
                <a:cubicBezTo>
                  <a:pt x="3245496" y="4496026"/>
                  <a:pt x="3245496" y="4460743"/>
                  <a:pt x="3223832" y="4439078"/>
                </a:cubicBezTo>
                <a:lnTo>
                  <a:pt x="3145353" y="4360467"/>
                </a:lnTo>
                <a:cubicBezTo>
                  <a:pt x="3134458" y="4349570"/>
                  <a:pt x="3120320" y="4344121"/>
                  <a:pt x="3106179" y="4344121"/>
                </a:cubicBezTo>
                <a:lnTo>
                  <a:pt x="3106051" y="4343992"/>
                </a:lnTo>
                <a:lnTo>
                  <a:pt x="3106030" y="4343996"/>
                </a:lnTo>
                <a:lnTo>
                  <a:pt x="3106024" y="4343992"/>
                </a:lnTo>
                <a:cubicBezTo>
                  <a:pt x="3091757" y="4343992"/>
                  <a:pt x="3077618" y="4349440"/>
                  <a:pt x="3066723" y="4360467"/>
                </a:cubicBezTo>
                <a:lnTo>
                  <a:pt x="3002263" y="4425057"/>
                </a:lnTo>
                <a:lnTo>
                  <a:pt x="2937678" y="4360336"/>
                </a:lnTo>
                <a:cubicBezTo>
                  <a:pt x="2926780" y="4349440"/>
                  <a:pt x="2912640" y="4343992"/>
                  <a:pt x="2898373" y="4343992"/>
                </a:cubicBezTo>
                <a:lnTo>
                  <a:pt x="2898361" y="4343995"/>
                </a:lnTo>
                <a:close/>
                <a:moveTo>
                  <a:pt x="844371" y="4343992"/>
                </a:moveTo>
                <a:cubicBezTo>
                  <a:pt x="830103" y="4343992"/>
                  <a:pt x="815964" y="4349440"/>
                  <a:pt x="805197" y="4360336"/>
                </a:cubicBezTo>
                <a:lnTo>
                  <a:pt x="726717" y="4439078"/>
                </a:lnTo>
                <a:cubicBezTo>
                  <a:pt x="705055" y="4460743"/>
                  <a:pt x="705055" y="4496026"/>
                  <a:pt x="726717" y="4517690"/>
                </a:cubicBezTo>
                <a:lnTo>
                  <a:pt x="948275" y="4739774"/>
                </a:lnTo>
                <a:lnTo>
                  <a:pt x="948287" y="4739763"/>
                </a:lnTo>
                <a:lnTo>
                  <a:pt x="948298" y="4739774"/>
                </a:lnTo>
                <a:lnTo>
                  <a:pt x="1169855" y="4517690"/>
                </a:lnTo>
                <a:cubicBezTo>
                  <a:pt x="1191517" y="4496026"/>
                  <a:pt x="1191517" y="4460743"/>
                  <a:pt x="1169855" y="4439078"/>
                </a:cubicBezTo>
                <a:lnTo>
                  <a:pt x="1091377" y="4360467"/>
                </a:lnTo>
                <a:cubicBezTo>
                  <a:pt x="1080480" y="4349570"/>
                  <a:pt x="1066341" y="4344121"/>
                  <a:pt x="1052202" y="4344121"/>
                </a:cubicBezTo>
                <a:lnTo>
                  <a:pt x="1052072" y="4343992"/>
                </a:lnTo>
                <a:lnTo>
                  <a:pt x="1052054" y="4343996"/>
                </a:lnTo>
                <a:lnTo>
                  <a:pt x="1052050" y="4343992"/>
                </a:lnTo>
                <a:cubicBezTo>
                  <a:pt x="1037780" y="4343992"/>
                  <a:pt x="1023641" y="4349440"/>
                  <a:pt x="1012746" y="4360467"/>
                </a:cubicBezTo>
                <a:lnTo>
                  <a:pt x="948287" y="4425058"/>
                </a:lnTo>
                <a:lnTo>
                  <a:pt x="883699" y="4360336"/>
                </a:lnTo>
                <a:cubicBezTo>
                  <a:pt x="872802" y="4349440"/>
                  <a:pt x="858663" y="4343992"/>
                  <a:pt x="844395" y="4343992"/>
                </a:cubicBezTo>
                <a:lnTo>
                  <a:pt x="844383" y="4343995"/>
                </a:lnTo>
                <a:close/>
                <a:moveTo>
                  <a:pt x="11910826" y="4133337"/>
                </a:moveTo>
                <a:lnTo>
                  <a:pt x="12188651" y="4294111"/>
                </a:lnTo>
                <a:lnTo>
                  <a:pt x="12188651" y="4670953"/>
                </a:lnTo>
                <a:lnTo>
                  <a:pt x="11910826" y="4510166"/>
                </a:lnTo>
                <a:close/>
                <a:moveTo>
                  <a:pt x="11894481" y="4133337"/>
                </a:moveTo>
                <a:lnTo>
                  <a:pt x="11894481" y="4510166"/>
                </a:lnTo>
                <a:lnTo>
                  <a:pt x="11568890" y="4698522"/>
                </a:lnTo>
                <a:lnTo>
                  <a:pt x="11568890" y="4321680"/>
                </a:lnTo>
                <a:close/>
                <a:moveTo>
                  <a:pt x="9857006" y="4133335"/>
                </a:moveTo>
                <a:lnTo>
                  <a:pt x="10182468" y="4321680"/>
                </a:lnTo>
                <a:lnTo>
                  <a:pt x="10182468" y="4698522"/>
                </a:lnTo>
                <a:lnTo>
                  <a:pt x="9857006" y="4510166"/>
                </a:lnTo>
                <a:close/>
                <a:moveTo>
                  <a:pt x="9840661" y="4133335"/>
                </a:moveTo>
                <a:lnTo>
                  <a:pt x="9840661" y="4510166"/>
                </a:lnTo>
                <a:lnTo>
                  <a:pt x="9515070" y="4698522"/>
                </a:lnTo>
                <a:lnTo>
                  <a:pt x="9515070" y="4321680"/>
                </a:lnTo>
                <a:close/>
                <a:moveTo>
                  <a:pt x="7803060" y="4133332"/>
                </a:moveTo>
                <a:lnTo>
                  <a:pt x="8128521" y="4321680"/>
                </a:lnTo>
                <a:lnTo>
                  <a:pt x="8128521" y="4698522"/>
                </a:lnTo>
                <a:lnTo>
                  <a:pt x="7803060" y="4510166"/>
                </a:lnTo>
                <a:close/>
                <a:moveTo>
                  <a:pt x="7786715" y="4133332"/>
                </a:moveTo>
                <a:lnTo>
                  <a:pt x="7786715" y="4510166"/>
                </a:lnTo>
                <a:lnTo>
                  <a:pt x="7461125" y="4698522"/>
                </a:lnTo>
                <a:lnTo>
                  <a:pt x="7461125" y="4321680"/>
                </a:lnTo>
                <a:close/>
                <a:moveTo>
                  <a:pt x="5749264" y="4133332"/>
                </a:moveTo>
                <a:lnTo>
                  <a:pt x="6074705" y="4321680"/>
                </a:lnTo>
                <a:lnTo>
                  <a:pt x="6074705" y="4698521"/>
                </a:lnTo>
                <a:lnTo>
                  <a:pt x="5749264" y="4510166"/>
                </a:lnTo>
                <a:close/>
                <a:moveTo>
                  <a:pt x="3695486" y="4133332"/>
                </a:moveTo>
                <a:lnTo>
                  <a:pt x="4020939" y="4321680"/>
                </a:lnTo>
                <a:lnTo>
                  <a:pt x="4020939" y="4698518"/>
                </a:lnTo>
                <a:lnTo>
                  <a:pt x="3695486" y="4510166"/>
                </a:lnTo>
                <a:close/>
                <a:moveTo>
                  <a:pt x="3679138" y="4133332"/>
                </a:moveTo>
                <a:lnTo>
                  <a:pt x="3679138" y="4510167"/>
                </a:lnTo>
                <a:lnTo>
                  <a:pt x="3353557" y="4698518"/>
                </a:lnTo>
                <a:lnTo>
                  <a:pt x="3353557" y="4321679"/>
                </a:lnTo>
                <a:close/>
                <a:moveTo>
                  <a:pt x="5732921" y="4133331"/>
                </a:moveTo>
                <a:lnTo>
                  <a:pt x="5732921" y="4510166"/>
                </a:lnTo>
                <a:lnTo>
                  <a:pt x="5486388" y="4652797"/>
                </a:lnTo>
                <a:lnTo>
                  <a:pt x="5407352" y="4698520"/>
                </a:lnTo>
                <a:lnTo>
                  <a:pt x="5407352" y="4321679"/>
                </a:lnTo>
                <a:close/>
                <a:moveTo>
                  <a:pt x="1641509" y="4133330"/>
                </a:moveTo>
                <a:lnTo>
                  <a:pt x="1966966" y="4321680"/>
                </a:lnTo>
                <a:lnTo>
                  <a:pt x="1966966" y="4698518"/>
                </a:lnTo>
                <a:lnTo>
                  <a:pt x="1641509" y="4510166"/>
                </a:lnTo>
                <a:close/>
                <a:moveTo>
                  <a:pt x="1625160" y="4133330"/>
                </a:moveTo>
                <a:lnTo>
                  <a:pt x="1625160" y="4510167"/>
                </a:lnTo>
                <a:lnTo>
                  <a:pt x="1299576" y="4698519"/>
                </a:lnTo>
                <a:lnTo>
                  <a:pt x="1299576" y="4321679"/>
                </a:lnTo>
                <a:close/>
                <a:moveTo>
                  <a:pt x="10532576" y="4128536"/>
                </a:moveTo>
                <a:lnTo>
                  <a:pt x="10866339" y="4321680"/>
                </a:lnTo>
                <a:lnTo>
                  <a:pt x="10866339" y="4707993"/>
                </a:lnTo>
                <a:lnTo>
                  <a:pt x="10532706" y="4901148"/>
                </a:lnTo>
                <a:lnTo>
                  <a:pt x="10198941" y="4707993"/>
                </a:lnTo>
                <a:lnTo>
                  <a:pt x="10198941" y="4321680"/>
                </a:lnTo>
                <a:close/>
                <a:moveTo>
                  <a:pt x="8478628" y="4128533"/>
                </a:moveTo>
                <a:lnTo>
                  <a:pt x="8812392" y="4321680"/>
                </a:lnTo>
                <a:lnTo>
                  <a:pt x="8812392" y="4707993"/>
                </a:lnTo>
                <a:lnTo>
                  <a:pt x="8478758" y="4901148"/>
                </a:lnTo>
                <a:lnTo>
                  <a:pt x="8144995" y="4707993"/>
                </a:lnTo>
                <a:lnTo>
                  <a:pt x="8144995" y="4321680"/>
                </a:lnTo>
                <a:close/>
                <a:moveTo>
                  <a:pt x="6424810" y="4128533"/>
                </a:moveTo>
                <a:lnTo>
                  <a:pt x="6758573" y="4321680"/>
                </a:lnTo>
                <a:lnTo>
                  <a:pt x="6758573" y="4707993"/>
                </a:lnTo>
                <a:lnTo>
                  <a:pt x="6424940" y="4901148"/>
                </a:lnTo>
                <a:lnTo>
                  <a:pt x="6091179" y="4707993"/>
                </a:lnTo>
                <a:lnTo>
                  <a:pt x="6091179" y="4321680"/>
                </a:lnTo>
                <a:close/>
                <a:moveTo>
                  <a:pt x="4371009" y="4128531"/>
                </a:moveTo>
                <a:lnTo>
                  <a:pt x="4704773" y="4321680"/>
                </a:lnTo>
                <a:lnTo>
                  <a:pt x="4704773" y="4707993"/>
                </a:lnTo>
                <a:lnTo>
                  <a:pt x="4371146" y="4901148"/>
                </a:lnTo>
                <a:lnTo>
                  <a:pt x="4037423" y="4707993"/>
                </a:lnTo>
                <a:lnTo>
                  <a:pt x="4037423" y="4321679"/>
                </a:lnTo>
                <a:lnTo>
                  <a:pt x="4350583" y="4140356"/>
                </a:lnTo>
                <a:close/>
                <a:moveTo>
                  <a:pt x="2317082" y="4128531"/>
                </a:moveTo>
                <a:lnTo>
                  <a:pt x="2650840" y="4321680"/>
                </a:lnTo>
                <a:lnTo>
                  <a:pt x="2650840" y="4707994"/>
                </a:lnTo>
                <a:lnTo>
                  <a:pt x="2317213" y="4901146"/>
                </a:lnTo>
                <a:lnTo>
                  <a:pt x="1983445" y="4707993"/>
                </a:lnTo>
                <a:lnTo>
                  <a:pt x="1983445" y="4321679"/>
                </a:lnTo>
                <a:close/>
                <a:moveTo>
                  <a:pt x="263235" y="4128527"/>
                </a:moveTo>
                <a:lnTo>
                  <a:pt x="596995" y="4321680"/>
                </a:lnTo>
                <a:lnTo>
                  <a:pt x="596995" y="4707994"/>
                </a:lnTo>
                <a:lnTo>
                  <a:pt x="263366" y="4901147"/>
                </a:lnTo>
                <a:lnTo>
                  <a:pt x="0" y="4748731"/>
                </a:lnTo>
                <a:lnTo>
                  <a:pt x="0" y="4280925"/>
                </a:lnTo>
                <a:close/>
                <a:moveTo>
                  <a:pt x="11217614" y="4128280"/>
                </a:moveTo>
                <a:lnTo>
                  <a:pt x="11551377" y="4321420"/>
                </a:lnTo>
                <a:lnTo>
                  <a:pt x="11551377" y="4707602"/>
                </a:lnTo>
                <a:lnTo>
                  <a:pt x="11217614" y="4900759"/>
                </a:lnTo>
                <a:lnTo>
                  <a:pt x="10883851" y="4707602"/>
                </a:lnTo>
                <a:lnTo>
                  <a:pt x="10883851" y="4321420"/>
                </a:lnTo>
                <a:close/>
                <a:moveTo>
                  <a:pt x="5055955" y="4128279"/>
                </a:moveTo>
                <a:lnTo>
                  <a:pt x="5389688" y="4321420"/>
                </a:lnTo>
                <a:lnTo>
                  <a:pt x="5389688" y="4707603"/>
                </a:lnTo>
                <a:lnTo>
                  <a:pt x="5252155" y="4787202"/>
                </a:lnTo>
                <a:lnTo>
                  <a:pt x="5055955" y="4900753"/>
                </a:lnTo>
                <a:lnTo>
                  <a:pt x="4722175" y="4707602"/>
                </a:lnTo>
                <a:lnTo>
                  <a:pt x="4722175" y="4321419"/>
                </a:lnTo>
                <a:close/>
                <a:moveTo>
                  <a:pt x="9163666" y="4128278"/>
                </a:moveTo>
                <a:lnTo>
                  <a:pt x="9497429" y="4321420"/>
                </a:lnTo>
                <a:lnTo>
                  <a:pt x="9497429" y="4707602"/>
                </a:lnTo>
                <a:lnTo>
                  <a:pt x="9163666" y="4900759"/>
                </a:lnTo>
                <a:lnTo>
                  <a:pt x="8829903" y="4707602"/>
                </a:lnTo>
                <a:lnTo>
                  <a:pt x="8829903" y="4321420"/>
                </a:lnTo>
                <a:lnTo>
                  <a:pt x="8882054" y="4291239"/>
                </a:lnTo>
                <a:close/>
                <a:moveTo>
                  <a:pt x="7109850" y="4128277"/>
                </a:moveTo>
                <a:lnTo>
                  <a:pt x="7443613" y="4321420"/>
                </a:lnTo>
                <a:lnTo>
                  <a:pt x="7443613" y="4707602"/>
                </a:lnTo>
                <a:lnTo>
                  <a:pt x="7109850" y="4900759"/>
                </a:lnTo>
                <a:lnTo>
                  <a:pt x="6776085" y="4707602"/>
                </a:lnTo>
                <a:lnTo>
                  <a:pt x="6776085" y="4321420"/>
                </a:lnTo>
                <a:close/>
                <a:moveTo>
                  <a:pt x="3002137" y="4128277"/>
                </a:moveTo>
                <a:lnTo>
                  <a:pt x="3335888" y="4321420"/>
                </a:lnTo>
                <a:lnTo>
                  <a:pt x="3335888" y="4707603"/>
                </a:lnTo>
                <a:lnTo>
                  <a:pt x="3002137" y="4900751"/>
                </a:lnTo>
                <a:lnTo>
                  <a:pt x="2668385" y="4707602"/>
                </a:lnTo>
                <a:lnTo>
                  <a:pt x="2668385" y="4321419"/>
                </a:lnTo>
                <a:close/>
                <a:moveTo>
                  <a:pt x="948159" y="4128274"/>
                </a:moveTo>
                <a:lnTo>
                  <a:pt x="1281908" y="4321420"/>
                </a:lnTo>
                <a:lnTo>
                  <a:pt x="1281908" y="4707603"/>
                </a:lnTo>
                <a:lnTo>
                  <a:pt x="948159" y="4900752"/>
                </a:lnTo>
                <a:lnTo>
                  <a:pt x="614410" y="4707602"/>
                </a:lnTo>
                <a:lnTo>
                  <a:pt x="614410" y="4321419"/>
                </a:lnTo>
                <a:close/>
                <a:moveTo>
                  <a:pt x="10875809" y="3930457"/>
                </a:moveTo>
                <a:lnTo>
                  <a:pt x="11201267" y="4118806"/>
                </a:lnTo>
                <a:lnTo>
                  <a:pt x="10875678" y="4307149"/>
                </a:lnTo>
                <a:lnTo>
                  <a:pt x="10809085" y="4268609"/>
                </a:lnTo>
                <a:lnTo>
                  <a:pt x="10550220" y="4118806"/>
                </a:lnTo>
                <a:close/>
                <a:moveTo>
                  <a:pt x="8821860" y="3930452"/>
                </a:moveTo>
                <a:lnTo>
                  <a:pt x="9147319" y="4118806"/>
                </a:lnTo>
                <a:lnTo>
                  <a:pt x="8913010" y="4254344"/>
                </a:lnTo>
                <a:lnTo>
                  <a:pt x="8821731" y="4307149"/>
                </a:lnTo>
                <a:lnTo>
                  <a:pt x="8496271" y="4118806"/>
                </a:lnTo>
                <a:close/>
                <a:moveTo>
                  <a:pt x="6768043" y="3930449"/>
                </a:moveTo>
                <a:lnTo>
                  <a:pt x="7093503" y="4118805"/>
                </a:lnTo>
                <a:lnTo>
                  <a:pt x="6767913" y="4307149"/>
                </a:lnTo>
                <a:lnTo>
                  <a:pt x="6442454" y="4118805"/>
                </a:lnTo>
                <a:close/>
                <a:moveTo>
                  <a:pt x="4714120" y="3930449"/>
                </a:moveTo>
                <a:lnTo>
                  <a:pt x="5039593" y="4118798"/>
                </a:lnTo>
                <a:lnTo>
                  <a:pt x="5020751" y="4129700"/>
                </a:lnTo>
                <a:lnTo>
                  <a:pt x="4713993" y="4307147"/>
                </a:lnTo>
                <a:lnTo>
                  <a:pt x="4388541" y="4118803"/>
                </a:lnTo>
                <a:close/>
                <a:moveTo>
                  <a:pt x="2660333" y="3930449"/>
                </a:moveTo>
                <a:lnTo>
                  <a:pt x="2985780" y="4118798"/>
                </a:lnTo>
                <a:lnTo>
                  <a:pt x="2660203" y="4307142"/>
                </a:lnTo>
                <a:lnTo>
                  <a:pt x="2334757" y="4118798"/>
                </a:lnTo>
                <a:close/>
                <a:moveTo>
                  <a:pt x="606356" y="3930447"/>
                </a:moveTo>
                <a:lnTo>
                  <a:pt x="931801" y="4118795"/>
                </a:lnTo>
                <a:lnTo>
                  <a:pt x="606223" y="4307142"/>
                </a:lnTo>
                <a:lnTo>
                  <a:pt x="280775" y="4118796"/>
                </a:lnTo>
                <a:close/>
                <a:moveTo>
                  <a:pt x="12140685" y="3766489"/>
                </a:moveTo>
                <a:cubicBezTo>
                  <a:pt x="12151191" y="3766489"/>
                  <a:pt x="12161050" y="3770638"/>
                  <a:pt x="12168445" y="3778033"/>
                </a:cubicBezTo>
                <a:lnTo>
                  <a:pt x="12188651" y="3798281"/>
                </a:lnTo>
                <a:lnTo>
                  <a:pt x="12188651" y="4066527"/>
                </a:lnTo>
                <a:lnTo>
                  <a:pt x="12034576" y="3912164"/>
                </a:lnTo>
                <a:cubicBezTo>
                  <a:pt x="12019270" y="3896857"/>
                  <a:pt x="12019270" y="3871952"/>
                  <a:pt x="12034576" y="3856776"/>
                </a:cubicBezTo>
                <a:lnTo>
                  <a:pt x="12113056" y="3778033"/>
                </a:lnTo>
                <a:cubicBezTo>
                  <a:pt x="12120448" y="3770638"/>
                  <a:pt x="12130178" y="3766489"/>
                  <a:pt x="12140685" y="3766489"/>
                </a:cubicBezTo>
                <a:close/>
                <a:moveTo>
                  <a:pt x="10086867" y="3766487"/>
                </a:moveTo>
                <a:cubicBezTo>
                  <a:pt x="10097374" y="3766487"/>
                  <a:pt x="10107232" y="3770636"/>
                  <a:pt x="10114626" y="3778031"/>
                </a:cubicBezTo>
                <a:lnTo>
                  <a:pt x="10179226" y="3842759"/>
                </a:lnTo>
                <a:lnTo>
                  <a:pt x="10190770" y="3854435"/>
                </a:lnTo>
                <a:lnTo>
                  <a:pt x="10202315" y="3842759"/>
                </a:lnTo>
                <a:lnTo>
                  <a:pt x="10266786" y="3778031"/>
                </a:lnTo>
                <a:cubicBezTo>
                  <a:pt x="10274178" y="3770507"/>
                  <a:pt x="10284037" y="3766487"/>
                  <a:pt x="10294543" y="3766487"/>
                </a:cubicBezTo>
                <a:cubicBezTo>
                  <a:pt x="10304922" y="3766487"/>
                  <a:pt x="10314781" y="3770636"/>
                  <a:pt x="10322173" y="3778031"/>
                </a:cubicBezTo>
                <a:lnTo>
                  <a:pt x="10400653" y="3856639"/>
                </a:lnTo>
                <a:cubicBezTo>
                  <a:pt x="10408047" y="3864034"/>
                  <a:pt x="10412068" y="3873896"/>
                  <a:pt x="10412198" y="3884401"/>
                </a:cubicBezTo>
                <a:cubicBezTo>
                  <a:pt x="10412198" y="3894908"/>
                  <a:pt x="10408176" y="3904767"/>
                  <a:pt x="10400783" y="3912160"/>
                </a:cubicBezTo>
                <a:lnTo>
                  <a:pt x="10190770" y="4122570"/>
                </a:lnTo>
                <a:lnTo>
                  <a:pt x="9980757" y="3912160"/>
                </a:lnTo>
                <a:cubicBezTo>
                  <a:pt x="9965450" y="3896853"/>
                  <a:pt x="9965450" y="3871944"/>
                  <a:pt x="9980757" y="3856768"/>
                </a:cubicBezTo>
                <a:lnTo>
                  <a:pt x="10059237" y="3778031"/>
                </a:lnTo>
                <a:cubicBezTo>
                  <a:pt x="10066631" y="3770636"/>
                  <a:pt x="10076359" y="3766487"/>
                  <a:pt x="10086867" y="3766487"/>
                </a:cubicBezTo>
                <a:close/>
                <a:moveTo>
                  <a:pt x="8032919" y="3766483"/>
                </a:moveTo>
                <a:cubicBezTo>
                  <a:pt x="8043427" y="3766483"/>
                  <a:pt x="8053285" y="3770632"/>
                  <a:pt x="8060679" y="3778026"/>
                </a:cubicBezTo>
                <a:lnTo>
                  <a:pt x="8125278" y="3842759"/>
                </a:lnTo>
                <a:lnTo>
                  <a:pt x="8136823" y="3854433"/>
                </a:lnTo>
                <a:lnTo>
                  <a:pt x="8148368" y="3842759"/>
                </a:lnTo>
                <a:lnTo>
                  <a:pt x="8212837" y="3778026"/>
                </a:lnTo>
                <a:cubicBezTo>
                  <a:pt x="8220232" y="3770507"/>
                  <a:pt x="8230090" y="3766483"/>
                  <a:pt x="8240596" y="3766483"/>
                </a:cubicBezTo>
                <a:cubicBezTo>
                  <a:pt x="8250975" y="3766483"/>
                  <a:pt x="8260834" y="3770632"/>
                  <a:pt x="8268226" y="3778026"/>
                </a:cubicBezTo>
                <a:lnTo>
                  <a:pt x="8346707" y="3856636"/>
                </a:lnTo>
                <a:cubicBezTo>
                  <a:pt x="8354100" y="3864034"/>
                  <a:pt x="8358121" y="3873889"/>
                  <a:pt x="8358252" y="3884401"/>
                </a:cubicBezTo>
                <a:cubicBezTo>
                  <a:pt x="8358252" y="3894906"/>
                  <a:pt x="8354229" y="3904764"/>
                  <a:pt x="8346837" y="3912157"/>
                </a:cubicBezTo>
                <a:lnTo>
                  <a:pt x="8136823" y="4122566"/>
                </a:lnTo>
                <a:lnTo>
                  <a:pt x="7926811" y="3912157"/>
                </a:lnTo>
                <a:cubicBezTo>
                  <a:pt x="7911503" y="3896851"/>
                  <a:pt x="7911503" y="3871944"/>
                  <a:pt x="7926811" y="3856768"/>
                </a:cubicBezTo>
                <a:lnTo>
                  <a:pt x="8005289" y="3778026"/>
                </a:lnTo>
                <a:cubicBezTo>
                  <a:pt x="8012684" y="3770632"/>
                  <a:pt x="8022413" y="3766483"/>
                  <a:pt x="8032919" y="3766483"/>
                </a:cubicBezTo>
                <a:close/>
                <a:moveTo>
                  <a:pt x="5979110" y="3766481"/>
                </a:moveTo>
                <a:cubicBezTo>
                  <a:pt x="5989617" y="3766481"/>
                  <a:pt x="5999474" y="3770632"/>
                  <a:pt x="6006867" y="3778024"/>
                </a:cubicBezTo>
                <a:lnTo>
                  <a:pt x="6071463" y="3842755"/>
                </a:lnTo>
                <a:lnTo>
                  <a:pt x="6083006" y="3854430"/>
                </a:lnTo>
                <a:lnTo>
                  <a:pt x="6094550" y="3842755"/>
                </a:lnTo>
                <a:lnTo>
                  <a:pt x="6159019" y="3778024"/>
                </a:lnTo>
                <a:cubicBezTo>
                  <a:pt x="6166413" y="3770499"/>
                  <a:pt x="6176271" y="3766481"/>
                  <a:pt x="6186779" y="3766481"/>
                </a:cubicBezTo>
                <a:cubicBezTo>
                  <a:pt x="6197156" y="3766481"/>
                  <a:pt x="6207014" y="3770632"/>
                  <a:pt x="6214409" y="3778024"/>
                </a:cubicBezTo>
                <a:lnTo>
                  <a:pt x="6292888" y="3856635"/>
                </a:lnTo>
                <a:cubicBezTo>
                  <a:pt x="6300282" y="3864029"/>
                  <a:pt x="6304303" y="3873887"/>
                  <a:pt x="6304433" y="3884398"/>
                </a:cubicBezTo>
                <a:cubicBezTo>
                  <a:pt x="6304433" y="3894904"/>
                  <a:pt x="6300412" y="3904763"/>
                  <a:pt x="6293017" y="3912155"/>
                </a:cubicBezTo>
                <a:lnTo>
                  <a:pt x="6083006" y="4122564"/>
                </a:lnTo>
                <a:lnTo>
                  <a:pt x="5873007" y="3912155"/>
                </a:lnTo>
                <a:cubicBezTo>
                  <a:pt x="5857702" y="3896850"/>
                  <a:pt x="5857702" y="3871943"/>
                  <a:pt x="5873007" y="3856767"/>
                </a:cubicBezTo>
                <a:lnTo>
                  <a:pt x="5951483" y="3778024"/>
                </a:lnTo>
                <a:cubicBezTo>
                  <a:pt x="5958874" y="3770632"/>
                  <a:pt x="5968603" y="3766481"/>
                  <a:pt x="5979110" y="3766481"/>
                </a:cubicBezTo>
                <a:close/>
                <a:moveTo>
                  <a:pt x="3925342" y="3766475"/>
                </a:moveTo>
                <a:cubicBezTo>
                  <a:pt x="3935847" y="3766475"/>
                  <a:pt x="3945709" y="3770628"/>
                  <a:pt x="3953102" y="3778022"/>
                </a:cubicBezTo>
                <a:lnTo>
                  <a:pt x="4017703" y="3842751"/>
                </a:lnTo>
                <a:lnTo>
                  <a:pt x="4029246" y="3854427"/>
                </a:lnTo>
                <a:lnTo>
                  <a:pt x="4040794" y="3842751"/>
                </a:lnTo>
                <a:lnTo>
                  <a:pt x="4105264" y="3778022"/>
                </a:lnTo>
                <a:cubicBezTo>
                  <a:pt x="4112658" y="3770498"/>
                  <a:pt x="4122517" y="3766475"/>
                  <a:pt x="4133025" y="3766475"/>
                </a:cubicBezTo>
                <a:cubicBezTo>
                  <a:pt x="4143402" y="3766475"/>
                  <a:pt x="4153263" y="3770628"/>
                  <a:pt x="4160655" y="3778022"/>
                </a:cubicBezTo>
                <a:lnTo>
                  <a:pt x="4239088" y="3856634"/>
                </a:lnTo>
                <a:cubicBezTo>
                  <a:pt x="4246485" y="3864025"/>
                  <a:pt x="4250503" y="3873886"/>
                  <a:pt x="4250643" y="3884393"/>
                </a:cubicBezTo>
                <a:cubicBezTo>
                  <a:pt x="4250643" y="3894900"/>
                  <a:pt x="4246611" y="3904757"/>
                  <a:pt x="4239218" y="3912154"/>
                </a:cubicBezTo>
                <a:lnTo>
                  <a:pt x="4029246" y="4122561"/>
                </a:lnTo>
                <a:lnTo>
                  <a:pt x="3819228" y="3912154"/>
                </a:lnTo>
                <a:cubicBezTo>
                  <a:pt x="3803920" y="3896844"/>
                  <a:pt x="3803920" y="3871940"/>
                  <a:pt x="3819228" y="3856761"/>
                </a:cubicBezTo>
                <a:lnTo>
                  <a:pt x="3897713" y="3778022"/>
                </a:lnTo>
                <a:cubicBezTo>
                  <a:pt x="3905109" y="3770628"/>
                  <a:pt x="3914836" y="3766475"/>
                  <a:pt x="3925342" y="3766475"/>
                </a:cubicBezTo>
                <a:close/>
                <a:moveTo>
                  <a:pt x="1871369" y="3766474"/>
                </a:moveTo>
                <a:cubicBezTo>
                  <a:pt x="1881877" y="3766474"/>
                  <a:pt x="1891735" y="3770624"/>
                  <a:pt x="1899129" y="3778019"/>
                </a:cubicBezTo>
                <a:lnTo>
                  <a:pt x="1963729" y="3842750"/>
                </a:lnTo>
                <a:lnTo>
                  <a:pt x="1975274" y="3854424"/>
                </a:lnTo>
                <a:lnTo>
                  <a:pt x="1986819" y="3842750"/>
                </a:lnTo>
                <a:lnTo>
                  <a:pt x="2051289" y="3778019"/>
                </a:lnTo>
                <a:cubicBezTo>
                  <a:pt x="2058682" y="3770495"/>
                  <a:pt x="2068540" y="3766474"/>
                  <a:pt x="2079047" y="3766474"/>
                </a:cubicBezTo>
                <a:cubicBezTo>
                  <a:pt x="2089425" y="3766474"/>
                  <a:pt x="2099288" y="3770624"/>
                  <a:pt x="2106684" y="3778019"/>
                </a:cubicBezTo>
                <a:lnTo>
                  <a:pt x="2185165" y="3856630"/>
                </a:lnTo>
                <a:cubicBezTo>
                  <a:pt x="2192559" y="3864024"/>
                  <a:pt x="2196580" y="3873882"/>
                  <a:pt x="2196710" y="3884389"/>
                </a:cubicBezTo>
                <a:cubicBezTo>
                  <a:pt x="2196710" y="3894897"/>
                  <a:pt x="2192689" y="3904755"/>
                  <a:pt x="2185293" y="3912150"/>
                </a:cubicBezTo>
                <a:lnTo>
                  <a:pt x="1975274" y="4122560"/>
                </a:lnTo>
                <a:lnTo>
                  <a:pt x="1765261" y="3912150"/>
                </a:lnTo>
                <a:cubicBezTo>
                  <a:pt x="1749953" y="3896844"/>
                  <a:pt x="1749953" y="3871935"/>
                  <a:pt x="1765261" y="3856760"/>
                </a:cubicBezTo>
                <a:lnTo>
                  <a:pt x="1843740" y="3778019"/>
                </a:lnTo>
                <a:cubicBezTo>
                  <a:pt x="1851135" y="3770624"/>
                  <a:pt x="1860862" y="3766474"/>
                  <a:pt x="1871369" y="3766474"/>
                </a:cubicBezTo>
                <a:close/>
                <a:moveTo>
                  <a:pt x="25207" y="3766470"/>
                </a:moveTo>
                <a:cubicBezTo>
                  <a:pt x="35584" y="3766470"/>
                  <a:pt x="45443" y="3770622"/>
                  <a:pt x="52837" y="3778016"/>
                </a:cubicBezTo>
                <a:lnTo>
                  <a:pt x="131316" y="3856627"/>
                </a:lnTo>
                <a:cubicBezTo>
                  <a:pt x="138710" y="3864020"/>
                  <a:pt x="142732" y="3873879"/>
                  <a:pt x="142860" y="3884387"/>
                </a:cubicBezTo>
                <a:cubicBezTo>
                  <a:pt x="142860" y="3894895"/>
                  <a:pt x="138839" y="3904754"/>
                  <a:pt x="131446" y="3912147"/>
                </a:cubicBezTo>
                <a:lnTo>
                  <a:pt x="0" y="4043841"/>
                </a:lnTo>
                <a:lnTo>
                  <a:pt x="0" y="3776953"/>
                </a:lnTo>
                <a:close/>
                <a:moveTo>
                  <a:pt x="10086867" y="3750008"/>
                </a:moveTo>
                <a:cubicBezTo>
                  <a:pt x="10072597" y="3750008"/>
                  <a:pt x="10058458" y="3755458"/>
                  <a:pt x="10047692" y="3766357"/>
                </a:cubicBezTo>
                <a:lnTo>
                  <a:pt x="9969212" y="3845095"/>
                </a:lnTo>
                <a:cubicBezTo>
                  <a:pt x="9947549" y="3866759"/>
                  <a:pt x="9947549" y="3902043"/>
                  <a:pt x="9969212" y="3923707"/>
                </a:cubicBezTo>
                <a:lnTo>
                  <a:pt x="10190770" y="4145787"/>
                </a:lnTo>
                <a:lnTo>
                  <a:pt x="10412328" y="3923707"/>
                </a:lnTo>
                <a:cubicBezTo>
                  <a:pt x="10433990" y="3902043"/>
                  <a:pt x="10433990" y="3866759"/>
                  <a:pt x="10412328" y="3845095"/>
                </a:cubicBezTo>
                <a:lnTo>
                  <a:pt x="10333848" y="3766487"/>
                </a:lnTo>
                <a:cubicBezTo>
                  <a:pt x="10322953" y="3755589"/>
                  <a:pt x="10308813" y="3750141"/>
                  <a:pt x="10294673" y="3750141"/>
                </a:cubicBezTo>
                <a:lnTo>
                  <a:pt x="10294543" y="3750008"/>
                </a:lnTo>
                <a:cubicBezTo>
                  <a:pt x="10280275" y="3750008"/>
                  <a:pt x="10266136" y="3755458"/>
                  <a:pt x="10255241" y="3766487"/>
                </a:cubicBezTo>
                <a:lnTo>
                  <a:pt x="10190770" y="3831087"/>
                </a:lnTo>
                <a:lnTo>
                  <a:pt x="10126171" y="3766357"/>
                </a:lnTo>
                <a:cubicBezTo>
                  <a:pt x="10115274" y="3755458"/>
                  <a:pt x="10101136" y="3750008"/>
                  <a:pt x="10086867" y="3750008"/>
                </a:cubicBezTo>
                <a:close/>
                <a:moveTo>
                  <a:pt x="8032919" y="3750008"/>
                </a:moveTo>
                <a:cubicBezTo>
                  <a:pt x="8018650" y="3750008"/>
                  <a:pt x="8004511" y="3755457"/>
                  <a:pt x="7993744" y="3766352"/>
                </a:cubicBezTo>
                <a:lnTo>
                  <a:pt x="7915266" y="3845089"/>
                </a:lnTo>
                <a:cubicBezTo>
                  <a:pt x="7893603" y="3866755"/>
                  <a:pt x="7893603" y="3902040"/>
                  <a:pt x="7915266" y="3923705"/>
                </a:cubicBezTo>
                <a:lnTo>
                  <a:pt x="8136823" y="4145784"/>
                </a:lnTo>
                <a:lnTo>
                  <a:pt x="8358382" y="3923705"/>
                </a:lnTo>
                <a:cubicBezTo>
                  <a:pt x="8380044" y="3902040"/>
                  <a:pt x="8380044" y="3866755"/>
                  <a:pt x="8358382" y="3845089"/>
                </a:cubicBezTo>
                <a:lnTo>
                  <a:pt x="8279902" y="3766483"/>
                </a:lnTo>
                <a:cubicBezTo>
                  <a:pt x="8269006" y="3755585"/>
                  <a:pt x="8254866" y="3750137"/>
                  <a:pt x="8240727" y="3750137"/>
                </a:cubicBezTo>
                <a:lnTo>
                  <a:pt x="8240596" y="3750008"/>
                </a:lnTo>
                <a:cubicBezTo>
                  <a:pt x="8226328" y="3750008"/>
                  <a:pt x="8212190" y="3755457"/>
                  <a:pt x="8201292" y="3766483"/>
                </a:cubicBezTo>
                <a:lnTo>
                  <a:pt x="8136823" y="3831082"/>
                </a:lnTo>
                <a:lnTo>
                  <a:pt x="8072224" y="3766352"/>
                </a:lnTo>
                <a:cubicBezTo>
                  <a:pt x="8061328" y="3755457"/>
                  <a:pt x="8047187" y="3750008"/>
                  <a:pt x="8032919" y="3750008"/>
                </a:cubicBezTo>
                <a:close/>
                <a:moveTo>
                  <a:pt x="5979110" y="3750004"/>
                </a:moveTo>
                <a:cubicBezTo>
                  <a:pt x="5964841" y="3750004"/>
                  <a:pt x="5950702" y="3755453"/>
                  <a:pt x="5939938" y="3766349"/>
                </a:cubicBezTo>
                <a:lnTo>
                  <a:pt x="5861462" y="3845089"/>
                </a:lnTo>
                <a:cubicBezTo>
                  <a:pt x="5839801" y="3866752"/>
                  <a:pt x="5839801" y="3902035"/>
                  <a:pt x="5861462" y="3923701"/>
                </a:cubicBezTo>
                <a:lnTo>
                  <a:pt x="6083006" y="4145783"/>
                </a:lnTo>
                <a:lnTo>
                  <a:pt x="6304562" y="3923701"/>
                </a:lnTo>
                <a:cubicBezTo>
                  <a:pt x="6326226" y="3902035"/>
                  <a:pt x="6326226" y="3866752"/>
                  <a:pt x="6304562" y="3845089"/>
                </a:cubicBezTo>
                <a:lnTo>
                  <a:pt x="6226084" y="3766481"/>
                </a:lnTo>
                <a:cubicBezTo>
                  <a:pt x="6215186" y="3755583"/>
                  <a:pt x="6201048" y="3750135"/>
                  <a:pt x="6186909" y="3750135"/>
                </a:cubicBezTo>
                <a:lnTo>
                  <a:pt x="6186779" y="3750004"/>
                </a:lnTo>
                <a:cubicBezTo>
                  <a:pt x="6172511" y="3750004"/>
                  <a:pt x="6158370" y="3755453"/>
                  <a:pt x="6147474" y="3766481"/>
                </a:cubicBezTo>
                <a:lnTo>
                  <a:pt x="6083006" y="3831082"/>
                </a:lnTo>
                <a:lnTo>
                  <a:pt x="6018412" y="3766349"/>
                </a:lnTo>
                <a:cubicBezTo>
                  <a:pt x="6007516" y="3755453"/>
                  <a:pt x="5993378" y="3750004"/>
                  <a:pt x="5979110" y="3750004"/>
                </a:cubicBezTo>
                <a:close/>
                <a:moveTo>
                  <a:pt x="3925342" y="3750002"/>
                </a:moveTo>
                <a:cubicBezTo>
                  <a:pt x="3911076" y="3750002"/>
                  <a:pt x="3896934" y="3755449"/>
                  <a:pt x="3886165" y="3766347"/>
                </a:cubicBezTo>
                <a:lnTo>
                  <a:pt x="3807684" y="3845087"/>
                </a:lnTo>
                <a:cubicBezTo>
                  <a:pt x="3786020" y="3866750"/>
                  <a:pt x="3786020" y="3902035"/>
                  <a:pt x="3807684" y="3923699"/>
                </a:cubicBezTo>
                <a:lnTo>
                  <a:pt x="4029246" y="4145781"/>
                </a:lnTo>
                <a:lnTo>
                  <a:pt x="4250768" y="3923699"/>
                </a:lnTo>
                <a:cubicBezTo>
                  <a:pt x="4272427" y="3902035"/>
                  <a:pt x="4272427" y="3866750"/>
                  <a:pt x="4250768" y="3845087"/>
                </a:cubicBezTo>
                <a:lnTo>
                  <a:pt x="4172330" y="3766475"/>
                </a:lnTo>
                <a:cubicBezTo>
                  <a:pt x="4161433" y="3755579"/>
                  <a:pt x="4147293" y="3750131"/>
                  <a:pt x="4133156" y="3750131"/>
                </a:cubicBezTo>
                <a:lnTo>
                  <a:pt x="4133025" y="3750002"/>
                </a:lnTo>
                <a:cubicBezTo>
                  <a:pt x="4118756" y="3750002"/>
                  <a:pt x="4104615" y="3755449"/>
                  <a:pt x="4093719" y="3766475"/>
                </a:cubicBezTo>
                <a:lnTo>
                  <a:pt x="4029246" y="3831078"/>
                </a:lnTo>
                <a:lnTo>
                  <a:pt x="3964648" y="3766347"/>
                </a:lnTo>
                <a:cubicBezTo>
                  <a:pt x="3953751" y="3755449"/>
                  <a:pt x="3939611" y="3750002"/>
                  <a:pt x="3925342" y="3750002"/>
                </a:cubicBezTo>
                <a:close/>
                <a:moveTo>
                  <a:pt x="1871369" y="3749999"/>
                </a:moveTo>
                <a:cubicBezTo>
                  <a:pt x="1857102" y="3749999"/>
                  <a:pt x="1842962" y="3755447"/>
                  <a:pt x="1832195" y="3766344"/>
                </a:cubicBezTo>
                <a:lnTo>
                  <a:pt x="1753717" y="3845084"/>
                </a:lnTo>
                <a:cubicBezTo>
                  <a:pt x="1732055" y="3866748"/>
                  <a:pt x="1732055" y="3902033"/>
                  <a:pt x="1753717" y="3923696"/>
                </a:cubicBezTo>
                <a:lnTo>
                  <a:pt x="1975274" y="4145780"/>
                </a:lnTo>
                <a:lnTo>
                  <a:pt x="2196839" y="3923696"/>
                </a:lnTo>
                <a:cubicBezTo>
                  <a:pt x="2218501" y="3902033"/>
                  <a:pt x="2218501" y="3866748"/>
                  <a:pt x="2196839" y="3845084"/>
                </a:cubicBezTo>
                <a:lnTo>
                  <a:pt x="2118360" y="3766474"/>
                </a:lnTo>
                <a:cubicBezTo>
                  <a:pt x="2107463" y="3755579"/>
                  <a:pt x="2093316" y="3750128"/>
                  <a:pt x="2079177" y="3750128"/>
                </a:cubicBezTo>
                <a:lnTo>
                  <a:pt x="2079047" y="3749999"/>
                </a:lnTo>
                <a:cubicBezTo>
                  <a:pt x="2064779" y="3749999"/>
                  <a:pt x="2050639" y="3755447"/>
                  <a:pt x="2039743" y="3766474"/>
                </a:cubicBezTo>
                <a:lnTo>
                  <a:pt x="1975274" y="3831075"/>
                </a:lnTo>
                <a:lnTo>
                  <a:pt x="1910674" y="3766344"/>
                </a:lnTo>
                <a:cubicBezTo>
                  <a:pt x="1899776" y="3755447"/>
                  <a:pt x="1885638" y="3749999"/>
                  <a:pt x="1871369" y="3749999"/>
                </a:cubicBezTo>
                <a:close/>
                <a:moveTo>
                  <a:pt x="0" y="3579814"/>
                </a:moveTo>
                <a:lnTo>
                  <a:pt x="255063" y="3727423"/>
                </a:lnTo>
                <a:lnTo>
                  <a:pt x="255063" y="4113605"/>
                </a:lnTo>
                <a:lnTo>
                  <a:pt x="0" y="4261215"/>
                </a:lnTo>
                <a:lnTo>
                  <a:pt x="0" y="4067025"/>
                </a:lnTo>
                <a:lnTo>
                  <a:pt x="142991" y="3923694"/>
                </a:lnTo>
                <a:cubicBezTo>
                  <a:pt x="164653" y="3902030"/>
                  <a:pt x="164653" y="3866745"/>
                  <a:pt x="142991" y="3845081"/>
                </a:cubicBezTo>
                <a:lnTo>
                  <a:pt x="64510" y="3766470"/>
                </a:lnTo>
                <a:cubicBezTo>
                  <a:pt x="53614" y="3755574"/>
                  <a:pt x="39476" y="3750125"/>
                  <a:pt x="25335" y="3750125"/>
                </a:cubicBezTo>
                <a:lnTo>
                  <a:pt x="25207" y="3749995"/>
                </a:lnTo>
                <a:cubicBezTo>
                  <a:pt x="18073" y="3749995"/>
                  <a:pt x="10971" y="3751358"/>
                  <a:pt x="4290" y="3754099"/>
                </a:cubicBezTo>
                <a:lnTo>
                  <a:pt x="0" y="3756985"/>
                </a:lnTo>
                <a:close/>
                <a:moveTo>
                  <a:pt x="12188651" y="3566587"/>
                </a:moveTo>
                <a:lnTo>
                  <a:pt x="12188651" y="3775035"/>
                </a:lnTo>
                <a:lnTo>
                  <a:pt x="12179990" y="3766359"/>
                </a:lnTo>
                <a:cubicBezTo>
                  <a:pt x="12169092" y="3755462"/>
                  <a:pt x="12154954" y="3750016"/>
                  <a:pt x="12140685" y="3750016"/>
                </a:cubicBezTo>
                <a:cubicBezTo>
                  <a:pt x="12126416" y="3750016"/>
                  <a:pt x="12112276" y="3755462"/>
                  <a:pt x="12101510" y="3766359"/>
                </a:cubicBezTo>
                <a:lnTo>
                  <a:pt x="12023031" y="3845097"/>
                </a:lnTo>
                <a:cubicBezTo>
                  <a:pt x="12001368" y="3866762"/>
                  <a:pt x="12001368" y="3902046"/>
                  <a:pt x="12023031" y="3923710"/>
                </a:cubicBezTo>
                <a:lnTo>
                  <a:pt x="12188651" y="4089721"/>
                </a:lnTo>
                <a:lnTo>
                  <a:pt x="12188651" y="4274463"/>
                </a:lnTo>
                <a:lnTo>
                  <a:pt x="11910696" y="4113620"/>
                </a:lnTo>
                <a:lnTo>
                  <a:pt x="11910696" y="3727442"/>
                </a:lnTo>
                <a:close/>
                <a:moveTo>
                  <a:pt x="10883981" y="3539477"/>
                </a:moveTo>
                <a:lnTo>
                  <a:pt x="11209441" y="3727831"/>
                </a:lnTo>
                <a:lnTo>
                  <a:pt x="11209441" y="4104668"/>
                </a:lnTo>
                <a:lnTo>
                  <a:pt x="10883981" y="3916314"/>
                </a:lnTo>
                <a:close/>
                <a:moveTo>
                  <a:pt x="10867636" y="3539477"/>
                </a:moveTo>
                <a:lnTo>
                  <a:pt x="10867636" y="3916314"/>
                </a:lnTo>
                <a:lnTo>
                  <a:pt x="10542045" y="4104668"/>
                </a:lnTo>
                <a:lnTo>
                  <a:pt x="10542045" y="3727833"/>
                </a:lnTo>
                <a:close/>
                <a:moveTo>
                  <a:pt x="8830033" y="3539477"/>
                </a:moveTo>
                <a:lnTo>
                  <a:pt x="9155493" y="3727828"/>
                </a:lnTo>
                <a:lnTo>
                  <a:pt x="9155493" y="4104664"/>
                </a:lnTo>
                <a:lnTo>
                  <a:pt x="8830033" y="3916306"/>
                </a:lnTo>
                <a:close/>
                <a:moveTo>
                  <a:pt x="8813688" y="3539477"/>
                </a:moveTo>
                <a:lnTo>
                  <a:pt x="8813688" y="3916308"/>
                </a:lnTo>
                <a:lnTo>
                  <a:pt x="8488098" y="4104664"/>
                </a:lnTo>
                <a:lnTo>
                  <a:pt x="8488098" y="3727827"/>
                </a:lnTo>
                <a:close/>
                <a:moveTo>
                  <a:pt x="2652143" y="3539477"/>
                </a:moveTo>
                <a:lnTo>
                  <a:pt x="2652143" y="3916302"/>
                </a:lnTo>
                <a:lnTo>
                  <a:pt x="2326584" y="4104641"/>
                </a:lnTo>
                <a:lnTo>
                  <a:pt x="2326584" y="3727818"/>
                </a:lnTo>
                <a:close/>
                <a:moveTo>
                  <a:pt x="2668516" y="3539475"/>
                </a:moveTo>
                <a:lnTo>
                  <a:pt x="2993952" y="3727816"/>
                </a:lnTo>
                <a:lnTo>
                  <a:pt x="2993952" y="4104644"/>
                </a:lnTo>
                <a:lnTo>
                  <a:pt x="2668516" y="3916304"/>
                </a:lnTo>
                <a:close/>
                <a:moveTo>
                  <a:pt x="598168" y="3539475"/>
                </a:moveTo>
                <a:lnTo>
                  <a:pt x="598168" y="3916299"/>
                </a:lnTo>
                <a:lnTo>
                  <a:pt x="272605" y="4104641"/>
                </a:lnTo>
                <a:lnTo>
                  <a:pt x="272605" y="3727815"/>
                </a:lnTo>
                <a:close/>
                <a:moveTo>
                  <a:pt x="614540" y="3539473"/>
                </a:moveTo>
                <a:lnTo>
                  <a:pt x="939973" y="3727812"/>
                </a:lnTo>
                <a:lnTo>
                  <a:pt x="939973" y="4104643"/>
                </a:lnTo>
                <a:lnTo>
                  <a:pt x="614540" y="3916301"/>
                </a:lnTo>
                <a:close/>
                <a:moveTo>
                  <a:pt x="6776215" y="3539471"/>
                </a:moveTo>
                <a:lnTo>
                  <a:pt x="7101677" y="3727826"/>
                </a:lnTo>
                <a:lnTo>
                  <a:pt x="7101677" y="4104661"/>
                </a:lnTo>
                <a:lnTo>
                  <a:pt x="6776215" y="3916305"/>
                </a:lnTo>
                <a:close/>
                <a:moveTo>
                  <a:pt x="6759871" y="3539471"/>
                </a:moveTo>
                <a:lnTo>
                  <a:pt x="6759871" y="3916305"/>
                </a:lnTo>
                <a:lnTo>
                  <a:pt x="6434280" y="4104661"/>
                </a:lnTo>
                <a:lnTo>
                  <a:pt x="6434280" y="3727826"/>
                </a:lnTo>
                <a:close/>
                <a:moveTo>
                  <a:pt x="4722303" y="3539471"/>
                </a:moveTo>
                <a:lnTo>
                  <a:pt x="5047768" y="3727818"/>
                </a:lnTo>
                <a:lnTo>
                  <a:pt x="5047768" y="4104649"/>
                </a:lnTo>
                <a:lnTo>
                  <a:pt x="4722303" y="3916305"/>
                </a:lnTo>
                <a:close/>
                <a:moveTo>
                  <a:pt x="4705942" y="3539471"/>
                </a:moveTo>
                <a:lnTo>
                  <a:pt x="4705942" y="3916304"/>
                </a:lnTo>
                <a:lnTo>
                  <a:pt x="4380369" y="4104654"/>
                </a:lnTo>
                <a:lnTo>
                  <a:pt x="4380369" y="3727821"/>
                </a:lnTo>
                <a:close/>
                <a:moveTo>
                  <a:pt x="11559549" y="3534681"/>
                </a:moveTo>
                <a:lnTo>
                  <a:pt x="11893312" y="3727831"/>
                </a:lnTo>
                <a:lnTo>
                  <a:pt x="11893312" y="4114138"/>
                </a:lnTo>
                <a:lnTo>
                  <a:pt x="11559679" y="4307278"/>
                </a:lnTo>
                <a:lnTo>
                  <a:pt x="11486870" y="4265143"/>
                </a:lnTo>
                <a:lnTo>
                  <a:pt x="11225916" y="4114138"/>
                </a:lnTo>
                <a:lnTo>
                  <a:pt x="11225916" y="3727833"/>
                </a:lnTo>
                <a:close/>
                <a:moveTo>
                  <a:pt x="9505601" y="3534677"/>
                </a:moveTo>
                <a:lnTo>
                  <a:pt x="9839364" y="3727828"/>
                </a:lnTo>
                <a:lnTo>
                  <a:pt x="9839364" y="4114135"/>
                </a:lnTo>
                <a:lnTo>
                  <a:pt x="9578839" y="4264954"/>
                </a:lnTo>
                <a:lnTo>
                  <a:pt x="9505732" y="4307278"/>
                </a:lnTo>
                <a:lnTo>
                  <a:pt x="9171969" y="4114135"/>
                </a:lnTo>
                <a:lnTo>
                  <a:pt x="9171969" y="3727827"/>
                </a:lnTo>
                <a:close/>
                <a:moveTo>
                  <a:pt x="7451785" y="3534670"/>
                </a:moveTo>
                <a:lnTo>
                  <a:pt x="7785548" y="3727826"/>
                </a:lnTo>
                <a:lnTo>
                  <a:pt x="7785548" y="4114131"/>
                </a:lnTo>
                <a:lnTo>
                  <a:pt x="7451915" y="4307279"/>
                </a:lnTo>
                <a:lnTo>
                  <a:pt x="7118150" y="4114131"/>
                </a:lnTo>
                <a:lnTo>
                  <a:pt x="7118150" y="3727826"/>
                </a:lnTo>
                <a:close/>
                <a:moveTo>
                  <a:pt x="5397881" y="3534670"/>
                </a:moveTo>
                <a:lnTo>
                  <a:pt x="5731616" y="3727818"/>
                </a:lnTo>
                <a:lnTo>
                  <a:pt x="5731616" y="4114128"/>
                </a:lnTo>
                <a:lnTo>
                  <a:pt x="5597792" y="4191609"/>
                </a:lnTo>
                <a:lnTo>
                  <a:pt x="5398006" y="4307274"/>
                </a:lnTo>
                <a:lnTo>
                  <a:pt x="5064269" y="4114131"/>
                </a:lnTo>
                <a:lnTo>
                  <a:pt x="5064269" y="3727821"/>
                </a:lnTo>
                <a:close/>
                <a:moveTo>
                  <a:pt x="3344073" y="3534670"/>
                </a:moveTo>
                <a:lnTo>
                  <a:pt x="3677818" y="3727816"/>
                </a:lnTo>
                <a:lnTo>
                  <a:pt x="3677818" y="4114128"/>
                </a:lnTo>
                <a:lnTo>
                  <a:pt x="3344203" y="4307271"/>
                </a:lnTo>
                <a:lnTo>
                  <a:pt x="3010455" y="4114128"/>
                </a:lnTo>
                <a:lnTo>
                  <a:pt x="3010455" y="3727818"/>
                </a:lnTo>
                <a:close/>
                <a:moveTo>
                  <a:pt x="1290097" y="3534667"/>
                </a:moveTo>
                <a:lnTo>
                  <a:pt x="1623844" y="3727812"/>
                </a:lnTo>
                <a:lnTo>
                  <a:pt x="1623844" y="4114126"/>
                </a:lnTo>
                <a:lnTo>
                  <a:pt x="1290224" y="4307272"/>
                </a:lnTo>
                <a:lnTo>
                  <a:pt x="956474" y="4114128"/>
                </a:lnTo>
                <a:lnTo>
                  <a:pt x="956474" y="3727815"/>
                </a:lnTo>
                <a:close/>
                <a:moveTo>
                  <a:pt x="10190640" y="3534287"/>
                </a:moveTo>
                <a:lnTo>
                  <a:pt x="10524404" y="3727441"/>
                </a:lnTo>
                <a:lnTo>
                  <a:pt x="10524404" y="4113620"/>
                </a:lnTo>
                <a:lnTo>
                  <a:pt x="10190640" y="4306761"/>
                </a:lnTo>
                <a:lnTo>
                  <a:pt x="9856876" y="4113620"/>
                </a:lnTo>
                <a:lnTo>
                  <a:pt x="9856876" y="3727441"/>
                </a:lnTo>
                <a:close/>
                <a:moveTo>
                  <a:pt x="8136693" y="3534283"/>
                </a:moveTo>
                <a:lnTo>
                  <a:pt x="8470456" y="3727435"/>
                </a:lnTo>
                <a:lnTo>
                  <a:pt x="8470456" y="4113615"/>
                </a:lnTo>
                <a:lnTo>
                  <a:pt x="8136693" y="4306761"/>
                </a:lnTo>
                <a:lnTo>
                  <a:pt x="7802930" y="4113615"/>
                </a:lnTo>
                <a:lnTo>
                  <a:pt x="7802930" y="3727435"/>
                </a:lnTo>
                <a:close/>
                <a:moveTo>
                  <a:pt x="6082876" y="3534281"/>
                </a:moveTo>
                <a:lnTo>
                  <a:pt x="6416638" y="3727432"/>
                </a:lnTo>
                <a:lnTo>
                  <a:pt x="6416638" y="4113613"/>
                </a:lnTo>
                <a:lnTo>
                  <a:pt x="6082876" y="4306761"/>
                </a:lnTo>
                <a:lnTo>
                  <a:pt x="5749138" y="4113613"/>
                </a:lnTo>
                <a:lnTo>
                  <a:pt x="5749138" y="3727432"/>
                </a:lnTo>
                <a:close/>
                <a:moveTo>
                  <a:pt x="4029115" y="3534279"/>
                </a:moveTo>
                <a:lnTo>
                  <a:pt x="4362838" y="3727431"/>
                </a:lnTo>
                <a:lnTo>
                  <a:pt x="4362838" y="4113612"/>
                </a:lnTo>
                <a:lnTo>
                  <a:pt x="4029115" y="4306759"/>
                </a:lnTo>
                <a:lnTo>
                  <a:pt x="3695360" y="4113612"/>
                </a:lnTo>
                <a:lnTo>
                  <a:pt x="3695360" y="3727431"/>
                </a:lnTo>
                <a:close/>
                <a:moveTo>
                  <a:pt x="1975142" y="3534274"/>
                </a:moveTo>
                <a:lnTo>
                  <a:pt x="2308909" y="3727426"/>
                </a:lnTo>
                <a:lnTo>
                  <a:pt x="2308909" y="4113608"/>
                </a:lnTo>
                <a:lnTo>
                  <a:pt x="1975142" y="4306759"/>
                </a:lnTo>
                <a:lnTo>
                  <a:pt x="1641383" y="4113608"/>
                </a:lnTo>
                <a:lnTo>
                  <a:pt x="1641383" y="3727426"/>
                </a:lnTo>
                <a:close/>
                <a:moveTo>
                  <a:pt x="11902654" y="3336497"/>
                </a:moveTo>
                <a:lnTo>
                  <a:pt x="12182429" y="3498382"/>
                </a:lnTo>
                <a:lnTo>
                  <a:pt x="12188651" y="3501984"/>
                </a:lnTo>
                <a:lnTo>
                  <a:pt x="12188651" y="3547650"/>
                </a:lnTo>
                <a:lnTo>
                  <a:pt x="11902524" y="3713173"/>
                </a:lnTo>
                <a:lnTo>
                  <a:pt x="11577061" y="3524820"/>
                </a:lnTo>
                <a:close/>
                <a:moveTo>
                  <a:pt x="9848833" y="3336489"/>
                </a:moveTo>
                <a:lnTo>
                  <a:pt x="10174296" y="3524818"/>
                </a:lnTo>
                <a:lnTo>
                  <a:pt x="9848703" y="3713171"/>
                </a:lnTo>
                <a:lnTo>
                  <a:pt x="9523242" y="3524818"/>
                </a:lnTo>
                <a:close/>
                <a:moveTo>
                  <a:pt x="7794888" y="3336477"/>
                </a:moveTo>
                <a:lnTo>
                  <a:pt x="8120348" y="3524813"/>
                </a:lnTo>
                <a:lnTo>
                  <a:pt x="7794758" y="3713167"/>
                </a:lnTo>
                <a:lnTo>
                  <a:pt x="7469297" y="3524813"/>
                </a:lnTo>
                <a:close/>
                <a:moveTo>
                  <a:pt x="5741092" y="3336470"/>
                </a:moveTo>
                <a:lnTo>
                  <a:pt x="6066533" y="3524807"/>
                </a:lnTo>
                <a:lnTo>
                  <a:pt x="5740963" y="3713162"/>
                </a:lnTo>
                <a:lnTo>
                  <a:pt x="5415520" y="3524807"/>
                </a:lnTo>
                <a:close/>
                <a:moveTo>
                  <a:pt x="3687317" y="3336464"/>
                </a:moveTo>
                <a:lnTo>
                  <a:pt x="4012771" y="3524805"/>
                </a:lnTo>
                <a:lnTo>
                  <a:pt x="3687184" y="3713158"/>
                </a:lnTo>
                <a:lnTo>
                  <a:pt x="3361732" y="3524805"/>
                </a:lnTo>
                <a:close/>
                <a:moveTo>
                  <a:pt x="1633340" y="3336454"/>
                </a:moveTo>
                <a:lnTo>
                  <a:pt x="1958796" y="3524804"/>
                </a:lnTo>
                <a:lnTo>
                  <a:pt x="1633208" y="3713156"/>
                </a:lnTo>
                <a:lnTo>
                  <a:pt x="1307751" y="3524804"/>
                </a:lnTo>
                <a:close/>
                <a:moveTo>
                  <a:pt x="11113840" y="3172539"/>
                </a:moveTo>
                <a:cubicBezTo>
                  <a:pt x="11124348" y="3172539"/>
                  <a:pt x="11134206" y="3176691"/>
                  <a:pt x="11141600" y="3184087"/>
                </a:cubicBezTo>
                <a:lnTo>
                  <a:pt x="11206199" y="3248805"/>
                </a:lnTo>
                <a:lnTo>
                  <a:pt x="11217744" y="3260492"/>
                </a:lnTo>
                <a:lnTo>
                  <a:pt x="11229289" y="3248805"/>
                </a:lnTo>
                <a:lnTo>
                  <a:pt x="11293758" y="3184087"/>
                </a:lnTo>
                <a:cubicBezTo>
                  <a:pt x="11301152" y="3176564"/>
                  <a:pt x="11311011" y="3172539"/>
                  <a:pt x="11321517" y="3172539"/>
                </a:cubicBezTo>
                <a:cubicBezTo>
                  <a:pt x="11331896" y="3172539"/>
                  <a:pt x="11341755" y="3176691"/>
                  <a:pt x="11349147" y="3184087"/>
                </a:cubicBezTo>
                <a:lnTo>
                  <a:pt x="11427627" y="3262689"/>
                </a:lnTo>
                <a:lnTo>
                  <a:pt x="11439170" y="3290444"/>
                </a:lnTo>
                <a:lnTo>
                  <a:pt x="11427757" y="3318199"/>
                </a:lnTo>
                <a:lnTo>
                  <a:pt x="11217744" y="3528579"/>
                </a:lnTo>
                <a:lnTo>
                  <a:pt x="11007731" y="3318199"/>
                </a:lnTo>
                <a:lnTo>
                  <a:pt x="10996253" y="3290463"/>
                </a:lnTo>
                <a:lnTo>
                  <a:pt x="11007731" y="3262819"/>
                </a:lnTo>
                <a:lnTo>
                  <a:pt x="11086210" y="3184087"/>
                </a:lnTo>
                <a:cubicBezTo>
                  <a:pt x="11093605" y="3176691"/>
                  <a:pt x="11103333" y="3172539"/>
                  <a:pt x="11113840" y="3172539"/>
                </a:cubicBezTo>
                <a:close/>
                <a:moveTo>
                  <a:pt x="9059892" y="3172530"/>
                </a:moveTo>
                <a:cubicBezTo>
                  <a:pt x="9070398" y="3172530"/>
                  <a:pt x="9080257" y="3176675"/>
                  <a:pt x="9087652" y="3184077"/>
                </a:cubicBezTo>
                <a:lnTo>
                  <a:pt x="9152251" y="3248800"/>
                </a:lnTo>
                <a:lnTo>
                  <a:pt x="9163796" y="3260473"/>
                </a:lnTo>
                <a:lnTo>
                  <a:pt x="9175341" y="3248800"/>
                </a:lnTo>
                <a:lnTo>
                  <a:pt x="9239810" y="3184077"/>
                </a:lnTo>
                <a:cubicBezTo>
                  <a:pt x="9247204" y="3176551"/>
                  <a:pt x="9257062" y="3172530"/>
                  <a:pt x="9267570" y="3172530"/>
                </a:cubicBezTo>
                <a:cubicBezTo>
                  <a:pt x="9277946" y="3172530"/>
                  <a:pt x="9287805" y="3176675"/>
                  <a:pt x="9295200" y="3184077"/>
                </a:cubicBezTo>
                <a:lnTo>
                  <a:pt x="9373678" y="3262679"/>
                </a:lnTo>
                <a:lnTo>
                  <a:pt x="9385222" y="3290436"/>
                </a:lnTo>
                <a:lnTo>
                  <a:pt x="9373809" y="3318189"/>
                </a:lnTo>
                <a:lnTo>
                  <a:pt x="9163797" y="3528578"/>
                </a:lnTo>
                <a:lnTo>
                  <a:pt x="8953784" y="3318189"/>
                </a:lnTo>
                <a:lnTo>
                  <a:pt x="8942306" y="3290451"/>
                </a:lnTo>
                <a:lnTo>
                  <a:pt x="8953783" y="3262809"/>
                </a:lnTo>
                <a:lnTo>
                  <a:pt x="9032263" y="3184077"/>
                </a:lnTo>
                <a:cubicBezTo>
                  <a:pt x="9039655" y="3176675"/>
                  <a:pt x="9049385" y="3172530"/>
                  <a:pt x="9059892" y="3172530"/>
                </a:cubicBezTo>
                <a:close/>
                <a:moveTo>
                  <a:pt x="7006076" y="3172517"/>
                </a:moveTo>
                <a:cubicBezTo>
                  <a:pt x="7016582" y="3172517"/>
                  <a:pt x="7026440" y="3176668"/>
                  <a:pt x="7033834" y="3184064"/>
                </a:cubicBezTo>
                <a:lnTo>
                  <a:pt x="7098434" y="3248792"/>
                </a:lnTo>
                <a:lnTo>
                  <a:pt x="7109978" y="3260467"/>
                </a:lnTo>
                <a:lnTo>
                  <a:pt x="7121523" y="3248792"/>
                </a:lnTo>
                <a:lnTo>
                  <a:pt x="7185994" y="3184064"/>
                </a:lnTo>
                <a:cubicBezTo>
                  <a:pt x="7193387" y="3176541"/>
                  <a:pt x="7203245" y="3172517"/>
                  <a:pt x="7213751" y="3172517"/>
                </a:cubicBezTo>
                <a:cubicBezTo>
                  <a:pt x="7224130" y="3172517"/>
                  <a:pt x="7233989" y="3176668"/>
                  <a:pt x="7241381" y="3184064"/>
                </a:cubicBezTo>
                <a:lnTo>
                  <a:pt x="7319862" y="3262673"/>
                </a:lnTo>
                <a:lnTo>
                  <a:pt x="7331405" y="3290428"/>
                </a:lnTo>
                <a:lnTo>
                  <a:pt x="7319992" y="3318178"/>
                </a:lnTo>
                <a:lnTo>
                  <a:pt x="7109978" y="3528572"/>
                </a:lnTo>
                <a:lnTo>
                  <a:pt x="6899966" y="3318178"/>
                </a:lnTo>
                <a:lnTo>
                  <a:pt x="6888487" y="3290444"/>
                </a:lnTo>
                <a:lnTo>
                  <a:pt x="6899966" y="3262798"/>
                </a:lnTo>
                <a:lnTo>
                  <a:pt x="6978446" y="3184064"/>
                </a:lnTo>
                <a:cubicBezTo>
                  <a:pt x="6985839" y="3176668"/>
                  <a:pt x="6995568" y="3172517"/>
                  <a:pt x="7006076" y="3172517"/>
                </a:cubicBezTo>
                <a:close/>
                <a:moveTo>
                  <a:pt x="4952157" y="3172509"/>
                </a:moveTo>
                <a:lnTo>
                  <a:pt x="4979924" y="3184048"/>
                </a:lnTo>
                <a:lnTo>
                  <a:pt x="5044521" y="3248772"/>
                </a:lnTo>
                <a:lnTo>
                  <a:pt x="5056083" y="3260446"/>
                </a:lnTo>
                <a:lnTo>
                  <a:pt x="5056083" y="3260442"/>
                </a:lnTo>
                <a:lnTo>
                  <a:pt x="5056087" y="3260455"/>
                </a:lnTo>
                <a:lnTo>
                  <a:pt x="5067642" y="3248781"/>
                </a:lnTo>
                <a:lnTo>
                  <a:pt x="5132091" y="3184051"/>
                </a:lnTo>
                <a:cubicBezTo>
                  <a:pt x="5139483" y="3176531"/>
                  <a:pt x="5149330" y="3172509"/>
                  <a:pt x="5159840" y="3172509"/>
                </a:cubicBezTo>
                <a:lnTo>
                  <a:pt x="5187473" y="3184048"/>
                </a:lnTo>
                <a:lnTo>
                  <a:pt x="5265932" y="3262652"/>
                </a:lnTo>
                <a:cubicBezTo>
                  <a:pt x="5273339" y="3270045"/>
                  <a:pt x="5277344" y="3279904"/>
                  <a:pt x="5277479" y="3290410"/>
                </a:cubicBezTo>
                <a:cubicBezTo>
                  <a:pt x="5277479" y="3300919"/>
                  <a:pt x="5273469" y="3310778"/>
                  <a:pt x="5266071" y="3318172"/>
                </a:cubicBezTo>
                <a:lnTo>
                  <a:pt x="5056083" y="3528560"/>
                </a:lnTo>
                <a:lnTo>
                  <a:pt x="4855197" y="3327353"/>
                </a:lnTo>
                <a:lnTo>
                  <a:pt x="4846044" y="3318176"/>
                </a:lnTo>
                <a:lnTo>
                  <a:pt x="4834566" y="3290436"/>
                </a:lnTo>
                <a:cubicBezTo>
                  <a:pt x="4834566" y="3280402"/>
                  <a:pt x="4838398" y="3270380"/>
                  <a:pt x="4846044" y="3262790"/>
                </a:cubicBezTo>
                <a:lnTo>
                  <a:pt x="4924518" y="3184051"/>
                </a:lnTo>
                <a:cubicBezTo>
                  <a:pt x="4931913" y="3176664"/>
                  <a:pt x="4941650" y="3172509"/>
                  <a:pt x="4952157" y="3172509"/>
                </a:cubicBezTo>
                <a:close/>
                <a:moveTo>
                  <a:pt x="2898373" y="3172493"/>
                </a:moveTo>
                <a:lnTo>
                  <a:pt x="2914891" y="3179366"/>
                </a:lnTo>
                <a:lnTo>
                  <a:pt x="2926113" y="3184033"/>
                </a:lnTo>
                <a:lnTo>
                  <a:pt x="2990711" y="3248759"/>
                </a:lnTo>
                <a:lnTo>
                  <a:pt x="3002256" y="3260436"/>
                </a:lnTo>
                <a:lnTo>
                  <a:pt x="3002263" y="3260428"/>
                </a:lnTo>
                <a:lnTo>
                  <a:pt x="3002278" y="3260446"/>
                </a:lnTo>
                <a:lnTo>
                  <a:pt x="3013824" y="3248772"/>
                </a:lnTo>
                <a:lnTo>
                  <a:pt x="3078289" y="3184044"/>
                </a:lnTo>
                <a:lnTo>
                  <a:pt x="3106051" y="3172493"/>
                </a:lnTo>
                <a:lnTo>
                  <a:pt x="3119341" y="3178052"/>
                </a:lnTo>
                <a:lnTo>
                  <a:pt x="3133663" y="3184033"/>
                </a:lnTo>
                <a:lnTo>
                  <a:pt x="3212138" y="3262641"/>
                </a:lnTo>
                <a:cubicBezTo>
                  <a:pt x="3219533" y="3270034"/>
                  <a:pt x="3223554" y="3279898"/>
                  <a:pt x="3223683" y="3290403"/>
                </a:cubicBezTo>
                <a:cubicBezTo>
                  <a:pt x="3223683" y="3300910"/>
                  <a:pt x="3219662" y="3310767"/>
                  <a:pt x="3212269" y="3318161"/>
                </a:cubicBezTo>
                <a:lnTo>
                  <a:pt x="3002266" y="3528555"/>
                </a:lnTo>
                <a:lnTo>
                  <a:pt x="2792268" y="3318172"/>
                </a:lnTo>
                <a:cubicBezTo>
                  <a:pt x="2776958" y="3302864"/>
                  <a:pt x="2776958" y="3277957"/>
                  <a:pt x="2792268" y="3262780"/>
                </a:cubicBezTo>
                <a:lnTo>
                  <a:pt x="2870745" y="3184044"/>
                </a:lnTo>
                <a:close/>
                <a:moveTo>
                  <a:pt x="844397" y="3172485"/>
                </a:moveTo>
                <a:lnTo>
                  <a:pt x="872137" y="3184024"/>
                </a:lnTo>
                <a:lnTo>
                  <a:pt x="936732" y="3248751"/>
                </a:lnTo>
                <a:lnTo>
                  <a:pt x="948278" y="3260428"/>
                </a:lnTo>
                <a:lnTo>
                  <a:pt x="948285" y="3260419"/>
                </a:lnTo>
                <a:lnTo>
                  <a:pt x="948301" y="3260436"/>
                </a:lnTo>
                <a:lnTo>
                  <a:pt x="959846" y="3248759"/>
                </a:lnTo>
                <a:lnTo>
                  <a:pt x="1024315" y="3184033"/>
                </a:lnTo>
                <a:cubicBezTo>
                  <a:pt x="1031711" y="3176508"/>
                  <a:pt x="1041568" y="3172485"/>
                  <a:pt x="1052075" y="3172485"/>
                </a:cubicBezTo>
                <a:lnTo>
                  <a:pt x="1079685" y="3184025"/>
                </a:lnTo>
                <a:lnTo>
                  <a:pt x="1158160" y="3262631"/>
                </a:lnTo>
                <a:cubicBezTo>
                  <a:pt x="1165555" y="3270025"/>
                  <a:pt x="1169576" y="3279886"/>
                  <a:pt x="1169705" y="3290391"/>
                </a:cubicBezTo>
                <a:cubicBezTo>
                  <a:pt x="1169705" y="3300901"/>
                  <a:pt x="1165685" y="3310758"/>
                  <a:pt x="1158290" y="3318153"/>
                </a:cubicBezTo>
                <a:lnTo>
                  <a:pt x="948288" y="3528552"/>
                </a:lnTo>
                <a:lnTo>
                  <a:pt x="738289" y="3318161"/>
                </a:lnTo>
                <a:cubicBezTo>
                  <a:pt x="722982" y="3302855"/>
                  <a:pt x="722982" y="3277949"/>
                  <a:pt x="738289" y="3262772"/>
                </a:cubicBezTo>
                <a:lnTo>
                  <a:pt x="816766" y="3184033"/>
                </a:lnTo>
                <a:cubicBezTo>
                  <a:pt x="824162" y="3176637"/>
                  <a:pt x="833889" y="3172485"/>
                  <a:pt x="844397" y="3172485"/>
                </a:cubicBezTo>
                <a:close/>
                <a:moveTo>
                  <a:pt x="11113840" y="3156060"/>
                </a:moveTo>
                <a:cubicBezTo>
                  <a:pt x="11099571" y="3156060"/>
                  <a:pt x="11085432" y="3161497"/>
                  <a:pt x="11074665" y="3172394"/>
                </a:cubicBezTo>
                <a:lnTo>
                  <a:pt x="10996186" y="3251138"/>
                </a:lnTo>
                <a:cubicBezTo>
                  <a:pt x="10985355" y="3261969"/>
                  <a:pt x="10979939" y="3276205"/>
                  <a:pt x="10979939" y="3290444"/>
                </a:cubicBezTo>
                <a:lnTo>
                  <a:pt x="10979941" y="3290444"/>
                </a:lnTo>
                <a:lnTo>
                  <a:pt x="10979939" y="3290449"/>
                </a:lnTo>
                <a:cubicBezTo>
                  <a:pt x="10979939" y="3304690"/>
                  <a:pt x="10985355" y="3318921"/>
                  <a:pt x="10996186" y="3329751"/>
                </a:cubicBezTo>
                <a:lnTo>
                  <a:pt x="11217744" y="3551803"/>
                </a:lnTo>
                <a:lnTo>
                  <a:pt x="11439301" y="3329751"/>
                </a:lnTo>
                <a:cubicBezTo>
                  <a:pt x="11450132" y="3318921"/>
                  <a:pt x="11455548" y="3304690"/>
                  <a:pt x="11455548" y="3290449"/>
                </a:cubicBezTo>
                <a:lnTo>
                  <a:pt x="11455546" y="3290444"/>
                </a:lnTo>
                <a:lnTo>
                  <a:pt x="11455548" y="3290444"/>
                </a:lnTo>
                <a:cubicBezTo>
                  <a:pt x="11455548" y="3276205"/>
                  <a:pt x="11450132" y="3261969"/>
                  <a:pt x="11439301" y="3251138"/>
                </a:cubicBezTo>
                <a:lnTo>
                  <a:pt x="11360822" y="3172530"/>
                </a:lnTo>
                <a:cubicBezTo>
                  <a:pt x="11349927" y="3161632"/>
                  <a:pt x="11335787" y="3156189"/>
                  <a:pt x="11321647" y="3156189"/>
                </a:cubicBezTo>
                <a:lnTo>
                  <a:pt x="11321517" y="3156060"/>
                </a:lnTo>
                <a:cubicBezTo>
                  <a:pt x="11307249" y="3156060"/>
                  <a:pt x="11293110" y="3161497"/>
                  <a:pt x="11282213" y="3172530"/>
                </a:cubicBezTo>
                <a:lnTo>
                  <a:pt x="11217744" y="3237128"/>
                </a:lnTo>
                <a:lnTo>
                  <a:pt x="11153145" y="3172394"/>
                </a:lnTo>
                <a:cubicBezTo>
                  <a:pt x="11142248" y="3161497"/>
                  <a:pt x="11128108" y="3156060"/>
                  <a:pt x="11113840" y="3156060"/>
                </a:cubicBezTo>
                <a:close/>
                <a:moveTo>
                  <a:pt x="9059893" y="3156047"/>
                </a:moveTo>
                <a:cubicBezTo>
                  <a:pt x="9045624" y="3156047"/>
                  <a:pt x="9031484" y="3161489"/>
                  <a:pt x="9020718" y="3172391"/>
                </a:cubicBezTo>
                <a:lnTo>
                  <a:pt x="8942239" y="3251125"/>
                </a:lnTo>
                <a:cubicBezTo>
                  <a:pt x="8931408" y="3261956"/>
                  <a:pt x="8925992" y="3276194"/>
                  <a:pt x="8925992" y="3290430"/>
                </a:cubicBezTo>
                <a:lnTo>
                  <a:pt x="8925993" y="3290435"/>
                </a:lnTo>
                <a:lnTo>
                  <a:pt x="8925991" y="3290444"/>
                </a:lnTo>
                <a:cubicBezTo>
                  <a:pt x="8925991" y="3304677"/>
                  <a:pt x="8931406" y="3318916"/>
                  <a:pt x="8942238" y="3329746"/>
                </a:cubicBezTo>
                <a:lnTo>
                  <a:pt x="9163796" y="3551798"/>
                </a:lnTo>
                <a:lnTo>
                  <a:pt x="9385353" y="3329746"/>
                </a:lnTo>
                <a:cubicBezTo>
                  <a:pt x="9396184" y="3318916"/>
                  <a:pt x="9401600" y="3304677"/>
                  <a:pt x="9401600" y="3290444"/>
                </a:cubicBezTo>
                <a:lnTo>
                  <a:pt x="9401599" y="3290436"/>
                </a:lnTo>
                <a:lnTo>
                  <a:pt x="9401601" y="3290430"/>
                </a:lnTo>
                <a:cubicBezTo>
                  <a:pt x="9401601" y="3276194"/>
                  <a:pt x="9396186" y="3261956"/>
                  <a:pt x="9385354" y="3251125"/>
                </a:cubicBezTo>
                <a:lnTo>
                  <a:pt x="9306876" y="3172523"/>
                </a:lnTo>
                <a:cubicBezTo>
                  <a:pt x="9295978" y="3161619"/>
                  <a:pt x="9281840" y="3156175"/>
                  <a:pt x="9267701" y="3156175"/>
                </a:cubicBezTo>
                <a:lnTo>
                  <a:pt x="9267571" y="3156047"/>
                </a:lnTo>
                <a:cubicBezTo>
                  <a:pt x="9253303" y="3156047"/>
                  <a:pt x="9239162" y="3161489"/>
                  <a:pt x="9228266" y="3172523"/>
                </a:cubicBezTo>
                <a:lnTo>
                  <a:pt x="9163797" y="3237116"/>
                </a:lnTo>
                <a:lnTo>
                  <a:pt x="9099198" y="3172391"/>
                </a:lnTo>
                <a:cubicBezTo>
                  <a:pt x="9088300" y="3161489"/>
                  <a:pt x="9074162" y="3156047"/>
                  <a:pt x="9059893" y="3156047"/>
                </a:cubicBezTo>
                <a:close/>
                <a:moveTo>
                  <a:pt x="7006076" y="3156035"/>
                </a:moveTo>
                <a:cubicBezTo>
                  <a:pt x="6991805" y="3156035"/>
                  <a:pt x="6977666" y="3161479"/>
                  <a:pt x="6966901" y="3172384"/>
                </a:cubicBezTo>
                <a:lnTo>
                  <a:pt x="6888421" y="3251119"/>
                </a:lnTo>
                <a:cubicBezTo>
                  <a:pt x="6877589" y="3261948"/>
                  <a:pt x="6872174" y="3276185"/>
                  <a:pt x="6872174" y="3290423"/>
                </a:cubicBezTo>
                <a:lnTo>
                  <a:pt x="6872175" y="3290428"/>
                </a:lnTo>
                <a:lnTo>
                  <a:pt x="6872174" y="3290430"/>
                </a:lnTo>
                <a:cubicBezTo>
                  <a:pt x="6872174" y="3304668"/>
                  <a:pt x="6877589" y="3318903"/>
                  <a:pt x="6888421" y="3329734"/>
                </a:cubicBezTo>
                <a:lnTo>
                  <a:pt x="7109978" y="3551795"/>
                </a:lnTo>
                <a:lnTo>
                  <a:pt x="7331537" y="3329734"/>
                </a:lnTo>
                <a:cubicBezTo>
                  <a:pt x="7342368" y="3318903"/>
                  <a:pt x="7347783" y="3304668"/>
                  <a:pt x="7347783" y="3290430"/>
                </a:cubicBezTo>
                <a:lnTo>
                  <a:pt x="7347782" y="3290428"/>
                </a:lnTo>
                <a:lnTo>
                  <a:pt x="7347783" y="3290423"/>
                </a:lnTo>
                <a:cubicBezTo>
                  <a:pt x="7347783" y="3276185"/>
                  <a:pt x="7342368" y="3261948"/>
                  <a:pt x="7331537" y="3251119"/>
                </a:cubicBezTo>
                <a:lnTo>
                  <a:pt x="7253057" y="3172509"/>
                </a:lnTo>
                <a:cubicBezTo>
                  <a:pt x="7242161" y="3161610"/>
                  <a:pt x="7228022" y="3156164"/>
                  <a:pt x="7213882" y="3156164"/>
                </a:cubicBezTo>
                <a:lnTo>
                  <a:pt x="7213751" y="3156035"/>
                </a:lnTo>
                <a:cubicBezTo>
                  <a:pt x="7199483" y="3156035"/>
                  <a:pt x="7185345" y="3161479"/>
                  <a:pt x="7174449" y="3172509"/>
                </a:cubicBezTo>
                <a:lnTo>
                  <a:pt x="7109978" y="3237109"/>
                </a:lnTo>
                <a:lnTo>
                  <a:pt x="7045379" y="3172384"/>
                </a:lnTo>
                <a:cubicBezTo>
                  <a:pt x="7034483" y="3161479"/>
                  <a:pt x="7020344" y="3156035"/>
                  <a:pt x="7006076" y="3156035"/>
                </a:cubicBezTo>
                <a:close/>
                <a:moveTo>
                  <a:pt x="4952148" y="3156022"/>
                </a:moveTo>
                <a:cubicBezTo>
                  <a:pt x="4937875" y="3156022"/>
                  <a:pt x="4923734" y="3161471"/>
                  <a:pt x="4912971" y="3172369"/>
                </a:cubicBezTo>
                <a:lnTo>
                  <a:pt x="4834497" y="3251103"/>
                </a:lnTo>
                <a:cubicBezTo>
                  <a:pt x="4812828" y="3272770"/>
                  <a:pt x="4812828" y="3308054"/>
                  <a:pt x="4834497" y="3329715"/>
                </a:cubicBezTo>
                <a:lnTo>
                  <a:pt x="4834505" y="3329725"/>
                </a:lnTo>
                <a:lnTo>
                  <a:pt x="4843779" y="3339026"/>
                </a:lnTo>
                <a:lnTo>
                  <a:pt x="5056083" y="3551786"/>
                </a:lnTo>
                <a:lnTo>
                  <a:pt x="5056083" y="3551781"/>
                </a:lnTo>
                <a:lnTo>
                  <a:pt x="5056087" y="3551792"/>
                </a:lnTo>
                <a:lnTo>
                  <a:pt x="5277615" y="3329725"/>
                </a:lnTo>
                <a:cubicBezTo>
                  <a:pt x="5299295" y="3308065"/>
                  <a:pt x="5299295" y="3272779"/>
                  <a:pt x="5277615" y="3251119"/>
                </a:cubicBezTo>
                <a:lnTo>
                  <a:pt x="5277613" y="3251108"/>
                </a:lnTo>
                <a:lnTo>
                  <a:pt x="5277613" y="3251103"/>
                </a:lnTo>
                <a:lnTo>
                  <a:pt x="5199129" y="3172495"/>
                </a:lnTo>
                <a:cubicBezTo>
                  <a:pt x="5188240" y="3161597"/>
                  <a:pt x="5174090" y="3156152"/>
                  <a:pt x="5159958" y="3156152"/>
                </a:cubicBezTo>
                <a:lnTo>
                  <a:pt x="5159824" y="3156022"/>
                </a:lnTo>
                <a:cubicBezTo>
                  <a:pt x="5145561" y="3156022"/>
                  <a:pt x="5131424" y="3161471"/>
                  <a:pt x="5120536" y="3172495"/>
                </a:cubicBezTo>
                <a:lnTo>
                  <a:pt x="5056083" y="3237093"/>
                </a:lnTo>
                <a:lnTo>
                  <a:pt x="4991467" y="3172384"/>
                </a:lnTo>
                <a:lnTo>
                  <a:pt x="4991467" y="3172377"/>
                </a:lnTo>
                <a:lnTo>
                  <a:pt x="4991465" y="3172369"/>
                </a:lnTo>
                <a:cubicBezTo>
                  <a:pt x="4980565" y="3161471"/>
                  <a:pt x="4966420" y="3156022"/>
                  <a:pt x="4952148" y="3156022"/>
                </a:cubicBezTo>
                <a:close/>
                <a:moveTo>
                  <a:pt x="2898351" y="3156014"/>
                </a:moveTo>
                <a:cubicBezTo>
                  <a:pt x="2884082" y="3156014"/>
                  <a:pt x="2869941" y="3161460"/>
                  <a:pt x="2859177" y="3172357"/>
                </a:cubicBezTo>
                <a:lnTo>
                  <a:pt x="2780697" y="3251097"/>
                </a:lnTo>
                <a:cubicBezTo>
                  <a:pt x="2759034" y="3272765"/>
                  <a:pt x="2759034" y="3308045"/>
                  <a:pt x="2780697" y="3329707"/>
                </a:cubicBezTo>
                <a:lnTo>
                  <a:pt x="3002256" y="3551785"/>
                </a:lnTo>
                <a:lnTo>
                  <a:pt x="3002266" y="3551776"/>
                </a:lnTo>
                <a:lnTo>
                  <a:pt x="3002278" y="3551786"/>
                </a:lnTo>
                <a:lnTo>
                  <a:pt x="3223834" y="3329715"/>
                </a:lnTo>
                <a:cubicBezTo>
                  <a:pt x="3245501" y="3308054"/>
                  <a:pt x="3245501" y="3272769"/>
                  <a:pt x="3223834" y="3251103"/>
                </a:cubicBezTo>
                <a:lnTo>
                  <a:pt x="3145357" y="3172493"/>
                </a:lnTo>
                <a:cubicBezTo>
                  <a:pt x="3139908" y="3167046"/>
                  <a:pt x="3133650" y="3162961"/>
                  <a:pt x="3126986" y="3160235"/>
                </a:cubicBezTo>
                <a:lnTo>
                  <a:pt x="3126973" y="3160230"/>
                </a:lnTo>
                <a:lnTo>
                  <a:pt x="3126963" y="3160226"/>
                </a:lnTo>
                <a:lnTo>
                  <a:pt x="3106177" y="3156144"/>
                </a:lnTo>
                <a:lnTo>
                  <a:pt x="3106053" y="3156022"/>
                </a:lnTo>
                <a:lnTo>
                  <a:pt x="3106044" y="3156025"/>
                </a:lnTo>
                <a:lnTo>
                  <a:pt x="3106028" y="3156014"/>
                </a:lnTo>
                <a:cubicBezTo>
                  <a:pt x="3091760" y="3156014"/>
                  <a:pt x="3077618" y="3161460"/>
                  <a:pt x="3066725" y="3172485"/>
                </a:cubicBezTo>
                <a:lnTo>
                  <a:pt x="3002263" y="3237081"/>
                </a:lnTo>
                <a:lnTo>
                  <a:pt x="2937680" y="3172367"/>
                </a:lnTo>
                <a:cubicBezTo>
                  <a:pt x="2932232" y="3166917"/>
                  <a:pt x="2925973" y="3162832"/>
                  <a:pt x="2919293" y="3160108"/>
                </a:cubicBezTo>
                <a:lnTo>
                  <a:pt x="2919279" y="3160106"/>
                </a:lnTo>
                <a:lnTo>
                  <a:pt x="2919268" y="3160101"/>
                </a:lnTo>
                <a:cubicBezTo>
                  <a:pt x="2912587" y="3157375"/>
                  <a:pt x="2905485" y="3156014"/>
                  <a:pt x="2898351" y="3156014"/>
                </a:cubicBezTo>
                <a:close/>
                <a:moveTo>
                  <a:pt x="844374" y="3156001"/>
                </a:moveTo>
                <a:cubicBezTo>
                  <a:pt x="830105" y="3156001"/>
                  <a:pt x="815967" y="3161449"/>
                  <a:pt x="805200" y="3172347"/>
                </a:cubicBezTo>
                <a:lnTo>
                  <a:pt x="726720" y="3251087"/>
                </a:lnTo>
                <a:cubicBezTo>
                  <a:pt x="705057" y="3272752"/>
                  <a:pt x="705057" y="3308036"/>
                  <a:pt x="726720" y="3329699"/>
                </a:cubicBezTo>
                <a:lnTo>
                  <a:pt x="948278" y="3551781"/>
                </a:lnTo>
                <a:lnTo>
                  <a:pt x="948288" y="3551770"/>
                </a:lnTo>
                <a:lnTo>
                  <a:pt x="948301" y="3551785"/>
                </a:lnTo>
                <a:lnTo>
                  <a:pt x="1169858" y="3329707"/>
                </a:lnTo>
                <a:cubicBezTo>
                  <a:pt x="1191520" y="3308045"/>
                  <a:pt x="1191520" y="3272765"/>
                  <a:pt x="1169858" y="3251093"/>
                </a:cubicBezTo>
                <a:lnTo>
                  <a:pt x="1091378" y="3172485"/>
                </a:lnTo>
                <a:cubicBezTo>
                  <a:pt x="1085931" y="3167038"/>
                  <a:pt x="1079672" y="3162952"/>
                  <a:pt x="1073007" y="3160226"/>
                </a:cubicBezTo>
                <a:lnTo>
                  <a:pt x="1072995" y="3160222"/>
                </a:lnTo>
                <a:lnTo>
                  <a:pt x="1072985" y="3160218"/>
                </a:lnTo>
                <a:lnTo>
                  <a:pt x="1052200" y="3156135"/>
                </a:lnTo>
                <a:lnTo>
                  <a:pt x="1052075" y="3156010"/>
                </a:lnTo>
                <a:lnTo>
                  <a:pt x="1052063" y="3156012"/>
                </a:lnTo>
                <a:lnTo>
                  <a:pt x="1052052" y="3156001"/>
                </a:lnTo>
                <a:cubicBezTo>
                  <a:pt x="1037783" y="3156001"/>
                  <a:pt x="1023643" y="3161449"/>
                  <a:pt x="1012749" y="3172476"/>
                </a:cubicBezTo>
                <a:lnTo>
                  <a:pt x="948285" y="3237070"/>
                </a:lnTo>
                <a:lnTo>
                  <a:pt x="883702" y="3172357"/>
                </a:lnTo>
                <a:cubicBezTo>
                  <a:pt x="878253" y="3166907"/>
                  <a:pt x="871995" y="3162821"/>
                  <a:pt x="865315" y="3160097"/>
                </a:cubicBezTo>
                <a:lnTo>
                  <a:pt x="865301" y="3160093"/>
                </a:lnTo>
                <a:lnTo>
                  <a:pt x="865290" y="3160088"/>
                </a:lnTo>
                <a:cubicBezTo>
                  <a:pt x="858610" y="3157363"/>
                  <a:pt x="851509" y="3156001"/>
                  <a:pt x="844374" y="3156001"/>
                </a:cubicBezTo>
                <a:close/>
                <a:moveTo>
                  <a:pt x="11910826" y="2945539"/>
                </a:moveTo>
                <a:lnTo>
                  <a:pt x="12188651" y="3106326"/>
                </a:lnTo>
                <a:lnTo>
                  <a:pt x="12188651" y="3483113"/>
                </a:lnTo>
                <a:lnTo>
                  <a:pt x="12179669" y="3477916"/>
                </a:lnTo>
                <a:lnTo>
                  <a:pt x="11910826" y="3322357"/>
                </a:lnTo>
                <a:close/>
                <a:moveTo>
                  <a:pt x="11894481" y="2945539"/>
                </a:moveTo>
                <a:lnTo>
                  <a:pt x="11894481" y="3322357"/>
                </a:lnTo>
                <a:lnTo>
                  <a:pt x="11568890" y="3510681"/>
                </a:lnTo>
                <a:lnTo>
                  <a:pt x="11568890" y="3133883"/>
                </a:lnTo>
                <a:close/>
                <a:moveTo>
                  <a:pt x="9857006" y="2945522"/>
                </a:moveTo>
                <a:lnTo>
                  <a:pt x="10182468" y="3133880"/>
                </a:lnTo>
                <a:lnTo>
                  <a:pt x="10182468" y="3510676"/>
                </a:lnTo>
                <a:lnTo>
                  <a:pt x="9857006" y="3322348"/>
                </a:lnTo>
                <a:close/>
                <a:moveTo>
                  <a:pt x="9840661" y="2945522"/>
                </a:moveTo>
                <a:lnTo>
                  <a:pt x="9840661" y="3322348"/>
                </a:lnTo>
                <a:lnTo>
                  <a:pt x="9515070" y="3510676"/>
                </a:lnTo>
                <a:lnTo>
                  <a:pt x="9515070" y="3133880"/>
                </a:lnTo>
                <a:close/>
                <a:moveTo>
                  <a:pt x="7803060" y="2945507"/>
                </a:moveTo>
                <a:lnTo>
                  <a:pt x="8128521" y="3133865"/>
                </a:lnTo>
                <a:lnTo>
                  <a:pt x="8128521" y="3510673"/>
                </a:lnTo>
                <a:lnTo>
                  <a:pt x="7803060" y="3322337"/>
                </a:lnTo>
                <a:close/>
                <a:moveTo>
                  <a:pt x="7786715" y="2945507"/>
                </a:moveTo>
                <a:lnTo>
                  <a:pt x="7786715" y="3322337"/>
                </a:lnTo>
                <a:lnTo>
                  <a:pt x="7461125" y="3510673"/>
                </a:lnTo>
                <a:lnTo>
                  <a:pt x="7461125" y="3133865"/>
                </a:lnTo>
                <a:close/>
                <a:moveTo>
                  <a:pt x="5732923" y="2945499"/>
                </a:moveTo>
                <a:lnTo>
                  <a:pt x="5732923" y="3322330"/>
                </a:lnTo>
                <a:lnTo>
                  <a:pt x="5407352" y="3510667"/>
                </a:lnTo>
                <a:lnTo>
                  <a:pt x="5407352" y="3133857"/>
                </a:lnTo>
                <a:close/>
                <a:moveTo>
                  <a:pt x="5749264" y="2945497"/>
                </a:moveTo>
                <a:lnTo>
                  <a:pt x="6074705" y="3133857"/>
                </a:lnTo>
                <a:lnTo>
                  <a:pt x="6074705" y="3510669"/>
                </a:lnTo>
                <a:lnTo>
                  <a:pt x="6000145" y="3467515"/>
                </a:lnTo>
                <a:lnTo>
                  <a:pt x="5878454" y="3397098"/>
                </a:lnTo>
                <a:lnTo>
                  <a:pt x="5749264" y="3322330"/>
                </a:lnTo>
                <a:close/>
                <a:moveTo>
                  <a:pt x="3679140" y="2945490"/>
                </a:moveTo>
                <a:lnTo>
                  <a:pt x="3679140" y="3322322"/>
                </a:lnTo>
                <a:lnTo>
                  <a:pt x="3353560" y="3510663"/>
                </a:lnTo>
                <a:lnTo>
                  <a:pt x="3353560" y="3133842"/>
                </a:lnTo>
                <a:close/>
                <a:moveTo>
                  <a:pt x="3695488" y="2945487"/>
                </a:moveTo>
                <a:lnTo>
                  <a:pt x="3801286" y="3006724"/>
                </a:lnTo>
                <a:lnTo>
                  <a:pt x="4009955" y="3127481"/>
                </a:lnTo>
                <a:lnTo>
                  <a:pt x="4020941" y="3133840"/>
                </a:lnTo>
                <a:lnTo>
                  <a:pt x="4020941" y="3510665"/>
                </a:lnTo>
                <a:lnTo>
                  <a:pt x="3719511" y="3336225"/>
                </a:lnTo>
                <a:lnTo>
                  <a:pt x="3695488" y="3322325"/>
                </a:lnTo>
                <a:close/>
                <a:moveTo>
                  <a:pt x="1625162" y="2945478"/>
                </a:moveTo>
                <a:lnTo>
                  <a:pt x="1625162" y="3322313"/>
                </a:lnTo>
                <a:lnTo>
                  <a:pt x="1299579" y="3510659"/>
                </a:lnTo>
                <a:lnTo>
                  <a:pt x="1299579" y="3133831"/>
                </a:lnTo>
                <a:close/>
                <a:moveTo>
                  <a:pt x="1641512" y="2945475"/>
                </a:moveTo>
                <a:lnTo>
                  <a:pt x="1828330" y="3053589"/>
                </a:lnTo>
                <a:lnTo>
                  <a:pt x="1966968" y="3133829"/>
                </a:lnTo>
                <a:lnTo>
                  <a:pt x="1966968" y="3510659"/>
                </a:lnTo>
                <a:lnTo>
                  <a:pt x="1641512" y="3322313"/>
                </a:lnTo>
                <a:close/>
                <a:moveTo>
                  <a:pt x="10532576" y="2940723"/>
                </a:moveTo>
                <a:lnTo>
                  <a:pt x="10866339" y="3133880"/>
                </a:lnTo>
                <a:lnTo>
                  <a:pt x="10866339" y="3520144"/>
                </a:lnTo>
                <a:lnTo>
                  <a:pt x="10532706" y="3713300"/>
                </a:lnTo>
                <a:lnTo>
                  <a:pt x="10198941" y="3520144"/>
                </a:lnTo>
                <a:lnTo>
                  <a:pt x="10198941" y="3133880"/>
                </a:lnTo>
                <a:close/>
                <a:moveTo>
                  <a:pt x="8478628" y="2940707"/>
                </a:moveTo>
                <a:lnTo>
                  <a:pt x="8812392" y="3133865"/>
                </a:lnTo>
                <a:lnTo>
                  <a:pt x="8812392" y="3520144"/>
                </a:lnTo>
                <a:lnTo>
                  <a:pt x="8478758" y="3713296"/>
                </a:lnTo>
                <a:lnTo>
                  <a:pt x="8144995" y="3520144"/>
                </a:lnTo>
                <a:lnTo>
                  <a:pt x="8144995" y="3133865"/>
                </a:lnTo>
                <a:close/>
                <a:moveTo>
                  <a:pt x="6424810" y="2940696"/>
                </a:moveTo>
                <a:lnTo>
                  <a:pt x="6758573" y="3133857"/>
                </a:lnTo>
                <a:lnTo>
                  <a:pt x="6758573" y="3520138"/>
                </a:lnTo>
                <a:lnTo>
                  <a:pt x="6424940" y="3713294"/>
                </a:lnTo>
                <a:lnTo>
                  <a:pt x="6091179" y="3520138"/>
                </a:lnTo>
                <a:lnTo>
                  <a:pt x="6091179" y="3133857"/>
                </a:lnTo>
                <a:close/>
                <a:moveTo>
                  <a:pt x="4371020" y="2940688"/>
                </a:moveTo>
                <a:lnTo>
                  <a:pt x="4704773" y="3133840"/>
                </a:lnTo>
                <a:lnTo>
                  <a:pt x="4704773" y="3520136"/>
                </a:lnTo>
                <a:lnTo>
                  <a:pt x="4371146" y="3713289"/>
                </a:lnTo>
                <a:lnTo>
                  <a:pt x="4037424" y="3520136"/>
                </a:lnTo>
                <a:lnTo>
                  <a:pt x="4037424" y="3133842"/>
                </a:lnTo>
                <a:close/>
                <a:moveTo>
                  <a:pt x="2317088" y="2940676"/>
                </a:moveTo>
                <a:lnTo>
                  <a:pt x="2650840" y="3133829"/>
                </a:lnTo>
                <a:lnTo>
                  <a:pt x="2650840" y="3520133"/>
                </a:lnTo>
                <a:lnTo>
                  <a:pt x="2317216" y="3713283"/>
                </a:lnTo>
                <a:lnTo>
                  <a:pt x="1983450" y="3520133"/>
                </a:lnTo>
                <a:lnTo>
                  <a:pt x="1983450" y="3133831"/>
                </a:lnTo>
                <a:close/>
                <a:moveTo>
                  <a:pt x="263242" y="2940664"/>
                </a:moveTo>
                <a:lnTo>
                  <a:pt x="596998" y="3133814"/>
                </a:lnTo>
                <a:lnTo>
                  <a:pt x="596998" y="3520129"/>
                </a:lnTo>
                <a:lnTo>
                  <a:pt x="263368" y="3713281"/>
                </a:lnTo>
                <a:lnTo>
                  <a:pt x="0" y="3560866"/>
                </a:lnTo>
                <a:lnTo>
                  <a:pt x="0" y="3093067"/>
                </a:lnTo>
                <a:close/>
                <a:moveTo>
                  <a:pt x="11217614" y="2940473"/>
                </a:moveTo>
                <a:lnTo>
                  <a:pt x="11551377" y="3133625"/>
                </a:lnTo>
                <a:lnTo>
                  <a:pt x="11551377" y="3519758"/>
                </a:lnTo>
                <a:lnTo>
                  <a:pt x="11217614" y="3712908"/>
                </a:lnTo>
                <a:lnTo>
                  <a:pt x="10883851" y="3519758"/>
                </a:lnTo>
                <a:lnTo>
                  <a:pt x="10883851" y="3133625"/>
                </a:lnTo>
                <a:close/>
                <a:moveTo>
                  <a:pt x="9163666" y="2940462"/>
                </a:moveTo>
                <a:lnTo>
                  <a:pt x="9497429" y="3133615"/>
                </a:lnTo>
                <a:lnTo>
                  <a:pt x="9497429" y="3519754"/>
                </a:lnTo>
                <a:lnTo>
                  <a:pt x="9163666" y="3712908"/>
                </a:lnTo>
                <a:lnTo>
                  <a:pt x="8829903" y="3519753"/>
                </a:lnTo>
                <a:lnTo>
                  <a:pt x="8829903" y="3133615"/>
                </a:lnTo>
                <a:close/>
                <a:moveTo>
                  <a:pt x="7109850" y="2940450"/>
                </a:moveTo>
                <a:lnTo>
                  <a:pt x="7443613" y="3133605"/>
                </a:lnTo>
                <a:lnTo>
                  <a:pt x="7443613" y="3519749"/>
                </a:lnTo>
                <a:lnTo>
                  <a:pt x="7109850" y="3712903"/>
                </a:lnTo>
                <a:lnTo>
                  <a:pt x="6776085" y="3519749"/>
                </a:lnTo>
                <a:lnTo>
                  <a:pt x="6776085" y="3133605"/>
                </a:lnTo>
                <a:close/>
                <a:moveTo>
                  <a:pt x="5055965" y="2940439"/>
                </a:moveTo>
                <a:lnTo>
                  <a:pt x="5389690" y="3133585"/>
                </a:lnTo>
                <a:lnTo>
                  <a:pt x="5389690" y="3519747"/>
                </a:lnTo>
                <a:lnTo>
                  <a:pt x="5055955" y="3712897"/>
                </a:lnTo>
                <a:lnTo>
                  <a:pt x="4722175" y="3519749"/>
                </a:lnTo>
                <a:lnTo>
                  <a:pt x="4722175" y="3133594"/>
                </a:lnTo>
                <a:close/>
                <a:moveTo>
                  <a:pt x="3002150" y="2940429"/>
                </a:moveTo>
                <a:lnTo>
                  <a:pt x="3335888" y="3133567"/>
                </a:lnTo>
                <a:lnTo>
                  <a:pt x="3335888" y="3519745"/>
                </a:lnTo>
                <a:lnTo>
                  <a:pt x="3002137" y="3712891"/>
                </a:lnTo>
                <a:lnTo>
                  <a:pt x="2668389" y="3519747"/>
                </a:lnTo>
                <a:lnTo>
                  <a:pt x="2668389" y="3133585"/>
                </a:lnTo>
                <a:close/>
                <a:moveTo>
                  <a:pt x="948172" y="2940415"/>
                </a:moveTo>
                <a:lnTo>
                  <a:pt x="1281911" y="3133560"/>
                </a:lnTo>
                <a:lnTo>
                  <a:pt x="1281911" y="3519738"/>
                </a:lnTo>
                <a:lnTo>
                  <a:pt x="948159" y="3712889"/>
                </a:lnTo>
                <a:lnTo>
                  <a:pt x="614412" y="3519745"/>
                </a:lnTo>
                <a:lnTo>
                  <a:pt x="614412" y="3133570"/>
                </a:lnTo>
                <a:close/>
                <a:moveTo>
                  <a:pt x="10875809" y="2742645"/>
                </a:moveTo>
                <a:lnTo>
                  <a:pt x="11201258" y="2930995"/>
                </a:lnTo>
                <a:lnTo>
                  <a:pt x="10875678" y="3119343"/>
                </a:lnTo>
                <a:lnTo>
                  <a:pt x="10550229" y="2930995"/>
                </a:lnTo>
                <a:close/>
                <a:moveTo>
                  <a:pt x="8821860" y="2742638"/>
                </a:moveTo>
                <a:lnTo>
                  <a:pt x="9147310" y="2930991"/>
                </a:lnTo>
                <a:lnTo>
                  <a:pt x="8821731" y="3119333"/>
                </a:lnTo>
                <a:lnTo>
                  <a:pt x="8496280" y="2930985"/>
                </a:lnTo>
                <a:close/>
                <a:moveTo>
                  <a:pt x="6768043" y="2742623"/>
                </a:moveTo>
                <a:lnTo>
                  <a:pt x="7093493" y="2930975"/>
                </a:lnTo>
                <a:lnTo>
                  <a:pt x="6767913" y="3119325"/>
                </a:lnTo>
                <a:lnTo>
                  <a:pt x="6442464" y="2930975"/>
                </a:lnTo>
                <a:close/>
                <a:moveTo>
                  <a:pt x="4714128" y="2742613"/>
                </a:moveTo>
                <a:lnTo>
                  <a:pt x="5016384" y="2917526"/>
                </a:lnTo>
                <a:lnTo>
                  <a:pt x="5039593" y="2930956"/>
                </a:lnTo>
                <a:lnTo>
                  <a:pt x="4713985" y="3119313"/>
                </a:lnTo>
                <a:lnTo>
                  <a:pt x="4388545" y="2930963"/>
                </a:lnTo>
                <a:close/>
                <a:moveTo>
                  <a:pt x="2660343" y="2742602"/>
                </a:moveTo>
                <a:lnTo>
                  <a:pt x="2985782" y="2930946"/>
                </a:lnTo>
                <a:lnTo>
                  <a:pt x="2660193" y="3119300"/>
                </a:lnTo>
                <a:lnTo>
                  <a:pt x="2617605" y="3094653"/>
                </a:lnTo>
                <a:lnTo>
                  <a:pt x="2334759" y="2930956"/>
                </a:lnTo>
                <a:close/>
                <a:moveTo>
                  <a:pt x="606366" y="2742589"/>
                </a:moveTo>
                <a:lnTo>
                  <a:pt x="931803" y="2930932"/>
                </a:lnTo>
                <a:lnTo>
                  <a:pt x="606216" y="3119286"/>
                </a:lnTo>
                <a:lnTo>
                  <a:pt x="280778" y="2930946"/>
                </a:lnTo>
                <a:close/>
                <a:moveTo>
                  <a:pt x="12140685" y="2578699"/>
                </a:moveTo>
                <a:cubicBezTo>
                  <a:pt x="12151191" y="2578699"/>
                  <a:pt x="12161050" y="2582849"/>
                  <a:pt x="12168445" y="2590244"/>
                </a:cubicBezTo>
                <a:lnTo>
                  <a:pt x="12188651" y="2610493"/>
                </a:lnTo>
                <a:lnTo>
                  <a:pt x="12188651" y="2878728"/>
                </a:lnTo>
                <a:lnTo>
                  <a:pt x="12034576" y="2724359"/>
                </a:lnTo>
                <a:cubicBezTo>
                  <a:pt x="12019270" y="2709048"/>
                  <a:pt x="12019270" y="2684139"/>
                  <a:pt x="12034576" y="2668969"/>
                </a:cubicBezTo>
                <a:lnTo>
                  <a:pt x="12113056" y="2590244"/>
                </a:lnTo>
                <a:cubicBezTo>
                  <a:pt x="12120448" y="2582849"/>
                  <a:pt x="12130178" y="2578699"/>
                  <a:pt x="12140685" y="2578699"/>
                </a:cubicBezTo>
                <a:close/>
                <a:moveTo>
                  <a:pt x="10086867" y="2578676"/>
                </a:moveTo>
                <a:cubicBezTo>
                  <a:pt x="10097374" y="2578676"/>
                  <a:pt x="10107232" y="2582834"/>
                  <a:pt x="10114626" y="2590227"/>
                </a:cubicBezTo>
                <a:lnTo>
                  <a:pt x="10179226" y="2654952"/>
                </a:lnTo>
                <a:lnTo>
                  <a:pt x="10190770" y="2666628"/>
                </a:lnTo>
                <a:lnTo>
                  <a:pt x="10202315" y="2654952"/>
                </a:lnTo>
                <a:lnTo>
                  <a:pt x="10266786" y="2590227"/>
                </a:lnTo>
                <a:cubicBezTo>
                  <a:pt x="10274178" y="2582702"/>
                  <a:pt x="10284037" y="2578676"/>
                  <a:pt x="10294543" y="2578676"/>
                </a:cubicBezTo>
                <a:cubicBezTo>
                  <a:pt x="10304922" y="2578676"/>
                  <a:pt x="10314781" y="2582834"/>
                  <a:pt x="10322173" y="2590227"/>
                </a:cubicBezTo>
                <a:lnTo>
                  <a:pt x="10400653" y="2668833"/>
                </a:lnTo>
                <a:cubicBezTo>
                  <a:pt x="10408047" y="2676224"/>
                  <a:pt x="10412068" y="2686069"/>
                  <a:pt x="10412198" y="2696581"/>
                </a:cubicBezTo>
                <a:cubicBezTo>
                  <a:pt x="10412198" y="2707087"/>
                  <a:pt x="10408176" y="2716950"/>
                  <a:pt x="10400783" y="2724349"/>
                </a:cubicBezTo>
                <a:lnTo>
                  <a:pt x="10190770" y="2934758"/>
                </a:lnTo>
                <a:lnTo>
                  <a:pt x="9980757" y="2724349"/>
                </a:lnTo>
                <a:cubicBezTo>
                  <a:pt x="9965450" y="2709025"/>
                  <a:pt x="9965450" y="2684132"/>
                  <a:pt x="9980757" y="2668961"/>
                </a:cubicBezTo>
                <a:lnTo>
                  <a:pt x="10059237" y="2590227"/>
                </a:lnTo>
                <a:cubicBezTo>
                  <a:pt x="10066631" y="2582834"/>
                  <a:pt x="10076359" y="2578676"/>
                  <a:pt x="10086867" y="2578676"/>
                </a:cubicBezTo>
                <a:close/>
                <a:moveTo>
                  <a:pt x="8032919" y="2578668"/>
                </a:moveTo>
                <a:cubicBezTo>
                  <a:pt x="8043427" y="2578668"/>
                  <a:pt x="8053285" y="2582821"/>
                  <a:pt x="8060679" y="2590216"/>
                </a:cubicBezTo>
                <a:lnTo>
                  <a:pt x="8125278" y="2654936"/>
                </a:lnTo>
                <a:lnTo>
                  <a:pt x="8136823" y="2666615"/>
                </a:lnTo>
                <a:lnTo>
                  <a:pt x="8148368" y="2654936"/>
                </a:lnTo>
                <a:lnTo>
                  <a:pt x="8212837" y="2590216"/>
                </a:lnTo>
                <a:cubicBezTo>
                  <a:pt x="8220232" y="2582687"/>
                  <a:pt x="8230090" y="2578668"/>
                  <a:pt x="8240596" y="2578668"/>
                </a:cubicBezTo>
                <a:cubicBezTo>
                  <a:pt x="8250975" y="2578668"/>
                  <a:pt x="8260834" y="2582821"/>
                  <a:pt x="8268226" y="2590216"/>
                </a:cubicBezTo>
                <a:lnTo>
                  <a:pt x="8346707" y="2668813"/>
                </a:lnTo>
                <a:cubicBezTo>
                  <a:pt x="8354100" y="2676206"/>
                  <a:pt x="8358121" y="2686067"/>
                  <a:pt x="8358252" y="2696569"/>
                </a:cubicBezTo>
                <a:cubicBezTo>
                  <a:pt x="8358252" y="2707074"/>
                  <a:pt x="8354229" y="2716935"/>
                  <a:pt x="8346837" y="2724335"/>
                </a:cubicBezTo>
                <a:lnTo>
                  <a:pt x="8136823" y="2934740"/>
                </a:lnTo>
                <a:lnTo>
                  <a:pt x="7926811" y="2724335"/>
                </a:lnTo>
                <a:cubicBezTo>
                  <a:pt x="7911503" y="2709022"/>
                  <a:pt x="7911503" y="2684118"/>
                  <a:pt x="7926811" y="2668949"/>
                </a:cubicBezTo>
                <a:lnTo>
                  <a:pt x="8005289" y="2590216"/>
                </a:lnTo>
                <a:cubicBezTo>
                  <a:pt x="8012684" y="2582821"/>
                  <a:pt x="8022413" y="2578668"/>
                  <a:pt x="8032919" y="2578668"/>
                </a:cubicBezTo>
                <a:close/>
                <a:moveTo>
                  <a:pt x="5979110" y="2578647"/>
                </a:moveTo>
                <a:cubicBezTo>
                  <a:pt x="5989617" y="2578647"/>
                  <a:pt x="5999474" y="2582804"/>
                  <a:pt x="6006867" y="2590201"/>
                </a:cubicBezTo>
                <a:lnTo>
                  <a:pt x="6071463" y="2654925"/>
                </a:lnTo>
                <a:lnTo>
                  <a:pt x="6083008" y="2666599"/>
                </a:lnTo>
                <a:lnTo>
                  <a:pt x="6094550" y="2654925"/>
                </a:lnTo>
                <a:lnTo>
                  <a:pt x="6159019" y="2590201"/>
                </a:lnTo>
                <a:cubicBezTo>
                  <a:pt x="6166413" y="2582677"/>
                  <a:pt x="6176271" y="2578647"/>
                  <a:pt x="6186779" y="2578647"/>
                </a:cubicBezTo>
                <a:cubicBezTo>
                  <a:pt x="6197156" y="2578647"/>
                  <a:pt x="6207014" y="2582804"/>
                  <a:pt x="6214409" y="2590201"/>
                </a:cubicBezTo>
                <a:lnTo>
                  <a:pt x="6292888" y="2668806"/>
                </a:lnTo>
                <a:cubicBezTo>
                  <a:pt x="6300282" y="2676195"/>
                  <a:pt x="6304303" y="2686054"/>
                  <a:pt x="6304433" y="2696558"/>
                </a:cubicBezTo>
                <a:cubicBezTo>
                  <a:pt x="6304433" y="2707064"/>
                  <a:pt x="6300412" y="2716922"/>
                  <a:pt x="6293017" y="2724322"/>
                </a:cubicBezTo>
                <a:lnTo>
                  <a:pt x="6083008" y="2934732"/>
                </a:lnTo>
                <a:lnTo>
                  <a:pt x="5873007" y="2724322"/>
                </a:lnTo>
                <a:cubicBezTo>
                  <a:pt x="5857702" y="2709013"/>
                  <a:pt x="5857702" y="2684109"/>
                  <a:pt x="5873007" y="2668929"/>
                </a:cubicBezTo>
                <a:lnTo>
                  <a:pt x="5951483" y="2590201"/>
                </a:lnTo>
                <a:cubicBezTo>
                  <a:pt x="5958874" y="2582804"/>
                  <a:pt x="5968603" y="2578647"/>
                  <a:pt x="5979110" y="2578647"/>
                </a:cubicBezTo>
                <a:close/>
                <a:moveTo>
                  <a:pt x="3925347" y="2578637"/>
                </a:moveTo>
                <a:cubicBezTo>
                  <a:pt x="3935849" y="2578637"/>
                  <a:pt x="3945711" y="2582791"/>
                  <a:pt x="3953105" y="2590185"/>
                </a:cubicBezTo>
                <a:lnTo>
                  <a:pt x="4017704" y="2654916"/>
                </a:lnTo>
                <a:lnTo>
                  <a:pt x="4029249" y="2666587"/>
                </a:lnTo>
                <a:lnTo>
                  <a:pt x="4040796" y="2654916"/>
                </a:lnTo>
                <a:lnTo>
                  <a:pt x="4105266" y="2590185"/>
                </a:lnTo>
                <a:cubicBezTo>
                  <a:pt x="4112662" y="2582657"/>
                  <a:pt x="4122521" y="2578637"/>
                  <a:pt x="4133029" y="2578637"/>
                </a:cubicBezTo>
                <a:cubicBezTo>
                  <a:pt x="4143402" y="2578637"/>
                  <a:pt x="4153264" y="2582791"/>
                  <a:pt x="4160658" y="2590185"/>
                </a:cubicBezTo>
                <a:lnTo>
                  <a:pt x="4239088" y="2668790"/>
                </a:lnTo>
                <a:cubicBezTo>
                  <a:pt x="4246485" y="2676182"/>
                  <a:pt x="4250503" y="2686043"/>
                  <a:pt x="4250643" y="2696546"/>
                </a:cubicBezTo>
                <a:cubicBezTo>
                  <a:pt x="4250643" y="2707054"/>
                  <a:pt x="4246615" y="2716914"/>
                  <a:pt x="4239218" y="2724312"/>
                </a:cubicBezTo>
                <a:lnTo>
                  <a:pt x="4029249" y="2934721"/>
                </a:lnTo>
                <a:lnTo>
                  <a:pt x="3819228" y="2724312"/>
                </a:lnTo>
                <a:cubicBezTo>
                  <a:pt x="3803920" y="2709004"/>
                  <a:pt x="3803920" y="2684099"/>
                  <a:pt x="3819228" y="2668922"/>
                </a:cubicBezTo>
                <a:lnTo>
                  <a:pt x="3897713" y="2590185"/>
                </a:lnTo>
                <a:cubicBezTo>
                  <a:pt x="3905113" y="2582791"/>
                  <a:pt x="3914841" y="2578637"/>
                  <a:pt x="3925347" y="2578637"/>
                </a:cubicBezTo>
                <a:close/>
                <a:moveTo>
                  <a:pt x="1871372" y="2578623"/>
                </a:moveTo>
                <a:cubicBezTo>
                  <a:pt x="1881880" y="2578623"/>
                  <a:pt x="1891738" y="2582776"/>
                  <a:pt x="1899133" y="2590172"/>
                </a:cubicBezTo>
                <a:lnTo>
                  <a:pt x="1963731" y="2654901"/>
                </a:lnTo>
                <a:lnTo>
                  <a:pt x="1975277" y="2666574"/>
                </a:lnTo>
                <a:lnTo>
                  <a:pt x="1986820" y="2654901"/>
                </a:lnTo>
                <a:lnTo>
                  <a:pt x="2051290" y="2590172"/>
                </a:lnTo>
                <a:cubicBezTo>
                  <a:pt x="2058684" y="2582643"/>
                  <a:pt x="2068543" y="2578623"/>
                  <a:pt x="2079050" y="2578623"/>
                </a:cubicBezTo>
                <a:cubicBezTo>
                  <a:pt x="2089428" y="2578623"/>
                  <a:pt x="2099292" y="2582776"/>
                  <a:pt x="2106688" y="2590172"/>
                </a:cubicBezTo>
                <a:lnTo>
                  <a:pt x="2185169" y="2668781"/>
                </a:lnTo>
                <a:cubicBezTo>
                  <a:pt x="2192563" y="2676170"/>
                  <a:pt x="2196582" y="2686028"/>
                  <a:pt x="2196712" y="2696534"/>
                </a:cubicBezTo>
                <a:cubicBezTo>
                  <a:pt x="2196712" y="2707042"/>
                  <a:pt x="2192692" y="2716901"/>
                  <a:pt x="2185297" y="2724297"/>
                </a:cubicBezTo>
                <a:lnTo>
                  <a:pt x="1975277" y="2934709"/>
                </a:lnTo>
                <a:lnTo>
                  <a:pt x="1765263" y="2724297"/>
                </a:lnTo>
                <a:cubicBezTo>
                  <a:pt x="1749956" y="2708988"/>
                  <a:pt x="1749956" y="2684084"/>
                  <a:pt x="1765263" y="2668910"/>
                </a:cubicBezTo>
                <a:lnTo>
                  <a:pt x="1843742" y="2590172"/>
                </a:lnTo>
                <a:cubicBezTo>
                  <a:pt x="1851137" y="2582776"/>
                  <a:pt x="1860865" y="2578623"/>
                  <a:pt x="1871372" y="2578623"/>
                </a:cubicBezTo>
                <a:close/>
                <a:moveTo>
                  <a:pt x="25211" y="2578608"/>
                </a:moveTo>
                <a:cubicBezTo>
                  <a:pt x="35587" y="2578608"/>
                  <a:pt x="45446" y="2582760"/>
                  <a:pt x="52840" y="2590156"/>
                </a:cubicBezTo>
                <a:lnTo>
                  <a:pt x="131319" y="2668766"/>
                </a:lnTo>
                <a:cubicBezTo>
                  <a:pt x="138713" y="2676158"/>
                  <a:pt x="142735" y="2686019"/>
                  <a:pt x="142863" y="2696524"/>
                </a:cubicBezTo>
                <a:cubicBezTo>
                  <a:pt x="142863" y="2707032"/>
                  <a:pt x="138842" y="2716891"/>
                  <a:pt x="131448" y="2724284"/>
                </a:cubicBezTo>
                <a:lnTo>
                  <a:pt x="0" y="2855984"/>
                </a:lnTo>
                <a:lnTo>
                  <a:pt x="0" y="2589096"/>
                </a:lnTo>
                <a:close/>
                <a:moveTo>
                  <a:pt x="10086867" y="2562208"/>
                </a:moveTo>
                <a:cubicBezTo>
                  <a:pt x="10072597" y="2562208"/>
                  <a:pt x="10058458" y="2567658"/>
                  <a:pt x="10047692" y="2578552"/>
                </a:cubicBezTo>
                <a:lnTo>
                  <a:pt x="9969212" y="2657287"/>
                </a:lnTo>
                <a:cubicBezTo>
                  <a:pt x="9947549" y="2678945"/>
                  <a:pt x="9947549" y="2714223"/>
                  <a:pt x="9969212" y="2735892"/>
                </a:cubicBezTo>
                <a:lnTo>
                  <a:pt x="10190770" y="2957977"/>
                </a:lnTo>
                <a:lnTo>
                  <a:pt x="10412328" y="2735892"/>
                </a:lnTo>
                <a:cubicBezTo>
                  <a:pt x="10433990" y="2714223"/>
                  <a:pt x="10433990" y="2678945"/>
                  <a:pt x="10412328" y="2657287"/>
                </a:cubicBezTo>
                <a:lnTo>
                  <a:pt x="10333848" y="2578676"/>
                </a:lnTo>
                <a:cubicBezTo>
                  <a:pt x="10322953" y="2567787"/>
                  <a:pt x="10308813" y="2562337"/>
                  <a:pt x="10294673" y="2562337"/>
                </a:cubicBezTo>
                <a:lnTo>
                  <a:pt x="10294543" y="2562208"/>
                </a:lnTo>
                <a:cubicBezTo>
                  <a:pt x="10280275" y="2562208"/>
                  <a:pt x="10266136" y="2567658"/>
                  <a:pt x="10255241" y="2578676"/>
                </a:cubicBezTo>
                <a:lnTo>
                  <a:pt x="10190770" y="2643284"/>
                </a:lnTo>
                <a:lnTo>
                  <a:pt x="10126171" y="2578552"/>
                </a:lnTo>
                <a:cubicBezTo>
                  <a:pt x="10115274" y="2567658"/>
                  <a:pt x="10101136" y="2562208"/>
                  <a:pt x="10086867" y="2562208"/>
                </a:cubicBezTo>
                <a:close/>
                <a:moveTo>
                  <a:pt x="8032919" y="2562187"/>
                </a:moveTo>
                <a:cubicBezTo>
                  <a:pt x="8018650" y="2562187"/>
                  <a:pt x="8004511" y="2567640"/>
                  <a:pt x="7993744" y="2578533"/>
                </a:cubicBezTo>
                <a:lnTo>
                  <a:pt x="7915266" y="2657273"/>
                </a:lnTo>
                <a:cubicBezTo>
                  <a:pt x="7893603" y="2678932"/>
                  <a:pt x="7893603" y="2714210"/>
                  <a:pt x="7915266" y="2735878"/>
                </a:cubicBezTo>
                <a:lnTo>
                  <a:pt x="8136823" y="2957963"/>
                </a:lnTo>
                <a:lnTo>
                  <a:pt x="8358382" y="2735878"/>
                </a:lnTo>
                <a:cubicBezTo>
                  <a:pt x="8380044" y="2714210"/>
                  <a:pt x="8380044" y="2678932"/>
                  <a:pt x="8358382" y="2657273"/>
                </a:cubicBezTo>
                <a:lnTo>
                  <a:pt x="8279902" y="2578668"/>
                </a:lnTo>
                <a:cubicBezTo>
                  <a:pt x="8269006" y="2567767"/>
                  <a:pt x="8254866" y="2562324"/>
                  <a:pt x="8240727" y="2562324"/>
                </a:cubicBezTo>
                <a:lnTo>
                  <a:pt x="8240596" y="2562187"/>
                </a:lnTo>
                <a:cubicBezTo>
                  <a:pt x="8226328" y="2562187"/>
                  <a:pt x="8212190" y="2567640"/>
                  <a:pt x="8201292" y="2578668"/>
                </a:cubicBezTo>
                <a:lnTo>
                  <a:pt x="8136823" y="2643266"/>
                </a:lnTo>
                <a:lnTo>
                  <a:pt x="8072224" y="2578533"/>
                </a:lnTo>
                <a:cubicBezTo>
                  <a:pt x="8061328" y="2567640"/>
                  <a:pt x="8047187" y="2562187"/>
                  <a:pt x="8032919" y="2562187"/>
                </a:cubicBezTo>
                <a:close/>
                <a:moveTo>
                  <a:pt x="5979110" y="2562181"/>
                </a:moveTo>
                <a:cubicBezTo>
                  <a:pt x="5964843" y="2562181"/>
                  <a:pt x="5950702" y="2567620"/>
                  <a:pt x="5939938" y="2578524"/>
                </a:cubicBezTo>
                <a:lnTo>
                  <a:pt x="5861462" y="2657262"/>
                </a:lnTo>
                <a:cubicBezTo>
                  <a:pt x="5839806" y="2678919"/>
                  <a:pt x="5839806" y="2714205"/>
                  <a:pt x="5861462" y="2735865"/>
                </a:cubicBezTo>
                <a:lnTo>
                  <a:pt x="6083008" y="2957948"/>
                </a:lnTo>
                <a:lnTo>
                  <a:pt x="6304562" y="2735865"/>
                </a:lnTo>
                <a:cubicBezTo>
                  <a:pt x="6326226" y="2714205"/>
                  <a:pt x="6326226" y="2678919"/>
                  <a:pt x="6304562" y="2657262"/>
                </a:cubicBezTo>
                <a:lnTo>
                  <a:pt x="6226084" y="2578647"/>
                </a:lnTo>
                <a:cubicBezTo>
                  <a:pt x="6215186" y="2567753"/>
                  <a:pt x="6201048" y="2562308"/>
                  <a:pt x="6186909" y="2562308"/>
                </a:cubicBezTo>
                <a:lnTo>
                  <a:pt x="6186779" y="2562181"/>
                </a:lnTo>
                <a:cubicBezTo>
                  <a:pt x="6172511" y="2562181"/>
                  <a:pt x="6158370" y="2567620"/>
                  <a:pt x="6147474" y="2578647"/>
                </a:cubicBezTo>
                <a:lnTo>
                  <a:pt x="6083008" y="2643253"/>
                </a:lnTo>
                <a:lnTo>
                  <a:pt x="6018412" y="2578524"/>
                </a:lnTo>
                <a:cubicBezTo>
                  <a:pt x="6007516" y="2567620"/>
                  <a:pt x="5993378" y="2562181"/>
                  <a:pt x="5979110" y="2562181"/>
                </a:cubicBezTo>
                <a:close/>
                <a:moveTo>
                  <a:pt x="3925347" y="2562165"/>
                </a:moveTo>
                <a:cubicBezTo>
                  <a:pt x="3911078" y="2562165"/>
                  <a:pt x="3896938" y="2567612"/>
                  <a:pt x="3886170" y="2578508"/>
                </a:cubicBezTo>
                <a:lnTo>
                  <a:pt x="3807684" y="2657243"/>
                </a:lnTo>
                <a:cubicBezTo>
                  <a:pt x="3786024" y="2678908"/>
                  <a:pt x="3786024" y="2714191"/>
                  <a:pt x="3807684" y="2735855"/>
                </a:cubicBezTo>
                <a:lnTo>
                  <a:pt x="4029249" y="2957936"/>
                </a:lnTo>
                <a:lnTo>
                  <a:pt x="4250768" y="2735855"/>
                </a:lnTo>
                <a:cubicBezTo>
                  <a:pt x="4272427" y="2714191"/>
                  <a:pt x="4272427" y="2678908"/>
                  <a:pt x="4250768" y="2657243"/>
                </a:cubicBezTo>
                <a:lnTo>
                  <a:pt x="4172332" y="2578637"/>
                </a:lnTo>
                <a:cubicBezTo>
                  <a:pt x="4161436" y="2567737"/>
                  <a:pt x="4147297" y="2562295"/>
                  <a:pt x="4133157" y="2562295"/>
                </a:cubicBezTo>
                <a:lnTo>
                  <a:pt x="4133029" y="2562165"/>
                </a:lnTo>
                <a:cubicBezTo>
                  <a:pt x="4118756" y="2562165"/>
                  <a:pt x="4104617" y="2567612"/>
                  <a:pt x="4093722" y="2578637"/>
                </a:cubicBezTo>
                <a:lnTo>
                  <a:pt x="4029249" y="2643240"/>
                </a:lnTo>
                <a:lnTo>
                  <a:pt x="3964652" y="2578508"/>
                </a:lnTo>
                <a:cubicBezTo>
                  <a:pt x="3953753" y="2567612"/>
                  <a:pt x="3939615" y="2562165"/>
                  <a:pt x="3925347" y="2562165"/>
                </a:cubicBezTo>
                <a:close/>
                <a:moveTo>
                  <a:pt x="1871372" y="2562148"/>
                </a:moveTo>
                <a:cubicBezTo>
                  <a:pt x="1857104" y="2562148"/>
                  <a:pt x="1842964" y="2567596"/>
                  <a:pt x="1832197" y="2578496"/>
                </a:cubicBezTo>
                <a:lnTo>
                  <a:pt x="1753719" y="2657236"/>
                </a:lnTo>
                <a:cubicBezTo>
                  <a:pt x="1732057" y="2678896"/>
                  <a:pt x="1732057" y="2714180"/>
                  <a:pt x="1753719" y="2735841"/>
                </a:cubicBezTo>
                <a:lnTo>
                  <a:pt x="1975277" y="2957928"/>
                </a:lnTo>
                <a:lnTo>
                  <a:pt x="2196842" y="2735841"/>
                </a:lnTo>
                <a:cubicBezTo>
                  <a:pt x="2218507" y="2714180"/>
                  <a:pt x="2218507" y="2678896"/>
                  <a:pt x="2196842" y="2657236"/>
                </a:cubicBezTo>
                <a:lnTo>
                  <a:pt x="2118362" y="2578623"/>
                </a:lnTo>
                <a:cubicBezTo>
                  <a:pt x="2107467" y="2567726"/>
                  <a:pt x="2093319" y="2562279"/>
                  <a:pt x="2079180" y="2562279"/>
                </a:cubicBezTo>
                <a:lnTo>
                  <a:pt x="2079050" y="2562148"/>
                </a:lnTo>
                <a:cubicBezTo>
                  <a:pt x="2064781" y="2562148"/>
                  <a:pt x="2050642" y="2567596"/>
                  <a:pt x="2039746" y="2578623"/>
                </a:cubicBezTo>
                <a:lnTo>
                  <a:pt x="1975277" y="2643223"/>
                </a:lnTo>
                <a:lnTo>
                  <a:pt x="1910677" y="2578496"/>
                </a:lnTo>
                <a:cubicBezTo>
                  <a:pt x="1899779" y="2567596"/>
                  <a:pt x="1885640" y="2562148"/>
                  <a:pt x="1871372" y="2562148"/>
                </a:cubicBezTo>
                <a:close/>
                <a:moveTo>
                  <a:pt x="0" y="2391946"/>
                </a:moveTo>
                <a:lnTo>
                  <a:pt x="255065" y="2539561"/>
                </a:lnTo>
                <a:lnTo>
                  <a:pt x="255065" y="2925743"/>
                </a:lnTo>
                <a:lnTo>
                  <a:pt x="0" y="3073355"/>
                </a:lnTo>
                <a:lnTo>
                  <a:pt x="0" y="2879166"/>
                </a:lnTo>
                <a:lnTo>
                  <a:pt x="142993" y="2735832"/>
                </a:lnTo>
                <a:cubicBezTo>
                  <a:pt x="164657" y="2714167"/>
                  <a:pt x="164657" y="2678883"/>
                  <a:pt x="142993" y="2657222"/>
                </a:cubicBezTo>
                <a:lnTo>
                  <a:pt x="64513" y="2578608"/>
                </a:lnTo>
                <a:cubicBezTo>
                  <a:pt x="53617" y="2567713"/>
                  <a:pt x="39478" y="2562265"/>
                  <a:pt x="25338" y="2562265"/>
                </a:cubicBezTo>
                <a:lnTo>
                  <a:pt x="25211" y="2562134"/>
                </a:lnTo>
                <a:cubicBezTo>
                  <a:pt x="18075" y="2562134"/>
                  <a:pt x="10973" y="2563497"/>
                  <a:pt x="4293" y="2566237"/>
                </a:cubicBezTo>
                <a:lnTo>
                  <a:pt x="0" y="2569125"/>
                </a:lnTo>
                <a:close/>
                <a:moveTo>
                  <a:pt x="12188651" y="2378785"/>
                </a:moveTo>
                <a:lnTo>
                  <a:pt x="12188651" y="2587244"/>
                </a:lnTo>
                <a:lnTo>
                  <a:pt x="12179990" y="2578566"/>
                </a:lnTo>
                <a:cubicBezTo>
                  <a:pt x="12169092" y="2567669"/>
                  <a:pt x="12154954" y="2562222"/>
                  <a:pt x="12140685" y="2562222"/>
                </a:cubicBezTo>
                <a:cubicBezTo>
                  <a:pt x="12126416" y="2562222"/>
                  <a:pt x="12112276" y="2567669"/>
                  <a:pt x="12101510" y="2578566"/>
                </a:cubicBezTo>
                <a:lnTo>
                  <a:pt x="12023031" y="2657304"/>
                </a:lnTo>
                <a:cubicBezTo>
                  <a:pt x="12001368" y="2678954"/>
                  <a:pt x="12001368" y="2714236"/>
                  <a:pt x="12023031" y="2735902"/>
                </a:cubicBezTo>
                <a:lnTo>
                  <a:pt x="12188651" y="2901917"/>
                </a:lnTo>
                <a:lnTo>
                  <a:pt x="12188651" y="3086666"/>
                </a:lnTo>
                <a:lnTo>
                  <a:pt x="11910696" y="2925817"/>
                </a:lnTo>
                <a:lnTo>
                  <a:pt x="11910696" y="2539653"/>
                </a:lnTo>
                <a:close/>
                <a:moveTo>
                  <a:pt x="10883981" y="2351688"/>
                </a:moveTo>
                <a:lnTo>
                  <a:pt x="11209441" y="2540032"/>
                </a:lnTo>
                <a:lnTo>
                  <a:pt x="11209441" y="2916853"/>
                </a:lnTo>
                <a:lnTo>
                  <a:pt x="10883981" y="2728491"/>
                </a:lnTo>
                <a:close/>
                <a:moveTo>
                  <a:pt x="10867636" y="2351688"/>
                </a:moveTo>
                <a:lnTo>
                  <a:pt x="10867636" y="2728491"/>
                </a:lnTo>
                <a:lnTo>
                  <a:pt x="10542045" y="2916853"/>
                </a:lnTo>
                <a:lnTo>
                  <a:pt x="10542045" y="2540032"/>
                </a:lnTo>
                <a:close/>
                <a:moveTo>
                  <a:pt x="8830033" y="2351669"/>
                </a:moveTo>
                <a:lnTo>
                  <a:pt x="9155493" y="2540021"/>
                </a:lnTo>
                <a:lnTo>
                  <a:pt x="9155493" y="2916842"/>
                </a:lnTo>
                <a:lnTo>
                  <a:pt x="8830033" y="2728478"/>
                </a:lnTo>
                <a:close/>
                <a:moveTo>
                  <a:pt x="8813688" y="2351669"/>
                </a:moveTo>
                <a:lnTo>
                  <a:pt x="8813688" y="2728481"/>
                </a:lnTo>
                <a:lnTo>
                  <a:pt x="8488098" y="2916842"/>
                </a:lnTo>
                <a:lnTo>
                  <a:pt x="8488098" y="2540021"/>
                </a:lnTo>
                <a:close/>
                <a:moveTo>
                  <a:pt x="6776215" y="2351657"/>
                </a:moveTo>
                <a:lnTo>
                  <a:pt x="7101677" y="2540012"/>
                </a:lnTo>
                <a:lnTo>
                  <a:pt x="7101677" y="2916827"/>
                </a:lnTo>
                <a:lnTo>
                  <a:pt x="6776215" y="2728471"/>
                </a:lnTo>
                <a:close/>
                <a:moveTo>
                  <a:pt x="6759871" y="2351657"/>
                </a:moveTo>
                <a:lnTo>
                  <a:pt x="6759871" y="2728471"/>
                </a:lnTo>
                <a:lnTo>
                  <a:pt x="6434280" y="2916827"/>
                </a:lnTo>
                <a:lnTo>
                  <a:pt x="6434280" y="2540012"/>
                </a:lnTo>
                <a:close/>
                <a:moveTo>
                  <a:pt x="4705942" y="2351645"/>
                </a:moveTo>
                <a:lnTo>
                  <a:pt x="4705942" y="2728455"/>
                </a:lnTo>
                <a:lnTo>
                  <a:pt x="4380369" y="2916811"/>
                </a:lnTo>
                <a:lnTo>
                  <a:pt x="4380369" y="2539997"/>
                </a:lnTo>
                <a:close/>
                <a:moveTo>
                  <a:pt x="2652144" y="2351640"/>
                </a:moveTo>
                <a:lnTo>
                  <a:pt x="2652144" y="2728447"/>
                </a:lnTo>
                <a:lnTo>
                  <a:pt x="2326587" y="2916788"/>
                </a:lnTo>
                <a:lnTo>
                  <a:pt x="2326587" y="2539980"/>
                </a:lnTo>
                <a:close/>
                <a:moveTo>
                  <a:pt x="4722303" y="2351638"/>
                </a:moveTo>
                <a:lnTo>
                  <a:pt x="5047773" y="2539983"/>
                </a:lnTo>
                <a:lnTo>
                  <a:pt x="5047773" y="2916816"/>
                </a:lnTo>
                <a:lnTo>
                  <a:pt x="4722303" y="2728468"/>
                </a:lnTo>
                <a:close/>
                <a:moveTo>
                  <a:pt x="2668516" y="2351626"/>
                </a:moveTo>
                <a:lnTo>
                  <a:pt x="2748692" y="2398022"/>
                </a:lnTo>
                <a:lnTo>
                  <a:pt x="2939844" y="2508648"/>
                </a:lnTo>
                <a:lnTo>
                  <a:pt x="2993954" y="2539966"/>
                </a:lnTo>
                <a:lnTo>
                  <a:pt x="2993954" y="2916805"/>
                </a:lnTo>
                <a:lnTo>
                  <a:pt x="2938907" y="2884945"/>
                </a:lnTo>
                <a:lnTo>
                  <a:pt x="2668516" y="2728456"/>
                </a:lnTo>
                <a:close/>
                <a:moveTo>
                  <a:pt x="598171" y="2351626"/>
                </a:moveTo>
                <a:lnTo>
                  <a:pt x="598171" y="2728434"/>
                </a:lnTo>
                <a:lnTo>
                  <a:pt x="272607" y="2916778"/>
                </a:lnTo>
                <a:lnTo>
                  <a:pt x="272607" y="2539968"/>
                </a:lnTo>
                <a:close/>
                <a:moveTo>
                  <a:pt x="614543" y="2351612"/>
                </a:moveTo>
                <a:lnTo>
                  <a:pt x="939976" y="2539953"/>
                </a:lnTo>
                <a:lnTo>
                  <a:pt x="939976" y="2916793"/>
                </a:lnTo>
                <a:lnTo>
                  <a:pt x="614543" y="2728448"/>
                </a:lnTo>
                <a:close/>
                <a:moveTo>
                  <a:pt x="11559549" y="2346879"/>
                </a:moveTo>
                <a:lnTo>
                  <a:pt x="11893312" y="2540032"/>
                </a:lnTo>
                <a:lnTo>
                  <a:pt x="11893312" y="2926321"/>
                </a:lnTo>
                <a:lnTo>
                  <a:pt x="11559679" y="3119473"/>
                </a:lnTo>
                <a:lnTo>
                  <a:pt x="11225916" y="2926321"/>
                </a:lnTo>
                <a:lnTo>
                  <a:pt x="11225916" y="2540032"/>
                </a:lnTo>
                <a:close/>
                <a:moveTo>
                  <a:pt x="9505601" y="2346870"/>
                </a:moveTo>
                <a:lnTo>
                  <a:pt x="9839364" y="2540021"/>
                </a:lnTo>
                <a:lnTo>
                  <a:pt x="9839364" y="2926315"/>
                </a:lnTo>
                <a:lnTo>
                  <a:pt x="9505732" y="3119464"/>
                </a:lnTo>
                <a:lnTo>
                  <a:pt x="9171969" y="2926315"/>
                </a:lnTo>
                <a:lnTo>
                  <a:pt x="9171969" y="2540021"/>
                </a:lnTo>
                <a:close/>
                <a:moveTo>
                  <a:pt x="7451785" y="2346860"/>
                </a:moveTo>
                <a:lnTo>
                  <a:pt x="7785548" y="2540012"/>
                </a:lnTo>
                <a:lnTo>
                  <a:pt x="7785548" y="2926298"/>
                </a:lnTo>
                <a:lnTo>
                  <a:pt x="7451915" y="3119455"/>
                </a:lnTo>
                <a:lnTo>
                  <a:pt x="7118150" y="2926298"/>
                </a:lnTo>
                <a:lnTo>
                  <a:pt x="7118150" y="2540012"/>
                </a:lnTo>
                <a:close/>
                <a:moveTo>
                  <a:pt x="5397883" y="2346843"/>
                </a:moveTo>
                <a:lnTo>
                  <a:pt x="5731616" y="2539987"/>
                </a:lnTo>
                <a:lnTo>
                  <a:pt x="5731616" y="2926288"/>
                </a:lnTo>
                <a:lnTo>
                  <a:pt x="5397992" y="3119437"/>
                </a:lnTo>
                <a:lnTo>
                  <a:pt x="5293503" y="3058968"/>
                </a:lnTo>
                <a:lnTo>
                  <a:pt x="5064269" y="2926298"/>
                </a:lnTo>
                <a:lnTo>
                  <a:pt x="5064269" y="2539997"/>
                </a:lnTo>
                <a:close/>
                <a:moveTo>
                  <a:pt x="3344089" y="2346826"/>
                </a:moveTo>
                <a:lnTo>
                  <a:pt x="3412199" y="2386238"/>
                </a:lnTo>
                <a:lnTo>
                  <a:pt x="3665295" y="2532714"/>
                </a:lnTo>
                <a:lnTo>
                  <a:pt x="3677820" y="2539966"/>
                </a:lnTo>
                <a:lnTo>
                  <a:pt x="3677820" y="2926275"/>
                </a:lnTo>
                <a:lnTo>
                  <a:pt x="3344194" y="3119426"/>
                </a:lnTo>
                <a:lnTo>
                  <a:pt x="3184341" y="3026916"/>
                </a:lnTo>
                <a:lnTo>
                  <a:pt x="3010455" y="2926288"/>
                </a:lnTo>
                <a:lnTo>
                  <a:pt x="3010455" y="2539980"/>
                </a:lnTo>
                <a:close/>
                <a:moveTo>
                  <a:pt x="1290108" y="2346810"/>
                </a:moveTo>
                <a:lnTo>
                  <a:pt x="1351079" y="2382092"/>
                </a:lnTo>
                <a:lnTo>
                  <a:pt x="1535796" y="2488993"/>
                </a:lnTo>
                <a:lnTo>
                  <a:pt x="1623847" y="2539954"/>
                </a:lnTo>
                <a:lnTo>
                  <a:pt x="1623847" y="2926261"/>
                </a:lnTo>
                <a:lnTo>
                  <a:pt x="1290218" y="3119416"/>
                </a:lnTo>
                <a:lnTo>
                  <a:pt x="1213315" y="3074912"/>
                </a:lnTo>
                <a:lnTo>
                  <a:pt x="963641" y="2930424"/>
                </a:lnTo>
                <a:lnTo>
                  <a:pt x="956477" y="2926279"/>
                </a:lnTo>
                <a:lnTo>
                  <a:pt x="956477" y="2539968"/>
                </a:lnTo>
                <a:close/>
                <a:moveTo>
                  <a:pt x="10190640" y="2346481"/>
                </a:moveTo>
                <a:lnTo>
                  <a:pt x="10524404" y="2539629"/>
                </a:lnTo>
                <a:lnTo>
                  <a:pt x="10524404" y="2925801"/>
                </a:lnTo>
                <a:lnTo>
                  <a:pt x="10190640" y="3118955"/>
                </a:lnTo>
                <a:lnTo>
                  <a:pt x="9856876" y="2925801"/>
                </a:lnTo>
                <a:lnTo>
                  <a:pt x="9856876" y="2539629"/>
                </a:lnTo>
                <a:close/>
                <a:moveTo>
                  <a:pt x="8136693" y="2346470"/>
                </a:moveTo>
                <a:lnTo>
                  <a:pt x="8470456" y="2539621"/>
                </a:lnTo>
                <a:lnTo>
                  <a:pt x="8470456" y="2925792"/>
                </a:lnTo>
                <a:lnTo>
                  <a:pt x="8136693" y="3118942"/>
                </a:lnTo>
                <a:lnTo>
                  <a:pt x="7802930" y="2925792"/>
                </a:lnTo>
                <a:lnTo>
                  <a:pt x="7802930" y="2539621"/>
                </a:lnTo>
                <a:close/>
                <a:moveTo>
                  <a:pt x="6082876" y="2346447"/>
                </a:moveTo>
                <a:lnTo>
                  <a:pt x="6416638" y="2539608"/>
                </a:lnTo>
                <a:lnTo>
                  <a:pt x="6416638" y="2925780"/>
                </a:lnTo>
                <a:lnTo>
                  <a:pt x="6082876" y="3118929"/>
                </a:lnTo>
                <a:lnTo>
                  <a:pt x="5749138" y="2925780"/>
                </a:lnTo>
                <a:lnTo>
                  <a:pt x="5749138" y="2539608"/>
                </a:lnTo>
                <a:close/>
                <a:moveTo>
                  <a:pt x="4029122" y="2346439"/>
                </a:moveTo>
                <a:lnTo>
                  <a:pt x="4326678" y="2518660"/>
                </a:lnTo>
                <a:lnTo>
                  <a:pt x="4362838" y="2539591"/>
                </a:lnTo>
                <a:lnTo>
                  <a:pt x="4362838" y="2925766"/>
                </a:lnTo>
                <a:lnTo>
                  <a:pt x="4029115" y="3118919"/>
                </a:lnTo>
                <a:lnTo>
                  <a:pt x="3695364" y="2925772"/>
                </a:lnTo>
                <a:lnTo>
                  <a:pt x="3695364" y="2539591"/>
                </a:lnTo>
                <a:close/>
                <a:moveTo>
                  <a:pt x="1975147" y="2346423"/>
                </a:moveTo>
                <a:lnTo>
                  <a:pt x="2308913" y="2539575"/>
                </a:lnTo>
                <a:lnTo>
                  <a:pt x="2308913" y="2925753"/>
                </a:lnTo>
                <a:lnTo>
                  <a:pt x="1975142" y="3118908"/>
                </a:lnTo>
                <a:lnTo>
                  <a:pt x="1641385" y="2925755"/>
                </a:lnTo>
                <a:lnTo>
                  <a:pt x="1641385" y="2539579"/>
                </a:lnTo>
                <a:close/>
                <a:moveTo>
                  <a:pt x="11902654" y="2148664"/>
                </a:moveTo>
                <a:lnTo>
                  <a:pt x="12188651" y="2314149"/>
                </a:lnTo>
                <a:lnTo>
                  <a:pt x="12188651" y="2359849"/>
                </a:lnTo>
                <a:lnTo>
                  <a:pt x="11902524" y="2525372"/>
                </a:lnTo>
                <a:lnTo>
                  <a:pt x="11577065" y="2337021"/>
                </a:lnTo>
                <a:close/>
                <a:moveTo>
                  <a:pt x="9848833" y="2148651"/>
                </a:moveTo>
                <a:lnTo>
                  <a:pt x="10174292" y="2337004"/>
                </a:lnTo>
                <a:lnTo>
                  <a:pt x="9848703" y="2525360"/>
                </a:lnTo>
                <a:lnTo>
                  <a:pt x="9523246" y="2337004"/>
                </a:lnTo>
                <a:close/>
                <a:moveTo>
                  <a:pt x="7794888" y="2148635"/>
                </a:moveTo>
                <a:lnTo>
                  <a:pt x="8120344" y="2336987"/>
                </a:lnTo>
                <a:lnTo>
                  <a:pt x="7794758" y="2525343"/>
                </a:lnTo>
                <a:lnTo>
                  <a:pt x="7469301" y="2336987"/>
                </a:lnTo>
                <a:close/>
                <a:moveTo>
                  <a:pt x="5741092" y="2148623"/>
                </a:moveTo>
                <a:lnTo>
                  <a:pt x="6066529" y="2336977"/>
                </a:lnTo>
                <a:lnTo>
                  <a:pt x="5740963" y="2525334"/>
                </a:lnTo>
                <a:lnTo>
                  <a:pt x="5415529" y="2336977"/>
                </a:lnTo>
                <a:close/>
                <a:moveTo>
                  <a:pt x="3687323" y="2148612"/>
                </a:moveTo>
                <a:lnTo>
                  <a:pt x="4012773" y="2336961"/>
                </a:lnTo>
                <a:lnTo>
                  <a:pt x="3687187" y="2525317"/>
                </a:lnTo>
                <a:lnTo>
                  <a:pt x="3465770" y="2397169"/>
                </a:lnTo>
                <a:lnTo>
                  <a:pt x="3361734" y="2336966"/>
                </a:lnTo>
                <a:close/>
                <a:moveTo>
                  <a:pt x="1633341" y="2148592"/>
                </a:moveTo>
                <a:lnTo>
                  <a:pt x="1958797" y="2336948"/>
                </a:lnTo>
                <a:lnTo>
                  <a:pt x="1633208" y="2525303"/>
                </a:lnTo>
                <a:lnTo>
                  <a:pt x="1561718" y="2483930"/>
                </a:lnTo>
                <a:lnTo>
                  <a:pt x="1307753" y="2336948"/>
                </a:lnTo>
                <a:close/>
                <a:moveTo>
                  <a:pt x="11113840" y="1984709"/>
                </a:moveTo>
                <a:cubicBezTo>
                  <a:pt x="11124348" y="1984709"/>
                  <a:pt x="11134206" y="1988860"/>
                  <a:pt x="11141600" y="1996254"/>
                </a:cubicBezTo>
                <a:lnTo>
                  <a:pt x="11206199" y="2060984"/>
                </a:lnTo>
                <a:lnTo>
                  <a:pt x="11217744" y="2072657"/>
                </a:lnTo>
                <a:lnTo>
                  <a:pt x="11229289" y="2060984"/>
                </a:lnTo>
                <a:lnTo>
                  <a:pt x="11293758" y="1996254"/>
                </a:lnTo>
                <a:cubicBezTo>
                  <a:pt x="11301152" y="1988728"/>
                  <a:pt x="11311011" y="1984709"/>
                  <a:pt x="11321517" y="1984709"/>
                </a:cubicBezTo>
                <a:cubicBezTo>
                  <a:pt x="11331896" y="1984709"/>
                  <a:pt x="11341755" y="1988860"/>
                  <a:pt x="11349147" y="1996254"/>
                </a:cubicBezTo>
                <a:lnTo>
                  <a:pt x="11427627" y="2074862"/>
                </a:lnTo>
                <a:lnTo>
                  <a:pt x="11439169" y="2102615"/>
                </a:lnTo>
                <a:lnTo>
                  <a:pt x="11427757" y="2130362"/>
                </a:lnTo>
                <a:lnTo>
                  <a:pt x="11217744" y="2340772"/>
                </a:lnTo>
                <a:lnTo>
                  <a:pt x="11007731" y="2130362"/>
                </a:lnTo>
                <a:lnTo>
                  <a:pt x="10996254" y="2102632"/>
                </a:lnTo>
                <a:lnTo>
                  <a:pt x="11007731" y="2074992"/>
                </a:lnTo>
                <a:lnTo>
                  <a:pt x="11086210" y="1996254"/>
                </a:lnTo>
                <a:cubicBezTo>
                  <a:pt x="11093605" y="1988860"/>
                  <a:pt x="11103333" y="1984709"/>
                  <a:pt x="11113840" y="1984709"/>
                </a:cubicBezTo>
                <a:close/>
                <a:moveTo>
                  <a:pt x="9059892" y="1984692"/>
                </a:moveTo>
                <a:cubicBezTo>
                  <a:pt x="9070398" y="1984692"/>
                  <a:pt x="9080257" y="1988843"/>
                  <a:pt x="9087652" y="1996238"/>
                </a:cubicBezTo>
                <a:lnTo>
                  <a:pt x="9152251" y="2060967"/>
                </a:lnTo>
                <a:lnTo>
                  <a:pt x="9163796" y="2072641"/>
                </a:lnTo>
                <a:lnTo>
                  <a:pt x="9175341" y="2060967"/>
                </a:lnTo>
                <a:lnTo>
                  <a:pt x="9239810" y="1996238"/>
                </a:lnTo>
                <a:cubicBezTo>
                  <a:pt x="9247204" y="1988714"/>
                  <a:pt x="9257062" y="1984692"/>
                  <a:pt x="9267570" y="1984692"/>
                </a:cubicBezTo>
                <a:cubicBezTo>
                  <a:pt x="9277946" y="1984692"/>
                  <a:pt x="9287805" y="1988843"/>
                  <a:pt x="9295200" y="1996238"/>
                </a:cubicBezTo>
                <a:lnTo>
                  <a:pt x="9373678" y="2074846"/>
                </a:lnTo>
                <a:lnTo>
                  <a:pt x="9385220" y="2102601"/>
                </a:lnTo>
                <a:lnTo>
                  <a:pt x="9373809" y="2130340"/>
                </a:lnTo>
                <a:lnTo>
                  <a:pt x="9163797" y="2340755"/>
                </a:lnTo>
                <a:lnTo>
                  <a:pt x="8953784" y="2130340"/>
                </a:lnTo>
                <a:lnTo>
                  <a:pt x="8942307" y="2102615"/>
                </a:lnTo>
                <a:lnTo>
                  <a:pt x="8953783" y="2074978"/>
                </a:lnTo>
                <a:lnTo>
                  <a:pt x="9032263" y="1996238"/>
                </a:lnTo>
                <a:cubicBezTo>
                  <a:pt x="9039655" y="1988843"/>
                  <a:pt x="9049385" y="1984692"/>
                  <a:pt x="9059892" y="1984692"/>
                </a:cubicBezTo>
                <a:close/>
                <a:moveTo>
                  <a:pt x="7006076" y="1984677"/>
                </a:moveTo>
                <a:cubicBezTo>
                  <a:pt x="7016582" y="1984677"/>
                  <a:pt x="7026440" y="1988828"/>
                  <a:pt x="7033834" y="1996221"/>
                </a:cubicBezTo>
                <a:lnTo>
                  <a:pt x="7098434" y="2060951"/>
                </a:lnTo>
                <a:lnTo>
                  <a:pt x="7109978" y="2072625"/>
                </a:lnTo>
                <a:lnTo>
                  <a:pt x="7121523" y="2060951"/>
                </a:lnTo>
                <a:lnTo>
                  <a:pt x="7185994" y="1996221"/>
                </a:lnTo>
                <a:cubicBezTo>
                  <a:pt x="7193387" y="1988696"/>
                  <a:pt x="7203245" y="1984677"/>
                  <a:pt x="7213751" y="1984677"/>
                </a:cubicBezTo>
                <a:cubicBezTo>
                  <a:pt x="7224130" y="1984677"/>
                  <a:pt x="7233989" y="1988828"/>
                  <a:pt x="7241381" y="1996221"/>
                </a:cubicBezTo>
                <a:lnTo>
                  <a:pt x="7319862" y="2074831"/>
                </a:lnTo>
                <a:lnTo>
                  <a:pt x="7331403" y="2102583"/>
                </a:lnTo>
                <a:lnTo>
                  <a:pt x="7319992" y="2130329"/>
                </a:lnTo>
                <a:lnTo>
                  <a:pt x="7109978" y="2340739"/>
                </a:lnTo>
                <a:lnTo>
                  <a:pt x="6899966" y="2130329"/>
                </a:lnTo>
                <a:lnTo>
                  <a:pt x="6888488" y="2102601"/>
                </a:lnTo>
                <a:lnTo>
                  <a:pt x="6899966" y="2074961"/>
                </a:lnTo>
                <a:lnTo>
                  <a:pt x="6978446" y="1996221"/>
                </a:lnTo>
                <a:cubicBezTo>
                  <a:pt x="6985839" y="1988828"/>
                  <a:pt x="6995568" y="1984677"/>
                  <a:pt x="7006076" y="1984677"/>
                </a:cubicBezTo>
                <a:close/>
                <a:moveTo>
                  <a:pt x="4952163" y="1984659"/>
                </a:moveTo>
                <a:cubicBezTo>
                  <a:pt x="4962672" y="1984659"/>
                  <a:pt x="4972539" y="1988810"/>
                  <a:pt x="4979931" y="1996205"/>
                </a:cubicBezTo>
                <a:lnTo>
                  <a:pt x="5021209" y="2037554"/>
                </a:lnTo>
                <a:lnTo>
                  <a:pt x="5044521" y="2060919"/>
                </a:lnTo>
                <a:lnTo>
                  <a:pt x="5056083" y="2072595"/>
                </a:lnTo>
                <a:lnTo>
                  <a:pt x="5056083" y="2072592"/>
                </a:lnTo>
                <a:lnTo>
                  <a:pt x="5056095" y="2072609"/>
                </a:lnTo>
                <a:lnTo>
                  <a:pt x="5067642" y="2060935"/>
                </a:lnTo>
                <a:lnTo>
                  <a:pt x="5132091" y="1996205"/>
                </a:lnTo>
                <a:cubicBezTo>
                  <a:pt x="5139483" y="1988680"/>
                  <a:pt x="5149338" y="1984659"/>
                  <a:pt x="5159840" y="1984659"/>
                </a:cubicBezTo>
                <a:lnTo>
                  <a:pt x="5187487" y="1996203"/>
                </a:lnTo>
                <a:lnTo>
                  <a:pt x="5234645" y="2043461"/>
                </a:lnTo>
                <a:lnTo>
                  <a:pt x="5265946" y="2074804"/>
                </a:lnTo>
                <a:lnTo>
                  <a:pt x="5277479" y="2102560"/>
                </a:lnTo>
                <a:cubicBezTo>
                  <a:pt x="5277479" y="2113068"/>
                  <a:pt x="5273469" y="2122919"/>
                  <a:pt x="5266071" y="2130322"/>
                </a:cubicBezTo>
                <a:lnTo>
                  <a:pt x="5056083" y="2340720"/>
                </a:lnTo>
                <a:lnTo>
                  <a:pt x="4969669" y="2254172"/>
                </a:lnTo>
                <a:lnTo>
                  <a:pt x="4846040" y="2130322"/>
                </a:lnTo>
                <a:lnTo>
                  <a:pt x="4834566" y="2102591"/>
                </a:lnTo>
                <a:cubicBezTo>
                  <a:pt x="4834566" y="2092554"/>
                  <a:pt x="4838398" y="2082533"/>
                  <a:pt x="4846044" y="2074945"/>
                </a:cubicBezTo>
                <a:lnTo>
                  <a:pt x="4924518" y="1996205"/>
                </a:lnTo>
                <a:cubicBezTo>
                  <a:pt x="4931917" y="1988810"/>
                  <a:pt x="4941650" y="1984659"/>
                  <a:pt x="4952163" y="1984659"/>
                </a:cubicBezTo>
                <a:close/>
                <a:moveTo>
                  <a:pt x="2898379" y="1984642"/>
                </a:moveTo>
                <a:lnTo>
                  <a:pt x="2926124" y="1996183"/>
                </a:lnTo>
                <a:lnTo>
                  <a:pt x="2990712" y="2060903"/>
                </a:lnTo>
                <a:lnTo>
                  <a:pt x="3002260" y="2072579"/>
                </a:lnTo>
                <a:lnTo>
                  <a:pt x="3002262" y="2072574"/>
                </a:lnTo>
                <a:lnTo>
                  <a:pt x="3002282" y="2072593"/>
                </a:lnTo>
                <a:lnTo>
                  <a:pt x="3013824" y="2060919"/>
                </a:lnTo>
                <a:lnTo>
                  <a:pt x="3078292" y="1996188"/>
                </a:lnTo>
                <a:cubicBezTo>
                  <a:pt x="3085693" y="1988664"/>
                  <a:pt x="3095547" y="1984642"/>
                  <a:pt x="3106058" y="1984642"/>
                </a:cubicBezTo>
                <a:lnTo>
                  <a:pt x="3133671" y="1996183"/>
                </a:lnTo>
                <a:lnTo>
                  <a:pt x="3212141" y="2074784"/>
                </a:lnTo>
                <a:cubicBezTo>
                  <a:pt x="3219535" y="2082179"/>
                  <a:pt x="3223556" y="2092036"/>
                  <a:pt x="3223687" y="2102544"/>
                </a:cubicBezTo>
                <a:cubicBezTo>
                  <a:pt x="3223687" y="2113052"/>
                  <a:pt x="3219666" y="2122906"/>
                  <a:pt x="3212272" y="2130304"/>
                </a:cubicBezTo>
                <a:lnTo>
                  <a:pt x="3002263" y="2340706"/>
                </a:lnTo>
                <a:lnTo>
                  <a:pt x="2792272" y="2130322"/>
                </a:lnTo>
                <a:cubicBezTo>
                  <a:pt x="2776962" y="2115013"/>
                  <a:pt x="2776962" y="2090107"/>
                  <a:pt x="2792272" y="2074929"/>
                </a:cubicBezTo>
                <a:lnTo>
                  <a:pt x="2870746" y="1996188"/>
                </a:lnTo>
                <a:cubicBezTo>
                  <a:pt x="2878142" y="1988794"/>
                  <a:pt x="2887867" y="1984642"/>
                  <a:pt x="2898379" y="1984642"/>
                </a:cubicBezTo>
                <a:close/>
                <a:moveTo>
                  <a:pt x="844398" y="1984626"/>
                </a:moveTo>
                <a:lnTo>
                  <a:pt x="872148" y="1996168"/>
                </a:lnTo>
                <a:lnTo>
                  <a:pt x="936736" y="2060888"/>
                </a:lnTo>
                <a:lnTo>
                  <a:pt x="948281" y="2072562"/>
                </a:lnTo>
                <a:lnTo>
                  <a:pt x="948285" y="2072558"/>
                </a:lnTo>
                <a:lnTo>
                  <a:pt x="948304" y="2072577"/>
                </a:lnTo>
                <a:lnTo>
                  <a:pt x="959848" y="2060903"/>
                </a:lnTo>
                <a:lnTo>
                  <a:pt x="1024318" y="1996172"/>
                </a:lnTo>
                <a:cubicBezTo>
                  <a:pt x="1031712" y="1988648"/>
                  <a:pt x="1041571" y="1984626"/>
                  <a:pt x="1052077" y="1984626"/>
                </a:cubicBezTo>
                <a:lnTo>
                  <a:pt x="1079695" y="1996168"/>
                </a:lnTo>
                <a:lnTo>
                  <a:pt x="1158163" y="2074768"/>
                </a:lnTo>
                <a:cubicBezTo>
                  <a:pt x="1165557" y="2082163"/>
                  <a:pt x="1169579" y="2092021"/>
                  <a:pt x="1169708" y="2102528"/>
                </a:cubicBezTo>
                <a:cubicBezTo>
                  <a:pt x="1169708" y="2113036"/>
                  <a:pt x="1165688" y="2122893"/>
                  <a:pt x="1158294" y="2130289"/>
                </a:cubicBezTo>
                <a:lnTo>
                  <a:pt x="948285" y="2340695"/>
                </a:lnTo>
                <a:lnTo>
                  <a:pt x="738292" y="2130304"/>
                </a:lnTo>
                <a:cubicBezTo>
                  <a:pt x="722985" y="2114996"/>
                  <a:pt x="722985" y="2090090"/>
                  <a:pt x="738292" y="2074914"/>
                </a:cubicBezTo>
                <a:lnTo>
                  <a:pt x="816770" y="1996172"/>
                </a:lnTo>
                <a:cubicBezTo>
                  <a:pt x="824164" y="1988778"/>
                  <a:pt x="833892" y="1984626"/>
                  <a:pt x="844398" y="1984626"/>
                </a:cubicBezTo>
                <a:close/>
                <a:moveTo>
                  <a:pt x="11113840" y="1968219"/>
                </a:moveTo>
                <a:cubicBezTo>
                  <a:pt x="11099571" y="1968219"/>
                  <a:pt x="11085432" y="1973667"/>
                  <a:pt x="11074665" y="1984563"/>
                </a:cubicBezTo>
                <a:lnTo>
                  <a:pt x="10996186" y="2063301"/>
                </a:lnTo>
                <a:cubicBezTo>
                  <a:pt x="10985354" y="2074134"/>
                  <a:pt x="10979939" y="2088370"/>
                  <a:pt x="10979939" y="2102607"/>
                </a:cubicBezTo>
                <a:lnTo>
                  <a:pt x="10979942" y="2102615"/>
                </a:lnTo>
                <a:lnTo>
                  <a:pt x="10979939" y="2102624"/>
                </a:lnTo>
                <a:cubicBezTo>
                  <a:pt x="10979939" y="2116849"/>
                  <a:pt x="10985354" y="2131085"/>
                  <a:pt x="10996186" y="2141922"/>
                </a:cubicBezTo>
                <a:lnTo>
                  <a:pt x="11217744" y="2364005"/>
                </a:lnTo>
                <a:lnTo>
                  <a:pt x="11439301" y="2141922"/>
                </a:lnTo>
                <a:cubicBezTo>
                  <a:pt x="11450132" y="2131085"/>
                  <a:pt x="11455548" y="2116849"/>
                  <a:pt x="11455548" y="2102624"/>
                </a:cubicBezTo>
                <a:lnTo>
                  <a:pt x="11455545" y="2102615"/>
                </a:lnTo>
                <a:lnTo>
                  <a:pt x="11455548" y="2102607"/>
                </a:lnTo>
                <a:cubicBezTo>
                  <a:pt x="11455548" y="2088370"/>
                  <a:pt x="11450132" y="2074134"/>
                  <a:pt x="11439301" y="2063301"/>
                </a:cubicBezTo>
                <a:lnTo>
                  <a:pt x="11360822" y="1984693"/>
                </a:lnTo>
                <a:cubicBezTo>
                  <a:pt x="11349927" y="1973797"/>
                  <a:pt x="11335787" y="1968348"/>
                  <a:pt x="11321647" y="1968348"/>
                </a:cubicBezTo>
                <a:lnTo>
                  <a:pt x="11321517" y="1968219"/>
                </a:lnTo>
                <a:cubicBezTo>
                  <a:pt x="11307249" y="1968219"/>
                  <a:pt x="11293110" y="1973667"/>
                  <a:pt x="11282213" y="1984693"/>
                </a:cubicBezTo>
                <a:lnTo>
                  <a:pt x="11217744" y="2049294"/>
                </a:lnTo>
                <a:lnTo>
                  <a:pt x="11153145" y="1984563"/>
                </a:lnTo>
                <a:cubicBezTo>
                  <a:pt x="11142248" y="1973667"/>
                  <a:pt x="11128108" y="1968219"/>
                  <a:pt x="11113840" y="1968219"/>
                </a:cubicBezTo>
                <a:close/>
                <a:moveTo>
                  <a:pt x="9059893" y="1968203"/>
                </a:moveTo>
                <a:cubicBezTo>
                  <a:pt x="9045624" y="1968203"/>
                  <a:pt x="9031484" y="1973653"/>
                  <a:pt x="9020718" y="1984547"/>
                </a:cubicBezTo>
                <a:lnTo>
                  <a:pt x="8942239" y="2063287"/>
                </a:lnTo>
                <a:cubicBezTo>
                  <a:pt x="8931408" y="2074118"/>
                  <a:pt x="8925992" y="2088355"/>
                  <a:pt x="8925992" y="2102593"/>
                </a:cubicBezTo>
                <a:lnTo>
                  <a:pt x="8925994" y="2102598"/>
                </a:lnTo>
                <a:lnTo>
                  <a:pt x="8925991" y="2102606"/>
                </a:lnTo>
                <a:cubicBezTo>
                  <a:pt x="8925991" y="2116838"/>
                  <a:pt x="8931406" y="2131068"/>
                  <a:pt x="8942238" y="2141902"/>
                </a:cubicBezTo>
                <a:lnTo>
                  <a:pt x="9163796" y="2363983"/>
                </a:lnTo>
                <a:lnTo>
                  <a:pt x="9385353" y="2141902"/>
                </a:lnTo>
                <a:cubicBezTo>
                  <a:pt x="9396185" y="2131068"/>
                  <a:pt x="9401600" y="2116838"/>
                  <a:pt x="9401600" y="2102606"/>
                </a:cubicBezTo>
                <a:lnTo>
                  <a:pt x="9401598" y="2102601"/>
                </a:lnTo>
                <a:lnTo>
                  <a:pt x="9401601" y="2102593"/>
                </a:lnTo>
                <a:cubicBezTo>
                  <a:pt x="9401601" y="2088355"/>
                  <a:pt x="9396185" y="2074118"/>
                  <a:pt x="9385354" y="2063287"/>
                </a:cubicBezTo>
                <a:lnTo>
                  <a:pt x="9306876" y="1984677"/>
                </a:lnTo>
                <a:cubicBezTo>
                  <a:pt x="9295978" y="1973780"/>
                  <a:pt x="9281840" y="1968333"/>
                  <a:pt x="9267701" y="1968333"/>
                </a:cubicBezTo>
                <a:lnTo>
                  <a:pt x="9267571" y="1968203"/>
                </a:lnTo>
                <a:cubicBezTo>
                  <a:pt x="9253303" y="1968203"/>
                  <a:pt x="9239162" y="1973653"/>
                  <a:pt x="9228266" y="1984677"/>
                </a:cubicBezTo>
                <a:lnTo>
                  <a:pt x="9163797" y="2049278"/>
                </a:lnTo>
                <a:lnTo>
                  <a:pt x="9099198" y="1984547"/>
                </a:lnTo>
                <a:cubicBezTo>
                  <a:pt x="9088300" y="1973653"/>
                  <a:pt x="9074162" y="1968203"/>
                  <a:pt x="9059893" y="1968203"/>
                </a:cubicBezTo>
                <a:close/>
                <a:moveTo>
                  <a:pt x="7006076" y="1968186"/>
                </a:moveTo>
                <a:cubicBezTo>
                  <a:pt x="6991805" y="1968186"/>
                  <a:pt x="6977666" y="1973634"/>
                  <a:pt x="6966901" y="1984530"/>
                </a:cubicBezTo>
                <a:lnTo>
                  <a:pt x="6888421" y="2063270"/>
                </a:lnTo>
                <a:cubicBezTo>
                  <a:pt x="6877589" y="2074102"/>
                  <a:pt x="6872173" y="2088339"/>
                  <a:pt x="6872173" y="2102577"/>
                </a:cubicBezTo>
                <a:lnTo>
                  <a:pt x="6872176" y="2102583"/>
                </a:lnTo>
                <a:lnTo>
                  <a:pt x="6872173" y="2102591"/>
                </a:lnTo>
                <a:cubicBezTo>
                  <a:pt x="6872173" y="2116819"/>
                  <a:pt x="6877589" y="2131060"/>
                  <a:pt x="6888421" y="2141896"/>
                </a:cubicBezTo>
                <a:lnTo>
                  <a:pt x="7109978" y="2363976"/>
                </a:lnTo>
                <a:lnTo>
                  <a:pt x="7331537" y="2141896"/>
                </a:lnTo>
                <a:cubicBezTo>
                  <a:pt x="7342368" y="2131060"/>
                  <a:pt x="7347783" y="2116819"/>
                  <a:pt x="7347783" y="2102591"/>
                </a:cubicBezTo>
                <a:lnTo>
                  <a:pt x="7347780" y="2102583"/>
                </a:lnTo>
                <a:lnTo>
                  <a:pt x="7347783" y="2102577"/>
                </a:lnTo>
                <a:cubicBezTo>
                  <a:pt x="7347783" y="2088339"/>
                  <a:pt x="7342368" y="2074102"/>
                  <a:pt x="7331537" y="2063270"/>
                </a:cubicBezTo>
                <a:lnTo>
                  <a:pt x="7253057" y="1984660"/>
                </a:lnTo>
                <a:cubicBezTo>
                  <a:pt x="7242161" y="1973763"/>
                  <a:pt x="7228022" y="1968316"/>
                  <a:pt x="7213882" y="1968316"/>
                </a:cubicBezTo>
                <a:lnTo>
                  <a:pt x="7213751" y="1968186"/>
                </a:lnTo>
                <a:cubicBezTo>
                  <a:pt x="7199483" y="1968186"/>
                  <a:pt x="7185345" y="1973634"/>
                  <a:pt x="7174449" y="1984660"/>
                </a:cubicBezTo>
                <a:lnTo>
                  <a:pt x="7109978" y="2049261"/>
                </a:lnTo>
                <a:lnTo>
                  <a:pt x="7045379" y="1984530"/>
                </a:lnTo>
                <a:cubicBezTo>
                  <a:pt x="7034483" y="1973634"/>
                  <a:pt x="7020344" y="1968186"/>
                  <a:pt x="7006076" y="1968186"/>
                </a:cubicBezTo>
                <a:close/>
                <a:moveTo>
                  <a:pt x="4952154" y="1968169"/>
                </a:moveTo>
                <a:cubicBezTo>
                  <a:pt x="4937883" y="1968169"/>
                  <a:pt x="4923734" y="1973618"/>
                  <a:pt x="4912971" y="1984514"/>
                </a:cubicBezTo>
                <a:lnTo>
                  <a:pt x="4834497" y="2063254"/>
                </a:lnTo>
                <a:cubicBezTo>
                  <a:pt x="4812828" y="2084919"/>
                  <a:pt x="4812828" y="2120198"/>
                  <a:pt x="4834497" y="2141866"/>
                </a:cubicBezTo>
                <a:lnTo>
                  <a:pt x="4834505" y="2141879"/>
                </a:lnTo>
                <a:lnTo>
                  <a:pt x="4969761" y="2277444"/>
                </a:lnTo>
                <a:lnTo>
                  <a:pt x="5056083" y="2363949"/>
                </a:lnTo>
                <a:lnTo>
                  <a:pt x="5056083" y="2363940"/>
                </a:lnTo>
                <a:lnTo>
                  <a:pt x="5056095" y="2363964"/>
                </a:lnTo>
                <a:lnTo>
                  <a:pt x="5277619" y="2141879"/>
                </a:lnTo>
                <a:cubicBezTo>
                  <a:pt x="5299295" y="2120214"/>
                  <a:pt x="5299295" y="2084933"/>
                  <a:pt x="5277619" y="2063270"/>
                </a:cubicBezTo>
                <a:lnTo>
                  <a:pt x="5277615" y="2063260"/>
                </a:lnTo>
                <a:lnTo>
                  <a:pt x="5277613" y="2063254"/>
                </a:lnTo>
                <a:lnTo>
                  <a:pt x="5199129" y="1984644"/>
                </a:lnTo>
                <a:cubicBezTo>
                  <a:pt x="5188240" y="1973748"/>
                  <a:pt x="5174094" y="1968300"/>
                  <a:pt x="5159958" y="1968300"/>
                </a:cubicBezTo>
                <a:lnTo>
                  <a:pt x="5159834" y="1968169"/>
                </a:lnTo>
                <a:cubicBezTo>
                  <a:pt x="5145563" y="1968169"/>
                  <a:pt x="5131430" y="1973618"/>
                  <a:pt x="5120536" y="1984644"/>
                </a:cubicBezTo>
                <a:lnTo>
                  <a:pt x="5056083" y="2049243"/>
                </a:lnTo>
                <a:lnTo>
                  <a:pt x="5013371" y="2006464"/>
                </a:lnTo>
                <a:lnTo>
                  <a:pt x="4991465" y="1984514"/>
                </a:lnTo>
                <a:cubicBezTo>
                  <a:pt x="4980565" y="1973618"/>
                  <a:pt x="4966420" y="1968169"/>
                  <a:pt x="4952154" y="1968169"/>
                </a:cubicBezTo>
                <a:close/>
                <a:moveTo>
                  <a:pt x="2898356" y="1968153"/>
                </a:moveTo>
                <a:cubicBezTo>
                  <a:pt x="2884084" y="1968153"/>
                  <a:pt x="2869945" y="1973601"/>
                  <a:pt x="2859181" y="1984498"/>
                </a:cubicBezTo>
                <a:lnTo>
                  <a:pt x="2780699" y="2063238"/>
                </a:lnTo>
                <a:cubicBezTo>
                  <a:pt x="2759037" y="2084901"/>
                  <a:pt x="2759037" y="2120185"/>
                  <a:pt x="2780699" y="2141849"/>
                </a:cubicBezTo>
                <a:lnTo>
                  <a:pt x="3002260" y="2363931"/>
                </a:lnTo>
                <a:lnTo>
                  <a:pt x="3002263" y="2363925"/>
                </a:lnTo>
                <a:lnTo>
                  <a:pt x="3002282" y="2363946"/>
                </a:lnTo>
                <a:lnTo>
                  <a:pt x="3223840" y="2141866"/>
                </a:lnTo>
                <a:cubicBezTo>
                  <a:pt x="3245503" y="2120198"/>
                  <a:pt x="3245503" y="2084918"/>
                  <a:pt x="3223840" y="2063254"/>
                </a:cubicBezTo>
                <a:lnTo>
                  <a:pt x="3145359" y="1984642"/>
                </a:lnTo>
                <a:cubicBezTo>
                  <a:pt x="3139911" y="1979194"/>
                  <a:pt x="3133652" y="1975108"/>
                  <a:pt x="3126988" y="1972385"/>
                </a:cubicBezTo>
                <a:lnTo>
                  <a:pt x="3126965" y="1972369"/>
                </a:lnTo>
                <a:lnTo>
                  <a:pt x="3106173" y="1968284"/>
                </a:lnTo>
                <a:lnTo>
                  <a:pt x="3106058" y="1968169"/>
                </a:lnTo>
                <a:lnTo>
                  <a:pt x="3106050" y="1968170"/>
                </a:lnTo>
                <a:lnTo>
                  <a:pt x="3106032" y="1968153"/>
                </a:lnTo>
                <a:cubicBezTo>
                  <a:pt x="3091763" y="1968153"/>
                  <a:pt x="3077624" y="1973601"/>
                  <a:pt x="3066728" y="1984627"/>
                </a:cubicBezTo>
                <a:lnTo>
                  <a:pt x="3002263" y="2049224"/>
                </a:lnTo>
                <a:lnTo>
                  <a:pt x="2937683" y="1984514"/>
                </a:lnTo>
                <a:cubicBezTo>
                  <a:pt x="2932237" y="1979065"/>
                  <a:pt x="2925973" y="1974980"/>
                  <a:pt x="2919295" y="1972255"/>
                </a:cubicBezTo>
                <a:lnTo>
                  <a:pt x="2919269" y="1972239"/>
                </a:lnTo>
                <a:cubicBezTo>
                  <a:pt x="2912591" y="1969515"/>
                  <a:pt x="2905489" y="1968153"/>
                  <a:pt x="2898356" y="1968153"/>
                </a:cubicBezTo>
                <a:close/>
                <a:moveTo>
                  <a:pt x="844377" y="1968136"/>
                </a:moveTo>
                <a:cubicBezTo>
                  <a:pt x="830108" y="1968136"/>
                  <a:pt x="815969" y="1973585"/>
                  <a:pt x="805203" y="1984482"/>
                </a:cubicBezTo>
                <a:lnTo>
                  <a:pt x="726723" y="2063222"/>
                </a:lnTo>
                <a:cubicBezTo>
                  <a:pt x="705060" y="2084887"/>
                  <a:pt x="705060" y="2120170"/>
                  <a:pt x="726723" y="2141834"/>
                </a:cubicBezTo>
                <a:lnTo>
                  <a:pt x="948281" y="2363918"/>
                </a:lnTo>
                <a:lnTo>
                  <a:pt x="948286" y="2363911"/>
                </a:lnTo>
                <a:lnTo>
                  <a:pt x="948304" y="2363931"/>
                </a:lnTo>
                <a:lnTo>
                  <a:pt x="1169859" y="2141849"/>
                </a:lnTo>
                <a:cubicBezTo>
                  <a:pt x="1191522" y="2120185"/>
                  <a:pt x="1191522" y="2084901"/>
                  <a:pt x="1169859" y="2063237"/>
                </a:cubicBezTo>
                <a:lnTo>
                  <a:pt x="1091381" y="1984626"/>
                </a:lnTo>
                <a:lnTo>
                  <a:pt x="1087230" y="1981855"/>
                </a:lnTo>
                <a:lnTo>
                  <a:pt x="1072988" y="1972352"/>
                </a:lnTo>
                <a:lnTo>
                  <a:pt x="1052193" y="1968268"/>
                </a:lnTo>
                <a:lnTo>
                  <a:pt x="1052077" y="1968152"/>
                </a:lnTo>
                <a:lnTo>
                  <a:pt x="1052071" y="1968153"/>
                </a:lnTo>
                <a:lnTo>
                  <a:pt x="1052055" y="1968136"/>
                </a:lnTo>
                <a:cubicBezTo>
                  <a:pt x="1037785" y="1968136"/>
                  <a:pt x="1023647" y="1973585"/>
                  <a:pt x="1012751" y="1984611"/>
                </a:cubicBezTo>
                <a:lnTo>
                  <a:pt x="948285" y="2049209"/>
                </a:lnTo>
                <a:lnTo>
                  <a:pt x="883704" y="1984497"/>
                </a:lnTo>
                <a:lnTo>
                  <a:pt x="883682" y="1984482"/>
                </a:lnTo>
                <a:lnTo>
                  <a:pt x="883681" y="1984482"/>
                </a:lnTo>
                <a:cubicBezTo>
                  <a:pt x="872785" y="1973585"/>
                  <a:pt x="858645" y="1968136"/>
                  <a:pt x="844377" y="1968136"/>
                </a:cubicBezTo>
                <a:close/>
                <a:moveTo>
                  <a:pt x="11910826" y="1757693"/>
                </a:moveTo>
                <a:lnTo>
                  <a:pt x="12188651" y="1918485"/>
                </a:lnTo>
                <a:lnTo>
                  <a:pt x="12188651" y="2295294"/>
                </a:lnTo>
                <a:lnTo>
                  <a:pt x="11910826" y="2134524"/>
                </a:lnTo>
                <a:close/>
                <a:moveTo>
                  <a:pt x="11894481" y="1757693"/>
                </a:moveTo>
                <a:lnTo>
                  <a:pt x="11894481" y="2134524"/>
                </a:lnTo>
                <a:lnTo>
                  <a:pt x="11568890" y="2322864"/>
                </a:lnTo>
                <a:lnTo>
                  <a:pt x="11568890" y="1946054"/>
                </a:lnTo>
                <a:close/>
                <a:moveTo>
                  <a:pt x="9857006" y="1757678"/>
                </a:moveTo>
                <a:lnTo>
                  <a:pt x="10182468" y="1946038"/>
                </a:lnTo>
                <a:lnTo>
                  <a:pt x="10182468" y="2322844"/>
                </a:lnTo>
                <a:lnTo>
                  <a:pt x="9857006" y="2134505"/>
                </a:lnTo>
                <a:close/>
                <a:moveTo>
                  <a:pt x="9840661" y="1757678"/>
                </a:moveTo>
                <a:lnTo>
                  <a:pt x="9840661" y="2134505"/>
                </a:lnTo>
                <a:lnTo>
                  <a:pt x="9515070" y="2322844"/>
                </a:lnTo>
                <a:lnTo>
                  <a:pt x="9515070" y="1946038"/>
                </a:lnTo>
                <a:close/>
                <a:moveTo>
                  <a:pt x="7803060" y="1757662"/>
                </a:moveTo>
                <a:lnTo>
                  <a:pt x="8128521" y="1946022"/>
                </a:lnTo>
                <a:lnTo>
                  <a:pt x="8128521" y="2322839"/>
                </a:lnTo>
                <a:lnTo>
                  <a:pt x="7803060" y="2134492"/>
                </a:lnTo>
                <a:close/>
                <a:moveTo>
                  <a:pt x="7786715" y="1757662"/>
                </a:moveTo>
                <a:lnTo>
                  <a:pt x="7786715" y="2134492"/>
                </a:lnTo>
                <a:lnTo>
                  <a:pt x="7461125" y="2322839"/>
                </a:lnTo>
                <a:lnTo>
                  <a:pt x="7461125" y="1946022"/>
                </a:lnTo>
                <a:close/>
                <a:moveTo>
                  <a:pt x="5732923" y="1757647"/>
                </a:moveTo>
                <a:lnTo>
                  <a:pt x="5732923" y="2134484"/>
                </a:lnTo>
                <a:lnTo>
                  <a:pt x="5407352" y="2322830"/>
                </a:lnTo>
                <a:lnTo>
                  <a:pt x="5407352" y="1946005"/>
                </a:lnTo>
                <a:close/>
                <a:moveTo>
                  <a:pt x="5749266" y="1757646"/>
                </a:moveTo>
                <a:lnTo>
                  <a:pt x="6074705" y="1946005"/>
                </a:lnTo>
                <a:lnTo>
                  <a:pt x="6074705" y="2322830"/>
                </a:lnTo>
                <a:lnTo>
                  <a:pt x="5749266" y="2134484"/>
                </a:lnTo>
                <a:close/>
                <a:moveTo>
                  <a:pt x="3679144" y="1757633"/>
                </a:moveTo>
                <a:lnTo>
                  <a:pt x="3679144" y="2134464"/>
                </a:lnTo>
                <a:lnTo>
                  <a:pt x="3353563" y="2322807"/>
                </a:lnTo>
                <a:lnTo>
                  <a:pt x="3353563" y="1945988"/>
                </a:lnTo>
                <a:close/>
                <a:moveTo>
                  <a:pt x="3695494" y="1757631"/>
                </a:moveTo>
                <a:lnTo>
                  <a:pt x="4020945" y="1945986"/>
                </a:lnTo>
                <a:lnTo>
                  <a:pt x="4020945" y="2322809"/>
                </a:lnTo>
                <a:lnTo>
                  <a:pt x="3733755" y="2156613"/>
                </a:lnTo>
                <a:lnTo>
                  <a:pt x="3695494" y="2134468"/>
                </a:lnTo>
                <a:close/>
                <a:moveTo>
                  <a:pt x="1625166" y="1757617"/>
                </a:moveTo>
                <a:lnTo>
                  <a:pt x="1625166" y="2134450"/>
                </a:lnTo>
                <a:lnTo>
                  <a:pt x="1299581" y="2322797"/>
                </a:lnTo>
                <a:lnTo>
                  <a:pt x="1299581" y="1945972"/>
                </a:lnTo>
                <a:close/>
                <a:moveTo>
                  <a:pt x="1641515" y="1757615"/>
                </a:moveTo>
                <a:lnTo>
                  <a:pt x="1966969" y="1945969"/>
                </a:lnTo>
                <a:lnTo>
                  <a:pt x="1966969" y="2322802"/>
                </a:lnTo>
                <a:lnTo>
                  <a:pt x="1914926" y="2292686"/>
                </a:lnTo>
                <a:lnTo>
                  <a:pt x="1641515" y="2134455"/>
                </a:lnTo>
                <a:close/>
                <a:moveTo>
                  <a:pt x="10532576" y="1752878"/>
                </a:moveTo>
                <a:lnTo>
                  <a:pt x="10866339" y="1946038"/>
                </a:lnTo>
                <a:lnTo>
                  <a:pt x="10866339" y="2332329"/>
                </a:lnTo>
                <a:lnTo>
                  <a:pt x="10532706" y="2525485"/>
                </a:lnTo>
                <a:lnTo>
                  <a:pt x="10198941" y="2332329"/>
                </a:lnTo>
                <a:lnTo>
                  <a:pt x="10198941" y="1946038"/>
                </a:lnTo>
                <a:close/>
                <a:moveTo>
                  <a:pt x="8478628" y="1752864"/>
                </a:moveTo>
                <a:lnTo>
                  <a:pt x="8812392" y="1946022"/>
                </a:lnTo>
                <a:lnTo>
                  <a:pt x="8812392" y="2332319"/>
                </a:lnTo>
                <a:lnTo>
                  <a:pt x="8478758" y="2525474"/>
                </a:lnTo>
                <a:lnTo>
                  <a:pt x="8144995" y="2332319"/>
                </a:lnTo>
                <a:lnTo>
                  <a:pt x="8144995" y="1946022"/>
                </a:lnTo>
                <a:close/>
                <a:moveTo>
                  <a:pt x="6424810" y="1752847"/>
                </a:moveTo>
                <a:lnTo>
                  <a:pt x="6758573" y="1946005"/>
                </a:lnTo>
                <a:lnTo>
                  <a:pt x="6758573" y="2332304"/>
                </a:lnTo>
                <a:lnTo>
                  <a:pt x="6424940" y="2525464"/>
                </a:lnTo>
                <a:lnTo>
                  <a:pt x="6091179" y="2332304"/>
                </a:lnTo>
                <a:lnTo>
                  <a:pt x="6091179" y="1946005"/>
                </a:lnTo>
                <a:close/>
                <a:moveTo>
                  <a:pt x="4371020" y="1752830"/>
                </a:moveTo>
                <a:lnTo>
                  <a:pt x="4704777" y="1945988"/>
                </a:lnTo>
                <a:lnTo>
                  <a:pt x="4704777" y="2332286"/>
                </a:lnTo>
                <a:lnTo>
                  <a:pt x="4371146" y="2525446"/>
                </a:lnTo>
                <a:lnTo>
                  <a:pt x="4037427" y="2332293"/>
                </a:lnTo>
                <a:lnTo>
                  <a:pt x="4037427" y="1945988"/>
                </a:lnTo>
                <a:close/>
                <a:moveTo>
                  <a:pt x="2317092" y="1752815"/>
                </a:moveTo>
                <a:lnTo>
                  <a:pt x="2650846" y="1945968"/>
                </a:lnTo>
                <a:lnTo>
                  <a:pt x="2650846" y="2332273"/>
                </a:lnTo>
                <a:lnTo>
                  <a:pt x="2317216" y="2525431"/>
                </a:lnTo>
                <a:lnTo>
                  <a:pt x="2153844" y="2430884"/>
                </a:lnTo>
                <a:lnTo>
                  <a:pt x="1983452" y="2332275"/>
                </a:lnTo>
                <a:lnTo>
                  <a:pt x="1983452" y="1945972"/>
                </a:lnTo>
                <a:close/>
                <a:moveTo>
                  <a:pt x="263245" y="1752799"/>
                </a:moveTo>
                <a:lnTo>
                  <a:pt x="597001" y="1945952"/>
                </a:lnTo>
                <a:lnTo>
                  <a:pt x="597001" y="2332264"/>
                </a:lnTo>
                <a:lnTo>
                  <a:pt x="263368" y="2525419"/>
                </a:lnTo>
                <a:lnTo>
                  <a:pt x="83447" y="2421295"/>
                </a:lnTo>
                <a:lnTo>
                  <a:pt x="0" y="2373002"/>
                </a:lnTo>
                <a:lnTo>
                  <a:pt x="0" y="1905204"/>
                </a:lnTo>
                <a:close/>
                <a:moveTo>
                  <a:pt x="11217614" y="1752635"/>
                </a:moveTo>
                <a:lnTo>
                  <a:pt x="11551377" y="1945795"/>
                </a:lnTo>
                <a:lnTo>
                  <a:pt x="11551377" y="2331944"/>
                </a:lnTo>
                <a:lnTo>
                  <a:pt x="11217614" y="2525105"/>
                </a:lnTo>
                <a:lnTo>
                  <a:pt x="10883851" y="2331944"/>
                </a:lnTo>
                <a:lnTo>
                  <a:pt x="10883851" y="1945795"/>
                </a:lnTo>
                <a:close/>
                <a:moveTo>
                  <a:pt x="9163666" y="1752617"/>
                </a:moveTo>
                <a:lnTo>
                  <a:pt x="9497429" y="1945779"/>
                </a:lnTo>
                <a:lnTo>
                  <a:pt x="9497429" y="2331929"/>
                </a:lnTo>
                <a:lnTo>
                  <a:pt x="9163666" y="2525089"/>
                </a:lnTo>
                <a:lnTo>
                  <a:pt x="8829903" y="2331929"/>
                </a:lnTo>
                <a:lnTo>
                  <a:pt x="8829903" y="1945778"/>
                </a:lnTo>
                <a:close/>
                <a:moveTo>
                  <a:pt x="7109850" y="1752603"/>
                </a:moveTo>
                <a:lnTo>
                  <a:pt x="7443613" y="1945761"/>
                </a:lnTo>
                <a:lnTo>
                  <a:pt x="7443613" y="2331916"/>
                </a:lnTo>
                <a:lnTo>
                  <a:pt x="7109850" y="2525078"/>
                </a:lnTo>
                <a:lnTo>
                  <a:pt x="6776085" y="2331916"/>
                </a:lnTo>
                <a:lnTo>
                  <a:pt x="6776085" y="1945761"/>
                </a:lnTo>
                <a:close/>
                <a:moveTo>
                  <a:pt x="5055971" y="1752586"/>
                </a:moveTo>
                <a:lnTo>
                  <a:pt x="5262114" y="1871903"/>
                </a:lnTo>
                <a:lnTo>
                  <a:pt x="5389698" y="1945736"/>
                </a:lnTo>
                <a:lnTo>
                  <a:pt x="5389698" y="2331901"/>
                </a:lnTo>
                <a:lnTo>
                  <a:pt x="5055949" y="2525062"/>
                </a:lnTo>
                <a:lnTo>
                  <a:pt x="4722181" y="2331905"/>
                </a:lnTo>
                <a:lnTo>
                  <a:pt x="4722181" y="1945745"/>
                </a:lnTo>
                <a:close/>
                <a:moveTo>
                  <a:pt x="3002152" y="1752570"/>
                </a:moveTo>
                <a:lnTo>
                  <a:pt x="3335890" y="1945712"/>
                </a:lnTo>
                <a:lnTo>
                  <a:pt x="3335890" y="2331889"/>
                </a:lnTo>
                <a:lnTo>
                  <a:pt x="3002127" y="2525047"/>
                </a:lnTo>
                <a:lnTo>
                  <a:pt x="2731183" y="2368243"/>
                </a:lnTo>
                <a:lnTo>
                  <a:pt x="2668390" y="2331903"/>
                </a:lnTo>
                <a:lnTo>
                  <a:pt x="2668390" y="1945729"/>
                </a:lnTo>
                <a:close/>
                <a:moveTo>
                  <a:pt x="948175" y="1752555"/>
                </a:moveTo>
                <a:lnTo>
                  <a:pt x="1281914" y="1945698"/>
                </a:lnTo>
                <a:lnTo>
                  <a:pt x="1281914" y="2331876"/>
                </a:lnTo>
                <a:lnTo>
                  <a:pt x="948153" y="2525032"/>
                </a:lnTo>
                <a:lnTo>
                  <a:pt x="940570" y="2520648"/>
                </a:lnTo>
                <a:lnTo>
                  <a:pt x="614414" y="2331889"/>
                </a:lnTo>
                <a:lnTo>
                  <a:pt x="614414" y="1945713"/>
                </a:lnTo>
                <a:close/>
                <a:moveTo>
                  <a:pt x="10875809" y="1554804"/>
                </a:moveTo>
                <a:lnTo>
                  <a:pt x="11201255" y="1743155"/>
                </a:lnTo>
                <a:lnTo>
                  <a:pt x="10875678" y="1931508"/>
                </a:lnTo>
                <a:lnTo>
                  <a:pt x="10550231" y="1743155"/>
                </a:lnTo>
                <a:close/>
                <a:moveTo>
                  <a:pt x="8821860" y="1554788"/>
                </a:moveTo>
                <a:lnTo>
                  <a:pt x="9147308" y="1743140"/>
                </a:lnTo>
                <a:lnTo>
                  <a:pt x="8821731" y="1931491"/>
                </a:lnTo>
                <a:lnTo>
                  <a:pt x="8496282" y="1743140"/>
                </a:lnTo>
                <a:close/>
                <a:moveTo>
                  <a:pt x="6768043" y="1554775"/>
                </a:moveTo>
                <a:lnTo>
                  <a:pt x="7093491" y="1743124"/>
                </a:lnTo>
                <a:lnTo>
                  <a:pt x="6767913" y="1931475"/>
                </a:lnTo>
                <a:lnTo>
                  <a:pt x="6442466" y="1743125"/>
                </a:lnTo>
                <a:close/>
                <a:moveTo>
                  <a:pt x="4714128" y="1554758"/>
                </a:moveTo>
                <a:lnTo>
                  <a:pt x="4997319" y="1718649"/>
                </a:lnTo>
                <a:lnTo>
                  <a:pt x="5039593" y="1743102"/>
                </a:lnTo>
                <a:lnTo>
                  <a:pt x="4713993" y="1931459"/>
                </a:lnTo>
                <a:lnTo>
                  <a:pt x="4512543" y="1814871"/>
                </a:lnTo>
                <a:lnTo>
                  <a:pt x="4388549" y="1743112"/>
                </a:lnTo>
                <a:close/>
                <a:moveTo>
                  <a:pt x="2660349" y="1554742"/>
                </a:moveTo>
                <a:lnTo>
                  <a:pt x="2985784" y="1743084"/>
                </a:lnTo>
                <a:lnTo>
                  <a:pt x="2660193" y="1931442"/>
                </a:lnTo>
                <a:lnTo>
                  <a:pt x="2334764" y="1743101"/>
                </a:lnTo>
                <a:close/>
                <a:moveTo>
                  <a:pt x="606372" y="1554728"/>
                </a:moveTo>
                <a:lnTo>
                  <a:pt x="931804" y="1743069"/>
                </a:lnTo>
                <a:lnTo>
                  <a:pt x="606216" y="1931425"/>
                </a:lnTo>
                <a:lnTo>
                  <a:pt x="280783" y="1743083"/>
                </a:lnTo>
                <a:close/>
                <a:moveTo>
                  <a:pt x="12140685" y="1390835"/>
                </a:moveTo>
                <a:cubicBezTo>
                  <a:pt x="12151191" y="1390835"/>
                  <a:pt x="12161050" y="1394985"/>
                  <a:pt x="12168445" y="1402380"/>
                </a:cubicBezTo>
                <a:lnTo>
                  <a:pt x="12188651" y="1422630"/>
                </a:lnTo>
                <a:lnTo>
                  <a:pt x="12188651" y="1690880"/>
                </a:lnTo>
                <a:lnTo>
                  <a:pt x="12034576" y="1536513"/>
                </a:lnTo>
                <a:cubicBezTo>
                  <a:pt x="12019270" y="1521207"/>
                  <a:pt x="12019270" y="1496299"/>
                  <a:pt x="12034576" y="1481120"/>
                </a:cubicBezTo>
                <a:lnTo>
                  <a:pt x="12113056" y="1402380"/>
                </a:lnTo>
                <a:cubicBezTo>
                  <a:pt x="12120448" y="1394985"/>
                  <a:pt x="12130178" y="1390835"/>
                  <a:pt x="12140685" y="1390835"/>
                </a:cubicBezTo>
                <a:close/>
                <a:moveTo>
                  <a:pt x="10086867" y="1390817"/>
                </a:moveTo>
                <a:cubicBezTo>
                  <a:pt x="10097374" y="1390817"/>
                  <a:pt x="10107232" y="1394971"/>
                  <a:pt x="10114626" y="1402365"/>
                </a:cubicBezTo>
                <a:lnTo>
                  <a:pt x="10179226" y="1467099"/>
                </a:lnTo>
                <a:lnTo>
                  <a:pt x="10190770" y="1478768"/>
                </a:lnTo>
                <a:lnTo>
                  <a:pt x="10202315" y="1467099"/>
                </a:lnTo>
                <a:lnTo>
                  <a:pt x="10266786" y="1402365"/>
                </a:lnTo>
                <a:cubicBezTo>
                  <a:pt x="10274178" y="1394840"/>
                  <a:pt x="10284037" y="1390817"/>
                  <a:pt x="10294543" y="1390817"/>
                </a:cubicBezTo>
                <a:cubicBezTo>
                  <a:pt x="10304922" y="1390817"/>
                  <a:pt x="10314781" y="1394971"/>
                  <a:pt x="10322173" y="1402365"/>
                </a:cubicBezTo>
                <a:lnTo>
                  <a:pt x="10400653" y="1480975"/>
                </a:lnTo>
                <a:cubicBezTo>
                  <a:pt x="10408047" y="1488369"/>
                  <a:pt x="10412068" y="1498230"/>
                  <a:pt x="10412198" y="1508734"/>
                </a:cubicBezTo>
                <a:cubicBezTo>
                  <a:pt x="10412198" y="1519244"/>
                  <a:pt x="10408176" y="1529101"/>
                  <a:pt x="10400783" y="1536497"/>
                </a:cubicBezTo>
                <a:lnTo>
                  <a:pt x="10190770" y="1746909"/>
                </a:lnTo>
                <a:lnTo>
                  <a:pt x="9980757" y="1536497"/>
                </a:lnTo>
                <a:cubicBezTo>
                  <a:pt x="9965450" y="1521189"/>
                  <a:pt x="9965450" y="1496283"/>
                  <a:pt x="9980757" y="1481104"/>
                </a:cubicBezTo>
                <a:lnTo>
                  <a:pt x="10059237" y="1402365"/>
                </a:lnTo>
                <a:cubicBezTo>
                  <a:pt x="10066631" y="1394971"/>
                  <a:pt x="10076359" y="1390817"/>
                  <a:pt x="10086867" y="1390817"/>
                </a:cubicBezTo>
                <a:close/>
                <a:moveTo>
                  <a:pt x="8032919" y="1390801"/>
                </a:moveTo>
                <a:cubicBezTo>
                  <a:pt x="8043427" y="1390801"/>
                  <a:pt x="8053285" y="1394955"/>
                  <a:pt x="8060679" y="1402350"/>
                </a:cubicBezTo>
                <a:lnTo>
                  <a:pt x="8125278" y="1467080"/>
                </a:lnTo>
                <a:lnTo>
                  <a:pt x="8136823" y="1478755"/>
                </a:lnTo>
                <a:lnTo>
                  <a:pt x="8148368" y="1467080"/>
                </a:lnTo>
                <a:lnTo>
                  <a:pt x="8212837" y="1402350"/>
                </a:lnTo>
                <a:cubicBezTo>
                  <a:pt x="8220232" y="1394825"/>
                  <a:pt x="8230090" y="1390801"/>
                  <a:pt x="8240596" y="1390801"/>
                </a:cubicBezTo>
                <a:cubicBezTo>
                  <a:pt x="8250975" y="1390801"/>
                  <a:pt x="8260834" y="1394955"/>
                  <a:pt x="8268226" y="1402350"/>
                </a:cubicBezTo>
                <a:lnTo>
                  <a:pt x="8346707" y="1480959"/>
                </a:lnTo>
                <a:cubicBezTo>
                  <a:pt x="8354100" y="1488355"/>
                  <a:pt x="8358121" y="1498213"/>
                  <a:pt x="8358252" y="1508720"/>
                </a:cubicBezTo>
                <a:cubicBezTo>
                  <a:pt x="8358252" y="1519228"/>
                  <a:pt x="8354229" y="1529085"/>
                  <a:pt x="8346837" y="1536482"/>
                </a:cubicBezTo>
                <a:lnTo>
                  <a:pt x="8136823" y="1746895"/>
                </a:lnTo>
                <a:lnTo>
                  <a:pt x="7926811" y="1536482"/>
                </a:lnTo>
                <a:cubicBezTo>
                  <a:pt x="7911503" y="1521173"/>
                  <a:pt x="7911503" y="1496269"/>
                  <a:pt x="7926811" y="1481089"/>
                </a:cubicBezTo>
                <a:lnTo>
                  <a:pt x="8005289" y="1402350"/>
                </a:lnTo>
                <a:cubicBezTo>
                  <a:pt x="8012684" y="1394955"/>
                  <a:pt x="8022413" y="1390801"/>
                  <a:pt x="8032919" y="1390801"/>
                </a:cubicBezTo>
                <a:close/>
                <a:moveTo>
                  <a:pt x="5979110" y="1390787"/>
                </a:moveTo>
                <a:cubicBezTo>
                  <a:pt x="5989617" y="1390787"/>
                  <a:pt x="5999474" y="1394939"/>
                  <a:pt x="6006869" y="1402333"/>
                </a:cubicBezTo>
                <a:lnTo>
                  <a:pt x="6071463" y="1467065"/>
                </a:lnTo>
                <a:lnTo>
                  <a:pt x="6083008" y="1478738"/>
                </a:lnTo>
                <a:lnTo>
                  <a:pt x="6094550" y="1467065"/>
                </a:lnTo>
                <a:lnTo>
                  <a:pt x="6159019" y="1402333"/>
                </a:lnTo>
                <a:cubicBezTo>
                  <a:pt x="6166413" y="1394810"/>
                  <a:pt x="6176271" y="1390787"/>
                  <a:pt x="6186779" y="1390787"/>
                </a:cubicBezTo>
                <a:cubicBezTo>
                  <a:pt x="6197156" y="1390787"/>
                  <a:pt x="6207014" y="1394939"/>
                  <a:pt x="6214409" y="1402333"/>
                </a:cubicBezTo>
                <a:lnTo>
                  <a:pt x="6292888" y="1480945"/>
                </a:lnTo>
                <a:cubicBezTo>
                  <a:pt x="6300282" y="1488339"/>
                  <a:pt x="6304303" y="1498198"/>
                  <a:pt x="6304433" y="1508704"/>
                </a:cubicBezTo>
                <a:cubicBezTo>
                  <a:pt x="6304433" y="1519214"/>
                  <a:pt x="6300412" y="1529070"/>
                  <a:pt x="6293017" y="1536467"/>
                </a:cubicBezTo>
                <a:lnTo>
                  <a:pt x="6083008" y="1746878"/>
                </a:lnTo>
                <a:lnTo>
                  <a:pt x="5873007" y="1536467"/>
                </a:lnTo>
                <a:cubicBezTo>
                  <a:pt x="5857705" y="1521159"/>
                  <a:pt x="5857705" y="1496252"/>
                  <a:pt x="5873007" y="1481074"/>
                </a:cubicBezTo>
                <a:lnTo>
                  <a:pt x="5951483" y="1402333"/>
                </a:lnTo>
                <a:cubicBezTo>
                  <a:pt x="5958875" y="1394939"/>
                  <a:pt x="5968603" y="1390787"/>
                  <a:pt x="5979110" y="1390787"/>
                </a:cubicBezTo>
                <a:close/>
                <a:moveTo>
                  <a:pt x="3925347" y="1390772"/>
                </a:moveTo>
                <a:cubicBezTo>
                  <a:pt x="3935853" y="1390772"/>
                  <a:pt x="3945714" y="1394924"/>
                  <a:pt x="3953107" y="1402317"/>
                </a:cubicBezTo>
                <a:lnTo>
                  <a:pt x="4017707" y="1467050"/>
                </a:lnTo>
                <a:lnTo>
                  <a:pt x="4029252" y="1478722"/>
                </a:lnTo>
                <a:lnTo>
                  <a:pt x="4040800" y="1467050"/>
                </a:lnTo>
                <a:lnTo>
                  <a:pt x="4105268" y="1402317"/>
                </a:lnTo>
                <a:cubicBezTo>
                  <a:pt x="4112666" y="1394793"/>
                  <a:pt x="4122523" y="1390772"/>
                  <a:pt x="4133031" y="1390772"/>
                </a:cubicBezTo>
                <a:cubicBezTo>
                  <a:pt x="4143406" y="1390772"/>
                  <a:pt x="4153268" y="1394924"/>
                  <a:pt x="4160659" y="1402317"/>
                </a:cubicBezTo>
                <a:lnTo>
                  <a:pt x="4239088" y="1480930"/>
                </a:lnTo>
                <a:cubicBezTo>
                  <a:pt x="4246485" y="1488324"/>
                  <a:pt x="4250503" y="1498183"/>
                  <a:pt x="4250643" y="1508688"/>
                </a:cubicBezTo>
                <a:cubicBezTo>
                  <a:pt x="4250643" y="1519197"/>
                  <a:pt x="4246615" y="1529056"/>
                  <a:pt x="4239218" y="1536452"/>
                </a:cubicBezTo>
                <a:lnTo>
                  <a:pt x="4029252" y="1746862"/>
                </a:lnTo>
                <a:lnTo>
                  <a:pt x="3819232" y="1536452"/>
                </a:lnTo>
                <a:cubicBezTo>
                  <a:pt x="3803923" y="1521143"/>
                  <a:pt x="3803923" y="1496236"/>
                  <a:pt x="3819232" y="1481059"/>
                </a:cubicBezTo>
                <a:lnTo>
                  <a:pt x="3897719" y="1402317"/>
                </a:lnTo>
                <a:cubicBezTo>
                  <a:pt x="3905115" y="1394924"/>
                  <a:pt x="3914843" y="1390772"/>
                  <a:pt x="3925347" y="1390772"/>
                </a:cubicBezTo>
                <a:close/>
                <a:moveTo>
                  <a:pt x="1871374" y="1390756"/>
                </a:moveTo>
                <a:cubicBezTo>
                  <a:pt x="1881884" y="1390756"/>
                  <a:pt x="1891739" y="1394908"/>
                  <a:pt x="1899135" y="1402302"/>
                </a:cubicBezTo>
                <a:lnTo>
                  <a:pt x="1963733" y="1467034"/>
                </a:lnTo>
                <a:lnTo>
                  <a:pt x="1975278" y="1478707"/>
                </a:lnTo>
                <a:lnTo>
                  <a:pt x="1986823" y="1467034"/>
                </a:lnTo>
                <a:lnTo>
                  <a:pt x="2051293" y="1402302"/>
                </a:lnTo>
                <a:cubicBezTo>
                  <a:pt x="2058686" y="1394779"/>
                  <a:pt x="2068545" y="1390756"/>
                  <a:pt x="2079052" y="1390756"/>
                </a:cubicBezTo>
                <a:cubicBezTo>
                  <a:pt x="2089431" y="1390756"/>
                  <a:pt x="2099298" y="1394908"/>
                  <a:pt x="2106690" y="1402302"/>
                </a:cubicBezTo>
                <a:lnTo>
                  <a:pt x="2185169" y="1480915"/>
                </a:lnTo>
                <a:cubicBezTo>
                  <a:pt x="2192565" y="1488309"/>
                  <a:pt x="2196587" y="1498167"/>
                  <a:pt x="2196714" y="1508674"/>
                </a:cubicBezTo>
                <a:cubicBezTo>
                  <a:pt x="2196714" y="1519182"/>
                  <a:pt x="2192696" y="1529039"/>
                  <a:pt x="2185300" y="1536435"/>
                </a:cubicBezTo>
                <a:lnTo>
                  <a:pt x="1975278" y="1746846"/>
                </a:lnTo>
                <a:lnTo>
                  <a:pt x="1765266" y="1536435"/>
                </a:lnTo>
                <a:cubicBezTo>
                  <a:pt x="1749958" y="1521128"/>
                  <a:pt x="1749958" y="1496221"/>
                  <a:pt x="1765266" y="1481044"/>
                </a:cubicBezTo>
                <a:lnTo>
                  <a:pt x="1843744" y="1402302"/>
                </a:lnTo>
                <a:cubicBezTo>
                  <a:pt x="1851138" y="1394908"/>
                  <a:pt x="1860867" y="1390756"/>
                  <a:pt x="1871374" y="1390756"/>
                </a:cubicBezTo>
                <a:close/>
                <a:moveTo>
                  <a:pt x="25213" y="1390741"/>
                </a:moveTo>
                <a:cubicBezTo>
                  <a:pt x="35590" y="1390741"/>
                  <a:pt x="45448" y="1394893"/>
                  <a:pt x="52843" y="1402286"/>
                </a:cubicBezTo>
                <a:lnTo>
                  <a:pt x="131322" y="1480899"/>
                </a:lnTo>
                <a:cubicBezTo>
                  <a:pt x="138716" y="1488293"/>
                  <a:pt x="142738" y="1498151"/>
                  <a:pt x="142866" y="1508658"/>
                </a:cubicBezTo>
                <a:cubicBezTo>
                  <a:pt x="142866" y="1519167"/>
                  <a:pt x="138845" y="1529025"/>
                  <a:pt x="131451" y="1536419"/>
                </a:cubicBezTo>
                <a:lnTo>
                  <a:pt x="0" y="1668120"/>
                </a:lnTo>
                <a:lnTo>
                  <a:pt x="0" y="1401227"/>
                </a:lnTo>
                <a:close/>
                <a:moveTo>
                  <a:pt x="10086867" y="1374341"/>
                </a:moveTo>
                <a:cubicBezTo>
                  <a:pt x="10072597" y="1374341"/>
                  <a:pt x="10058458" y="1379791"/>
                  <a:pt x="10047692" y="1390688"/>
                </a:cubicBezTo>
                <a:lnTo>
                  <a:pt x="9969212" y="1469432"/>
                </a:lnTo>
                <a:cubicBezTo>
                  <a:pt x="9947549" y="1491094"/>
                  <a:pt x="9947549" y="1526379"/>
                  <a:pt x="9969212" y="1548042"/>
                </a:cubicBezTo>
                <a:lnTo>
                  <a:pt x="10190770" y="1770130"/>
                </a:lnTo>
                <a:lnTo>
                  <a:pt x="10412328" y="1548042"/>
                </a:lnTo>
                <a:cubicBezTo>
                  <a:pt x="10433990" y="1526379"/>
                  <a:pt x="10433990" y="1491094"/>
                  <a:pt x="10412328" y="1469432"/>
                </a:cubicBezTo>
                <a:lnTo>
                  <a:pt x="10333848" y="1390817"/>
                </a:lnTo>
                <a:cubicBezTo>
                  <a:pt x="10322953" y="1379920"/>
                  <a:pt x="10308813" y="1374473"/>
                  <a:pt x="10294673" y="1374473"/>
                </a:cubicBezTo>
                <a:lnTo>
                  <a:pt x="10294543" y="1374341"/>
                </a:lnTo>
                <a:cubicBezTo>
                  <a:pt x="10280275" y="1374341"/>
                  <a:pt x="10266136" y="1379791"/>
                  <a:pt x="10255241" y="1390817"/>
                </a:cubicBezTo>
                <a:lnTo>
                  <a:pt x="10190770" y="1455423"/>
                </a:lnTo>
                <a:lnTo>
                  <a:pt x="10126171" y="1390688"/>
                </a:lnTo>
                <a:cubicBezTo>
                  <a:pt x="10115274" y="1379791"/>
                  <a:pt x="10101136" y="1374341"/>
                  <a:pt x="10086867" y="1374341"/>
                </a:cubicBezTo>
                <a:close/>
                <a:moveTo>
                  <a:pt x="8032919" y="1374327"/>
                </a:moveTo>
                <a:cubicBezTo>
                  <a:pt x="8018650" y="1374327"/>
                  <a:pt x="8004511" y="1379776"/>
                  <a:pt x="7993744" y="1390674"/>
                </a:cubicBezTo>
                <a:lnTo>
                  <a:pt x="7915266" y="1469418"/>
                </a:lnTo>
                <a:cubicBezTo>
                  <a:pt x="7893603" y="1491079"/>
                  <a:pt x="7893603" y="1526364"/>
                  <a:pt x="7915266" y="1548027"/>
                </a:cubicBezTo>
                <a:lnTo>
                  <a:pt x="8136823" y="1770114"/>
                </a:lnTo>
                <a:lnTo>
                  <a:pt x="8358382" y="1548027"/>
                </a:lnTo>
                <a:cubicBezTo>
                  <a:pt x="8380044" y="1526364"/>
                  <a:pt x="8380044" y="1491079"/>
                  <a:pt x="8358382" y="1469418"/>
                </a:cubicBezTo>
                <a:lnTo>
                  <a:pt x="8279902" y="1390801"/>
                </a:lnTo>
                <a:cubicBezTo>
                  <a:pt x="8269006" y="1379905"/>
                  <a:pt x="8254866" y="1374457"/>
                  <a:pt x="8240727" y="1374457"/>
                </a:cubicBezTo>
                <a:lnTo>
                  <a:pt x="8240596" y="1374327"/>
                </a:lnTo>
                <a:cubicBezTo>
                  <a:pt x="8226328" y="1374327"/>
                  <a:pt x="8212190" y="1379776"/>
                  <a:pt x="8201292" y="1390801"/>
                </a:cubicBezTo>
                <a:lnTo>
                  <a:pt x="8136823" y="1455407"/>
                </a:lnTo>
                <a:lnTo>
                  <a:pt x="8072224" y="1390674"/>
                </a:lnTo>
                <a:cubicBezTo>
                  <a:pt x="8061328" y="1379776"/>
                  <a:pt x="8047187" y="1374327"/>
                  <a:pt x="8032919" y="1374327"/>
                </a:cubicBezTo>
                <a:close/>
                <a:moveTo>
                  <a:pt x="5979110" y="1374312"/>
                </a:moveTo>
                <a:cubicBezTo>
                  <a:pt x="5964843" y="1374312"/>
                  <a:pt x="5950704" y="1379761"/>
                  <a:pt x="5939938" y="1390658"/>
                </a:cubicBezTo>
                <a:lnTo>
                  <a:pt x="5861464" y="1469401"/>
                </a:lnTo>
                <a:cubicBezTo>
                  <a:pt x="5839806" y="1491064"/>
                  <a:pt x="5839806" y="1526348"/>
                  <a:pt x="5861464" y="1548011"/>
                </a:cubicBezTo>
                <a:lnTo>
                  <a:pt x="6083008" y="1770098"/>
                </a:lnTo>
                <a:lnTo>
                  <a:pt x="6304562" y="1548011"/>
                </a:lnTo>
                <a:cubicBezTo>
                  <a:pt x="6326226" y="1526348"/>
                  <a:pt x="6326226" y="1491064"/>
                  <a:pt x="6304562" y="1469401"/>
                </a:cubicBezTo>
                <a:lnTo>
                  <a:pt x="6226084" y="1390787"/>
                </a:lnTo>
                <a:cubicBezTo>
                  <a:pt x="6215186" y="1379889"/>
                  <a:pt x="6201048" y="1374443"/>
                  <a:pt x="6186909" y="1374443"/>
                </a:cubicBezTo>
                <a:lnTo>
                  <a:pt x="6186779" y="1374312"/>
                </a:lnTo>
                <a:cubicBezTo>
                  <a:pt x="6172511" y="1374312"/>
                  <a:pt x="6158370" y="1379761"/>
                  <a:pt x="6147474" y="1390787"/>
                </a:cubicBezTo>
                <a:lnTo>
                  <a:pt x="6083008" y="1455390"/>
                </a:lnTo>
                <a:lnTo>
                  <a:pt x="6018412" y="1390658"/>
                </a:lnTo>
                <a:cubicBezTo>
                  <a:pt x="6007516" y="1379761"/>
                  <a:pt x="5993378" y="1374312"/>
                  <a:pt x="5979110" y="1374312"/>
                </a:cubicBezTo>
                <a:close/>
                <a:moveTo>
                  <a:pt x="3925347" y="1374297"/>
                </a:moveTo>
                <a:cubicBezTo>
                  <a:pt x="3911080" y="1374297"/>
                  <a:pt x="3896940" y="1379746"/>
                  <a:pt x="3886173" y="1390643"/>
                </a:cubicBezTo>
                <a:lnTo>
                  <a:pt x="3807688" y="1469387"/>
                </a:lnTo>
                <a:cubicBezTo>
                  <a:pt x="3786026" y="1491048"/>
                  <a:pt x="3786026" y="1526333"/>
                  <a:pt x="3807688" y="1547996"/>
                </a:cubicBezTo>
                <a:lnTo>
                  <a:pt x="4029252" y="1770082"/>
                </a:lnTo>
                <a:lnTo>
                  <a:pt x="4250768" y="1547996"/>
                </a:lnTo>
                <a:cubicBezTo>
                  <a:pt x="4272427" y="1526333"/>
                  <a:pt x="4272427" y="1491048"/>
                  <a:pt x="4250768" y="1469387"/>
                </a:cubicBezTo>
                <a:lnTo>
                  <a:pt x="4172334" y="1390772"/>
                </a:lnTo>
                <a:cubicBezTo>
                  <a:pt x="4161438" y="1379874"/>
                  <a:pt x="4147299" y="1374426"/>
                  <a:pt x="4133161" y="1374426"/>
                </a:cubicBezTo>
                <a:lnTo>
                  <a:pt x="4133031" y="1374297"/>
                </a:lnTo>
                <a:cubicBezTo>
                  <a:pt x="4118761" y="1374297"/>
                  <a:pt x="4104622" y="1379746"/>
                  <a:pt x="4093725" y="1390772"/>
                </a:cubicBezTo>
                <a:lnTo>
                  <a:pt x="4029252" y="1455376"/>
                </a:lnTo>
                <a:lnTo>
                  <a:pt x="3964654" y="1390643"/>
                </a:lnTo>
                <a:cubicBezTo>
                  <a:pt x="3953756" y="1379746"/>
                  <a:pt x="3939615" y="1374297"/>
                  <a:pt x="3925347" y="1374297"/>
                </a:cubicBezTo>
                <a:close/>
                <a:moveTo>
                  <a:pt x="1871374" y="1374282"/>
                </a:moveTo>
                <a:cubicBezTo>
                  <a:pt x="1857106" y="1374282"/>
                  <a:pt x="1842966" y="1379731"/>
                  <a:pt x="1832200" y="1390627"/>
                </a:cubicBezTo>
                <a:lnTo>
                  <a:pt x="1753721" y="1469369"/>
                </a:lnTo>
                <a:cubicBezTo>
                  <a:pt x="1732059" y="1491033"/>
                  <a:pt x="1732059" y="1526317"/>
                  <a:pt x="1753721" y="1547980"/>
                </a:cubicBezTo>
                <a:lnTo>
                  <a:pt x="1975278" y="1770066"/>
                </a:lnTo>
                <a:lnTo>
                  <a:pt x="2196846" y="1547980"/>
                </a:lnTo>
                <a:cubicBezTo>
                  <a:pt x="2218508" y="1526317"/>
                  <a:pt x="2218508" y="1491033"/>
                  <a:pt x="2196846" y="1469369"/>
                </a:cubicBezTo>
                <a:lnTo>
                  <a:pt x="2118368" y="1390756"/>
                </a:lnTo>
                <a:cubicBezTo>
                  <a:pt x="2107469" y="1379859"/>
                  <a:pt x="2093321" y="1374411"/>
                  <a:pt x="2079181" y="1374411"/>
                </a:cubicBezTo>
                <a:lnTo>
                  <a:pt x="2079052" y="1374282"/>
                </a:lnTo>
                <a:cubicBezTo>
                  <a:pt x="2064784" y="1374282"/>
                  <a:pt x="2050643" y="1379731"/>
                  <a:pt x="2039748" y="1390756"/>
                </a:cubicBezTo>
                <a:lnTo>
                  <a:pt x="1975278" y="1455359"/>
                </a:lnTo>
                <a:lnTo>
                  <a:pt x="1910679" y="1390627"/>
                </a:lnTo>
                <a:cubicBezTo>
                  <a:pt x="1899781" y="1379731"/>
                  <a:pt x="1885643" y="1374282"/>
                  <a:pt x="1871374" y="1374282"/>
                </a:cubicBezTo>
                <a:close/>
                <a:moveTo>
                  <a:pt x="0" y="1204081"/>
                </a:moveTo>
                <a:lnTo>
                  <a:pt x="186352" y="1311926"/>
                </a:lnTo>
                <a:lnTo>
                  <a:pt x="255068" y="1351694"/>
                </a:lnTo>
                <a:lnTo>
                  <a:pt x="255068" y="1737878"/>
                </a:lnTo>
                <a:lnTo>
                  <a:pt x="0" y="1885492"/>
                </a:lnTo>
                <a:lnTo>
                  <a:pt x="0" y="1691301"/>
                </a:lnTo>
                <a:lnTo>
                  <a:pt x="142995" y="1547965"/>
                </a:lnTo>
                <a:cubicBezTo>
                  <a:pt x="164660" y="1526302"/>
                  <a:pt x="164660" y="1491018"/>
                  <a:pt x="142995" y="1469353"/>
                </a:cubicBezTo>
                <a:lnTo>
                  <a:pt x="64516" y="1390741"/>
                </a:lnTo>
                <a:cubicBezTo>
                  <a:pt x="53620" y="1379844"/>
                  <a:pt x="39481" y="1374396"/>
                  <a:pt x="25341" y="1374396"/>
                </a:cubicBezTo>
                <a:lnTo>
                  <a:pt x="25213" y="1374267"/>
                </a:lnTo>
                <a:cubicBezTo>
                  <a:pt x="18079" y="1374267"/>
                  <a:pt x="10976" y="1375628"/>
                  <a:pt x="4296" y="1378369"/>
                </a:cubicBezTo>
                <a:lnTo>
                  <a:pt x="0" y="1381259"/>
                </a:lnTo>
                <a:close/>
                <a:moveTo>
                  <a:pt x="12188651" y="1190935"/>
                </a:moveTo>
                <a:lnTo>
                  <a:pt x="12188651" y="1399384"/>
                </a:lnTo>
                <a:lnTo>
                  <a:pt x="12179990" y="1390703"/>
                </a:lnTo>
                <a:cubicBezTo>
                  <a:pt x="12169092" y="1379806"/>
                  <a:pt x="12154954" y="1374358"/>
                  <a:pt x="12140685" y="1374358"/>
                </a:cubicBezTo>
                <a:cubicBezTo>
                  <a:pt x="12126416" y="1374358"/>
                  <a:pt x="12112276" y="1379806"/>
                  <a:pt x="12101510" y="1390703"/>
                </a:cubicBezTo>
                <a:lnTo>
                  <a:pt x="12023031" y="1469451"/>
                </a:lnTo>
                <a:cubicBezTo>
                  <a:pt x="12001368" y="1491111"/>
                  <a:pt x="12001368" y="1526394"/>
                  <a:pt x="12023031" y="1548057"/>
                </a:cubicBezTo>
                <a:lnTo>
                  <a:pt x="12188651" y="1714074"/>
                </a:lnTo>
                <a:lnTo>
                  <a:pt x="12188651" y="1898836"/>
                </a:lnTo>
                <a:lnTo>
                  <a:pt x="11910696" y="1737973"/>
                </a:lnTo>
                <a:lnTo>
                  <a:pt x="11910696" y="1351792"/>
                </a:lnTo>
                <a:close/>
                <a:moveTo>
                  <a:pt x="10883981" y="1163824"/>
                </a:moveTo>
                <a:lnTo>
                  <a:pt x="11209441" y="1352175"/>
                </a:lnTo>
                <a:lnTo>
                  <a:pt x="11209441" y="1729007"/>
                </a:lnTo>
                <a:lnTo>
                  <a:pt x="10883981" y="1540647"/>
                </a:lnTo>
                <a:close/>
                <a:moveTo>
                  <a:pt x="10867636" y="1163824"/>
                </a:moveTo>
                <a:lnTo>
                  <a:pt x="10867636" y="1540647"/>
                </a:lnTo>
                <a:lnTo>
                  <a:pt x="10542045" y="1729007"/>
                </a:lnTo>
                <a:lnTo>
                  <a:pt x="10542045" y="1352175"/>
                </a:lnTo>
                <a:close/>
                <a:moveTo>
                  <a:pt x="8830033" y="1163807"/>
                </a:moveTo>
                <a:lnTo>
                  <a:pt x="9155493" y="1352160"/>
                </a:lnTo>
                <a:lnTo>
                  <a:pt x="9155493" y="1728992"/>
                </a:lnTo>
                <a:lnTo>
                  <a:pt x="8830033" y="1540632"/>
                </a:lnTo>
                <a:close/>
                <a:moveTo>
                  <a:pt x="8813688" y="1163807"/>
                </a:moveTo>
                <a:lnTo>
                  <a:pt x="8813688" y="1540632"/>
                </a:lnTo>
                <a:lnTo>
                  <a:pt x="8488098" y="1728992"/>
                </a:lnTo>
                <a:lnTo>
                  <a:pt x="8488098" y="1352159"/>
                </a:lnTo>
                <a:close/>
                <a:moveTo>
                  <a:pt x="6776215" y="1163791"/>
                </a:moveTo>
                <a:lnTo>
                  <a:pt x="7101677" y="1352145"/>
                </a:lnTo>
                <a:lnTo>
                  <a:pt x="7101677" y="1728975"/>
                </a:lnTo>
                <a:lnTo>
                  <a:pt x="6776215" y="1540617"/>
                </a:lnTo>
                <a:close/>
                <a:moveTo>
                  <a:pt x="6759871" y="1163791"/>
                </a:moveTo>
                <a:lnTo>
                  <a:pt x="6759871" y="1540617"/>
                </a:lnTo>
                <a:lnTo>
                  <a:pt x="6434280" y="1728975"/>
                </a:lnTo>
                <a:lnTo>
                  <a:pt x="6434280" y="1352145"/>
                </a:lnTo>
                <a:close/>
                <a:moveTo>
                  <a:pt x="4705942" y="1163780"/>
                </a:moveTo>
                <a:lnTo>
                  <a:pt x="4705942" y="1540601"/>
                </a:lnTo>
                <a:lnTo>
                  <a:pt x="4380369" y="1728954"/>
                </a:lnTo>
                <a:lnTo>
                  <a:pt x="4380369" y="1352132"/>
                </a:lnTo>
                <a:close/>
                <a:moveTo>
                  <a:pt x="4722303" y="1163775"/>
                </a:moveTo>
                <a:lnTo>
                  <a:pt x="5047773" y="1352118"/>
                </a:lnTo>
                <a:lnTo>
                  <a:pt x="5047773" y="1728959"/>
                </a:lnTo>
                <a:lnTo>
                  <a:pt x="5020104" y="1712952"/>
                </a:lnTo>
                <a:lnTo>
                  <a:pt x="4722303" y="1540609"/>
                </a:lnTo>
                <a:close/>
                <a:moveTo>
                  <a:pt x="2652150" y="1163775"/>
                </a:moveTo>
                <a:lnTo>
                  <a:pt x="2652150" y="1540587"/>
                </a:lnTo>
                <a:lnTo>
                  <a:pt x="2326589" y="1728927"/>
                </a:lnTo>
                <a:lnTo>
                  <a:pt x="2326589" y="1352115"/>
                </a:lnTo>
                <a:close/>
                <a:moveTo>
                  <a:pt x="2668521" y="1163761"/>
                </a:moveTo>
                <a:lnTo>
                  <a:pt x="2993956" y="1352102"/>
                </a:lnTo>
                <a:lnTo>
                  <a:pt x="2993956" y="1728943"/>
                </a:lnTo>
                <a:lnTo>
                  <a:pt x="2668521" y="1540601"/>
                </a:lnTo>
                <a:close/>
                <a:moveTo>
                  <a:pt x="598173" y="1163759"/>
                </a:moveTo>
                <a:lnTo>
                  <a:pt x="598173" y="1540571"/>
                </a:lnTo>
                <a:lnTo>
                  <a:pt x="272611" y="1728912"/>
                </a:lnTo>
                <a:lnTo>
                  <a:pt x="272611" y="1352101"/>
                </a:lnTo>
                <a:close/>
                <a:moveTo>
                  <a:pt x="614544" y="1163745"/>
                </a:moveTo>
                <a:lnTo>
                  <a:pt x="939978" y="1352086"/>
                </a:lnTo>
                <a:lnTo>
                  <a:pt x="939978" y="1728928"/>
                </a:lnTo>
                <a:lnTo>
                  <a:pt x="614544" y="1540585"/>
                </a:lnTo>
                <a:close/>
                <a:moveTo>
                  <a:pt x="11559549" y="1159023"/>
                </a:moveTo>
                <a:lnTo>
                  <a:pt x="11893312" y="1352175"/>
                </a:lnTo>
                <a:lnTo>
                  <a:pt x="11893312" y="1738478"/>
                </a:lnTo>
                <a:lnTo>
                  <a:pt x="11559679" y="1931637"/>
                </a:lnTo>
                <a:lnTo>
                  <a:pt x="11225916" y="1738478"/>
                </a:lnTo>
                <a:lnTo>
                  <a:pt x="11225916" y="1352175"/>
                </a:lnTo>
                <a:close/>
                <a:moveTo>
                  <a:pt x="9505601" y="1159008"/>
                </a:moveTo>
                <a:lnTo>
                  <a:pt x="9839364" y="1352160"/>
                </a:lnTo>
                <a:lnTo>
                  <a:pt x="9839364" y="1738464"/>
                </a:lnTo>
                <a:lnTo>
                  <a:pt x="9505732" y="1931620"/>
                </a:lnTo>
                <a:lnTo>
                  <a:pt x="9171969" y="1738463"/>
                </a:lnTo>
                <a:lnTo>
                  <a:pt x="9171969" y="1352159"/>
                </a:lnTo>
                <a:close/>
                <a:moveTo>
                  <a:pt x="7451785" y="1158991"/>
                </a:moveTo>
                <a:lnTo>
                  <a:pt x="7785548" y="1352145"/>
                </a:lnTo>
                <a:lnTo>
                  <a:pt x="7785548" y="1738447"/>
                </a:lnTo>
                <a:lnTo>
                  <a:pt x="7451915" y="1931604"/>
                </a:lnTo>
                <a:lnTo>
                  <a:pt x="7118150" y="1738447"/>
                </a:lnTo>
                <a:lnTo>
                  <a:pt x="7118150" y="1352145"/>
                </a:lnTo>
                <a:close/>
                <a:moveTo>
                  <a:pt x="5397886" y="1158976"/>
                </a:moveTo>
                <a:lnTo>
                  <a:pt x="5452129" y="1190368"/>
                </a:lnTo>
                <a:lnTo>
                  <a:pt x="5731616" y="1352126"/>
                </a:lnTo>
                <a:lnTo>
                  <a:pt x="5731616" y="1738431"/>
                </a:lnTo>
                <a:lnTo>
                  <a:pt x="5397992" y="1931587"/>
                </a:lnTo>
                <a:lnTo>
                  <a:pt x="5182218" y="1806716"/>
                </a:lnTo>
                <a:lnTo>
                  <a:pt x="5064275" y="1738445"/>
                </a:lnTo>
                <a:lnTo>
                  <a:pt x="5064275" y="1352132"/>
                </a:lnTo>
                <a:close/>
                <a:moveTo>
                  <a:pt x="3344093" y="1158962"/>
                </a:moveTo>
                <a:lnTo>
                  <a:pt x="3677824" y="1352102"/>
                </a:lnTo>
                <a:lnTo>
                  <a:pt x="3677824" y="1738415"/>
                </a:lnTo>
                <a:lnTo>
                  <a:pt x="3344194" y="1931571"/>
                </a:lnTo>
                <a:lnTo>
                  <a:pt x="3010459" y="1738430"/>
                </a:lnTo>
                <a:lnTo>
                  <a:pt x="3010459" y="1352115"/>
                </a:lnTo>
                <a:close/>
                <a:moveTo>
                  <a:pt x="1290110" y="1158945"/>
                </a:moveTo>
                <a:lnTo>
                  <a:pt x="1623849" y="1352087"/>
                </a:lnTo>
                <a:lnTo>
                  <a:pt x="1623849" y="1738399"/>
                </a:lnTo>
                <a:lnTo>
                  <a:pt x="1290217" y="1931555"/>
                </a:lnTo>
                <a:lnTo>
                  <a:pt x="956479" y="1738413"/>
                </a:lnTo>
                <a:lnTo>
                  <a:pt x="956479" y="1352101"/>
                </a:lnTo>
                <a:close/>
                <a:moveTo>
                  <a:pt x="10190640" y="1158620"/>
                </a:moveTo>
                <a:lnTo>
                  <a:pt x="10524404" y="1351774"/>
                </a:lnTo>
                <a:lnTo>
                  <a:pt x="10524404" y="1737958"/>
                </a:lnTo>
                <a:lnTo>
                  <a:pt x="10190640" y="1931118"/>
                </a:lnTo>
                <a:lnTo>
                  <a:pt x="9856876" y="1737958"/>
                </a:lnTo>
                <a:lnTo>
                  <a:pt x="9856876" y="1351774"/>
                </a:lnTo>
                <a:close/>
                <a:moveTo>
                  <a:pt x="8136693" y="1158604"/>
                </a:moveTo>
                <a:lnTo>
                  <a:pt x="8470456" y="1351760"/>
                </a:lnTo>
                <a:lnTo>
                  <a:pt x="8470456" y="1737941"/>
                </a:lnTo>
                <a:lnTo>
                  <a:pt x="8136693" y="1931100"/>
                </a:lnTo>
                <a:lnTo>
                  <a:pt x="7802930" y="1737941"/>
                </a:lnTo>
                <a:lnTo>
                  <a:pt x="7802930" y="1351760"/>
                </a:lnTo>
                <a:close/>
                <a:moveTo>
                  <a:pt x="6082876" y="1158588"/>
                </a:moveTo>
                <a:lnTo>
                  <a:pt x="6416638" y="1351744"/>
                </a:lnTo>
                <a:lnTo>
                  <a:pt x="6416638" y="1737925"/>
                </a:lnTo>
                <a:lnTo>
                  <a:pt x="6082876" y="1931085"/>
                </a:lnTo>
                <a:lnTo>
                  <a:pt x="5749138" y="1737927"/>
                </a:lnTo>
                <a:lnTo>
                  <a:pt x="5749138" y="1351744"/>
                </a:lnTo>
                <a:close/>
                <a:moveTo>
                  <a:pt x="4029124" y="1158575"/>
                </a:moveTo>
                <a:lnTo>
                  <a:pt x="4362838" y="1351727"/>
                </a:lnTo>
                <a:lnTo>
                  <a:pt x="4362838" y="1737910"/>
                </a:lnTo>
                <a:lnTo>
                  <a:pt x="4029120" y="1931068"/>
                </a:lnTo>
                <a:lnTo>
                  <a:pt x="3695368" y="1737913"/>
                </a:lnTo>
                <a:lnTo>
                  <a:pt x="3695368" y="1351729"/>
                </a:lnTo>
                <a:close/>
                <a:moveTo>
                  <a:pt x="1975151" y="1158559"/>
                </a:moveTo>
                <a:lnTo>
                  <a:pt x="2252090" y="1318821"/>
                </a:lnTo>
                <a:lnTo>
                  <a:pt x="2308917" y="1351709"/>
                </a:lnTo>
                <a:lnTo>
                  <a:pt x="2308917" y="1737894"/>
                </a:lnTo>
                <a:lnTo>
                  <a:pt x="1975144" y="1931051"/>
                </a:lnTo>
                <a:lnTo>
                  <a:pt x="1641388" y="1737898"/>
                </a:lnTo>
                <a:lnTo>
                  <a:pt x="1641388" y="1351714"/>
                </a:lnTo>
                <a:close/>
                <a:moveTo>
                  <a:pt x="11902654" y="960799"/>
                </a:moveTo>
                <a:lnTo>
                  <a:pt x="12188651" y="1126327"/>
                </a:lnTo>
                <a:lnTo>
                  <a:pt x="12188651" y="1171992"/>
                </a:lnTo>
                <a:lnTo>
                  <a:pt x="11902524" y="1337516"/>
                </a:lnTo>
                <a:lnTo>
                  <a:pt x="11577065" y="1149161"/>
                </a:lnTo>
                <a:close/>
                <a:moveTo>
                  <a:pt x="9848833" y="960784"/>
                </a:moveTo>
                <a:lnTo>
                  <a:pt x="10174292" y="1149145"/>
                </a:lnTo>
                <a:lnTo>
                  <a:pt x="9848703" y="1337499"/>
                </a:lnTo>
                <a:lnTo>
                  <a:pt x="9523246" y="1149145"/>
                </a:lnTo>
                <a:close/>
                <a:moveTo>
                  <a:pt x="7794888" y="960771"/>
                </a:moveTo>
                <a:lnTo>
                  <a:pt x="8120344" y="1149132"/>
                </a:lnTo>
                <a:lnTo>
                  <a:pt x="7794758" y="1337484"/>
                </a:lnTo>
                <a:lnTo>
                  <a:pt x="7469301" y="1149132"/>
                </a:lnTo>
                <a:close/>
                <a:moveTo>
                  <a:pt x="5741094" y="960756"/>
                </a:moveTo>
                <a:lnTo>
                  <a:pt x="6066529" y="1149115"/>
                </a:lnTo>
                <a:lnTo>
                  <a:pt x="5740963" y="1337471"/>
                </a:lnTo>
                <a:lnTo>
                  <a:pt x="5504553" y="1200643"/>
                </a:lnTo>
                <a:lnTo>
                  <a:pt x="5415532" y="1149117"/>
                </a:lnTo>
                <a:close/>
                <a:moveTo>
                  <a:pt x="3687323" y="960742"/>
                </a:moveTo>
                <a:lnTo>
                  <a:pt x="4012774" y="1149098"/>
                </a:lnTo>
                <a:lnTo>
                  <a:pt x="3687188" y="1337454"/>
                </a:lnTo>
                <a:lnTo>
                  <a:pt x="3361738" y="1149102"/>
                </a:lnTo>
                <a:close/>
                <a:moveTo>
                  <a:pt x="1633346" y="960729"/>
                </a:moveTo>
                <a:lnTo>
                  <a:pt x="1958798" y="1149083"/>
                </a:lnTo>
                <a:lnTo>
                  <a:pt x="1633210" y="1337440"/>
                </a:lnTo>
                <a:lnTo>
                  <a:pt x="1307756" y="1149086"/>
                </a:lnTo>
                <a:close/>
                <a:moveTo>
                  <a:pt x="11113840" y="796828"/>
                </a:moveTo>
                <a:cubicBezTo>
                  <a:pt x="11124348" y="796828"/>
                  <a:pt x="11134206" y="800978"/>
                  <a:pt x="11141600" y="808373"/>
                </a:cubicBezTo>
                <a:lnTo>
                  <a:pt x="11206199" y="873104"/>
                </a:lnTo>
                <a:lnTo>
                  <a:pt x="11217744" y="884778"/>
                </a:lnTo>
                <a:lnTo>
                  <a:pt x="11229289" y="873104"/>
                </a:lnTo>
                <a:lnTo>
                  <a:pt x="11293758" y="808373"/>
                </a:lnTo>
                <a:cubicBezTo>
                  <a:pt x="11301152" y="800848"/>
                  <a:pt x="11311011" y="796828"/>
                  <a:pt x="11321517" y="796828"/>
                </a:cubicBezTo>
                <a:cubicBezTo>
                  <a:pt x="11331896" y="796828"/>
                  <a:pt x="11341755" y="800978"/>
                  <a:pt x="11349147" y="808373"/>
                </a:cubicBezTo>
                <a:lnTo>
                  <a:pt x="11427627" y="886983"/>
                </a:lnTo>
                <a:lnTo>
                  <a:pt x="11439169" y="914736"/>
                </a:lnTo>
                <a:lnTo>
                  <a:pt x="11427757" y="942490"/>
                </a:lnTo>
                <a:lnTo>
                  <a:pt x="11217744" y="1152909"/>
                </a:lnTo>
                <a:lnTo>
                  <a:pt x="11007731" y="942490"/>
                </a:lnTo>
                <a:lnTo>
                  <a:pt x="10996253" y="914754"/>
                </a:lnTo>
                <a:lnTo>
                  <a:pt x="11007731" y="887113"/>
                </a:lnTo>
                <a:lnTo>
                  <a:pt x="11086210" y="808373"/>
                </a:lnTo>
                <a:cubicBezTo>
                  <a:pt x="11093605" y="800978"/>
                  <a:pt x="11103333" y="796828"/>
                  <a:pt x="11113840" y="796828"/>
                </a:cubicBezTo>
                <a:close/>
                <a:moveTo>
                  <a:pt x="9059892" y="796812"/>
                </a:moveTo>
                <a:cubicBezTo>
                  <a:pt x="9070398" y="796812"/>
                  <a:pt x="9080257" y="800965"/>
                  <a:pt x="9087652" y="808358"/>
                </a:cubicBezTo>
                <a:lnTo>
                  <a:pt x="9152251" y="873089"/>
                </a:lnTo>
                <a:lnTo>
                  <a:pt x="9163796" y="884763"/>
                </a:lnTo>
                <a:lnTo>
                  <a:pt x="9175341" y="873089"/>
                </a:lnTo>
                <a:lnTo>
                  <a:pt x="9239810" y="808358"/>
                </a:lnTo>
                <a:cubicBezTo>
                  <a:pt x="9247204" y="800835"/>
                  <a:pt x="9257062" y="796812"/>
                  <a:pt x="9267570" y="796812"/>
                </a:cubicBezTo>
                <a:cubicBezTo>
                  <a:pt x="9277946" y="796812"/>
                  <a:pt x="9287805" y="800965"/>
                  <a:pt x="9295200" y="808358"/>
                </a:cubicBezTo>
                <a:lnTo>
                  <a:pt x="9373678" y="886967"/>
                </a:lnTo>
                <a:lnTo>
                  <a:pt x="9385221" y="914725"/>
                </a:lnTo>
                <a:lnTo>
                  <a:pt x="9373809" y="942476"/>
                </a:lnTo>
                <a:lnTo>
                  <a:pt x="9163797" y="1152894"/>
                </a:lnTo>
                <a:lnTo>
                  <a:pt x="8953784" y="942476"/>
                </a:lnTo>
                <a:lnTo>
                  <a:pt x="8942307" y="914737"/>
                </a:lnTo>
                <a:lnTo>
                  <a:pt x="8953783" y="887100"/>
                </a:lnTo>
                <a:lnTo>
                  <a:pt x="9032263" y="808358"/>
                </a:lnTo>
                <a:cubicBezTo>
                  <a:pt x="9039655" y="800965"/>
                  <a:pt x="9049385" y="796812"/>
                  <a:pt x="9059892" y="796812"/>
                </a:cubicBezTo>
                <a:close/>
                <a:moveTo>
                  <a:pt x="7006076" y="796800"/>
                </a:moveTo>
                <a:cubicBezTo>
                  <a:pt x="7016582" y="796800"/>
                  <a:pt x="7026440" y="800950"/>
                  <a:pt x="7033834" y="808345"/>
                </a:cubicBezTo>
                <a:lnTo>
                  <a:pt x="7098434" y="873075"/>
                </a:lnTo>
                <a:lnTo>
                  <a:pt x="7109978" y="884750"/>
                </a:lnTo>
                <a:lnTo>
                  <a:pt x="7121523" y="873075"/>
                </a:lnTo>
                <a:lnTo>
                  <a:pt x="7185994" y="808345"/>
                </a:lnTo>
                <a:cubicBezTo>
                  <a:pt x="7193387" y="800820"/>
                  <a:pt x="7203245" y="796800"/>
                  <a:pt x="7213751" y="796800"/>
                </a:cubicBezTo>
                <a:cubicBezTo>
                  <a:pt x="7224130" y="796800"/>
                  <a:pt x="7233989" y="800950"/>
                  <a:pt x="7241381" y="808345"/>
                </a:cubicBezTo>
                <a:lnTo>
                  <a:pt x="7319862" y="886956"/>
                </a:lnTo>
                <a:lnTo>
                  <a:pt x="7331404" y="914710"/>
                </a:lnTo>
                <a:lnTo>
                  <a:pt x="7319992" y="942463"/>
                </a:lnTo>
                <a:lnTo>
                  <a:pt x="7109978" y="1152879"/>
                </a:lnTo>
                <a:lnTo>
                  <a:pt x="6899966" y="942463"/>
                </a:lnTo>
                <a:lnTo>
                  <a:pt x="6888488" y="914725"/>
                </a:lnTo>
                <a:lnTo>
                  <a:pt x="6899966" y="887085"/>
                </a:lnTo>
                <a:lnTo>
                  <a:pt x="6978446" y="808345"/>
                </a:lnTo>
                <a:cubicBezTo>
                  <a:pt x="6985839" y="800950"/>
                  <a:pt x="6995568" y="796800"/>
                  <a:pt x="7006076" y="796800"/>
                </a:cubicBezTo>
                <a:close/>
                <a:moveTo>
                  <a:pt x="4952163" y="796785"/>
                </a:moveTo>
                <a:cubicBezTo>
                  <a:pt x="4962672" y="796785"/>
                  <a:pt x="4972539" y="800935"/>
                  <a:pt x="4979931" y="808330"/>
                </a:cubicBezTo>
                <a:lnTo>
                  <a:pt x="4999601" y="828037"/>
                </a:lnTo>
                <a:lnTo>
                  <a:pt x="5044528" y="873049"/>
                </a:lnTo>
                <a:lnTo>
                  <a:pt x="5056083" y="884723"/>
                </a:lnTo>
                <a:lnTo>
                  <a:pt x="5056083" y="884718"/>
                </a:lnTo>
                <a:lnTo>
                  <a:pt x="5056096" y="884737"/>
                </a:lnTo>
                <a:lnTo>
                  <a:pt x="5067648" y="873062"/>
                </a:lnTo>
                <a:lnTo>
                  <a:pt x="5132091" y="808330"/>
                </a:lnTo>
                <a:cubicBezTo>
                  <a:pt x="5139483" y="800806"/>
                  <a:pt x="5149338" y="796785"/>
                  <a:pt x="5159840" y="796785"/>
                </a:cubicBezTo>
                <a:lnTo>
                  <a:pt x="5187487" y="808327"/>
                </a:lnTo>
                <a:lnTo>
                  <a:pt x="5260329" y="881304"/>
                </a:lnTo>
                <a:lnTo>
                  <a:pt x="5265946" y="886927"/>
                </a:lnTo>
                <a:lnTo>
                  <a:pt x="5277479" y="914688"/>
                </a:lnTo>
                <a:cubicBezTo>
                  <a:pt x="5277479" y="925196"/>
                  <a:pt x="5273469" y="935054"/>
                  <a:pt x="5266075" y="942448"/>
                </a:cubicBezTo>
                <a:lnTo>
                  <a:pt x="5056083" y="1152860"/>
                </a:lnTo>
                <a:lnTo>
                  <a:pt x="4940608" y="1037194"/>
                </a:lnTo>
                <a:lnTo>
                  <a:pt x="4846044" y="942452"/>
                </a:lnTo>
                <a:lnTo>
                  <a:pt x="4834566" y="914718"/>
                </a:lnTo>
                <a:cubicBezTo>
                  <a:pt x="4834566" y="904680"/>
                  <a:pt x="4838398" y="894660"/>
                  <a:pt x="4846044" y="887070"/>
                </a:cubicBezTo>
                <a:lnTo>
                  <a:pt x="4924518" y="808330"/>
                </a:lnTo>
                <a:cubicBezTo>
                  <a:pt x="4931917" y="800935"/>
                  <a:pt x="4941652" y="796785"/>
                  <a:pt x="4952163" y="796785"/>
                </a:cubicBezTo>
                <a:close/>
                <a:moveTo>
                  <a:pt x="2898379" y="796772"/>
                </a:moveTo>
                <a:lnTo>
                  <a:pt x="2926124" y="808309"/>
                </a:lnTo>
                <a:lnTo>
                  <a:pt x="2990715" y="873034"/>
                </a:lnTo>
                <a:lnTo>
                  <a:pt x="3002260" y="884709"/>
                </a:lnTo>
                <a:lnTo>
                  <a:pt x="3002266" y="884703"/>
                </a:lnTo>
                <a:lnTo>
                  <a:pt x="3002284" y="884723"/>
                </a:lnTo>
                <a:lnTo>
                  <a:pt x="3013828" y="873046"/>
                </a:lnTo>
                <a:lnTo>
                  <a:pt x="3078300" y="808316"/>
                </a:lnTo>
                <a:cubicBezTo>
                  <a:pt x="3085695" y="800793"/>
                  <a:pt x="3095551" y="796772"/>
                  <a:pt x="3106059" y="796772"/>
                </a:cubicBezTo>
                <a:lnTo>
                  <a:pt x="3133671" y="808309"/>
                </a:lnTo>
                <a:lnTo>
                  <a:pt x="3212143" y="886914"/>
                </a:lnTo>
                <a:cubicBezTo>
                  <a:pt x="3219537" y="894308"/>
                  <a:pt x="3223561" y="904167"/>
                  <a:pt x="3223689" y="914674"/>
                </a:cubicBezTo>
                <a:cubicBezTo>
                  <a:pt x="3223689" y="925182"/>
                  <a:pt x="3219668" y="935041"/>
                  <a:pt x="3212274" y="942434"/>
                </a:cubicBezTo>
                <a:lnTo>
                  <a:pt x="3002266" y="1152843"/>
                </a:lnTo>
                <a:lnTo>
                  <a:pt x="2792274" y="942447"/>
                </a:lnTo>
                <a:cubicBezTo>
                  <a:pt x="2776962" y="927141"/>
                  <a:pt x="2776962" y="902234"/>
                  <a:pt x="2792274" y="887057"/>
                </a:cubicBezTo>
                <a:lnTo>
                  <a:pt x="2870749" y="808316"/>
                </a:lnTo>
                <a:cubicBezTo>
                  <a:pt x="2878144" y="800921"/>
                  <a:pt x="2887873" y="796772"/>
                  <a:pt x="2898379" y="796772"/>
                </a:cubicBezTo>
                <a:close/>
                <a:moveTo>
                  <a:pt x="844401" y="796757"/>
                </a:moveTo>
                <a:lnTo>
                  <a:pt x="872145" y="808295"/>
                </a:lnTo>
                <a:lnTo>
                  <a:pt x="936739" y="873020"/>
                </a:lnTo>
                <a:lnTo>
                  <a:pt x="948284" y="884695"/>
                </a:lnTo>
                <a:lnTo>
                  <a:pt x="948289" y="884690"/>
                </a:lnTo>
                <a:lnTo>
                  <a:pt x="948306" y="884708"/>
                </a:lnTo>
                <a:lnTo>
                  <a:pt x="959851" y="873033"/>
                </a:lnTo>
                <a:lnTo>
                  <a:pt x="1024320" y="808302"/>
                </a:lnTo>
                <a:cubicBezTo>
                  <a:pt x="1031715" y="800778"/>
                  <a:pt x="1041574" y="796757"/>
                  <a:pt x="1052080" y="796757"/>
                </a:cubicBezTo>
                <a:lnTo>
                  <a:pt x="1079695" y="808295"/>
                </a:lnTo>
                <a:lnTo>
                  <a:pt x="1158166" y="886900"/>
                </a:lnTo>
                <a:cubicBezTo>
                  <a:pt x="1165560" y="894294"/>
                  <a:pt x="1169581" y="904152"/>
                  <a:pt x="1169710" y="914660"/>
                </a:cubicBezTo>
                <a:cubicBezTo>
                  <a:pt x="1169710" y="925168"/>
                  <a:pt x="1165691" y="935027"/>
                  <a:pt x="1158298" y="942421"/>
                </a:cubicBezTo>
                <a:lnTo>
                  <a:pt x="948288" y="1152829"/>
                </a:lnTo>
                <a:lnTo>
                  <a:pt x="738294" y="942434"/>
                </a:lnTo>
                <a:cubicBezTo>
                  <a:pt x="722988" y="927127"/>
                  <a:pt x="722988" y="902221"/>
                  <a:pt x="738294" y="887043"/>
                </a:cubicBezTo>
                <a:lnTo>
                  <a:pt x="816772" y="808302"/>
                </a:lnTo>
                <a:cubicBezTo>
                  <a:pt x="824166" y="800907"/>
                  <a:pt x="833895" y="796757"/>
                  <a:pt x="844401" y="796757"/>
                </a:cubicBezTo>
                <a:close/>
                <a:moveTo>
                  <a:pt x="11113840" y="780338"/>
                </a:moveTo>
                <a:cubicBezTo>
                  <a:pt x="11099571" y="780338"/>
                  <a:pt x="11085432" y="785787"/>
                  <a:pt x="11074665" y="796683"/>
                </a:cubicBezTo>
                <a:lnTo>
                  <a:pt x="10996186" y="875425"/>
                </a:lnTo>
                <a:cubicBezTo>
                  <a:pt x="10985355" y="886258"/>
                  <a:pt x="10979939" y="900495"/>
                  <a:pt x="10979939" y="914730"/>
                </a:cubicBezTo>
                <a:lnTo>
                  <a:pt x="10979942" y="914736"/>
                </a:lnTo>
                <a:lnTo>
                  <a:pt x="10979939" y="914744"/>
                </a:lnTo>
                <a:cubicBezTo>
                  <a:pt x="10979939" y="928981"/>
                  <a:pt x="10985355" y="943218"/>
                  <a:pt x="10996186" y="954050"/>
                </a:cubicBezTo>
                <a:lnTo>
                  <a:pt x="11217744" y="1176145"/>
                </a:lnTo>
                <a:lnTo>
                  <a:pt x="11439301" y="954050"/>
                </a:lnTo>
                <a:cubicBezTo>
                  <a:pt x="11450132" y="943218"/>
                  <a:pt x="11455548" y="928981"/>
                  <a:pt x="11455548" y="914744"/>
                </a:cubicBezTo>
                <a:lnTo>
                  <a:pt x="11455545" y="914736"/>
                </a:lnTo>
                <a:lnTo>
                  <a:pt x="11455548" y="914730"/>
                </a:lnTo>
                <a:cubicBezTo>
                  <a:pt x="11455548" y="900495"/>
                  <a:pt x="11450132" y="886258"/>
                  <a:pt x="11439301" y="875425"/>
                </a:cubicBezTo>
                <a:lnTo>
                  <a:pt x="11360822" y="796812"/>
                </a:lnTo>
                <a:cubicBezTo>
                  <a:pt x="11349927" y="785916"/>
                  <a:pt x="11335787" y="780468"/>
                  <a:pt x="11321647" y="780468"/>
                </a:cubicBezTo>
                <a:lnTo>
                  <a:pt x="11321517" y="780338"/>
                </a:lnTo>
                <a:cubicBezTo>
                  <a:pt x="11307249" y="780338"/>
                  <a:pt x="11293110" y="785787"/>
                  <a:pt x="11282213" y="796812"/>
                </a:cubicBezTo>
                <a:lnTo>
                  <a:pt x="11217744" y="861415"/>
                </a:lnTo>
                <a:lnTo>
                  <a:pt x="11153145" y="796683"/>
                </a:lnTo>
                <a:cubicBezTo>
                  <a:pt x="11142248" y="785787"/>
                  <a:pt x="11128108" y="780338"/>
                  <a:pt x="11113840" y="780338"/>
                </a:cubicBezTo>
                <a:close/>
                <a:moveTo>
                  <a:pt x="9059893" y="780324"/>
                </a:moveTo>
                <a:cubicBezTo>
                  <a:pt x="9045624" y="780324"/>
                  <a:pt x="9031484" y="785773"/>
                  <a:pt x="9020718" y="796669"/>
                </a:cubicBezTo>
                <a:lnTo>
                  <a:pt x="8942239" y="875411"/>
                </a:lnTo>
                <a:cubicBezTo>
                  <a:pt x="8931408" y="886243"/>
                  <a:pt x="8925992" y="900480"/>
                  <a:pt x="8925992" y="914717"/>
                </a:cubicBezTo>
                <a:lnTo>
                  <a:pt x="8925994" y="914722"/>
                </a:lnTo>
                <a:lnTo>
                  <a:pt x="8925991" y="914730"/>
                </a:lnTo>
                <a:cubicBezTo>
                  <a:pt x="8925991" y="928969"/>
                  <a:pt x="8931406" y="943203"/>
                  <a:pt x="8942238" y="954035"/>
                </a:cubicBezTo>
                <a:lnTo>
                  <a:pt x="9163796" y="1176130"/>
                </a:lnTo>
                <a:lnTo>
                  <a:pt x="9385353" y="954035"/>
                </a:lnTo>
                <a:cubicBezTo>
                  <a:pt x="9396184" y="943203"/>
                  <a:pt x="9401600" y="928969"/>
                  <a:pt x="9401600" y="914730"/>
                </a:cubicBezTo>
                <a:lnTo>
                  <a:pt x="9401598" y="914725"/>
                </a:lnTo>
                <a:lnTo>
                  <a:pt x="9401601" y="914717"/>
                </a:lnTo>
                <a:cubicBezTo>
                  <a:pt x="9401601" y="900480"/>
                  <a:pt x="9396185" y="886243"/>
                  <a:pt x="9385354" y="875411"/>
                </a:cubicBezTo>
                <a:lnTo>
                  <a:pt x="9306876" y="796800"/>
                </a:lnTo>
                <a:cubicBezTo>
                  <a:pt x="9295978" y="785903"/>
                  <a:pt x="9281840" y="780454"/>
                  <a:pt x="9267701" y="780454"/>
                </a:cubicBezTo>
                <a:lnTo>
                  <a:pt x="9267571" y="780324"/>
                </a:lnTo>
                <a:cubicBezTo>
                  <a:pt x="9253303" y="780324"/>
                  <a:pt x="9239162" y="785773"/>
                  <a:pt x="9228266" y="796800"/>
                </a:cubicBezTo>
                <a:lnTo>
                  <a:pt x="9163797" y="861401"/>
                </a:lnTo>
                <a:lnTo>
                  <a:pt x="9099198" y="796669"/>
                </a:lnTo>
                <a:cubicBezTo>
                  <a:pt x="9088300" y="785773"/>
                  <a:pt x="9074162" y="780324"/>
                  <a:pt x="9059893" y="780324"/>
                </a:cubicBezTo>
                <a:close/>
                <a:moveTo>
                  <a:pt x="7006076" y="780310"/>
                </a:moveTo>
                <a:cubicBezTo>
                  <a:pt x="6991805" y="780310"/>
                  <a:pt x="6977666" y="785759"/>
                  <a:pt x="6966901" y="796656"/>
                </a:cubicBezTo>
                <a:lnTo>
                  <a:pt x="6888421" y="875397"/>
                </a:lnTo>
                <a:cubicBezTo>
                  <a:pt x="6877589" y="886228"/>
                  <a:pt x="6872174" y="900465"/>
                  <a:pt x="6872174" y="914703"/>
                </a:cubicBezTo>
                <a:lnTo>
                  <a:pt x="6872176" y="914710"/>
                </a:lnTo>
                <a:lnTo>
                  <a:pt x="6872174" y="914717"/>
                </a:lnTo>
                <a:cubicBezTo>
                  <a:pt x="6872174" y="928953"/>
                  <a:pt x="6877589" y="943189"/>
                  <a:pt x="6888421" y="954021"/>
                </a:cubicBezTo>
                <a:lnTo>
                  <a:pt x="7109978" y="1176113"/>
                </a:lnTo>
                <a:lnTo>
                  <a:pt x="7331537" y="954021"/>
                </a:lnTo>
                <a:cubicBezTo>
                  <a:pt x="7342368" y="943189"/>
                  <a:pt x="7347783" y="928953"/>
                  <a:pt x="7347783" y="914717"/>
                </a:cubicBezTo>
                <a:lnTo>
                  <a:pt x="7347780" y="914710"/>
                </a:lnTo>
                <a:lnTo>
                  <a:pt x="7347783" y="914703"/>
                </a:lnTo>
                <a:cubicBezTo>
                  <a:pt x="7347783" y="900465"/>
                  <a:pt x="7342368" y="886228"/>
                  <a:pt x="7331537" y="875397"/>
                </a:cubicBezTo>
                <a:lnTo>
                  <a:pt x="7253057" y="796785"/>
                </a:lnTo>
                <a:cubicBezTo>
                  <a:pt x="7242161" y="785888"/>
                  <a:pt x="7228022" y="780440"/>
                  <a:pt x="7213882" y="780440"/>
                </a:cubicBezTo>
                <a:lnTo>
                  <a:pt x="7213751" y="780310"/>
                </a:lnTo>
                <a:cubicBezTo>
                  <a:pt x="7199483" y="780310"/>
                  <a:pt x="7185345" y="785759"/>
                  <a:pt x="7174449" y="796785"/>
                </a:cubicBezTo>
                <a:lnTo>
                  <a:pt x="7109978" y="861387"/>
                </a:lnTo>
                <a:lnTo>
                  <a:pt x="7045379" y="796656"/>
                </a:lnTo>
                <a:cubicBezTo>
                  <a:pt x="7034483" y="785759"/>
                  <a:pt x="7020344" y="780310"/>
                  <a:pt x="7006076" y="780310"/>
                </a:cubicBezTo>
                <a:close/>
                <a:moveTo>
                  <a:pt x="4952154" y="780296"/>
                </a:moveTo>
                <a:cubicBezTo>
                  <a:pt x="4937883" y="780296"/>
                  <a:pt x="4923734" y="785745"/>
                  <a:pt x="4912973" y="796641"/>
                </a:cubicBezTo>
                <a:lnTo>
                  <a:pt x="4834497" y="875382"/>
                </a:lnTo>
                <a:cubicBezTo>
                  <a:pt x="4812828" y="897046"/>
                  <a:pt x="4812828" y="932332"/>
                  <a:pt x="4834497" y="953994"/>
                </a:cubicBezTo>
                <a:lnTo>
                  <a:pt x="4834505" y="954001"/>
                </a:lnTo>
                <a:lnTo>
                  <a:pt x="4834511" y="954008"/>
                </a:lnTo>
                <a:lnTo>
                  <a:pt x="4925572" y="1045292"/>
                </a:lnTo>
                <a:lnTo>
                  <a:pt x="5056083" y="1176084"/>
                </a:lnTo>
                <a:lnTo>
                  <a:pt x="5056083" y="1176081"/>
                </a:lnTo>
                <a:lnTo>
                  <a:pt x="5056096" y="1176099"/>
                </a:lnTo>
                <a:lnTo>
                  <a:pt x="5277619" y="954008"/>
                </a:lnTo>
                <a:cubicBezTo>
                  <a:pt x="5299298" y="932344"/>
                  <a:pt x="5299298" y="897060"/>
                  <a:pt x="5277619" y="875395"/>
                </a:cubicBezTo>
                <a:lnTo>
                  <a:pt x="5277613" y="875386"/>
                </a:lnTo>
                <a:lnTo>
                  <a:pt x="5277613" y="875382"/>
                </a:lnTo>
                <a:lnTo>
                  <a:pt x="5199129" y="796772"/>
                </a:lnTo>
                <a:cubicBezTo>
                  <a:pt x="5188240" y="785874"/>
                  <a:pt x="5174094" y="780426"/>
                  <a:pt x="5159958" y="780426"/>
                </a:cubicBezTo>
                <a:lnTo>
                  <a:pt x="5159834" y="780296"/>
                </a:lnTo>
                <a:cubicBezTo>
                  <a:pt x="5145563" y="780296"/>
                  <a:pt x="5131434" y="785745"/>
                  <a:pt x="5120536" y="796772"/>
                </a:cubicBezTo>
                <a:lnTo>
                  <a:pt x="5056083" y="861369"/>
                </a:lnTo>
                <a:lnTo>
                  <a:pt x="5001140" y="806336"/>
                </a:lnTo>
                <a:lnTo>
                  <a:pt x="4991465" y="796641"/>
                </a:lnTo>
                <a:cubicBezTo>
                  <a:pt x="4980570" y="785745"/>
                  <a:pt x="4966424" y="780296"/>
                  <a:pt x="4952154" y="780296"/>
                </a:cubicBezTo>
                <a:close/>
                <a:moveTo>
                  <a:pt x="2898359" y="780282"/>
                </a:moveTo>
                <a:cubicBezTo>
                  <a:pt x="2884086" y="780282"/>
                  <a:pt x="2869949" y="785730"/>
                  <a:pt x="2859182" y="796627"/>
                </a:cubicBezTo>
                <a:lnTo>
                  <a:pt x="2780702" y="875369"/>
                </a:lnTo>
                <a:cubicBezTo>
                  <a:pt x="2759040" y="897032"/>
                  <a:pt x="2759040" y="932316"/>
                  <a:pt x="2780702" y="953981"/>
                </a:cubicBezTo>
                <a:lnTo>
                  <a:pt x="3002260" y="1176068"/>
                </a:lnTo>
                <a:lnTo>
                  <a:pt x="3002266" y="1176063"/>
                </a:lnTo>
                <a:lnTo>
                  <a:pt x="3002284" y="1176082"/>
                </a:lnTo>
                <a:lnTo>
                  <a:pt x="3223843" y="953994"/>
                </a:lnTo>
                <a:cubicBezTo>
                  <a:pt x="3245509" y="932331"/>
                  <a:pt x="3245509" y="897046"/>
                  <a:pt x="3223843" y="875382"/>
                </a:cubicBezTo>
                <a:lnTo>
                  <a:pt x="3145363" y="796772"/>
                </a:lnTo>
                <a:cubicBezTo>
                  <a:pt x="3139913" y="791323"/>
                  <a:pt x="3133654" y="787234"/>
                  <a:pt x="3126992" y="784512"/>
                </a:cubicBezTo>
                <a:lnTo>
                  <a:pt x="3126986" y="784511"/>
                </a:lnTo>
                <a:lnTo>
                  <a:pt x="3126967" y="784499"/>
                </a:lnTo>
                <a:lnTo>
                  <a:pt x="3106177" y="780415"/>
                </a:lnTo>
                <a:lnTo>
                  <a:pt x="3106059" y="780295"/>
                </a:lnTo>
                <a:lnTo>
                  <a:pt x="3106051" y="780298"/>
                </a:lnTo>
                <a:lnTo>
                  <a:pt x="3106034" y="780282"/>
                </a:lnTo>
                <a:cubicBezTo>
                  <a:pt x="3091767" y="780282"/>
                  <a:pt x="3077626" y="785730"/>
                  <a:pt x="3066731" y="796757"/>
                </a:cubicBezTo>
                <a:lnTo>
                  <a:pt x="3002266" y="861353"/>
                </a:lnTo>
                <a:lnTo>
                  <a:pt x="2937685" y="796641"/>
                </a:lnTo>
                <a:cubicBezTo>
                  <a:pt x="2932238" y="791192"/>
                  <a:pt x="2925979" y="787106"/>
                  <a:pt x="2919300" y="784382"/>
                </a:cubicBezTo>
                <a:lnTo>
                  <a:pt x="2919293" y="784381"/>
                </a:lnTo>
                <a:lnTo>
                  <a:pt x="2919273" y="784369"/>
                </a:lnTo>
                <a:cubicBezTo>
                  <a:pt x="2912591" y="781644"/>
                  <a:pt x="2905489" y="780282"/>
                  <a:pt x="2898359" y="780282"/>
                </a:cubicBezTo>
                <a:close/>
                <a:moveTo>
                  <a:pt x="844379" y="780268"/>
                </a:moveTo>
                <a:cubicBezTo>
                  <a:pt x="830112" y="780268"/>
                  <a:pt x="815972" y="785717"/>
                  <a:pt x="805206" y="796613"/>
                </a:cubicBezTo>
                <a:lnTo>
                  <a:pt x="726726" y="875355"/>
                </a:lnTo>
                <a:cubicBezTo>
                  <a:pt x="705063" y="897019"/>
                  <a:pt x="705063" y="932303"/>
                  <a:pt x="726726" y="953966"/>
                </a:cubicBezTo>
                <a:lnTo>
                  <a:pt x="948284" y="1176053"/>
                </a:lnTo>
                <a:lnTo>
                  <a:pt x="948288" y="1176048"/>
                </a:lnTo>
                <a:lnTo>
                  <a:pt x="948306" y="1176067"/>
                </a:lnTo>
                <a:lnTo>
                  <a:pt x="1169863" y="953980"/>
                </a:lnTo>
                <a:cubicBezTo>
                  <a:pt x="1191525" y="932316"/>
                  <a:pt x="1191525" y="897032"/>
                  <a:pt x="1169863" y="875369"/>
                </a:cubicBezTo>
                <a:lnTo>
                  <a:pt x="1091384" y="796757"/>
                </a:lnTo>
                <a:cubicBezTo>
                  <a:pt x="1085937" y="791309"/>
                  <a:pt x="1079676" y="787222"/>
                  <a:pt x="1073012" y="784498"/>
                </a:cubicBezTo>
                <a:lnTo>
                  <a:pt x="1073010" y="784497"/>
                </a:lnTo>
                <a:lnTo>
                  <a:pt x="1072991" y="784484"/>
                </a:lnTo>
                <a:lnTo>
                  <a:pt x="1052198" y="780401"/>
                </a:lnTo>
                <a:lnTo>
                  <a:pt x="1052080" y="780282"/>
                </a:lnTo>
                <a:lnTo>
                  <a:pt x="1052072" y="780283"/>
                </a:lnTo>
                <a:lnTo>
                  <a:pt x="1052057" y="780268"/>
                </a:lnTo>
                <a:cubicBezTo>
                  <a:pt x="1037789" y="780268"/>
                  <a:pt x="1023649" y="785717"/>
                  <a:pt x="1012754" y="796743"/>
                </a:cubicBezTo>
                <a:lnTo>
                  <a:pt x="948290" y="861340"/>
                </a:lnTo>
                <a:lnTo>
                  <a:pt x="883707" y="796627"/>
                </a:lnTo>
                <a:cubicBezTo>
                  <a:pt x="878259" y="791178"/>
                  <a:pt x="872000" y="787092"/>
                  <a:pt x="865320" y="784368"/>
                </a:cubicBezTo>
                <a:lnTo>
                  <a:pt x="865315" y="784367"/>
                </a:lnTo>
                <a:lnTo>
                  <a:pt x="865296" y="784354"/>
                </a:lnTo>
                <a:cubicBezTo>
                  <a:pt x="858616" y="781630"/>
                  <a:pt x="851515" y="780268"/>
                  <a:pt x="844379" y="780268"/>
                </a:cubicBezTo>
                <a:close/>
                <a:moveTo>
                  <a:pt x="11910826" y="569816"/>
                </a:moveTo>
                <a:lnTo>
                  <a:pt x="12188651" y="730603"/>
                </a:lnTo>
                <a:lnTo>
                  <a:pt x="12188651" y="1107455"/>
                </a:lnTo>
                <a:lnTo>
                  <a:pt x="11910826" y="946654"/>
                </a:lnTo>
                <a:close/>
                <a:moveTo>
                  <a:pt x="11894481" y="569816"/>
                </a:moveTo>
                <a:lnTo>
                  <a:pt x="11894481" y="946654"/>
                </a:lnTo>
                <a:lnTo>
                  <a:pt x="11568890" y="1135023"/>
                </a:lnTo>
                <a:lnTo>
                  <a:pt x="11568890" y="758171"/>
                </a:lnTo>
                <a:close/>
                <a:moveTo>
                  <a:pt x="9857006" y="569803"/>
                </a:moveTo>
                <a:lnTo>
                  <a:pt x="10182468" y="758157"/>
                </a:lnTo>
                <a:lnTo>
                  <a:pt x="10182468" y="1135005"/>
                </a:lnTo>
                <a:lnTo>
                  <a:pt x="9857006" y="946640"/>
                </a:lnTo>
                <a:close/>
                <a:moveTo>
                  <a:pt x="9840661" y="569803"/>
                </a:moveTo>
                <a:lnTo>
                  <a:pt x="9840661" y="946640"/>
                </a:lnTo>
                <a:lnTo>
                  <a:pt x="9515070" y="1135005"/>
                </a:lnTo>
                <a:lnTo>
                  <a:pt x="9515070" y="758157"/>
                </a:lnTo>
                <a:close/>
                <a:moveTo>
                  <a:pt x="7803060" y="569788"/>
                </a:moveTo>
                <a:lnTo>
                  <a:pt x="8128521" y="758143"/>
                </a:lnTo>
                <a:lnTo>
                  <a:pt x="8128521" y="1134990"/>
                </a:lnTo>
                <a:lnTo>
                  <a:pt x="7803060" y="946626"/>
                </a:lnTo>
                <a:close/>
                <a:moveTo>
                  <a:pt x="7786715" y="569788"/>
                </a:moveTo>
                <a:lnTo>
                  <a:pt x="7786715" y="946626"/>
                </a:lnTo>
                <a:lnTo>
                  <a:pt x="7461125" y="1134990"/>
                </a:lnTo>
                <a:lnTo>
                  <a:pt x="7461125" y="758143"/>
                </a:lnTo>
                <a:close/>
                <a:moveTo>
                  <a:pt x="5749267" y="569774"/>
                </a:moveTo>
                <a:lnTo>
                  <a:pt x="6074705" y="758130"/>
                </a:lnTo>
                <a:lnTo>
                  <a:pt x="6074705" y="1134975"/>
                </a:lnTo>
                <a:lnTo>
                  <a:pt x="5749267" y="946613"/>
                </a:lnTo>
                <a:close/>
                <a:moveTo>
                  <a:pt x="5732923" y="569774"/>
                </a:moveTo>
                <a:lnTo>
                  <a:pt x="5732923" y="946611"/>
                </a:lnTo>
                <a:lnTo>
                  <a:pt x="5407356" y="1134972"/>
                </a:lnTo>
                <a:lnTo>
                  <a:pt x="5407356" y="758130"/>
                </a:lnTo>
                <a:close/>
                <a:moveTo>
                  <a:pt x="3679146" y="569764"/>
                </a:moveTo>
                <a:lnTo>
                  <a:pt x="3679146" y="946598"/>
                </a:lnTo>
                <a:lnTo>
                  <a:pt x="3353565" y="1134955"/>
                </a:lnTo>
                <a:lnTo>
                  <a:pt x="3353565" y="758117"/>
                </a:lnTo>
                <a:close/>
                <a:moveTo>
                  <a:pt x="3695498" y="569759"/>
                </a:moveTo>
                <a:lnTo>
                  <a:pt x="4020947" y="758112"/>
                </a:lnTo>
                <a:lnTo>
                  <a:pt x="4020947" y="1134957"/>
                </a:lnTo>
                <a:lnTo>
                  <a:pt x="3695498" y="946601"/>
                </a:lnTo>
                <a:close/>
                <a:moveTo>
                  <a:pt x="1625167" y="569748"/>
                </a:moveTo>
                <a:lnTo>
                  <a:pt x="1625167" y="946584"/>
                </a:lnTo>
                <a:lnTo>
                  <a:pt x="1299584" y="1134940"/>
                </a:lnTo>
                <a:lnTo>
                  <a:pt x="1299584" y="758102"/>
                </a:lnTo>
                <a:close/>
                <a:moveTo>
                  <a:pt x="1641516" y="569745"/>
                </a:moveTo>
                <a:lnTo>
                  <a:pt x="1966972" y="758098"/>
                </a:lnTo>
                <a:lnTo>
                  <a:pt x="1966972" y="1134943"/>
                </a:lnTo>
                <a:lnTo>
                  <a:pt x="1641516" y="946587"/>
                </a:lnTo>
                <a:close/>
                <a:moveTo>
                  <a:pt x="10532576" y="565003"/>
                </a:moveTo>
                <a:lnTo>
                  <a:pt x="10866339" y="758157"/>
                </a:lnTo>
                <a:lnTo>
                  <a:pt x="10866339" y="1144474"/>
                </a:lnTo>
                <a:lnTo>
                  <a:pt x="10532706" y="1337629"/>
                </a:lnTo>
                <a:lnTo>
                  <a:pt x="10198941" y="1144474"/>
                </a:lnTo>
                <a:lnTo>
                  <a:pt x="10198941" y="758157"/>
                </a:lnTo>
                <a:close/>
                <a:moveTo>
                  <a:pt x="8478628" y="564988"/>
                </a:moveTo>
                <a:lnTo>
                  <a:pt x="8812392" y="758143"/>
                </a:lnTo>
                <a:lnTo>
                  <a:pt x="8812392" y="1144459"/>
                </a:lnTo>
                <a:lnTo>
                  <a:pt x="8478758" y="1337616"/>
                </a:lnTo>
                <a:lnTo>
                  <a:pt x="8144995" y="1144459"/>
                </a:lnTo>
                <a:lnTo>
                  <a:pt x="8144995" y="758143"/>
                </a:lnTo>
                <a:close/>
                <a:moveTo>
                  <a:pt x="6424810" y="564974"/>
                </a:moveTo>
                <a:lnTo>
                  <a:pt x="6758573" y="758130"/>
                </a:lnTo>
                <a:lnTo>
                  <a:pt x="6758573" y="1144443"/>
                </a:lnTo>
                <a:lnTo>
                  <a:pt x="6424940" y="1337600"/>
                </a:lnTo>
                <a:lnTo>
                  <a:pt x="6091179" y="1144443"/>
                </a:lnTo>
                <a:lnTo>
                  <a:pt x="6091179" y="758130"/>
                </a:lnTo>
                <a:close/>
                <a:moveTo>
                  <a:pt x="4371020" y="564960"/>
                </a:moveTo>
                <a:lnTo>
                  <a:pt x="4704777" y="758114"/>
                </a:lnTo>
                <a:lnTo>
                  <a:pt x="4704777" y="1144429"/>
                </a:lnTo>
                <a:lnTo>
                  <a:pt x="4371146" y="1337586"/>
                </a:lnTo>
                <a:lnTo>
                  <a:pt x="4203813" y="1240748"/>
                </a:lnTo>
                <a:lnTo>
                  <a:pt x="4037427" y="1144432"/>
                </a:lnTo>
                <a:lnTo>
                  <a:pt x="4037427" y="758117"/>
                </a:lnTo>
                <a:close/>
                <a:moveTo>
                  <a:pt x="2317096" y="564946"/>
                </a:moveTo>
                <a:lnTo>
                  <a:pt x="2650849" y="758098"/>
                </a:lnTo>
                <a:lnTo>
                  <a:pt x="2650849" y="1144413"/>
                </a:lnTo>
                <a:lnTo>
                  <a:pt x="2317220" y="1337570"/>
                </a:lnTo>
                <a:lnTo>
                  <a:pt x="1983454" y="1144417"/>
                </a:lnTo>
                <a:lnTo>
                  <a:pt x="1983454" y="758102"/>
                </a:lnTo>
                <a:close/>
                <a:moveTo>
                  <a:pt x="263248" y="564931"/>
                </a:moveTo>
                <a:lnTo>
                  <a:pt x="597003" y="758084"/>
                </a:lnTo>
                <a:lnTo>
                  <a:pt x="597003" y="1144398"/>
                </a:lnTo>
                <a:lnTo>
                  <a:pt x="263372" y="1337554"/>
                </a:lnTo>
                <a:lnTo>
                  <a:pt x="0" y="1185135"/>
                </a:lnTo>
                <a:lnTo>
                  <a:pt x="0" y="717338"/>
                </a:lnTo>
                <a:close/>
                <a:moveTo>
                  <a:pt x="11217614" y="564628"/>
                </a:moveTo>
                <a:lnTo>
                  <a:pt x="11551377" y="757782"/>
                </a:lnTo>
                <a:lnTo>
                  <a:pt x="11551377" y="1143957"/>
                </a:lnTo>
                <a:lnTo>
                  <a:pt x="11217614" y="1337111"/>
                </a:lnTo>
                <a:lnTo>
                  <a:pt x="10883851" y="1143959"/>
                </a:lnTo>
                <a:lnTo>
                  <a:pt x="10883851" y="757782"/>
                </a:lnTo>
                <a:close/>
                <a:moveTo>
                  <a:pt x="9163666" y="564614"/>
                </a:moveTo>
                <a:lnTo>
                  <a:pt x="9497429" y="757768"/>
                </a:lnTo>
                <a:lnTo>
                  <a:pt x="9497429" y="1143944"/>
                </a:lnTo>
                <a:lnTo>
                  <a:pt x="9163666" y="1337098"/>
                </a:lnTo>
                <a:lnTo>
                  <a:pt x="8829903" y="1143941"/>
                </a:lnTo>
                <a:lnTo>
                  <a:pt x="8829903" y="757768"/>
                </a:lnTo>
                <a:close/>
                <a:moveTo>
                  <a:pt x="7109850" y="564599"/>
                </a:moveTo>
                <a:lnTo>
                  <a:pt x="7443613" y="757755"/>
                </a:lnTo>
                <a:lnTo>
                  <a:pt x="7443613" y="1143928"/>
                </a:lnTo>
                <a:lnTo>
                  <a:pt x="7109850" y="1337082"/>
                </a:lnTo>
                <a:lnTo>
                  <a:pt x="6776085" y="1143928"/>
                </a:lnTo>
                <a:lnTo>
                  <a:pt x="6776085" y="757755"/>
                </a:lnTo>
                <a:close/>
                <a:moveTo>
                  <a:pt x="5055971" y="564585"/>
                </a:moveTo>
                <a:lnTo>
                  <a:pt x="5143887" y="615477"/>
                </a:lnTo>
                <a:lnTo>
                  <a:pt x="5389701" y="757730"/>
                </a:lnTo>
                <a:lnTo>
                  <a:pt x="5389701" y="1143911"/>
                </a:lnTo>
                <a:lnTo>
                  <a:pt x="5055949" y="1337066"/>
                </a:lnTo>
                <a:lnTo>
                  <a:pt x="4722183" y="1143920"/>
                </a:lnTo>
                <a:lnTo>
                  <a:pt x="4722183" y="757740"/>
                </a:lnTo>
                <a:close/>
                <a:moveTo>
                  <a:pt x="3002159" y="564571"/>
                </a:moveTo>
                <a:lnTo>
                  <a:pt x="3016027" y="572597"/>
                </a:lnTo>
                <a:lnTo>
                  <a:pt x="3335897" y="757711"/>
                </a:lnTo>
                <a:lnTo>
                  <a:pt x="3335897" y="1143896"/>
                </a:lnTo>
                <a:lnTo>
                  <a:pt x="3002127" y="1337052"/>
                </a:lnTo>
                <a:lnTo>
                  <a:pt x="2668394" y="1143911"/>
                </a:lnTo>
                <a:lnTo>
                  <a:pt x="2668394" y="757727"/>
                </a:lnTo>
                <a:close/>
                <a:moveTo>
                  <a:pt x="948179" y="564556"/>
                </a:moveTo>
                <a:lnTo>
                  <a:pt x="1281917" y="757697"/>
                </a:lnTo>
                <a:lnTo>
                  <a:pt x="1281917" y="1143881"/>
                </a:lnTo>
                <a:lnTo>
                  <a:pt x="948154" y="1337037"/>
                </a:lnTo>
                <a:lnTo>
                  <a:pt x="740385" y="1216797"/>
                </a:lnTo>
                <a:lnTo>
                  <a:pt x="614417" y="1143897"/>
                </a:lnTo>
                <a:lnTo>
                  <a:pt x="614417" y="757713"/>
                </a:lnTo>
                <a:close/>
                <a:moveTo>
                  <a:pt x="10875809" y="366803"/>
                </a:moveTo>
                <a:lnTo>
                  <a:pt x="11201256" y="555149"/>
                </a:lnTo>
                <a:lnTo>
                  <a:pt x="10875678" y="743498"/>
                </a:lnTo>
                <a:lnTo>
                  <a:pt x="10550231" y="555149"/>
                </a:lnTo>
                <a:close/>
                <a:moveTo>
                  <a:pt x="8821860" y="366789"/>
                </a:moveTo>
                <a:lnTo>
                  <a:pt x="9147308" y="555135"/>
                </a:lnTo>
                <a:lnTo>
                  <a:pt x="8821731" y="743485"/>
                </a:lnTo>
                <a:lnTo>
                  <a:pt x="8496282" y="555135"/>
                </a:lnTo>
                <a:close/>
                <a:moveTo>
                  <a:pt x="6768043" y="366774"/>
                </a:moveTo>
                <a:lnTo>
                  <a:pt x="7093491" y="555121"/>
                </a:lnTo>
                <a:lnTo>
                  <a:pt x="6767913" y="743469"/>
                </a:lnTo>
                <a:lnTo>
                  <a:pt x="6442466" y="555121"/>
                </a:lnTo>
                <a:close/>
                <a:moveTo>
                  <a:pt x="4714128" y="366759"/>
                </a:moveTo>
                <a:lnTo>
                  <a:pt x="5039593" y="555101"/>
                </a:lnTo>
                <a:lnTo>
                  <a:pt x="4713993" y="743455"/>
                </a:lnTo>
                <a:lnTo>
                  <a:pt x="4388549" y="555110"/>
                </a:lnTo>
                <a:close/>
                <a:moveTo>
                  <a:pt x="2660353" y="366745"/>
                </a:moveTo>
                <a:lnTo>
                  <a:pt x="2961041" y="540764"/>
                </a:lnTo>
                <a:lnTo>
                  <a:pt x="2985786" y="555084"/>
                </a:lnTo>
                <a:lnTo>
                  <a:pt x="2660196" y="743441"/>
                </a:lnTo>
                <a:lnTo>
                  <a:pt x="2334766" y="555101"/>
                </a:lnTo>
                <a:close/>
                <a:moveTo>
                  <a:pt x="606375" y="366730"/>
                </a:moveTo>
                <a:lnTo>
                  <a:pt x="931808" y="555071"/>
                </a:lnTo>
                <a:lnTo>
                  <a:pt x="606218" y="743426"/>
                </a:lnTo>
                <a:lnTo>
                  <a:pt x="280784" y="555086"/>
                </a:lnTo>
                <a:close/>
                <a:moveTo>
                  <a:pt x="12140685" y="202966"/>
                </a:moveTo>
                <a:cubicBezTo>
                  <a:pt x="12151191" y="202966"/>
                  <a:pt x="12161050" y="207115"/>
                  <a:pt x="12168445" y="214509"/>
                </a:cubicBezTo>
                <a:lnTo>
                  <a:pt x="12188651" y="234757"/>
                </a:lnTo>
                <a:lnTo>
                  <a:pt x="12188651" y="503007"/>
                </a:lnTo>
                <a:lnTo>
                  <a:pt x="12034576" y="348641"/>
                </a:lnTo>
                <a:cubicBezTo>
                  <a:pt x="12019270" y="333336"/>
                  <a:pt x="12019270" y="308429"/>
                  <a:pt x="12034576" y="293253"/>
                </a:cubicBezTo>
                <a:lnTo>
                  <a:pt x="12113056" y="214509"/>
                </a:lnTo>
                <a:cubicBezTo>
                  <a:pt x="12120448" y="207115"/>
                  <a:pt x="12130178" y="202966"/>
                  <a:pt x="12140685" y="202966"/>
                </a:cubicBezTo>
                <a:close/>
                <a:moveTo>
                  <a:pt x="10086867" y="202950"/>
                </a:moveTo>
                <a:cubicBezTo>
                  <a:pt x="10097374" y="202950"/>
                  <a:pt x="10107232" y="207102"/>
                  <a:pt x="10114626" y="214495"/>
                </a:cubicBezTo>
                <a:lnTo>
                  <a:pt x="10179226" y="279226"/>
                </a:lnTo>
                <a:lnTo>
                  <a:pt x="10190770" y="290903"/>
                </a:lnTo>
                <a:lnTo>
                  <a:pt x="10202315" y="279226"/>
                </a:lnTo>
                <a:lnTo>
                  <a:pt x="10266786" y="214495"/>
                </a:lnTo>
                <a:cubicBezTo>
                  <a:pt x="10274178" y="206971"/>
                  <a:pt x="10284037" y="202950"/>
                  <a:pt x="10294543" y="202950"/>
                </a:cubicBezTo>
                <a:cubicBezTo>
                  <a:pt x="10304922" y="202950"/>
                  <a:pt x="10314781" y="207102"/>
                  <a:pt x="10322173" y="214495"/>
                </a:cubicBezTo>
                <a:lnTo>
                  <a:pt x="10400653" y="293106"/>
                </a:lnTo>
                <a:cubicBezTo>
                  <a:pt x="10408047" y="300500"/>
                  <a:pt x="10412068" y="310360"/>
                  <a:pt x="10412198" y="320867"/>
                </a:cubicBezTo>
                <a:cubicBezTo>
                  <a:pt x="10412198" y="331375"/>
                  <a:pt x="10408176" y="341234"/>
                  <a:pt x="10400783" y="348627"/>
                </a:cubicBezTo>
                <a:lnTo>
                  <a:pt x="10190770" y="559036"/>
                </a:lnTo>
                <a:lnTo>
                  <a:pt x="9980757" y="348627"/>
                </a:lnTo>
                <a:cubicBezTo>
                  <a:pt x="9965450" y="333321"/>
                  <a:pt x="9965450" y="308414"/>
                  <a:pt x="9980757" y="293236"/>
                </a:cubicBezTo>
                <a:lnTo>
                  <a:pt x="10059237" y="214495"/>
                </a:lnTo>
                <a:cubicBezTo>
                  <a:pt x="10066631" y="207102"/>
                  <a:pt x="10076359" y="202950"/>
                  <a:pt x="10086867" y="202950"/>
                </a:cubicBezTo>
                <a:close/>
                <a:moveTo>
                  <a:pt x="8032919" y="202936"/>
                </a:moveTo>
                <a:cubicBezTo>
                  <a:pt x="8043427" y="202936"/>
                  <a:pt x="8053285" y="207087"/>
                  <a:pt x="8060679" y="214481"/>
                </a:cubicBezTo>
                <a:lnTo>
                  <a:pt x="8125278" y="279212"/>
                </a:lnTo>
                <a:lnTo>
                  <a:pt x="8136823" y="290888"/>
                </a:lnTo>
                <a:lnTo>
                  <a:pt x="8148368" y="279212"/>
                </a:lnTo>
                <a:lnTo>
                  <a:pt x="8212837" y="214481"/>
                </a:lnTo>
                <a:cubicBezTo>
                  <a:pt x="8220232" y="206957"/>
                  <a:pt x="8230090" y="202936"/>
                  <a:pt x="8240596" y="202936"/>
                </a:cubicBezTo>
                <a:cubicBezTo>
                  <a:pt x="8250975" y="202936"/>
                  <a:pt x="8260834" y="207087"/>
                  <a:pt x="8268226" y="214481"/>
                </a:cubicBezTo>
                <a:lnTo>
                  <a:pt x="8346707" y="293091"/>
                </a:lnTo>
                <a:cubicBezTo>
                  <a:pt x="8354100" y="300487"/>
                  <a:pt x="8358121" y="310344"/>
                  <a:pt x="8358252" y="320853"/>
                </a:cubicBezTo>
                <a:cubicBezTo>
                  <a:pt x="8358252" y="331360"/>
                  <a:pt x="8354229" y="341220"/>
                  <a:pt x="8346837" y="348613"/>
                </a:cubicBezTo>
                <a:lnTo>
                  <a:pt x="8136823" y="559021"/>
                </a:lnTo>
                <a:lnTo>
                  <a:pt x="7926811" y="348613"/>
                </a:lnTo>
                <a:cubicBezTo>
                  <a:pt x="7911503" y="333305"/>
                  <a:pt x="7911503" y="308399"/>
                  <a:pt x="7926811" y="293223"/>
                </a:cubicBezTo>
                <a:lnTo>
                  <a:pt x="8005289" y="214481"/>
                </a:lnTo>
                <a:cubicBezTo>
                  <a:pt x="8012684" y="207087"/>
                  <a:pt x="8022413" y="202936"/>
                  <a:pt x="8032919" y="202936"/>
                </a:cubicBezTo>
                <a:close/>
                <a:moveTo>
                  <a:pt x="5979111" y="202922"/>
                </a:moveTo>
                <a:cubicBezTo>
                  <a:pt x="5989617" y="202922"/>
                  <a:pt x="5999474" y="207071"/>
                  <a:pt x="6006869" y="214466"/>
                </a:cubicBezTo>
                <a:lnTo>
                  <a:pt x="6071463" y="279197"/>
                </a:lnTo>
                <a:lnTo>
                  <a:pt x="6083008" y="290872"/>
                </a:lnTo>
                <a:lnTo>
                  <a:pt x="6094550" y="279197"/>
                </a:lnTo>
                <a:lnTo>
                  <a:pt x="6159019" y="214466"/>
                </a:lnTo>
                <a:cubicBezTo>
                  <a:pt x="6166413" y="206942"/>
                  <a:pt x="6176271" y="202922"/>
                  <a:pt x="6186779" y="202922"/>
                </a:cubicBezTo>
                <a:cubicBezTo>
                  <a:pt x="6197156" y="202922"/>
                  <a:pt x="6207014" y="207071"/>
                  <a:pt x="6214409" y="214466"/>
                </a:cubicBezTo>
                <a:lnTo>
                  <a:pt x="6292888" y="293078"/>
                </a:lnTo>
                <a:cubicBezTo>
                  <a:pt x="6300282" y="300473"/>
                  <a:pt x="6304303" y="310331"/>
                  <a:pt x="6304433" y="320838"/>
                </a:cubicBezTo>
                <a:cubicBezTo>
                  <a:pt x="6304433" y="331345"/>
                  <a:pt x="6300412" y="341204"/>
                  <a:pt x="6293017" y="348599"/>
                </a:cubicBezTo>
                <a:lnTo>
                  <a:pt x="6083008" y="559007"/>
                </a:lnTo>
                <a:lnTo>
                  <a:pt x="5873007" y="348599"/>
                </a:lnTo>
                <a:cubicBezTo>
                  <a:pt x="5857705" y="333290"/>
                  <a:pt x="5857705" y="308385"/>
                  <a:pt x="5873007" y="293208"/>
                </a:cubicBezTo>
                <a:lnTo>
                  <a:pt x="5951485" y="214466"/>
                </a:lnTo>
                <a:cubicBezTo>
                  <a:pt x="5958875" y="207071"/>
                  <a:pt x="5968605" y="202922"/>
                  <a:pt x="5979111" y="202922"/>
                </a:cubicBezTo>
                <a:close/>
                <a:moveTo>
                  <a:pt x="3925350" y="202907"/>
                </a:moveTo>
                <a:cubicBezTo>
                  <a:pt x="3935853" y="202907"/>
                  <a:pt x="3945719" y="207057"/>
                  <a:pt x="3953107" y="214451"/>
                </a:cubicBezTo>
                <a:lnTo>
                  <a:pt x="4017710" y="279184"/>
                </a:lnTo>
                <a:lnTo>
                  <a:pt x="4029255" y="290858"/>
                </a:lnTo>
                <a:lnTo>
                  <a:pt x="4040802" y="279184"/>
                </a:lnTo>
                <a:lnTo>
                  <a:pt x="4105272" y="214451"/>
                </a:lnTo>
                <a:cubicBezTo>
                  <a:pt x="4112668" y="206928"/>
                  <a:pt x="4122525" y="202907"/>
                  <a:pt x="4133033" y="202907"/>
                </a:cubicBezTo>
                <a:cubicBezTo>
                  <a:pt x="4143410" y="202907"/>
                  <a:pt x="4153270" y="207057"/>
                  <a:pt x="4160664" y="214451"/>
                </a:cubicBezTo>
                <a:lnTo>
                  <a:pt x="4239091" y="293063"/>
                </a:lnTo>
                <a:cubicBezTo>
                  <a:pt x="4246485" y="300458"/>
                  <a:pt x="4250509" y="310316"/>
                  <a:pt x="4250643" y="320823"/>
                </a:cubicBezTo>
                <a:cubicBezTo>
                  <a:pt x="4250643" y="331330"/>
                  <a:pt x="4246615" y="341189"/>
                  <a:pt x="4239218" y="348583"/>
                </a:cubicBezTo>
                <a:lnTo>
                  <a:pt x="4029255" y="558992"/>
                </a:lnTo>
                <a:lnTo>
                  <a:pt x="3819236" y="348583"/>
                </a:lnTo>
                <a:cubicBezTo>
                  <a:pt x="3803926" y="333277"/>
                  <a:pt x="3803926" y="308369"/>
                  <a:pt x="3819236" y="293193"/>
                </a:cubicBezTo>
                <a:lnTo>
                  <a:pt x="3897721" y="214451"/>
                </a:lnTo>
                <a:cubicBezTo>
                  <a:pt x="3905117" y="207057"/>
                  <a:pt x="3914844" y="202907"/>
                  <a:pt x="3925350" y="202907"/>
                </a:cubicBezTo>
                <a:close/>
                <a:moveTo>
                  <a:pt x="1871377" y="202891"/>
                </a:moveTo>
                <a:cubicBezTo>
                  <a:pt x="1881884" y="202891"/>
                  <a:pt x="1891742" y="207042"/>
                  <a:pt x="1899135" y="214436"/>
                </a:cubicBezTo>
                <a:lnTo>
                  <a:pt x="1963735" y="279169"/>
                </a:lnTo>
                <a:lnTo>
                  <a:pt x="1975281" y="290844"/>
                </a:lnTo>
                <a:lnTo>
                  <a:pt x="1986824" y="279169"/>
                </a:lnTo>
                <a:lnTo>
                  <a:pt x="2051295" y="214436"/>
                </a:lnTo>
                <a:cubicBezTo>
                  <a:pt x="2058689" y="206913"/>
                  <a:pt x="2068548" y="202891"/>
                  <a:pt x="2079054" y="202891"/>
                </a:cubicBezTo>
                <a:cubicBezTo>
                  <a:pt x="2089433" y="202891"/>
                  <a:pt x="2099298" y="207042"/>
                  <a:pt x="2106692" y="214436"/>
                </a:cubicBezTo>
                <a:lnTo>
                  <a:pt x="2185175" y="293048"/>
                </a:lnTo>
                <a:cubicBezTo>
                  <a:pt x="2192567" y="300443"/>
                  <a:pt x="2196589" y="310301"/>
                  <a:pt x="2196719" y="320809"/>
                </a:cubicBezTo>
                <a:cubicBezTo>
                  <a:pt x="2196719" y="331317"/>
                  <a:pt x="2192698" y="341175"/>
                  <a:pt x="2185303" y="348569"/>
                </a:cubicBezTo>
                <a:lnTo>
                  <a:pt x="1975281" y="558978"/>
                </a:lnTo>
                <a:lnTo>
                  <a:pt x="1765268" y="348569"/>
                </a:lnTo>
                <a:cubicBezTo>
                  <a:pt x="1749960" y="333262"/>
                  <a:pt x="1749960" y="308355"/>
                  <a:pt x="1765268" y="293179"/>
                </a:cubicBezTo>
                <a:lnTo>
                  <a:pt x="1843747" y="214436"/>
                </a:lnTo>
                <a:cubicBezTo>
                  <a:pt x="1851141" y="207042"/>
                  <a:pt x="1860869" y="202891"/>
                  <a:pt x="1871377" y="202891"/>
                </a:cubicBezTo>
                <a:close/>
                <a:moveTo>
                  <a:pt x="25217" y="202877"/>
                </a:moveTo>
                <a:cubicBezTo>
                  <a:pt x="35592" y="202877"/>
                  <a:pt x="45451" y="207028"/>
                  <a:pt x="52846" y="214422"/>
                </a:cubicBezTo>
                <a:lnTo>
                  <a:pt x="131324" y="293033"/>
                </a:lnTo>
                <a:cubicBezTo>
                  <a:pt x="138719" y="300428"/>
                  <a:pt x="142740" y="310286"/>
                  <a:pt x="142867" y="320794"/>
                </a:cubicBezTo>
                <a:cubicBezTo>
                  <a:pt x="142867" y="331302"/>
                  <a:pt x="138848" y="341161"/>
                  <a:pt x="131454" y="348554"/>
                </a:cubicBezTo>
                <a:lnTo>
                  <a:pt x="0" y="480257"/>
                </a:lnTo>
                <a:lnTo>
                  <a:pt x="0" y="213364"/>
                </a:lnTo>
                <a:close/>
                <a:moveTo>
                  <a:pt x="10086867" y="186475"/>
                </a:moveTo>
                <a:cubicBezTo>
                  <a:pt x="10072597" y="186475"/>
                  <a:pt x="10058458" y="191923"/>
                  <a:pt x="10047692" y="202821"/>
                </a:cubicBezTo>
                <a:lnTo>
                  <a:pt x="9969212" y="281561"/>
                </a:lnTo>
                <a:cubicBezTo>
                  <a:pt x="9947549" y="303225"/>
                  <a:pt x="9947549" y="338510"/>
                  <a:pt x="9969212" y="360173"/>
                </a:cubicBezTo>
                <a:lnTo>
                  <a:pt x="10190770" y="582255"/>
                </a:lnTo>
                <a:lnTo>
                  <a:pt x="10412328" y="360173"/>
                </a:lnTo>
                <a:cubicBezTo>
                  <a:pt x="10433990" y="338510"/>
                  <a:pt x="10433990" y="303225"/>
                  <a:pt x="10412328" y="281561"/>
                </a:cubicBezTo>
                <a:lnTo>
                  <a:pt x="10333848" y="202950"/>
                </a:lnTo>
                <a:cubicBezTo>
                  <a:pt x="10322953" y="192053"/>
                  <a:pt x="10308813" y="186606"/>
                  <a:pt x="10294673" y="186606"/>
                </a:cubicBezTo>
                <a:lnTo>
                  <a:pt x="10294543" y="186475"/>
                </a:lnTo>
                <a:cubicBezTo>
                  <a:pt x="10280275" y="186475"/>
                  <a:pt x="10266136" y="191923"/>
                  <a:pt x="10255241" y="202950"/>
                </a:cubicBezTo>
                <a:lnTo>
                  <a:pt x="10190770" y="267553"/>
                </a:lnTo>
                <a:lnTo>
                  <a:pt x="10126171" y="202821"/>
                </a:lnTo>
                <a:cubicBezTo>
                  <a:pt x="10115274" y="191923"/>
                  <a:pt x="10101136" y="186475"/>
                  <a:pt x="10086867" y="186475"/>
                </a:cubicBezTo>
                <a:close/>
                <a:moveTo>
                  <a:pt x="8032919" y="186461"/>
                </a:moveTo>
                <a:cubicBezTo>
                  <a:pt x="8018650" y="186461"/>
                  <a:pt x="8004511" y="191909"/>
                  <a:pt x="7993744" y="202806"/>
                </a:cubicBezTo>
                <a:lnTo>
                  <a:pt x="7915266" y="281547"/>
                </a:lnTo>
                <a:cubicBezTo>
                  <a:pt x="7893603" y="303211"/>
                  <a:pt x="7893603" y="338495"/>
                  <a:pt x="7915266" y="360159"/>
                </a:cubicBezTo>
                <a:lnTo>
                  <a:pt x="8136823" y="582242"/>
                </a:lnTo>
                <a:lnTo>
                  <a:pt x="8358382" y="360159"/>
                </a:lnTo>
                <a:cubicBezTo>
                  <a:pt x="8380044" y="338495"/>
                  <a:pt x="8380044" y="303211"/>
                  <a:pt x="8358382" y="281547"/>
                </a:cubicBezTo>
                <a:lnTo>
                  <a:pt x="8279902" y="202936"/>
                </a:lnTo>
                <a:cubicBezTo>
                  <a:pt x="8269006" y="192038"/>
                  <a:pt x="8254866" y="186591"/>
                  <a:pt x="8240727" y="186591"/>
                </a:cubicBezTo>
                <a:lnTo>
                  <a:pt x="8240596" y="186461"/>
                </a:lnTo>
                <a:cubicBezTo>
                  <a:pt x="8226328" y="186461"/>
                  <a:pt x="8212190" y="191909"/>
                  <a:pt x="8201292" y="202936"/>
                </a:cubicBezTo>
                <a:lnTo>
                  <a:pt x="8136823" y="267537"/>
                </a:lnTo>
                <a:lnTo>
                  <a:pt x="8072224" y="202806"/>
                </a:lnTo>
                <a:cubicBezTo>
                  <a:pt x="8061328" y="191909"/>
                  <a:pt x="8047187" y="186461"/>
                  <a:pt x="8032919" y="186461"/>
                </a:cubicBezTo>
                <a:close/>
                <a:moveTo>
                  <a:pt x="5979111" y="186446"/>
                </a:moveTo>
                <a:cubicBezTo>
                  <a:pt x="5964843" y="186446"/>
                  <a:pt x="5950704" y="191896"/>
                  <a:pt x="5939940" y="202790"/>
                </a:cubicBezTo>
                <a:lnTo>
                  <a:pt x="5861464" y="281532"/>
                </a:lnTo>
                <a:cubicBezTo>
                  <a:pt x="5839806" y="303196"/>
                  <a:pt x="5839806" y="338481"/>
                  <a:pt x="5861464" y="360144"/>
                </a:cubicBezTo>
                <a:lnTo>
                  <a:pt x="6083008" y="582227"/>
                </a:lnTo>
                <a:lnTo>
                  <a:pt x="6304562" y="360144"/>
                </a:lnTo>
                <a:cubicBezTo>
                  <a:pt x="6326226" y="338481"/>
                  <a:pt x="6326226" y="303196"/>
                  <a:pt x="6304562" y="281532"/>
                </a:cubicBezTo>
                <a:lnTo>
                  <a:pt x="6226084" y="202922"/>
                </a:lnTo>
                <a:cubicBezTo>
                  <a:pt x="6215186" y="192023"/>
                  <a:pt x="6201048" y="186576"/>
                  <a:pt x="6186909" y="186576"/>
                </a:cubicBezTo>
                <a:lnTo>
                  <a:pt x="6186779" y="186446"/>
                </a:lnTo>
                <a:cubicBezTo>
                  <a:pt x="6172511" y="186446"/>
                  <a:pt x="6158370" y="191896"/>
                  <a:pt x="6147474" y="202922"/>
                </a:cubicBezTo>
                <a:lnTo>
                  <a:pt x="6083008" y="267522"/>
                </a:lnTo>
                <a:lnTo>
                  <a:pt x="6018412" y="202790"/>
                </a:lnTo>
                <a:cubicBezTo>
                  <a:pt x="6007516" y="191896"/>
                  <a:pt x="5993380" y="186446"/>
                  <a:pt x="5979111" y="186446"/>
                </a:cubicBezTo>
                <a:close/>
                <a:moveTo>
                  <a:pt x="3925350" y="186431"/>
                </a:moveTo>
                <a:cubicBezTo>
                  <a:pt x="3911082" y="186431"/>
                  <a:pt x="3896942" y="191880"/>
                  <a:pt x="3886173" y="202777"/>
                </a:cubicBezTo>
                <a:lnTo>
                  <a:pt x="3807690" y="281518"/>
                </a:lnTo>
                <a:cubicBezTo>
                  <a:pt x="3786026" y="303181"/>
                  <a:pt x="3786026" y="338465"/>
                  <a:pt x="3807690" y="360128"/>
                </a:cubicBezTo>
                <a:lnTo>
                  <a:pt x="4029255" y="582213"/>
                </a:lnTo>
                <a:lnTo>
                  <a:pt x="4250768" y="360128"/>
                </a:lnTo>
                <a:cubicBezTo>
                  <a:pt x="4272427" y="338465"/>
                  <a:pt x="4272427" y="303181"/>
                  <a:pt x="4250768" y="281518"/>
                </a:cubicBezTo>
                <a:lnTo>
                  <a:pt x="4172338" y="202907"/>
                </a:lnTo>
                <a:cubicBezTo>
                  <a:pt x="4161440" y="192009"/>
                  <a:pt x="4147303" y="186561"/>
                  <a:pt x="4133162" y="186561"/>
                </a:cubicBezTo>
                <a:lnTo>
                  <a:pt x="4133033" y="186431"/>
                </a:lnTo>
                <a:cubicBezTo>
                  <a:pt x="4118762" y="186431"/>
                  <a:pt x="4104625" y="191880"/>
                  <a:pt x="4093728" y="202907"/>
                </a:cubicBezTo>
                <a:lnTo>
                  <a:pt x="4029255" y="267508"/>
                </a:lnTo>
                <a:lnTo>
                  <a:pt x="3964656" y="202777"/>
                </a:lnTo>
                <a:cubicBezTo>
                  <a:pt x="3953756" y="191880"/>
                  <a:pt x="3939617" y="186431"/>
                  <a:pt x="3925350" y="186431"/>
                </a:cubicBezTo>
                <a:close/>
                <a:moveTo>
                  <a:pt x="1871377" y="186416"/>
                </a:moveTo>
                <a:cubicBezTo>
                  <a:pt x="1857110" y="186416"/>
                  <a:pt x="1842970" y="191865"/>
                  <a:pt x="1832202" y="202761"/>
                </a:cubicBezTo>
                <a:lnTo>
                  <a:pt x="1753725" y="281503"/>
                </a:lnTo>
                <a:cubicBezTo>
                  <a:pt x="1732061" y="303167"/>
                  <a:pt x="1732061" y="338451"/>
                  <a:pt x="1753725" y="360115"/>
                </a:cubicBezTo>
                <a:lnTo>
                  <a:pt x="1975281" y="582199"/>
                </a:lnTo>
                <a:lnTo>
                  <a:pt x="2196847" y="360115"/>
                </a:lnTo>
                <a:cubicBezTo>
                  <a:pt x="2218511" y="338451"/>
                  <a:pt x="2218511" y="303167"/>
                  <a:pt x="2196847" y="281503"/>
                </a:cubicBezTo>
                <a:lnTo>
                  <a:pt x="2118368" y="202891"/>
                </a:lnTo>
                <a:cubicBezTo>
                  <a:pt x="2107471" y="191994"/>
                  <a:pt x="2093325" y="186547"/>
                  <a:pt x="2079182" y="186547"/>
                </a:cubicBezTo>
                <a:lnTo>
                  <a:pt x="2079054" y="186416"/>
                </a:lnTo>
                <a:cubicBezTo>
                  <a:pt x="2064785" y="186416"/>
                  <a:pt x="2050647" y="191865"/>
                  <a:pt x="2039750" y="202891"/>
                </a:cubicBezTo>
                <a:lnTo>
                  <a:pt x="1975281" y="267493"/>
                </a:lnTo>
                <a:lnTo>
                  <a:pt x="1910682" y="202761"/>
                </a:lnTo>
                <a:cubicBezTo>
                  <a:pt x="1899785" y="191865"/>
                  <a:pt x="1885645" y="186416"/>
                  <a:pt x="1871377" y="186416"/>
                </a:cubicBezTo>
                <a:close/>
                <a:moveTo>
                  <a:pt x="0" y="16212"/>
                </a:moveTo>
                <a:lnTo>
                  <a:pt x="255071" y="163827"/>
                </a:lnTo>
                <a:lnTo>
                  <a:pt x="255071" y="550010"/>
                </a:lnTo>
                <a:lnTo>
                  <a:pt x="0" y="697625"/>
                </a:lnTo>
                <a:lnTo>
                  <a:pt x="0" y="503439"/>
                </a:lnTo>
                <a:lnTo>
                  <a:pt x="143000" y="360100"/>
                </a:lnTo>
                <a:cubicBezTo>
                  <a:pt x="164663" y="338436"/>
                  <a:pt x="164663" y="303152"/>
                  <a:pt x="143000" y="281489"/>
                </a:cubicBezTo>
                <a:lnTo>
                  <a:pt x="64519" y="202877"/>
                </a:lnTo>
                <a:cubicBezTo>
                  <a:pt x="53623" y="191979"/>
                  <a:pt x="39484" y="186532"/>
                  <a:pt x="25344" y="186532"/>
                </a:cubicBezTo>
                <a:lnTo>
                  <a:pt x="25217" y="186401"/>
                </a:lnTo>
                <a:cubicBezTo>
                  <a:pt x="18081" y="186401"/>
                  <a:pt x="10979" y="187764"/>
                  <a:pt x="4299" y="190504"/>
                </a:cubicBezTo>
                <a:lnTo>
                  <a:pt x="0" y="193396"/>
                </a:lnTo>
                <a:close/>
                <a:moveTo>
                  <a:pt x="12188651" y="3063"/>
                </a:moveTo>
                <a:lnTo>
                  <a:pt x="12188651" y="211515"/>
                </a:lnTo>
                <a:lnTo>
                  <a:pt x="12179990" y="202835"/>
                </a:lnTo>
                <a:cubicBezTo>
                  <a:pt x="12169092" y="191938"/>
                  <a:pt x="12154954" y="186490"/>
                  <a:pt x="12140685" y="186490"/>
                </a:cubicBezTo>
                <a:cubicBezTo>
                  <a:pt x="12126416" y="186490"/>
                  <a:pt x="12112276" y="191938"/>
                  <a:pt x="12101510" y="202835"/>
                </a:cubicBezTo>
                <a:lnTo>
                  <a:pt x="12023031" y="281576"/>
                </a:lnTo>
                <a:cubicBezTo>
                  <a:pt x="12001368" y="303240"/>
                  <a:pt x="12001368" y="338524"/>
                  <a:pt x="12023031" y="360188"/>
                </a:cubicBezTo>
                <a:lnTo>
                  <a:pt x="12188651" y="526200"/>
                </a:lnTo>
                <a:lnTo>
                  <a:pt x="12188651" y="710954"/>
                </a:lnTo>
                <a:lnTo>
                  <a:pt x="11910696" y="550094"/>
                </a:lnTo>
                <a:lnTo>
                  <a:pt x="11910696" y="163920"/>
                </a:lnTo>
                <a:close/>
                <a:moveTo>
                  <a:pt x="11643950" y="0"/>
                </a:moveTo>
                <a:lnTo>
                  <a:pt x="12161201" y="0"/>
                </a:lnTo>
                <a:lnTo>
                  <a:pt x="11902524" y="149646"/>
                </a:lnTo>
                <a:close/>
                <a:moveTo>
                  <a:pt x="11509496" y="0"/>
                </a:moveTo>
                <a:lnTo>
                  <a:pt x="11609622" y="0"/>
                </a:lnTo>
                <a:lnTo>
                  <a:pt x="11893312" y="164177"/>
                </a:lnTo>
                <a:lnTo>
                  <a:pt x="11893312" y="550471"/>
                </a:lnTo>
                <a:lnTo>
                  <a:pt x="11559679" y="743626"/>
                </a:lnTo>
                <a:lnTo>
                  <a:pt x="11225916" y="550471"/>
                </a:lnTo>
                <a:lnTo>
                  <a:pt x="11225916" y="164178"/>
                </a:lnTo>
                <a:close/>
                <a:moveTo>
                  <a:pt x="10959725" y="0"/>
                </a:moveTo>
                <a:lnTo>
                  <a:pt x="11475502" y="0"/>
                </a:lnTo>
                <a:lnTo>
                  <a:pt x="11217614" y="149246"/>
                </a:lnTo>
                <a:close/>
                <a:moveTo>
                  <a:pt x="10883981" y="0"/>
                </a:moveTo>
                <a:lnTo>
                  <a:pt x="10925760" y="0"/>
                </a:lnTo>
                <a:lnTo>
                  <a:pt x="11209441" y="164177"/>
                </a:lnTo>
                <a:lnTo>
                  <a:pt x="11209441" y="541003"/>
                </a:lnTo>
                <a:lnTo>
                  <a:pt x="10883981" y="352647"/>
                </a:lnTo>
                <a:close/>
                <a:moveTo>
                  <a:pt x="10825841" y="0"/>
                </a:moveTo>
                <a:lnTo>
                  <a:pt x="10867636" y="0"/>
                </a:lnTo>
                <a:lnTo>
                  <a:pt x="10867636" y="352647"/>
                </a:lnTo>
                <a:lnTo>
                  <a:pt x="10542045" y="541003"/>
                </a:lnTo>
                <a:lnTo>
                  <a:pt x="10542045" y="164178"/>
                </a:lnTo>
                <a:close/>
                <a:moveTo>
                  <a:pt x="10273927" y="0"/>
                </a:moveTo>
                <a:lnTo>
                  <a:pt x="10791383" y="0"/>
                </a:lnTo>
                <a:lnTo>
                  <a:pt x="10532706" y="149760"/>
                </a:lnTo>
                <a:close/>
                <a:moveTo>
                  <a:pt x="10140095" y="0"/>
                </a:moveTo>
                <a:lnTo>
                  <a:pt x="10241185" y="0"/>
                </a:lnTo>
                <a:lnTo>
                  <a:pt x="10524404" y="163905"/>
                </a:lnTo>
                <a:lnTo>
                  <a:pt x="10524404" y="550081"/>
                </a:lnTo>
                <a:lnTo>
                  <a:pt x="10190640" y="743237"/>
                </a:lnTo>
                <a:lnTo>
                  <a:pt x="9856876" y="550081"/>
                </a:lnTo>
                <a:lnTo>
                  <a:pt x="9856876" y="163905"/>
                </a:lnTo>
                <a:close/>
                <a:moveTo>
                  <a:pt x="9590156" y="0"/>
                </a:moveTo>
                <a:lnTo>
                  <a:pt x="10107355" y="0"/>
                </a:lnTo>
                <a:lnTo>
                  <a:pt x="9848703" y="149632"/>
                </a:lnTo>
                <a:close/>
                <a:moveTo>
                  <a:pt x="9455523" y="0"/>
                </a:moveTo>
                <a:lnTo>
                  <a:pt x="9555699" y="0"/>
                </a:lnTo>
                <a:lnTo>
                  <a:pt x="9839364" y="164163"/>
                </a:lnTo>
                <a:lnTo>
                  <a:pt x="9839364" y="550457"/>
                </a:lnTo>
                <a:lnTo>
                  <a:pt x="9505732" y="743612"/>
                </a:lnTo>
                <a:lnTo>
                  <a:pt x="9171969" y="550457"/>
                </a:lnTo>
                <a:lnTo>
                  <a:pt x="9171969" y="164163"/>
                </a:lnTo>
                <a:close/>
                <a:moveTo>
                  <a:pt x="8905803" y="0"/>
                </a:moveTo>
                <a:lnTo>
                  <a:pt x="9421530" y="0"/>
                </a:lnTo>
                <a:lnTo>
                  <a:pt x="9163666" y="149231"/>
                </a:lnTo>
                <a:close/>
                <a:moveTo>
                  <a:pt x="8830033" y="0"/>
                </a:moveTo>
                <a:lnTo>
                  <a:pt x="8871836" y="0"/>
                </a:lnTo>
                <a:lnTo>
                  <a:pt x="9155493" y="164163"/>
                </a:lnTo>
                <a:lnTo>
                  <a:pt x="9155493" y="540989"/>
                </a:lnTo>
                <a:lnTo>
                  <a:pt x="8830033" y="352632"/>
                </a:lnTo>
                <a:close/>
                <a:moveTo>
                  <a:pt x="8771868" y="0"/>
                </a:moveTo>
                <a:lnTo>
                  <a:pt x="8813688" y="0"/>
                </a:lnTo>
                <a:lnTo>
                  <a:pt x="8813688" y="352633"/>
                </a:lnTo>
                <a:lnTo>
                  <a:pt x="8488098" y="540989"/>
                </a:lnTo>
                <a:lnTo>
                  <a:pt x="8488098" y="164163"/>
                </a:lnTo>
                <a:close/>
                <a:moveTo>
                  <a:pt x="8220006" y="0"/>
                </a:moveTo>
                <a:lnTo>
                  <a:pt x="8737411" y="0"/>
                </a:lnTo>
                <a:lnTo>
                  <a:pt x="8478758" y="149746"/>
                </a:lnTo>
                <a:close/>
                <a:moveTo>
                  <a:pt x="8086123" y="0"/>
                </a:moveTo>
                <a:lnTo>
                  <a:pt x="8187263" y="0"/>
                </a:lnTo>
                <a:lnTo>
                  <a:pt x="8470456" y="163890"/>
                </a:lnTo>
                <a:lnTo>
                  <a:pt x="8470456" y="550066"/>
                </a:lnTo>
                <a:lnTo>
                  <a:pt x="8136693" y="743223"/>
                </a:lnTo>
                <a:lnTo>
                  <a:pt x="7802930" y="550066"/>
                </a:lnTo>
                <a:lnTo>
                  <a:pt x="7802930" y="163890"/>
                </a:lnTo>
                <a:close/>
                <a:moveTo>
                  <a:pt x="7536237" y="0"/>
                </a:moveTo>
                <a:lnTo>
                  <a:pt x="8053383" y="0"/>
                </a:lnTo>
                <a:lnTo>
                  <a:pt x="7794758" y="149616"/>
                </a:lnTo>
                <a:close/>
                <a:moveTo>
                  <a:pt x="7401681" y="0"/>
                </a:moveTo>
                <a:lnTo>
                  <a:pt x="7501908" y="0"/>
                </a:lnTo>
                <a:lnTo>
                  <a:pt x="7785548" y="164149"/>
                </a:lnTo>
                <a:lnTo>
                  <a:pt x="7785548" y="550443"/>
                </a:lnTo>
                <a:lnTo>
                  <a:pt x="7451915" y="743599"/>
                </a:lnTo>
                <a:lnTo>
                  <a:pt x="7118150" y="550443"/>
                </a:lnTo>
                <a:lnTo>
                  <a:pt x="7118150" y="164149"/>
                </a:lnTo>
                <a:close/>
                <a:moveTo>
                  <a:pt x="6852010" y="0"/>
                </a:moveTo>
                <a:lnTo>
                  <a:pt x="7367688" y="0"/>
                </a:lnTo>
                <a:lnTo>
                  <a:pt x="7109850" y="149217"/>
                </a:lnTo>
                <a:close/>
                <a:moveTo>
                  <a:pt x="6776215" y="0"/>
                </a:moveTo>
                <a:lnTo>
                  <a:pt x="6818044" y="0"/>
                </a:lnTo>
                <a:lnTo>
                  <a:pt x="7101677" y="164149"/>
                </a:lnTo>
                <a:lnTo>
                  <a:pt x="7101677" y="540974"/>
                </a:lnTo>
                <a:lnTo>
                  <a:pt x="6776215" y="352617"/>
                </a:lnTo>
                <a:close/>
                <a:moveTo>
                  <a:pt x="6718025" y="0"/>
                </a:moveTo>
                <a:lnTo>
                  <a:pt x="6759871" y="0"/>
                </a:lnTo>
                <a:lnTo>
                  <a:pt x="6759871" y="352617"/>
                </a:lnTo>
                <a:lnTo>
                  <a:pt x="6434280" y="540974"/>
                </a:lnTo>
                <a:lnTo>
                  <a:pt x="6434280" y="164149"/>
                </a:lnTo>
                <a:close/>
                <a:moveTo>
                  <a:pt x="6166213" y="0"/>
                </a:moveTo>
                <a:lnTo>
                  <a:pt x="6683567" y="0"/>
                </a:lnTo>
                <a:lnTo>
                  <a:pt x="6424940" y="149731"/>
                </a:lnTo>
                <a:close/>
                <a:moveTo>
                  <a:pt x="6032286" y="0"/>
                </a:moveTo>
                <a:lnTo>
                  <a:pt x="6133471" y="0"/>
                </a:lnTo>
                <a:lnTo>
                  <a:pt x="6416638" y="163875"/>
                </a:lnTo>
                <a:lnTo>
                  <a:pt x="6416638" y="550053"/>
                </a:lnTo>
                <a:lnTo>
                  <a:pt x="6082876" y="743207"/>
                </a:lnTo>
                <a:lnTo>
                  <a:pt x="5749140" y="550054"/>
                </a:lnTo>
                <a:lnTo>
                  <a:pt x="5749140" y="163875"/>
                </a:lnTo>
                <a:close/>
                <a:moveTo>
                  <a:pt x="5482485" y="0"/>
                </a:moveTo>
                <a:lnTo>
                  <a:pt x="5999546" y="0"/>
                </a:lnTo>
                <a:lnTo>
                  <a:pt x="5740963" y="149601"/>
                </a:lnTo>
                <a:close/>
                <a:moveTo>
                  <a:pt x="5347761" y="0"/>
                </a:moveTo>
                <a:lnTo>
                  <a:pt x="5448034" y="0"/>
                </a:lnTo>
                <a:lnTo>
                  <a:pt x="5731618" y="164130"/>
                </a:lnTo>
                <a:lnTo>
                  <a:pt x="5731618" y="550429"/>
                </a:lnTo>
                <a:lnTo>
                  <a:pt x="5398000" y="743584"/>
                </a:lnTo>
                <a:lnTo>
                  <a:pt x="5064275" y="550443"/>
                </a:lnTo>
                <a:lnTo>
                  <a:pt x="5064275" y="164134"/>
                </a:lnTo>
                <a:close/>
                <a:moveTo>
                  <a:pt x="4798110" y="0"/>
                </a:moveTo>
                <a:lnTo>
                  <a:pt x="5313753" y="0"/>
                </a:lnTo>
                <a:lnTo>
                  <a:pt x="5055955" y="149201"/>
                </a:lnTo>
                <a:lnTo>
                  <a:pt x="4816718" y="10771"/>
                </a:lnTo>
                <a:close/>
                <a:moveTo>
                  <a:pt x="4722313" y="0"/>
                </a:moveTo>
                <a:lnTo>
                  <a:pt x="4764172" y="0"/>
                </a:lnTo>
                <a:lnTo>
                  <a:pt x="5047775" y="164120"/>
                </a:lnTo>
                <a:lnTo>
                  <a:pt x="5047775" y="540960"/>
                </a:lnTo>
                <a:lnTo>
                  <a:pt x="4722313" y="352611"/>
                </a:lnTo>
                <a:close/>
                <a:moveTo>
                  <a:pt x="4664088" y="0"/>
                </a:moveTo>
                <a:lnTo>
                  <a:pt x="4705942" y="0"/>
                </a:lnTo>
                <a:lnTo>
                  <a:pt x="4705942" y="352603"/>
                </a:lnTo>
                <a:lnTo>
                  <a:pt x="4380369" y="540954"/>
                </a:lnTo>
                <a:lnTo>
                  <a:pt x="4380369" y="164134"/>
                </a:lnTo>
                <a:close/>
                <a:moveTo>
                  <a:pt x="4112484" y="0"/>
                </a:moveTo>
                <a:lnTo>
                  <a:pt x="4629754" y="0"/>
                </a:lnTo>
                <a:lnTo>
                  <a:pt x="4371146" y="149717"/>
                </a:lnTo>
                <a:close/>
                <a:moveTo>
                  <a:pt x="3978507" y="0"/>
                </a:moveTo>
                <a:lnTo>
                  <a:pt x="4079738" y="0"/>
                </a:lnTo>
                <a:lnTo>
                  <a:pt x="4207107" y="73731"/>
                </a:lnTo>
                <a:lnTo>
                  <a:pt x="4362838" y="163859"/>
                </a:lnTo>
                <a:lnTo>
                  <a:pt x="4362838" y="550038"/>
                </a:lnTo>
                <a:lnTo>
                  <a:pt x="4029120" y="743194"/>
                </a:lnTo>
                <a:lnTo>
                  <a:pt x="3695368" y="550042"/>
                </a:lnTo>
                <a:lnTo>
                  <a:pt x="3695368" y="163860"/>
                </a:lnTo>
                <a:close/>
                <a:moveTo>
                  <a:pt x="3428727" y="0"/>
                </a:moveTo>
                <a:lnTo>
                  <a:pt x="3945759" y="0"/>
                </a:lnTo>
                <a:lnTo>
                  <a:pt x="3687190" y="149586"/>
                </a:lnTo>
                <a:close/>
                <a:moveTo>
                  <a:pt x="3293942" y="0"/>
                </a:moveTo>
                <a:lnTo>
                  <a:pt x="3394267" y="0"/>
                </a:lnTo>
                <a:lnTo>
                  <a:pt x="3677828" y="164102"/>
                </a:lnTo>
                <a:lnTo>
                  <a:pt x="3677828" y="550415"/>
                </a:lnTo>
                <a:lnTo>
                  <a:pt x="3344198" y="743570"/>
                </a:lnTo>
                <a:lnTo>
                  <a:pt x="3010461" y="550429"/>
                </a:lnTo>
                <a:lnTo>
                  <a:pt x="3010461" y="164119"/>
                </a:lnTo>
                <a:close/>
                <a:moveTo>
                  <a:pt x="2744346" y="0"/>
                </a:moveTo>
                <a:lnTo>
                  <a:pt x="3259920" y="0"/>
                </a:lnTo>
                <a:lnTo>
                  <a:pt x="3002133" y="149187"/>
                </a:lnTo>
                <a:lnTo>
                  <a:pt x="2867142" y="71063"/>
                </a:lnTo>
                <a:close/>
                <a:moveTo>
                  <a:pt x="2668523" y="0"/>
                </a:moveTo>
                <a:lnTo>
                  <a:pt x="2710404" y="0"/>
                </a:lnTo>
                <a:lnTo>
                  <a:pt x="2993958" y="164103"/>
                </a:lnTo>
                <a:lnTo>
                  <a:pt x="2993958" y="540944"/>
                </a:lnTo>
                <a:lnTo>
                  <a:pt x="2778118" y="416029"/>
                </a:lnTo>
                <a:lnTo>
                  <a:pt x="2737216" y="392357"/>
                </a:lnTo>
                <a:lnTo>
                  <a:pt x="2734179" y="390600"/>
                </a:lnTo>
                <a:lnTo>
                  <a:pt x="2668523" y="352604"/>
                </a:lnTo>
                <a:close/>
                <a:moveTo>
                  <a:pt x="2610283" y="0"/>
                </a:moveTo>
                <a:lnTo>
                  <a:pt x="2652154" y="0"/>
                </a:lnTo>
                <a:lnTo>
                  <a:pt x="2652154" y="352589"/>
                </a:lnTo>
                <a:lnTo>
                  <a:pt x="2326593" y="540928"/>
                </a:lnTo>
                <a:lnTo>
                  <a:pt x="2326593" y="164119"/>
                </a:lnTo>
                <a:close/>
                <a:moveTo>
                  <a:pt x="2058538" y="0"/>
                </a:moveTo>
                <a:lnTo>
                  <a:pt x="2575794" y="0"/>
                </a:lnTo>
                <a:lnTo>
                  <a:pt x="2317223" y="149702"/>
                </a:lnTo>
                <a:lnTo>
                  <a:pt x="2260282" y="116749"/>
                </a:lnTo>
                <a:close/>
                <a:moveTo>
                  <a:pt x="1924507" y="0"/>
                </a:moveTo>
                <a:lnTo>
                  <a:pt x="2025801" y="0"/>
                </a:lnTo>
                <a:lnTo>
                  <a:pt x="2308919" y="163842"/>
                </a:lnTo>
                <a:lnTo>
                  <a:pt x="2308919" y="550024"/>
                </a:lnTo>
                <a:lnTo>
                  <a:pt x="1975146" y="743180"/>
                </a:lnTo>
                <a:lnTo>
                  <a:pt x="1641391" y="550028"/>
                </a:lnTo>
                <a:lnTo>
                  <a:pt x="1641391" y="163846"/>
                </a:lnTo>
                <a:close/>
                <a:moveTo>
                  <a:pt x="1374768" y="0"/>
                </a:moveTo>
                <a:lnTo>
                  <a:pt x="1891761" y="0"/>
                </a:lnTo>
                <a:lnTo>
                  <a:pt x="1633212" y="149572"/>
                </a:lnTo>
                <a:close/>
                <a:moveTo>
                  <a:pt x="1239933" y="0"/>
                </a:moveTo>
                <a:lnTo>
                  <a:pt x="1340313" y="0"/>
                </a:lnTo>
                <a:lnTo>
                  <a:pt x="1623852" y="164090"/>
                </a:lnTo>
                <a:lnTo>
                  <a:pt x="1623852" y="550400"/>
                </a:lnTo>
                <a:lnTo>
                  <a:pt x="1290219" y="743557"/>
                </a:lnTo>
                <a:lnTo>
                  <a:pt x="956480" y="550415"/>
                </a:lnTo>
                <a:lnTo>
                  <a:pt x="956480" y="164104"/>
                </a:lnTo>
                <a:close/>
                <a:moveTo>
                  <a:pt x="690398" y="0"/>
                </a:moveTo>
                <a:lnTo>
                  <a:pt x="1205918" y="0"/>
                </a:lnTo>
                <a:lnTo>
                  <a:pt x="948156" y="149172"/>
                </a:lnTo>
                <a:close/>
                <a:moveTo>
                  <a:pt x="614547" y="0"/>
                </a:moveTo>
                <a:lnTo>
                  <a:pt x="656453" y="0"/>
                </a:lnTo>
                <a:lnTo>
                  <a:pt x="939981" y="164089"/>
                </a:lnTo>
                <a:lnTo>
                  <a:pt x="939981" y="540931"/>
                </a:lnTo>
                <a:lnTo>
                  <a:pt x="760662" y="437152"/>
                </a:lnTo>
                <a:lnTo>
                  <a:pt x="614547" y="352589"/>
                </a:lnTo>
                <a:close/>
                <a:moveTo>
                  <a:pt x="556281" y="0"/>
                </a:moveTo>
                <a:lnTo>
                  <a:pt x="598177" y="0"/>
                </a:lnTo>
                <a:lnTo>
                  <a:pt x="598177" y="352574"/>
                </a:lnTo>
                <a:lnTo>
                  <a:pt x="272612" y="540915"/>
                </a:lnTo>
                <a:lnTo>
                  <a:pt x="272612" y="164104"/>
                </a:lnTo>
                <a:close/>
                <a:moveTo>
                  <a:pt x="4723" y="0"/>
                </a:moveTo>
                <a:lnTo>
                  <a:pt x="521923" y="0"/>
                </a:lnTo>
                <a:lnTo>
                  <a:pt x="263373" y="149687"/>
                </a:lnTo>
                <a:close/>
              </a:path>
            </a:pathLst>
          </a:cu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3" name="Title 1">
            <a:extLst>
              <a:ext uri="{FF2B5EF4-FFF2-40B4-BE49-F238E27FC236}">
                <a16:creationId xmlns:a16="http://schemas.microsoft.com/office/drawing/2014/main" id="{ACFC0F26-4E67-4EDB-ACED-2ED5F906E1A2}"/>
              </a:ext>
            </a:extLst>
          </p:cNvPr>
          <p:cNvSpPr>
            <a:spLocks noGrp="1"/>
          </p:cNvSpPr>
          <p:nvPr>
            <p:ph type="title" hasCustomPrompt="1"/>
          </p:nvPr>
        </p:nvSpPr>
        <p:spPr>
          <a:xfrm>
            <a:off x="3110267" y="3022967"/>
            <a:ext cx="5971465" cy="812066"/>
          </a:xfrm>
        </p:spPr>
        <p:txBody>
          <a:bodyPr rIns="0" anchor="ctr"/>
          <a:lstStyle>
            <a:lvl1pPr algn="ctr">
              <a:defRPr sz="3600" b="0">
                <a:solidFill>
                  <a:schemeClr val="accent2"/>
                </a:solidFill>
                <a:latin typeface="+mj-lt"/>
              </a:defRPr>
            </a:lvl1pPr>
          </a:lstStyle>
          <a:p>
            <a:r>
              <a:rPr lang="en-US" dirty="0"/>
              <a:t>Click to edit title for divider</a:t>
            </a:r>
          </a:p>
        </p:txBody>
      </p:sp>
    </p:spTree>
    <p:extLst>
      <p:ext uri="{BB962C8B-B14F-4D97-AF65-F5344CB8AC3E}">
        <p14:creationId xmlns:p14="http://schemas.microsoft.com/office/powerpoint/2010/main" val="24177684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with left white box">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3D055086-58AC-42CE-888E-C815208128DD}"/>
              </a:ext>
            </a:extLst>
          </p:cNvPr>
          <p:cNvSpPr>
            <a:spLocks noGrp="1"/>
          </p:cNvSpPr>
          <p:nvPr>
            <p:ph type="pic" sz="quarter" idx="15"/>
          </p:nvPr>
        </p:nvSpPr>
        <p:spPr>
          <a:xfrm>
            <a:off x="1" y="1"/>
            <a:ext cx="12191999" cy="6857999"/>
          </a:xfrm>
          <a:solidFill>
            <a:schemeClr val="bg1">
              <a:lumMod val="75000"/>
            </a:schemeClr>
          </a:solidFill>
        </p:spPr>
        <p:txBody>
          <a:bodyPr rIns="228600"/>
          <a:lstStyle>
            <a:lvl1pPr algn="r">
              <a:defRPr b="1" baseline="0">
                <a:solidFill>
                  <a:schemeClr val="bg1"/>
                </a:solidFill>
              </a:defRPr>
            </a:lvl1pPr>
          </a:lstStyle>
          <a:p>
            <a:r>
              <a:rPr lang="en-US"/>
              <a:t>Click icon to add picture</a:t>
            </a:r>
            <a:endParaRPr lang="en-US" dirty="0"/>
          </a:p>
        </p:txBody>
      </p:sp>
      <p:sp>
        <p:nvSpPr>
          <p:cNvPr id="4" name="Title 1">
            <a:extLst>
              <a:ext uri="{FF2B5EF4-FFF2-40B4-BE49-F238E27FC236}">
                <a16:creationId xmlns:a16="http://schemas.microsoft.com/office/drawing/2014/main" id="{CFE6573A-5FD6-4334-99D2-D89E563A343B}"/>
              </a:ext>
            </a:extLst>
          </p:cNvPr>
          <p:cNvSpPr>
            <a:spLocks noGrp="1"/>
          </p:cNvSpPr>
          <p:nvPr>
            <p:ph type="title" hasCustomPrompt="1"/>
          </p:nvPr>
        </p:nvSpPr>
        <p:spPr>
          <a:xfrm>
            <a:off x="0" y="0"/>
            <a:ext cx="6095999" cy="6857998"/>
          </a:xfrm>
          <a:solidFill>
            <a:srgbClr val="FFFFFF">
              <a:alpha val="89804"/>
            </a:srgbClr>
          </a:solidFill>
        </p:spPr>
        <p:txBody>
          <a:bodyPr lIns="557784" tIns="649224" rIns="182880" bIns="182880" anchor="t">
            <a:noAutofit/>
          </a:bodyPr>
          <a:lstStyle>
            <a:lvl1pPr>
              <a:defRPr sz="3200">
                <a:solidFill>
                  <a:schemeClr val="tx2"/>
                </a:solidFill>
              </a:defRPr>
            </a:lvl1pPr>
          </a:lstStyle>
          <a:p>
            <a:r>
              <a:rPr lang="en-US" dirty="0"/>
              <a:t>Click to add title</a:t>
            </a:r>
          </a:p>
        </p:txBody>
      </p:sp>
      <p:sp>
        <p:nvSpPr>
          <p:cNvPr id="5" name="Content Placeholder 2">
            <a:extLst>
              <a:ext uri="{FF2B5EF4-FFF2-40B4-BE49-F238E27FC236}">
                <a16:creationId xmlns:a16="http://schemas.microsoft.com/office/drawing/2014/main" id="{5C96A496-EE5B-40C6-8F1E-8D08A089A294}"/>
              </a:ext>
            </a:extLst>
          </p:cNvPr>
          <p:cNvSpPr>
            <a:spLocks noGrp="1"/>
          </p:cNvSpPr>
          <p:nvPr>
            <p:ph idx="1" hasCustomPrompt="1"/>
          </p:nvPr>
        </p:nvSpPr>
        <p:spPr bwMode="gray">
          <a:xfrm>
            <a:off x="557929" y="2377440"/>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pic>
        <p:nvPicPr>
          <p:cNvPr id="2" name="Graphic 1" descr="CVS Caremark logo in white.">
            <a:extLst>
              <a:ext uri="{FF2B5EF4-FFF2-40B4-BE49-F238E27FC236}">
                <a16:creationId xmlns:a16="http://schemas.microsoft.com/office/drawing/2014/main" id="{67B87960-B69A-285E-2570-4866A36FF95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7" name="Content Placeholder 8">
            <a:extLst>
              <a:ext uri="{FF2B5EF4-FFF2-40B4-BE49-F238E27FC236}">
                <a16:creationId xmlns:a16="http://schemas.microsoft.com/office/drawing/2014/main" id="{832371D5-9BF7-F64F-8A7F-C4DD76A928B9}"/>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1A2256B-8FBC-DB3A-6216-CF255104F498}"/>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42132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mage with right blue box">
    <p:spTree>
      <p:nvGrpSpPr>
        <p:cNvPr id="1" name=""/>
        <p:cNvGrpSpPr/>
        <p:nvPr/>
      </p:nvGrpSpPr>
      <p:grpSpPr>
        <a:xfrm>
          <a:off x="0" y="0"/>
          <a:ext cx="0" cy="0"/>
          <a:chOff x="0" y="0"/>
          <a:chExt cx="0" cy="0"/>
        </a:xfrm>
      </p:grpSpPr>
      <p:sp>
        <p:nvSpPr>
          <p:cNvPr id="7" name="Picture Placeholder 15"/>
          <p:cNvSpPr>
            <a:spLocks noGrp="1"/>
          </p:cNvSpPr>
          <p:nvPr>
            <p:ph type="pic" sz="quarter" idx="15"/>
          </p:nvPr>
        </p:nvSpPr>
        <p:spPr>
          <a:xfrm>
            <a:off x="-1" y="0"/>
            <a:ext cx="12192000"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sp>
        <p:nvSpPr>
          <p:cNvPr id="8" name="Title 1">
            <a:extLst>
              <a:ext uri="{FF2B5EF4-FFF2-40B4-BE49-F238E27FC236}">
                <a16:creationId xmlns:a16="http://schemas.microsoft.com/office/drawing/2014/main" id="{93148CBB-91E1-498A-B884-AECB778C0018}"/>
              </a:ext>
            </a:extLst>
          </p:cNvPr>
          <p:cNvSpPr>
            <a:spLocks noGrp="1"/>
          </p:cNvSpPr>
          <p:nvPr>
            <p:ph type="title" hasCustomPrompt="1"/>
          </p:nvPr>
        </p:nvSpPr>
        <p:spPr>
          <a:xfrm>
            <a:off x="6096000" y="0"/>
            <a:ext cx="6096001" cy="6858000"/>
          </a:xfrm>
          <a:solidFill>
            <a:schemeClr val="accent1">
              <a:alpha val="85098"/>
            </a:schemeClr>
          </a:solidFill>
        </p:spPr>
        <p:txBody>
          <a:bodyPr lIns="640080" tIns="649224" rIns="768096" bIns="182880" anchor="t">
            <a:noAutofit/>
          </a:bodyPr>
          <a:lstStyle>
            <a:lvl1pPr>
              <a:defRPr sz="3200">
                <a:solidFill>
                  <a:schemeClr val="bg1"/>
                </a:solidFill>
              </a:defRPr>
            </a:lvl1pPr>
          </a:lstStyle>
          <a:p>
            <a:r>
              <a:rPr lang="en-US" dirty="0"/>
              <a:t>Click to add title</a:t>
            </a:r>
          </a:p>
        </p:txBody>
      </p:sp>
      <p:sp>
        <p:nvSpPr>
          <p:cNvPr id="9" name="Content Placeholder 2">
            <a:extLst>
              <a:ext uri="{FF2B5EF4-FFF2-40B4-BE49-F238E27FC236}">
                <a16:creationId xmlns:a16="http://schemas.microsoft.com/office/drawing/2014/main" id="{DF62E717-3D00-4196-812F-72CF9487567D}"/>
              </a:ext>
            </a:extLst>
          </p:cNvPr>
          <p:cNvSpPr>
            <a:spLocks noGrp="1"/>
          </p:cNvSpPr>
          <p:nvPr>
            <p:ph idx="1" hasCustomPrompt="1"/>
          </p:nvPr>
        </p:nvSpPr>
        <p:spPr bwMode="gray">
          <a:xfrm>
            <a:off x="6768323" y="2374724"/>
            <a:ext cx="4390263"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pic>
        <p:nvPicPr>
          <p:cNvPr id="2" name="Graphic 1" descr="CVS Caremark logo in white.">
            <a:extLst>
              <a:ext uri="{FF2B5EF4-FFF2-40B4-BE49-F238E27FC236}">
                <a16:creationId xmlns:a16="http://schemas.microsoft.com/office/drawing/2014/main" id="{77D497BC-E19D-30B8-21FE-5327EA982FA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3" name="Content Placeholder 8">
            <a:extLst>
              <a:ext uri="{FF2B5EF4-FFF2-40B4-BE49-F238E27FC236}">
                <a16:creationId xmlns:a16="http://schemas.microsoft.com/office/drawing/2014/main" id="{2B39CEB1-6730-F52F-3F3B-1D771EA4AD87}"/>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AD7C89D2-F22F-4154-2BDF-DD164639A7AF}"/>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229476312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alf page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3EA5A-BEF1-A089-368D-A214549D66B6}"/>
              </a:ext>
            </a:extLst>
          </p:cNvPr>
          <p:cNvSpPr>
            <a:spLocks noGrp="1"/>
          </p:cNvSpPr>
          <p:nvPr>
            <p:ph type="title"/>
          </p:nvPr>
        </p:nvSpPr>
        <p:spPr>
          <a:xfrm>
            <a:off x="557929" y="649224"/>
            <a:ext cx="4390263"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55163471-B1AA-E514-B0DF-D4B408E6897F}"/>
              </a:ext>
            </a:extLst>
          </p:cNvPr>
          <p:cNvSpPr>
            <a:spLocks noGrp="1"/>
          </p:cNvSpPr>
          <p:nvPr>
            <p:ph idx="1" hasCustomPrompt="1"/>
          </p:nvPr>
        </p:nvSpPr>
        <p:spPr bwMode="gray">
          <a:xfrm>
            <a:off x="557929" y="2304288"/>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Picture Placeholder 15">
            <a:extLst>
              <a:ext uri="{FF2B5EF4-FFF2-40B4-BE49-F238E27FC236}">
                <a16:creationId xmlns:a16="http://schemas.microsoft.com/office/drawing/2014/main" id="{BF24A5CE-C907-A75A-9609-44A95F360FDB}"/>
              </a:ext>
            </a:extLst>
          </p:cNvPr>
          <p:cNvSpPr>
            <a:spLocks noGrp="1"/>
          </p:cNvSpPr>
          <p:nvPr>
            <p:ph type="pic" sz="quarter" idx="15"/>
          </p:nvPr>
        </p:nvSpPr>
        <p:spPr>
          <a:xfrm>
            <a:off x="6096001" y="0"/>
            <a:ext cx="6095999"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pic>
        <p:nvPicPr>
          <p:cNvPr id="6" name="Graphic 5" descr="CVS Caremark logo in white.">
            <a:extLst>
              <a:ext uri="{FF2B5EF4-FFF2-40B4-BE49-F238E27FC236}">
                <a16:creationId xmlns:a16="http://schemas.microsoft.com/office/drawing/2014/main" id="{91A8F31B-DA03-AC3A-7091-4DEE7A9B603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272167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7C2D9-4539-BE96-71CB-53893CF8055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43E64B-9F2C-3A60-56D0-08C4D1534F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C6CEFA-7E89-E40F-1ECB-90B12BD26C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64A0CF3-0331-778C-351F-004CD7362F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FF2CEF-2E82-E48E-61B1-C1C205F829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945286-4488-4E6F-6D24-67D6868680C3}"/>
              </a:ext>
            </a:extLst>
          </p:cNvPr>
          <p:cNvSpPr>
            <a:spLocks noGrp="1"/>
          </p:cNvSpPr>
          <p:nvPr>
            <p:ph type="dt" sz="half" idx="10"/>
          </p:nvPr>
        </p:nvSpPr>
        <p:spPr/>
        <p:txBody>
          <a:bodyPr/>
          <a:lstStyle/>
          <a:p>
            <a:fld id="{D2A65D03-5775-465A-964F-4BA2CAA31FC6}" type="datetime1">
              <a:rPr lang="en-US" smtClean="0"/>
              <a:t>9/13/2024</a:t>
            </a:fld>
            <a:endParaRPr lang="en-US"/>
          </a:p>
        </p:txBody>
      </p:sp>
      <p:sp>
        <p:nvSpPr>
          <p:cNvPr id="8" name="Footer Placeholder 7">
            <a:extLst>
              <a:ext uri="{FF2B5EF4-FFF2-40B4-BE49-F238E27FC236}">
                <a16:creationId xmlns:a16="http://schemas.microsoft.com/office/drawing/2014/main" id="{AD909618-0245-AAFE-E751-DF12361CA8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F7EA0E-6B9A-0AA4-E623-EEDA3ED730E4}"/>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21661874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alf page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1B880-4B37-3570-9BBF-F1A9A045BB20}"/>
              </a:ext>
            </a:extLst>
          </p:cNvPr>
          <p:cNvSpPr>
            <a:spLocks noGrp="1"/>
          </p:cNvSpPr>
          <p:nvPr>
            <p:ph type="title"/>
          </p:nvPr>
        </p:nvSpPr>
        <p:spPr>
          <a:xfrm>
            <a:off x="6768323" y="649225"/>
            <a:ext cx="4390263" cy="892027"/>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B0ABE80B-4166-7F11-3464-F7C1306430D2}"/>
              </a:ext>
            </a:extLst>
          </p:cNvPr>
          <p:cNvSpPr>
            <a:spLocks noGrp="1"/>
          </p:cNvSpPr>
          <p:nvPr>
            <p:ph idx="1" hasCustomPrompt="1"/>
          </p:nvPr>
        </p:nvSpPr>
        <p:spPr bwMode="gray">
          <a:xfrm>
            <a:off x="6768323" y="2304146"/>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Picture Placeholder 15">
            <a:extLst>
              <a:ext uri="{FF2B5EF4-FFF2-40B4-BE49-F238E27FC236}">
                <a16:creationId xmlns:a16="http://schemas.microsoft.com/office/drawing/2014/main" id="{63D4A58E-C206-8472-68A9-6976FAA9EEBD}"/>
              </a:ext>
            </a:extLst>
          </p:cNvPr>
          <p:cNvSpPr>
            <a:spLocks noGrp="1"/>
          </p:cNvSpPr>
          <p:nvPr>
            <p:ph type="pic" sz="quarter" idx="15"/>
          </p:nvPr>
        </p:nvSpPr>
        <p:spPr>
          <a:xfrm>
            <a:off x="0" y="0"/>
            <a:ext cx="6095999"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sp>
        <p:nvSpPr>
          <p:cNvPr id="6" name="Content Placeholder 8">
            <a:extLst>
              <a:ext uri="{FF2B5EF4-FFF2-40B4-BE49-F238E27FC236}">
                <a16:creationId xmlns:a16="http://schemas.microsoft.com/office/drawing/2014/main" id="{92E2851B-B23E-1CB5-DAF6-4C0E4BF0064E}"/>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13A6883-A3F2-BDAF-BBA3-25037EBB4728}"/>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15391052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alf p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0747-B001-7899-F0B3-FF82754AC8C5}"/>
              </a:ext>
            </a:extLst>
          </p:cNvPr>
          <p:cNvSpPr>
            <a:spLocks noGrp="1"/>
          </p:cNvSpPr>
          <p:nvPr>
            <p:ph type="title"/>
          </p:nvPr>
        </p:nvSpPr>
        <p:spPr>
          <a:xfrm>
            <a:off x="557929" y="649224"/>
            <a:ext cx="4390263" cy="896112"/>
          </a:xfrm>
        </p:spPr>
        <p:txBody>
          <a:bodyPr anchor="t"/>
          <a:lstStyle>
            <a:lvl1pPr>
              <a:defRPr sz="3200"/>
            </a:lvl1pPr>
          </a:lstStyle>
          <a:p>
            <a:r>
              <a:rPr lang="en-US"/>
              <a:t>Click to edit Master title style</a:t>
            </a:r>
            <a:endParaRPr lang="en-US" dirty="0"/>
          </a:p>
        </p:txBody>
      </p:sp>
      <p:sp>
        <p:nvSpPr>
          <p:cNvPr id="6" name="Content Placeholder 2">
            <a:extLst>
              <a:ext uri="{FF2B5EF4-FFF2-40B4-BE49-F238E27FC236}">
                <a16:creationId xmlns:a16="http://schemas.microsoft.com/office/drawing/2014/main" id="{1E48CAEE-AE8D-6267-023D-3AB60A9103AB}"/>
              </a:ext>
            </a:extLst>
          </p:cNvPr>
          <p:cNvSpPr>
            <a:spLocks noGrp="1"/>
          </p:cNvSpPr>
          <p:nvPr>
            <p:ph idx="1" hasCustomPrompt="1"/>
          </p:nvPr>
        </p:nvSpPr>
        <p:spPr bwMode="gray">
          <a:xfrm>
            <a:off x="557929" y="2304288"/>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Rectangle 2">
            <a:extLst>
              <a:ext uri="{FF2B5EF4-FFF2-40B4-BE49-F238E27FC236}">
                <a16:creationId xmlns:a16="http://schemas.microsoft.com/office/drawing/2014/main" id="{B97CDBA1-DFDA-40D9-6998-16283F1536B9}"/>
              </a:ext>
            </a:extLst>
          </p:cNvPr>
          <p:cNvSpPr/>
          <p:nvPr userDrawn="1"/>
        </p:nvSpPr>
        <p:spPr bwMode="gray">
          <a:xfrm>
            <a:off x="6091363" y="0"/>
            <a:ext cx="6100637"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pic>
        <p:nvPicPr>
          <p:cNvPr id="13" name="Graphic 12" descr="CVS Caremark logo.">
            <a:extLst>
              <a:ext uri="{FF2B5EF4-FFF2-40B4-BE49-F238E27FC236}">
                <a16:creationId xmlns:a16="http://schemas.microsoft.com/office/drawing/2014/main" id="{AD210D8D-CDBB-0BE7-99BC-CD331C695E0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9929532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alf page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BB94925-3A57-3D94-784D-0E674FE9C8FD}"/>
              </a:ext>
            </a:extLst>
          </p:cNvPr>
          <p:cNvSpPr/>
          <p:nvPr userDrawn="1"/>
        </p:nvSpPr>
        <p:spPr bwMode="gray">
          <a:xfrm>
            <a:off x="0" y="0"/>
            <a:ext cx="6100637"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98F8B886-E3B7-1053-D7BB-84610C3238B0}"/>
              </a:ext>
            </a:extLst>
          </p:cNvPr>
          <p:cNvSpPr>
            <a:spLocks noGrp="1"/>
          </p:cNvSpPr>
          <p:nvPr>
            <p:ph type="title"/>
          </p:nvPr>
        </p:nvSpPr>
        <p:spPr>
          <a:xfrm>
            <a:off x="6768323" y="649224"/>
            <a:ext cx="4390263" cy="896112"/>
          </a:xfrm>
        </p:spPr>
        <p:txBody>
          <a:bodyPr anchor="t"/>
          <a:lstStyle>
            <a:lvl1pPr>
              <a:defRPr sz="3200"/>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FAA3816B-84BA-570D-143A-0DF1693ACD17}"/>
              </a:ext>
            </a:extLst>
          </p:cNvPr>
          <p:cNvSpPr>
            <a:spLocks noGrp="1"/>
          </p:cNvSpPr>
          <p:nvPr>
            <p:ph idx="1" hasCustomPrompt="1"/>
          </p:nvPr>
        </p:nvSpPr>
        <p:spPr bwMode="gray">
          <a:xfrm>
            <a:off x="6768323" y="2304288"/>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9" name="Content Placeholder 8">
            <a:extLst>
              <a:ext uri="{FF2B5EF4-FFF2-40B4-BE49-F238E27FC236}">
                <a16:creationId xmlns:a16="http://schemas.microsoft.com/office/drawing/2014/main" id="{611AC6B6-F7BB-69B4-B85C-59009408DBD6}"/>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E5F95FB-7AF5-30AF-EEE3-B40123C45CD8}"/>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2428187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alf page right - ancho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6D064-AB18-E572-8B2F-A04729552966}"/>
              </a:ext>
            </a:extLst>
          </p:cNvPr>
          <p:cNvSpPr>
            <a:spLocks noGrp="1"/>
          </p:cNvSpPr>
          <p:nvPr>
            <p:ph type="title"/>
          </p:nvPr>
        </p:nvSpPr>
        <p:spPr>
          <a:xfrm>
            <a:off x="557929" y="649224"/>
            <a:ext cx="4390263"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656F19D1-9443-4D87-1EF9-7686A0E869EB}"/>
              </a:ext>
            </a:extLst>
          </p:cNvPr>
          <p:cNvSpPr>
            <a:spLocks noGrp="1"/>
          </p:cNvSpPr>
          <p:nvPr>
            <p:ph idx="1" hasCustomPrompt="1"/>
          </p:nvPr>
        </p:nvSpPr>
        <p:spPr bwMode="gray">
          <a:xfrm>
            <a:off x="557929" y="2304288"/>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Rectangle 2">
            <a:extLst>
              <a:ext uri="{FF2B5EF4-FFF2-40B4-BE49-F238E27FC236}">
                <a16:creationId xmlns:a16="http://schemas.microsoft.com/office/drawing/2014/main" id="{6248B05D-7809-D018-8AF4-21128CB0A34C}"/>
              </a:ext>
            </a:extLst>
          </p:cNvPr>
          <p:cNvSpPr/>
          <p:nvPr userDrawn="1"/>
        </p:nvSpPr>
        <p:spPr bwMode="gray">
          <a:xfrm>
            <a:off x="6095998" y="0"/>
            <a:ext cx="6096002"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pic>
        <p:nvPicPr>
          <p:cNvPr id="5" name="Graphic 4" descr="CVS Caremark logo.">
            <a:extLst>
              <a:ext uri="{FF2B5EF4-FFF2-40B4-BE49-F238E27FC236}">
                <a16:creationId xmlns:a16="http://schemas.microsoft.com/office/drawing/2014/main" id="{205C5B8D-3803-B49B-2E2F-3A674E84F1F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grpSp>
        <p:nvGrpSpPr>
          <p:cNvPr id="6" name="Group 5">
            <a:extLst>
              <a:ext uri="{FF2B5EF4-FFF2-40B4-BE49-F238E27FC236}">
                <a16:creationId xmlns:a16="http://schemas.microsoft.com/office/drawing/2014/main" id="{B24572F6-F6FE-2BDB-11D7-7D8CF2B8FC16}"/>
              </a:ext>
            </a:extLst>
          </p:cNvPr>
          <p:cNvGrpSpPr/>
          <p:nvPr userDrawn="1"/>
        </p:nvGrpSpPr>
        <p:grpSpPr>
          <a:xfrm>
            <a:off x="5458788" y="1"/>
            <a:ext cx="1274422" cy="657665"/>
            <a:chOff x="5070779" y="15933"/>
            <a:chExt cx="2047258" cy="1056763"/>
          </a:xfrm>
        </p:grpSpPr>
        <p:sp>
          <p:nvSpPr>
            <p:cNvPr id="8" name="Freeform: Shape 7">
              <a:extLst>
                <a:ext uri="{FF2B5EF4-FFF2-40B4-BE49-F238E27FC236}">
                  <a16:creationId xmlns:a16="http://schemas.microsoft.com/office/drawing/2014/main" id="{B2F74DB8-CF4C-9685-448C-34D09ECA3480}"/>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7" name="Freeform: Shape 6">
              <a:extLst>
                <a:ext uri="{FF2B5EF4-FFF2-40B4-BE49-F238E27FC236}">
                  <a16:creationId xmlns:a16="http://schemas.microsoft.com/office/drawing/2014/main" id="{92822285-2DF5-517E-1D67-525790A8784A}"/>
                </a:ext>
              </a:extLst>
            </p:cNvPr>
            <p:cNvSpPr/>
            <p:nvPr/>
          </p:nvSpPr>
          <p:spPr bwMode="gray">
            <a:xfrm>
              <a:off x="6094407" y="15933"/>
              <a:ext cx="1023630"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Tree>
    <p:extLst>
      <p:ext uri="{BB962C8B-B14F-4D97-AF65-F5344CB8AC3E}">
        <p14:creationId xmlns:p14="http://schemas.microsoft.com/office/powerpoint/2010/main" val="42438438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alf page left - anchor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97B1F6-3E32-641A-F860-DDAC493E9F06}"/>
              </a:ext>
            </a:extLst>
          </p:cNvPr>
          <p:cNvSpPr/>
          <p:nvPr userDrawn="1"/>
        </p:nvSpPr>
        <p:spPr bwMode="gray">
          <a:xfrm>
            <a:off x="1" y="0"/>
            <a:ext cx="6095998"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5FE01DC9-020B-D118-C9DD-E18DBAC11607}"/>
              </a:ext>
            </a:extLst>
          </p:cNvPr>
          <p:cNvSpPr>
            <a:spLocks noGrp="1"/>
          </p:cNvSpPr>
          <p:nvPr>
            <p:ph type="title"/>
          </p:nvPr>
        </p:nvSpPr>
        <p:spPr>
          <a:xfrm>
            <a:off x="6768323" y="649224"/>
            <a:ext cx="4390263"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F8C47D65-87C3-360B-710B-F2A43BEB4046}"/>
              </a:ext>
            </a:extLst>
          </p:cNvPr>
          <p:cNvSpPr>
            <a:spLocks noGrp="1"/>
          </p:cNvSpPr>
          <p:nvPr>
            <p:ph idx="1" hasCustomPrompt="1"/>
          </p:nvPr>
        </p:nvSpPr>
        <p:spPr bwMode="gray">
          <a:xfrm>
            <a:off x="6768323" y="2304288"/>
            <a:ext cx="4390263"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grpSp>
        <p:nvGrpSpPr>
          <p:cNvPr id="8" name="Group 7">
            <a:extLst>
              <a:ext uri="{FF2B5EF4-FFF2-40B4-BE49-F238E27FC236}">
                <a16:creationId xmlns:a16="http://schemas.microsoft.com/office/drawing/2014/main" id="{12667848-4D4A-2CEE-CF5C-5F635846BE31}"/>
              </a:ext>
            </a:extLst>
          </p:cNvPr>
          <p:cNvGrpSpPr/>
          <p:nvPr userDrawn="1"/>
        </p:nvGrpSpPr>
        <p:grpSpPr>
          <a:xfrm>
            <a:off x="5458788" y="1"/>
            <a:ext cx="1274422" cy="657665"/>
            <a:chOff x="5070779" y="15933"/>
            <a:chExt cx="2047258" cy="1056763"/>
          </a:xfrm>
        </p:grpSpPr>
        <p:sp>
          <p:nvSpPr>
            <p:cNvPr id="10" name="Freeform: Shape 9">
              <a:extLst>
                <a:ext uri="{FF2B5EF4-FFF2-40B4-BE49-F238E27FC236}">
                  <a16:creationId xmlns:a16="http://schemas.microsoft.com/office/drawing/2014/main" id="{D1F6FCDF-FEE3-816D-BEEB-45727846F3F0}"/>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9" name="Freeform: Shape 8">
              <a:extLst>
                <a:ext uri="{FF2B5EF4-FFF2-40B4-BE49-F238E27FC236}">
                  <a16:creationId xmlns:a16="http://schemas.microsoft.com/office/drawing/2014/main" id="{685BF841-C3B3-DCFF-FA79-91DEE3FE9987}"/>
                </a:ext>
              </a:extLst>
            </p:cNvPr>
            <p:cNvSpPr/>
            <p:nvPr/>
          </p:nvSpPr>
          <p:spPr bwMode="gray">
            <a:xfrm>
              <a:off x="6094406" y="15933"/>
              <a:ext cx="1023631"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
        <p:nvSpPr>
          <p:cNvPr id="7" name="Content Placeholder 8">
            <a:extLst>
              <a:ext uri="{FF2B5EF4-FFF2-40B4-BE49-F238E27FC236}">
                <a16:creationId xmlns:a16="http://schemas.microsoft.com/office/drawing/2014/main" id="{0F57DAF3-E502-907C-A350-11808E2D314D}"/>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A6A24B6-07C0-2B41-F878-AC6AB51414F0}"/>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22276793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page right - ancho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163FA-D850-06CF-5CDE-4F5170CD047E}"/>
              </a:ext>
            </a:extLst>
          </p:cNvPr>
          <p:cNvSpPr>
            <a:spLocks noGrp="1"/>
          </p:cNvSpPr>
          <p:nvPr>
            <p:ph type="title"/>
          </p:nvPr>
        </p:nvSpPr>
        <p:spPr>
          <a:xfrm>
            <a:off x="557929" y="649224"/>
            <a:ext cx="4628264"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A0DDEAC6-45D6-2092-C79F-ECCED0503883}"/>
              </a:ext>
            </a:extLst>
          </p:cNvPr>
          <p:cNvSpPr>
            <a:spLocks noGrp="1"/>
          </p:cNvSpPr>
          <p:nvPr>
            <p:ph idx="1" hasCustomPrompt="1"/>
          </p:nvPr>
        </p:nvSpPr>
        <p:spPr bwMode="gray">
          <a:xfrm>
            <a:off x="557929" y="2304288"/>
            <a:ext cx="4628264"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Rectangle 2">
            <a:extLst>
              <a:ext uri="{FF2B5EF4-FFF2-40B4-BE49-F238E27FC236}">
                <a16:creationId xmlns:a16="http://schemas.microsoft.com/office/drawing/2014/main" id="{4B49CD70-11A6-67E4-2A20-161D29B12AC4}"/>
              </a:ext>
            </a:extLst>
          </p:cNvPr>
          <p:cNvSpPr/>
          <p:nvPr userDrawn="1"/>
        </p:nvSpPr>
        <p:spPr bwMode="gray">
          <a:xfrm>
            <a:off x="6095998" y="0"/>
            <a:ext cx="6096002"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pic>
        <p:nvPicPr>
          <p:cNvPr id="5" name="Graphic 4" descr="CVS caremark logo.">
            <a:extLst>
              <a:ext uri="{FF2B5EF4-FFF2-40B4-BE49-F238E27FC236}">
                <a16:creationId xmlns:a16="http://schemas.microsoft.com/office/drawing/2014/main" id="{23BFD288-DD03-21C6-E43A-14447632C48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grpSp>
        <p:nvGrpSpPr>
          <p:cNvPr id="6" name="Group 5">
            <a:extLst>
              <a:ext uri="{FF2B5EF4-FFF2-40B4-BE49-F238E27FC236}">
                <a16:creationId xmlns:a16="http://schemas.microsoft.com/office/drawing/2014/main" id="{5E83DD33-393F-247C-2460-BEA05C66F996}"/>
              </a:ext>
            </a:extLst>
          </p:cNvPr>
          <p:cNvGrpSpPr/>
          <p:nvPr userDrawn="1"/>
        </p:nvGrpSpPr>
        <p:grpSpPr>
          <a:xfrm>
            <a:off x="5458788" y="1"/>
            <a:ext cx="1274422" cy="657665"/>
            <a:chOff x="5070779" y="15933"/>
            <a:chExt cx="2047258" cy="1056763"/>
          </a:xfrm>
        </p:grpSpPr>
        <p:sp>
          <p:nvSpPr>
            <p:cNvPr id="8" name="Freeform: Shape 7">
              <a:extLst>
                <a:ext uri="{FF2B5EF4-FFF2-40B4-BE49-F238E27FC236}">
                  <a16:creationId xmlns:a16="http://schemas.microsoft.com/office/drawing/2014/main" id="{2A3A147D-6E65-EB0A-F4DA-6EF8C2B4DD23}"/>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7" name="Freeform: Shape 6">
              <a:extLst>
                <a:ext uri="{FF2B5EF4-FFF2-40B4-BE49-F238E27FC236}">
                  <a16:creationId xmlns:a16="http://schemas.microsoft.com/office/drawing/2014/main" id="{06C9A44B-A14E-B51C-C5A7-0AE121351ED1}"/>
                </a:ext>
              </a:extLst>
            </p:cNvPr>
            <p:cNvSpPr/>
            <p:nvPr/>
          </p:nvSpPr>
          <p:spPr bwMode="gray">
            <a:xfrm>
              <a:off x="6094407" y="15933"/>
              <a:ext cx="1023630"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9E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Tree>
    <p:extLst>
      <p:ext uri="{BB962C8B-B14F-4D97-AF65-F5344CB8AC3E}">
        <p14:creationId xmlns:p14="http://schemas.microsoft.com/office/powerpoint/2010/main" val="5250403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page left - ancho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CD0C22E-A3F2-EF4B-2AC7-E6D43EEC9814}"/>
              </a:ext>
            </a:extLst>
          </p:cNvPr>
          <p:cNvSpPr/>
          <p:nvPr userDrawn="1"/>
        </p:nvSpPr>
        <p:spPr bwMode="gray">
          <a:xfrm>
            <a:off x="1" y="0"/>
            <a:ext cx="6095998"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041B52AC-233B-EF15-503D-9EA3E2C347B6}"/>
              </a:ext>
            </a:extLst>
          </p:cNvPr>
          <p:cNvSpPr>
            <a:spLocks noGrp="1"/>
          </p:cNvSpPr>
          <p:nvPr>
            <p:ph type="title"/>
          </p:nvPr>
        </p:nvSpPr>
        <p:spPr>
          <a:xfrm>
            <a:off x="6768323" y="649224"/>
            <a:ext cx="4628264"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79580F74-C9FD-5D1A-F632-99E6004BEA45}"/>
              </a:ext>
            </a:extLst>
          </p:cNvPr>
          <p:cNvSpPr>
            <a:spLocks noGrp="1"/>
          </p:cNvSpPr>
          <p:nvPr>
            <p:ph idx="1" hasCustomPrompt="1"/>
          </p:nvPr>
        </p:nvSpPr>
        <p:spPr bwMode="gray">
          <a:xfrm>
            <a:off x="6768323" y="2304288"/>
            <a:ext cx="4628264"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grpSp>
        <p:nvGrpSpPr>
          <p:cNvPr id="8" name="Group 7">
            <a:extLst>
              <a:ext uri="{FF2B5EF4-FFF2-40B4-BE49-F238E27FC236}">
                <a16:creationId xmlns:a16="http://schemas.microsoft.com/office/drawing/2014/main" id="{28857643-2794-D363-5FA8-56A4FFB0FEA5}"/>
              </a:ext>
            </a:extLst>
          </p:cNvPr>
          <p:cNvGrpSpPr/>
          <p:nvPr userDrawn="1"/>
        </p:nvGrpSpPr>
        <p:grpSpPr>
          <a:xfrm>
            <a:off x="5458788" y="1"/>
            <a:ext cx="1274422" cy="657665"/>
            <a:chOff x="5070779" y="15933"/>
            <a:chExt cx="2047258" cy="1056763"/>
          </a:xfrm>
        </p:grpSpPr>
        <p:sp>
          <p:nvSpPr>
            <p:cNvPr id="9" name="Freeform: Shape 8">
              <a:extLst>
                <a:ext uri="{FF2B5EF4-FFF2-40B4-BE49-F238E27FC236}">
                  <a16:creationId xmlns:a16="http://schemas.microsoft.com/office/drawing/2014/main" id="{4C39D703-52F2-F5C6-F6EE-EDC994313E71}"/>
                </a:ext>
              </a:extLst>
            </p:cNvPr>
            <p:cNvSpPr/>
            <p:nvPr/>
          </p:nvSpPr>
          <p:spPr bwMode="gray">
            <a:xfrm>
              <a:off x="6094406" y="15933"/>
              <a:ext cx="1023631"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9E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10" name="Freeform: Shape 9">
              <a:extLst>
                <a:ext uri="{FF2B5EF4-FFF2-40B4-BE49-F238E27FC236}">
                  <a16:creationId xmlns:a16="http://schemas.microsoft.com/office/drawing/2014/main" id="{EF64968F-F911-04D0-923B-89885A20BD2C}"/>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rgbClr val="CC0000"/>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
        <p:nvSpPr>
          <p:cNvPr id="7" name="Content Placeholder 8">
            <a:extLst>
              <a:ext uri="{FF2B5EF4-FFF2-40B4-BE49-F238E27FC236}">
                <a16:creationId xmlns:a16="http://schemas.microsoft.com/office/drawing/2014/main" id="{269531E7-D325-2930-1797-9017ED52120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26C619BA-D894-E475-1ECA-CD7B59B98AD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18992846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alf page right - ancho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CC00E-44A9-CDE0-DA4F-163F7EF9720E}"/>
              </a:ext>
            </a:extLst>
          </p:cNvPr>
          <p:cNvSpPr>
            <a:spLocks noGrp="1"/>
          </p:cNvSpPr>
          <p:nvPr>
            <p:ph type="title"/>
          </p:nvPr>
        </p:nvSpPr>
        <p:spPr>
          <a:xfrm>
            <a:off x="557929" y="649224"/>
            <a:ext cx="4628264"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BB0EAB0D-2609-3BA0-10E7-B2E749401E6D}"/>
              </a:ext>
            </a:extLst>
          </p:cNvPr>
          <p:cNvSpPr>
            <a:spLocks noGrp="1"/>
          </p:cNvSpPr>
          <p:nvPr>
            <p:ph idx="1" hasCustomPrompt="1"/>
          </p:nvPr>
        </p:nvSpPr>
        <p:spPr bwMode="gray">
          <a:xfrm>
            <a:off x="557929" y="2304288"/>
            <a:ext cx="4628264"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Rectangle 2">
            <a:extLst>
              <a:ext uri="{FF2B5EF4-FFF2-40B4-BE49-F238E27FC236}">
                <a16:creationId xmlns:a16="http://schemas.microsoft.com/office/drawing/2014/main" id="{6BDEF080-AA1E-5440-A431-F8DF35A2B420}"/>
              </a:ext>
            </a:extLst>
          </p:cNvPr>
          <p:cNvSpPr/>
          <p:nvPr userDrawn="1"/>
        </p:nvSpPr>
        <p:spPr bwMode="gray">
          <a:xfrm>
            <a:off x="6095998" y="0"/>
            <a:ext cx="6096002"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pic>
        <p:nvPicPr>
          <p:cNvPr id="5" name="Graphic 4" descr="CVS Caremark logo.">
            <a:extLst>
              <a:ext uri="{FF2B5EF4-FFF2-40B4-BE49-F238E27FC236}">
                <a16:creationId xmlns:a16="http://schemas.microsoft.com/office/drawing/2014/main" id="{3B8299ED-EB4E-1D7F-41EE-836271A3D21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grpSp>
        <p:nvGrpSpPr>
          <p:cNvPr id="6" name="Group 5">
            <a:extLst>
              <a:ext uri="{FF2B5EF4-FFF2-40B4-BE49-F238E27FC236}">
                <a16:creationId xmlns:a16="http://schemas.microsoft.com/office/drawing/2014/main" id="{1E9807DF-F7D1-FEDA-D695-0D0CA01876CC}"/>
              </a:ext>
            </a:extLst>
          </p:cNvPr>
          <p:cNvGrpSpPr/>
          <p:nvPr userDrawn="1"/>
        </p:nvGrpSpPr>
        <p:grpSpPr>
          <a:xfrm>
            <a:off x="5458788" y="1"/>
            <a:ext cx="1274422" cy="657665"/>
            <a:chOff x="5070779" y="15933"/>
            <a:chExt cx="2047258" cy="1056763"/>
          </a:xfrm>
        </p:grpSpPr>
        <p:sp>
          <p:nvSpPr>
            <p:cNvPr id="8" name="Freeform: Shape 7">
              <a:extLst>
                <a:ext uri="{FF2B5EF4-FFF2-40B4-BE49-F238E27FC236}">
                  <a16:creationId xmlns:a16="http://schemas.microsoft.com/office/drawing/2014/main" id="{8AE4123D-119A-66EB-DEA9-F9E1375B61EA}"/>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rgbClr val="CCCCCC"/>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7" name="Freeform: Shape 6">
              <a:extLst>
                <a:ext uri="{FF2B5EF4-FFF2-40B4-BE49-F238E27FC236}">
                  <a16:creationId xmlns:a16="http://schemas.microsoft.com/office/drawing/2014/main" id="{F78FD5CD-7610-30B5-F75D-75E7F61B4FA8}"/>
                </a:ext>
              </a:extLst>
            </p:cNvPr>
            <p:cNvSpPr/>
            <p:nvPr/>
          </p:nvSpPr>
          <p:spPr bwMode="gray">
            <a:xfrm>
              <a:off x="6094407" y="15933"/>
              <a:ext cx="1023630"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767676"/>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Tree>
    <p:extLst>
      <p:ext uri="{BB962C8B-B14F-4D97-AF65-F5344CB8AC3E}">
        <p14:creationId xmlns:p14="http://schemas.microsoft.com/office/powerpoint/2010/main" val="17443103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 page left - anchor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8A74EC-75BF-DD63-A4D8-564C93B0611B}"/>
              </a:ext>
            </a:extLst>
          </p:cNvPr>
          <p:cNvSpPr/>
          <p:nvPr userDrawn="1"/>
        </p:nvSpPr>
        <p:spPr bwMode="gray">
          <a:xfrm>
            <a:off x="1" y="0"/>
            <a:ext cx="6095998"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FCE97AC2-8251-34A8-D378-397D8085A436}"/>
              </a:ext>
            </a:extLst>
          </p:cNvPr>
          <p:cNvSpPr>
            <a:spLocks noGrp="1"/>
          </p:cNvSpPr>
          <p:nvPr>
            <p:ph type="title"/>
          </p:nvPr>
        </p:nvSpPr>
        <p:spPr>
          <a:xfrm>
            <a:off x="6768323" y="649224"/>
            <a:ext cx="4618534" cy="896112"/>
          </a:xfrm>
        </p:spPr>
        <p:txBody>
          <a:bodyPr anchor="t"/>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FF94AC3B-41D8-2364-CFB3-AD096D59B0CE}"/>
              </a:ext>
            </a:extLst>
          </p:cNvPr>
          <p:cNvSpPr>
            <a:spLocks noGrp="1"/>
          </p:cNvSpPr>
          <p:nvPr>
            <p:ph idx="1" hasCustomPrompt="1"/>
          </p:nvPr>
        </p:nvSpPr>
        <p:spPr bwMode="gray">
          <a:xfrm>
            <a:off x="6768323" y="2304288"/>
            <a:ext cx="4618534"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grpSp>
        <p:nvGrpSpPr>
          <p:cNvPr id="12" name="Group 11">
            <a:extLst>
              <a:ext uri="{FF2B5EF4-FFF2-40B4-BE49-F238E27FC236}">
                <a16:creationId xmlns:a16="http://schemas.microsoft.com/office/drawing/2014/main" id="{549B66FA-873C-4605-51A5-8AF20B640B15}"/>
              </a:ext>
            </a:extLst>
          </p:cNvPr>
          <p:cNvGrpSpPr/>
          <p:nvPr userDrawn="1"/>
        </p:nvGrpSpPr>
        <p:grpSpPr>
          <a:xfrm>
            <a:off x="5458788" y="1"/>
            <a:ext cx="1274422" cy="657665"/>
            <a:chOff x="5070779" y="15933"/>
            <a:chExt cx="2047258" cy="1056763"/>
          </a:xfrm>
        </p:grpSpPr>
        <p:sp>
          <p:nvSpPr>
            <p:cNvPr id="14" name="Freeform: Shape 13">
              <a:extLst>
                <a:ext uri="{FF2B5EF4-FFF2-40B4-BE49-F238E27FC236}">
                  <a16:creationId xmlns:a16="http://schemas.microsoft.com/office/drawing/2014/main" id="{D2C54408-9477-AE42-1249-72DA0614A02B}"/>
                </a:ext>
              </a:extLst>
            </p:cNvPr>
            <p:cNvSpPr/>
            <p:nvPr/>
          </p:nvSpPr>
          <p:spPr bwMode="gray">
            <a:xfrm>
              <a:off x="5070779" y="15933"/>
              <a:ext cx="1023628"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rgbClr val="CCCCCC"/>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13" name="Freeform: Shape 12">
              <a:extLst>
                <a:ext uri="{FF2B5EF4-FFF2-40B4-BE49-F238E27FC236}">
                  <a16:creationId xmlns:a16="http://schemas.microsoft.com/office/drawing/2014/main" id="{98A3A7D0-0A80-68AD-742C-0DADD0371245}"/>
                </a:ext>
              </a:extLst>
            </p:cNvPr>
            <p:cNvSpPr/>
            <p:nvPr/>
          </p:nvSpPr>
          <p:spPr bwMode="gray">
            <a:xfrm>
              <a:off x="6094407" y="15933"/>
              <a:ext cx="1023630"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rgbClr val="767676"/>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grpSp>
      <p:sp>
        <p:nvSpPr>
          <p:cNvPr id="9" name="Content Placeholder 8">
            <a:extLst>
              <a:ext uri="{FF2B5EF4-FFF2-40B4-BE49-F238E27FC236}">
                <a16:creationId xmlns:a16="http://schemas.microsoft.com/office/drawing/2014/main" id="{38F9A189-5682-D35B-C2E7-F612175F6491}"/>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6740E95-65FB-1268-ACE3-D41ED850E4AD}"/>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13668140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ne third page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67178-009F-A2FA-F884-6DAEB38F509B}"/>
              </a:ext>
            </a:extLst>
          </p:cNvPr>
          <p:cNvSpPr>
            <a:spLocks noGrp="1"/>
          </p:cNvSpPr>
          <p:nvPr>
            <p:ph type="title"/>
          </p:nvPr>
        </p:nvSpPr>
        <p:spPr>
          <a:xfrm>
            <a:off x="4518856" y="649225"/>
            <a:ext cx="2961255" cy="1276991"/>
          </a:xfrm>
        </p:spPr>
        <p:txBody>
          <a:bodyPr/>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83C1FBA5-C662-8F3F-CA7D-4ABDAB30C022}"/>
              </a:ext>
            </a:extLst>
          </p:cNvPr>
          <p:cNvSpPr>
            <a:spLocks noGrp="1"/>
          </p:cNvSpPr>
          <p:nvPr>
            <p:ph idx="1" hasCustomPrompt="1"/>
          </p:nvPr>
        </p:nvSpPr>
        <p:spPr bwMode="gray">
          <a:xfrm>
            <a:off x="8100978" y="649224"/>
            <a:ext cx="319118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Picture Placeholder 15">
            <a:extLst>
              <a:ext uri="{FF2B5EF4-FFF2-40B4-BE49-F238E27FC236}">
                <a16:creationId xmlns:a16="http://schemas.microsoft.com/office/drawing/2014/main" id="{E6C3B44F-145E-6DEE-68C4-36E2EC3F936B}"/>
              </a:ext>
            </a:extLst>
          </p:cNvPr>
          <p:cNvSpPr>
            <a:spLocks noGrp="1"/>
          </p:cNvSpPr>
          <p:nvPr>
            <p:ph type="pic" sz="quarter" idx="15"/>
          </p:nvPr>
        </p:nvSpPr>
        <p:spPr>
          <a:xfrm>
            <a:off x="0" y="0"/>
            <a:ext cx="4060994"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pic>
        <p:nvPicPr>
          <p:cNvPr id="9" name="Graphic 8" descr="CVS Caremark logo.">
            <a:extLst>
              <a:ext uri="{FF2B5EF4-FFF2-40B4-BE49-F238E27FC236}">
                <a16:creationId xmlns:a16="http://schemas.microsoft.com/office/drawing/2014/main" id="{236642A3-A73A-A93F-A23E-789B421723C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197438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EBE10-076F-B765-877C-06B80EEF9D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5F90A4-FE1C-28B5-BE5B-105791877808}"/>
              </a:ext>
            </a:extLst>
          </p:cNvPr>
          <p:cNvSpPr>
            <a:spLocks noGrp="1"/>
          </p:cNvSpPr>
          <p:nvPr>
            <p:ph type="dt" sz="half" idx="10"/>
          </p:nvPr>
        </p:nvSpPr>
        <p:spPr/>
        <p:txBody>
          <a:bodyPr/>
          <a:lstStyle/>
          <a:p>
            <a:fld id="{D41F7CBE-2DFA-4285-8D51-B3BA6A6D0B7A}" type="datetime1">
              <a:rPr lang="en-US" smtClean="0"/>
              <a:t>9/13/2024</a:t>
            </a:fld>
            <a:endParaRPr lang="en-US"/>
          </a:p>
        </p:txBody>
      </p:sp>
      <p:sp>
        <p:nvSpPr>
          <p:cNvPr id="4" name="Footer Placeholder 3">
            <a:extLst>
              <a:ext uri="{FF2B5EF4-FFF2-40B4-BE49-F238E27FC236}">
                <a16:creationId xmlns:a16="http://schemas.microsoft.com/office/drawing/2014/main" id="{05CDD245-782D-66DB-D630-A1B2A9FE8F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A6874D-9AA0-8F4E-357B-2E144500970A}"/>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29601002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One third page image left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67178-009F-A2FA-F884-6DAEB38F509B}"/>
              </a:ext>
            </a:extLst>
          </p:cNvPr>
          <p:cNvSpPr>
            <a:spLocks noGrp="1"/>
          </p:cNvSpPr>
          <p:nvPr>
            <p:ph type="title"/>
          </p:nvPr>
        </p:nvSpPr>
        <p:spPr>
          <a:xfrm>
            <a:off x="4518856" y="649225"/>
            <a:ext cx="7103084" cy="1276991"/>
          </a:xfrm>
        </p:spPr>
        <p:txBody>
          <a:bodyPr/>
          <a:lstStyle/>
          <a:p>
            <a:r>
              <a:rPr lang="en-US"/>
              <a:t>Click to edit Master title style</a:t>
            </a:r>
            <a:endParaRPr lang="en-US" dirty="0"/>
          </a:p>
        </p:txBody>
      </p:sp>
      <p:sp>
        <p:nvSpPr>
          <p:cNvPr id="3" name="Picture Placeholder 15">
            <a:extLst>
              <a:ext uri="{FF2B5EF4-FFF2-40B4-BE49-F238E27FC236}">
                <a16:creationId xmlns:a16="http://schemas.microsoft.com/office/drawing/2014/main" id="{E6C3B44F-145E-6DEE-68C4-36E2EC3F936B}"/>
              </a:ext>
            </a:extLst>
          </p:cNvPr>
          <p:cNvSpPr>
            <a:spLocks noGrp="1"/>
          </p:cNvSpPr>
          <p:nvPr>
            <p:ph type="pic" sz="quarter" idx="15"/>
          </p:nvPr>
        </p:nvSpPr>
        <p:spPr>
          <a:xfrm>
            <a:off x="0" y="0"/>
            <a:ext cx="4060994"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pic>
        <p:nvPicPr>
          <p:cNvPr id="9" name="Graphic 8" descr="CVS Caremark logo.">
            <a:extLst>
              <a:ext uri="{FF2B5EF4-FFF2-40B4-BE49-F238E27FC236}">
                <a16:creationId xmlns:a16="http://schemas.microsoft.com/office/drawing/2014/main" id="{236642A3-A73A-A93F-A23E-789B421723C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1050940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 third page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C0DA-57CC-CD32-CE76-976C29165925}"/>
              </a:ext>
            </a:extLst>
          </p:cNvPr>
          <p:cNvSpPr>
            <a:spLocks noGrp="1"/>
          </p:cNvSpPr>
          <p:nvPr>
            <p:ph type="title"/>
          </p:nvPr>
        </p:nvSpPr>
        <p:spPr>
          <a:xfrm>
            <a:off x="557929" y="649224"/>
            <a:ext cx="2963428" cy="1340366"/>
          </a:xfrm>
        </p:spPr>
        <p:txBody>
          <a:bodyPr/>
          <a:lstStyle/>
          <a:p>
            <a:r>
              <a:rPr lang="en-US"/>
              <a:t>Click to edit Master title style</a:t>
            </a:r>
            <a:endParaRPr lang="en-US" dirty="0"/>
          </a:p>
        </p:txBody>
      </p:sp>
      <p:sp>
        <p:nvSpPr>
          <p:cNvPr id="4" name="Content Placeholder 2">
            <a:extLst>
              <a:ext uri="{FF2B5EF4-FFF2-40B4-BE49-F238E27FC236}">
                <a16:creationId xmlns:a16="http://schemas.microsoft.com/office/drawing/2014/main" id="{C988EB11-DCC0-5877-B6E1-59C3E1B666DC}"/>
              </a:ext>
            </a:extLst>
          </p:cNvPr>
          <p:cNvSpPr>
            <a:spLocks noGrp="1"/>
          </p:cNvSpPr>
          <p:nvPr>
            <p:ph idx="1" hasCustomPrompt="1"/>
          </p:nvPr>
        </p:nvSpPr>
        <p:spPr bwMode="gray">
          <a:xfrm>
            <a:off x="4163054" y="649224"/>
            <a:ext cx="3191182" cy="3154680"/>
          </a:xfrm>
        </p:spPr>
        <p:txBody>
          <a:bodyPr/>
          <a:lstStyle>
            <a:lvl1pPr>
              <a:defRPr sz="1500" cap="none" baseline="0">
                <a:solidFill>
                  <a:schemeClr val="tx2"/>
                </a:solidFill>
              </a:defRPr>
            </a:lvl1pPr>
            <a:lvl2pPr marL="171450" indent="-171450">
              <a:defRPr sz="1500">
                <a:solidFill>
                  <a:schemeClr val="tx2"/>
                </a:solidFill>
              </a:defRPr>
            </a:lvl2pPr>
            <a:lvl3pPr marL="347663" indent="-176213">
              <a:spcBef>
                <a:spcPts val="600"/>
              </a:spcBef>
              <a:buFont typeface="Arial" panose="020B0604020202020204" pitchFamily="34" charset="0"/>
              <a:buChar char="–"/>
              <a:defRPr sz="1500">
                <a:solidFill>
                  <a:schemeClr val="tx2"/>
                </a:solidFill>
              </a:defRPr>
            </a:lvl3pPr>
            <a:lvl4pPr marL="509588" indent="-161925">
              <a:spcBef>
                <a:spcPts val="600"/>
              </a:spcBef>
              <a:defRPr sz="1500">
                <a:solidFill>
                  <a:schemeClr val="tx2"/>
                </a:solidFill>
              </a:defRPr>
            </a:lvl4pPr>
            <a:lvl5pPr marL="682625" indent="-173038">
              <a:spcBef>
                <a:spcPts val="600"/>
              </a:spcBef>
              <a:defRPr sz="1500">
                <a:solidFill>
                  <a:schemeClr val="tx2"/>
                </a:solidFill>
              </a:defRPr>
            </a:lvl5pPr>
            <a:lvl6pPr marL="857250" indent="-174625">
              <a:defRPr sz="1500">
                <a:solidFill>
                  <a:schemeClr val="tx2"/>
                </a:solidFill>
              </a:defRPr>
            </a:lvl6pPr>
            <a:lvl7pPr marL="1030288" indent="-173038">
              <a:spcBef>
                <a:spcPts val="600"/>
              </a:spcBef>
              <a:buFont typeface="Arial" panose="020B0604020202020204" pitchFamily="34" charset="0"/>
              <a:buChar char="–"/>
              <a:defRPr sz="1500" baseline="0">
                <a:solidFill>
                  <a:schemeClr val="tx2"/>
                </a:solidFill>
              </a:defRPr>
            </a:lvl7pPr>
            <a:lvl8pPr marL="1203325" indent="-174625">
              <a:spcBef>
                <a:spcPts val="600"/>
              </a:spcBef>
              <a:buFont typeface="Arial" panose="020B0604020202020204" pitchFamily="34" charset="0"/>
              <a:buChar char="•"/>
              <a:defRPr sz="1500">
                <a:solidFill>
                  <a:schemeClr val="tx2"/>
                </a:solidFill>
              </a:defRPr>
            </a:lvl8pPr>
            <a:lvl9pPr marL="1377950" indent="-174625">
              <a:spcBef>
                <a:spcPts val="600"/>
              </a:spcBef>
              <a:buFont typeface="Arial" panose="020B0604020202020204" pitchFamily="34" charset="0"/>
              <a:buChar char="–"/>
              <a:defRPr sz="1500" baseline="0">
                <a:solidFill>
                  <a:schemeClr val="tx2"/>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3" name="Picture Placeholder 15">
            <a:extLst>
              <a:ext uri="{FF2B5EF4-FFF2-40B4-BE49-F238E27FC236}">
                <a16:creationId xmlns:a16="http://schemas.microsoft.com/office/drawing/2014/main" id="{CE86D043-65CA-178B-6A60-2F1F7FB1C47A}"/>
              </a:ext>
            </a:extLst>
          </p:cNvPr>
          <p:cNvSpPr>
            <a:spLocks noGrp="1"/>
          </p:cNvSpPr>
          <p:nvPr>
            <p:ph type="pic" sz="quarter" idx="15"/>
          </p:nvPr>
        </p:nvSpPr>
        <p:spPr>
          <a:xfrm>
            <a:off x="8131006" y="0"/>
            <a:ext cx="4060994"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pic>
        <p:nvPicPr>
          <p:cNvPr id="6" name="Graphic 5" descr="CVS Caremark logo in white.">
            <a:extLst>
              <a:ext uri="{FF2B5EF4-FFF2-40B4-BE49-F238E27FC236}">
                <a16:creationId xmlns:a16="http://schemas.microsoft.com/office/drawing/2014/main" id="{E55DCB0D-F8C9-5A75-EFDA-1B4A4D47A33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1433152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 third page image right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C0DA-57CC-CD32-CE76-976C29165925}"/>
              </a:ext>
            </a:extLst>
          </p:cNvPr>
          <p:cNvSpPr>
            <a:spLocks noGrp="1"/>
          </p:cNvSpPr>
          <p:nvPr>
            <p:ph type="title"/>
          </p:nvPr>
        </p:nvSpPr>
        <p:spPr>
          <a:xfrm>
            <a:off x="557929" y="649224"/>
            <a:ext cx="7035974" cy="1340366"/>
          </a:xfrm>
        </p:spPr>
        <p:txBody>
          <a:bodyPr/>
          <a:lstStyle/>
          <a:p>
            <a:r>
              <a:rPr lang="en-US"/>
              <a:t>Click to edit Master title style</a:t>
            </a:r>
            <a:endParaRPr lang="en-US" dirty="0"/>
          </a:p>
        </p:txBody>
      </p:sp>
      <p:sp>
        <p:nvSpPr>
          <p:cNvPr id="3" name="Picture Placeholder 15">
            <a:extLst>
              <a:ext uri="{FF2B5EF4-FFF2-40B4-BE49-F238E27FC236}">
                <a16:creationId xmlns:a16="http://schemas.microsoft.com/office/drawing/2014/main" id="{CE86D043-65CA-178B-6A60-2F1F7FB1C47A}"/>
              </a:ext>
            </a:extLst>
          </p:cNvPr>
          <p:cNvSpPr>
            <a:spLocks noGrp="1"/>
          </p:cNvSpPr>
          <p:nvPr>
            <p:ph type="pic" sz="quarter" idx="15"/>
          </p:nvPr>
        </p:nvSpPr>
        <p:spPr>
          <a:xfrm>
            <a:off x="8131006" y="0"/>
            <a:ext cx="4060994" cy="6858000"/>
          </a:xfrm>
          <a:solidFill>
            <a:schemeClr val="bg1">
              <a:lumMod val="75000"/>
            </a:schemeClr>
          </a:solidFill>
        </p:spPr>
        <p:txBody>
          <a:bodyPr/>
          <a:lstStyle>
            <a:lvl1pPr marL="231775" indent="0" algn="l">
              <a:defRPr b="1" baseline="0">
                <a:solidFill>
                  <a:schemeClr val="bg1"/>
                </a:solidFill>
              </a:defRPr>
            </a:lvl1pPr>
          </a:lstStyle>
          <a:p>
            <a:r>
              <a:rPr lang="en-US"/>
              <a:t>Click icon to add picture</a:t>
            </a:r>
            <a:endParaRPr lang="en-US" dirty="0"/>
          </a:p>
        </p:txBody>
      </p:sp>
      <p:pic>
        <p:nvPicPr>
          <p:cNvPr id="6" name="Graphic 5" descr="CVS Caremark logo in white.">
            <a:extLst>
              <a:ext uri="{FF2B5EF4-FFF2-40B4-BE49-F238E27FC236}">
                <a16:creationId xmlns:a16="http://schemas.microsoft.com/office/drawing/2014/main" id="{E55DCB0D-F8C9-5A75-EFDA-1B4A4D47A33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40469148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point with white box_photo">
    <p:spTree>
      <p:nvGrpSpPr>
        <p:cNvPr id="1" name=""/>
        <p:cNvGrpSpPr/>
        <p:nvPr/>
      </p:nvGrpSpPr>
      <p:grpSpPr>
        <a:xfrm>
          <a:off x="0" y="0"/>
          <a:ext cx="0" cy="0"/>
          <a:chOff x="0" y="0"/>
          <a:chExt cx="0" cy="0"/>
        </a:xfrm>
      </p:grpSpPr>
      <p:sp>
        <p:nvSpPr>
          <p:cNvPr id="3" name="Picture Placeholder 15">
            <a:extLst>
              <a:ext uri="{FF2B5EF4-FFF2-40B4-BE49-F238E27FC236}">
                <a16:creationId xmlns:a16="http://schemas.microsoft.com/office/drawing/2014/main" id="{18986E69-701C-42B3-B14B-5B9A1444F1AD}"/>
              </a:ext>
            </a:extLst>
          </p:cNvPr>
          <p:cNvSpPr>
            <a:spLocks noGrp="1"/>
          </p:cNvSpPr>
          <p:nvPr>
            <p:ph type="pic" sz="quarter" idx="18"/>
          </p:nvPr>
        </p:nvSpPr>
        <p:spPr>
          <a:xfrm>
            <a:off x="1" y="0"/>
            <a:ext cx="12192000" cy="6858000"/>
          </a:xfrm>
          <a:solidFill>
            <a:schemeClr val="bg1">
              <a:lumMod val="75000"/>
            </a:schemeClr>
          </a:solidFill>
        </p:spPr>
        <p:txBody>
          <a:bodyPr/>
          <a:lstStyle>
            <a:lvl1pPr algn="ctr">
              <a:defRPr b="0">
                <a:solidFill>
                  <a:schemeClr val="bg1"/>
                </a:solidFill>
              </a:defRPr>
            </a:lvl1pPr>
          </a:lstStyle>
          <a:p>
            <a:r>
              <a:rPr lang="en-US"/>
              <a:t>Click icon to add picture</a:t>
            </a:r>
            <a:endParaRPr lang="en-US" dirty="0"/>
          </a:p>
        </p:txBody>
      </p:sp>
      <p:sp>
        <p:nvSpPr>
          <p:cNvPr id="11" name="Title 10">
            <a:extLst>
              <a:ext uri="{FF2B5EF4-FFF2-40B4-BE49-F238E27FC236}">
                <a16:creationId xmlns:a16="http://schemas.microsoft.com/office/drawing/2014/main" id="{B358848A-AF47-67A0-C975-C24A63EDD834}"/>
              </a:ext>
            </a:extLst>
          </p:cNvPr>
          <p:cNvSpPr>
            <a:spLocks noGrp="1"/>
          </p:cNvSpPr>
          <p:nvPr>
            <p:ph type="title" hasCustomPrompt="1"/>
          </p:nvPr>
        </p:nvSpPr>
        <p:spPr>
          <a:xfrm>
            <a:off x="0" y="0"/>
            <a:ext cx="9113035" cy="6858000"/>
          </a:xfrm>
          <a:custGeom>
            <a:avLst/>
            <a:gdLst>
              <a:gd name="connsiteX0" fmla="*/ 0 w 9110662"/>
              <a:gd name="connsiteY0" fmla="*/ 0 h 6858000"/>
              <a:gd name="connsiteX1" fmla="*/ 2248214 w 9110662"/>
              <a:gd name="connsiteY1" fmla="*/ 0 h 6858000"/>
              <a:gd name="connsiteX2" fmla="*/ 9110662 w 9110662"/>
              <a:gd name="connsiteY2" fmla="*/ 6857999 h 6858000"/>
              <a:gd name="connsiteX3" fmla="*/ 9110662 w 9110662"/>
              <a:gd name="connsiteY3" fmla="*/ 6858000 h 6858000"/>
              <a:gd name="connsiteX4" fmla="*/ 0 w 911066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0662" h="6858000">
                <a:moveTo>
                  <a:pt x="0" y="0"/>
                </a:moveTo>
                <a:lnTo>
                  <a:pt x="2248214" y="0"/>
                </a:lnTo>
                <a:lnTo>
                  <a:pt x="9110662" y="6857999"/>
                </a:lnTo>
                <a:lnTo>
                  <a:pt x="9110662" y="6858000"/>
                </a:lnTo>
                <a:lnTo>
                  <a:pt x="0" y="6858000"/>
                </a:lnTo>
                <a:close/>
              </a:path>
            </a:pathLst>
          </a:custGeom>
          <a:solidFill>
            <a:srgbClr val="FFFFFF">
              <a:alpha val="89804"/>
            </a:srgbClr>
          </a:solidFill>
        </p:spPr>
        <p:txBody>
          <a:bodyPr wrap="square" lIns="557784" tIns="1225296" rIns="4572000" anchor="t">
            <a:noAutofit/>
          </a:bodyPr>
          <a:lstStyle>
            <a:lvl1pPr algn="l">
              <a:defRPr sz="3200">
                <a:solidFill>
                  <a:schemeClr val="tx2"/>
                </a:solidFill>
              </a:defRPr>
            </a:lvl1pPr>
          </a:lstStyle>
          <a:p>
            <a:r>
              <a:rPr lang="en-US" dirty="0"/>
              <a:t>Main key</a:t>
            </a:r>
            <a:br>
              <a:rPr lang="en-US" dirty="0"/>
            </a:br>
            <a:r>
              <a:rPr lang="en-US" dirty="0"/>
              <a:t>point here</a:t>
            </a:r>
          </a:p>
        </p:txBody>
      </p:sp>
      <p:sp>
        <p:nvSpPr>
          <p:cNvPr id="5" name="Text Placeholder 26">
            <a:extLst>
              <a:ext uri="{FF2B5EF4-FFF2-40B4-BE49-F238E27FC236}">
                <a16:creationId xmlns:a16="http://schemas.microsoft.com/office/drawing/2014/main" id="{B6FFC798-0A25-41EF-9946-E74888704EB3}"/>
              </a:ext>
            </a:extLst>
          </p:cNvPr>
          <p:cNvSpPr>
            <a:spLocks noGrp="1"/>
          </p:cNvSpPr>
          <p:nvPr>
            <p:ph type="body" sz="quarter" idx="21" hasCustomPrompt="1"/>
          </p:nvPr>
        </p:nvSpPr>
        <p:spPr>
          <a:xfrm>
            <a:off x="557929" y="2606179"/>
            <a:ext cx="3593912" cy="3039677"/>
          </a:xfrm>
        </p:spPr>
        <p:txBody>
          <a:bodyPr>
            <a:noAutofit/>
          </a:bodyPr>
          <a:lstStyle>
            <a:lvl1pPr algn="l">
              <a:defRPr sz="1800" b="1">
                <a:solidFill>
                  <a:schemeClr val="tx2"/>
                </a:solidFill>
              </a:defRPr>
            </a:lvl1pPr>
            <a:lvl2pPr marL="0" indent="0">
              <a:spcBef>
                <a:spcPts val="600"/>
              </a:spcBef>
              <a:buFontTx/>
              <a:buNone/>
              <a:defRPr/>
            </a:lvl2pPr>
          </a:lstStyle>
          <a:p>
            <a:pPr lvl="0"/>
            <a:r>
              <a:rPr lang="en-US" dirty="0"/>
              <a:t>Body text</a:t>
            </a:r>
          </a:p>
          <a:p>
            <a:pPr marL="171450" marR="0" lvl="1" indent="-171450" algn="l" defTabSz="457200" rtl="0" eaLnBrk="1" fontAlgn="auto" latinLnBrk="0" hangingPunct="1">
              <a:lnSpc>
                <a:spcPct val="100000"/>
              </a:lnSpc>
              <a:spcBef>
                <a:spcPts val="1200"/>
              </a:spcBef>
              <a:spcAft>
                <a:spcPts val="0"/>
              </a:spcAft>
              <a:buClrTx/>
              <a:buSzTx/>
              <a:buFont typeface="Arial"/>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First-level bullet</a:t>
            </a:r>
          </a:p>
          <a:p>
            <a:pPr marL="171450" marR="0" lvl="2" indent="0" algn="l" defTabSz="457200" rtl="0" eaLnBrk="1" fontAlgn="auto" latinLnBrk="0" hangingPunct="1">
              <a:lnSpc>
                <a:spcPct val="100000"/>
              </a:lnSpc>
              <a:spcBef>
                <a:spcPts val="600"/>
              </a:spcBef>
              <a:spcAft>
                <a:spcPts val="0"/>
              </a:spcAft>
              <a:buClrTx/>
              <a:buSzTx/>
              <a:buFont typeface="CVS Health Sans"/>
              <a:buNone/>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Second-level bullet</a:t>
            </a:r>
          </a:p>
          <a:p>
            <a:pPr marL="514350" marR="0" lvl="3" indent="-171450" algn="l" defTabSz="457200" rtl="0" eaLnBrk="1" fontAlgn="auto" latinLnBrk="0" hangingPunct="1">
              <a:lnSpc>
                <a:spcPct val="100000"/>
              </a:lnSpc>
              <a:spcBef>
                <a:spcPts val="600"/>
              </a:spcBef>
              <a:spcAft>
                <a:spcPts val="0"/>
              </a:spcAft>
              <a:buClrTx/>
              <a:buSzTx/>
              <a:buFont typeface="Arial"/>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Third-level bullet</a:t>
            </a:r>
          </a:p>
          <a:p>
            <a:pPr marL="682625" marR="0" lvl="4" indent="-16827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Fourth-level bullet</a:t>
            </a:r>
          </a:p>
          <a:p>
            <a:pPr marL="857250" marR="0" lvl="5"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Fifth-level bullet</a:t>
            </a:r>
          </a:p>
          <a:p>
            <a:pPr marL="1030288" marR="0" lvl="6" indent="-173038"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Sixth-level bullet</a:t>
            </a:r>
          </a:p>
          <a:p>
            <a:pPr marL="1203325" marR="0" lvl="7" indent="-173038" algn="l" defTabSz="457200" rtl="0" eaLnBrk="1" fontAlgn="auto" latinLnBrk="0" hangingPunct="1">
              <a:lnSpc>
                <a:spcPct val="100000"/>
              </a:lnSpc>
              <a:spcBef>
                <a:spcPts val="600"/>
              </a:spcBef>
              <a:spcAft>
                <a:spcPts val="0"/>
              </a:spcAft>
              <a:buClrTx/>
              <a:buSzTx/>
              <a:buFont typeface="Arial"/>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Seventh-level bullet</a:t>
            </a:r>
          </a:p>
          <a:p>
            <a:pPr marL="1377950" marR="0" lvl="8"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3F3F3F"/>
                </a:solidFill>
                <a:effectLst/>
                <a:uLnTx/>
                <a:uFillTx/>
                <a:latin typeface="CVS Health Sans"/>
                <a:ea typeface="+mn-ea"/>
                <a:cs typeface="+mn-cs"/>
              </a:rPr>
              <a:t>Eighth-level bullet</a:t>
            </a:r>
          </a:p>
          <a:p>
            <a:pPr lvl="0"/>
            <a:endParaRPr lang="en-US" dirty="0"/>
          </a:p>
          <a:p>
            <a:pPr lvl="0"/>
            <a:endParaRPr lang="en-US" dirty="0"/>
          </a:p>
        </p:txBody>
      </p:sp>
      <p:grpSp>
        <p:nvGrpSpPr>
          <p:cNvPr id="6" name="Group 5">
            <a:extLst>
              <a:ext uri="{FF2B5EF4-FFF2-40B4-BE49-F238E27FC236}">
                <a16:creationId xmlns:a16="http://schemas.microsoft.com/office/drawing/2014/main" id="{65517885-CF30-98A3-FE6B-406E23FB06DD}"/>
              </a:ext>
            </a:extLst>
          </p:cNvPr>
          <p:cNvGrpSpPr/>
          <p:nvPr userDrawn="1"/>
        </p:nvGrpSpPr>
        <p:grpSpPr>
          <a:xfrm>
            <a:off x="9112232" y="3805238"/>
            <a:ext cx="3079768" cy="3052762"/>
            <a:chOff x="9109859" y="3805238"/>
            <a:chExt cx="3078966" cy="3052762"/>
          </a:xfrm>
        </p:grpSpPr>
        <p:sp>
          <p:nvSpPr>
            <p:cNvPr id="2" name="Freeform: Shape 1">
              <a:extLst>
                <a:ext uri="{FF2B5EF4-FFF2-40B4-BE49-F238E27FC236}">
                  <a16:creationId xmlns:a16="http://schemas.microsoft.com/office/drawing/2014/main" id="{84803A9B-CBCB-FF36-16E4-2A369E836F1D}"/>
                </a:ext>
                <a:ext uri="{C183D7F6-B498-43B3-948B-1728B52AA6E4}">
                  <adec:decorative xmlns:adec="http://schemas.microsoft.com/office/drawing/2017/decorative" val="1"/>
                </a:ext>
              </a:extLst>
            </p:cNvPr>
            <p:cNvSpPr/>
            <p:nvPr userDrawn="1"/>
          </p:nvSpPr>
          <p:spPr bwMode="gray">
            <a:xfrm>
              <a:off x="9109859" y="3805238"/>
              <a:ext cx="3078966" cy="3052762"/>
            </a:xfrm>
            <a:custGeom>
              <a:avLst/>
              <a:gdLst>
                <a:gd name="connsiteX0" fmla="*/ 2664697 w 2664697"/>
                <a:gd name="connsiteY0" fmla="*/ 0 h 2750947"/>
                <a:gd name="connsiteX1" fmla="*/ 2664697 w 2664697"/>
                <a:gd name="connsiteY1" fmla="*/ 2750947 h 2750947"/>
                <a:gd name="connsiteX2" fmla="*/ 0 w 2664697"/>
                <a:gd name="connsiteY2" fmla="*/ 2750947 h 2750947"/>
                <a:gd name="connsiteX3" fmla="*/ 2664697 w 2664697"/>
                <a:gd name="connsiteY3" fmla="*/ 0 h 2750947"/>
              </a:gdLst>
              <a:ahLst/>
              <a:cxnLst>
                <a:cxn ang="0">
                  <a:pos x="connsiteX0" y="connsiteY0"/>
                </a:cxn>
                <a:cxn ang="0">
                  <a:pos x="connsiteX1" y="connsiteY1"/>
                </a:cxn>
                <a:cxn ang="0">
                  <a:pos x="connsiteX2" y="connsiteY2"/>
                </a:cxn>
                <a:cxn ang="0">
                  <a:pos x="connsiteX3" y="connsiteY3"/>
                </a:cxn>
              </a:cxnLst>
              <a:rect l="l" t="t" r="r" b="b"/>
              <a:pathLst>
                <a:path w="2664697" h="2750947">
                  <a:moveTo>
                    <a:pt x="2664697" y="0"/>
                  </a:moveTo>
                  <a:lnTo>
                    <a:pt x="2664697" y="2750947"/>
                  </a:lnTo>
                  <a:lnTo>
                    <a:pt x="0" y="2750947"/>
                  </a:lnTo>
                  <a:lnTo>
                    <a:pt x="2664697" y="0"/>
                  </a:lnTo>
                  <a:close/>
                </a:path>
              </a:pathLst>
            </a:custGeom>
            <a:solidFill>
              <a:schemeClr val="bg1">
                <a:alpha val="85098"/>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pic>
          <p:nvPicPr>
            <p:cNvPr id="4" name="Graphic 3" descr="CVS caremark logo.">
              <a:extLst>
                <a:ext uri="{FF2B5EF4-FFF2-40B4-BE49-F238E27FC236}">
                  <a16:creationId xmlns:a16="http://schemas.microsoft.com/office/drawing/2014/main" id="{CDA517F1-07F2-CF88-F8BA-52C3D27C8E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5662" y="6373368"/>
              <a:ext cx="1382188" cy="156078"/>
            </a:xfrm>
            <a:prstGeom prst="rect">
              <a:avLst/>
            </a:prstGeom>
          </p:spPr>
        </p:pic>
      </p:grpSp>
    </p:spTree>
    <p:extLst>
      <p:ext uri="{BB962C8B-B14F-4D97-AF65-F5344CB8AC3E}">
        <p14:creationId xmlns:p14="http://schemas.microsoft.com/office/powerpoint/2010/main" val="34611513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point right with im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1FF0497-F9C8-4016-899B-3B35773D1F9F}"/>
              </a:ext>
            </a:extLst>
          </p:cNvPr>
          <p:cNvSpPr>
            <a:spLocks noGrp="1"/>
          </p:cNvSpPr>
          <p:nvPr>
            <p:ph type="title" hasCustomPrompt="1"/>
          </p:nvPr>
        </p:nvSpPr>
        <p:spPr>
          <a:xfrm>
            <a:off x="8707356" y="2353322"/>
            <a:ext cx="2560987" cy="1690242"/>
          </a:xfrm>
        </p:spPr>
        <p:txBody>
          <a:bodyPr anchor="ctr"/>
          <a:lstStyle>
            <a:lvl1pPr algn="l">
              <a:defRPr sz="3200">
                <a:solidFill>
                  <a:schemeClr val="tx2"/>
                </a:solidFill>
              </a:defRPr>
            </a:lvl1pPr>
          </a:lstStyle>
          <a:p>
            <a:r>
              <a:rPr lang="en-US" dirty="0"/>
              <a:t>Main key point here</a:t>
            </a:r>
          </a:p>
        </p:txBody>
      </p:sp>
      <p:sp>
        <p:nvSpPr>
          <p:cNvPr id="10" name="Picture Placeholder 15"/>
          <p:cNvSpPr>
            <a:spLocks noGrp="1"/>
          </p:cNvSpPr>
          <p:nvPr>
            <p:ph type="pic" sz="quarter" idx="18"/>
          </p:nvPr>
        </p:nvSpPr>
        <p:spPr>
          <a:xfrm>
            <a:off x="0" y="0"/>
            <a:ext cx="8131133" cy="6858000"/>
          </a:xfrm>
          <a:solidFill>
            <a:schemeClr val="bg1">
              <a:lumMod val="75000"/>
            </a:schemeClr>
          </a:solidFill>
        </p:spPr>
        <p:txBody>
          <a:bodyPr/>
          <a:lstStyle>
            <a:lvl1pPr algn="ctr">
              <a:defRPr b="0">
                <a:solidFill>
                  <a:schemeClr val="bg2"/>
                </a:solidFill>
              </a:defRPr>
            </a:lvl1pPr>
          </a:lstStyle>
          <a:p>
            <a:r>
              <a:rPr lang="en-US"/>
              <a:t>Click icon to add picture</a:t>
            </a:r>
            <a:endParaRPr lang="en-US" dirty="0"/>
          </a:p>
        </p:txBody>
      </p:sp>
    </p:spTree>
    <p:extLst>
      <p:ext uri="{BB962C8B-B14F-4D97-AF65-F5344CB8AC3E}">
        <p14:creationId xmlns:p14="http://schemas.microsoft.com/office/powerpoint/2010/main" val="172238423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 point left with image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BB89135-88FF-47DE-B897-FDE27D91C25A}"/>
              </a:ext>
            </a:extLst>
          </p:cNvPr>
          <p:cNvSpPr>
            <a:spLocks noGrp="1"/>
          </p:cNvSpPr>
          <p:nvPr>
            <p:ph type="title" hasCustomPrompt="1"/>
          </p:nvPr>
        </p:nvSpPr>
        <p:spPr>
          <a:xfrm>
            <a:off x="557929" y="2353322"/>
            <a:ext cx="3384161" cy="1690242"/>
          </a:xfrm>
        </p:spPr>
        <p:txBody>
          <a:bodyPr anchor="ctr"/>
          <a:lstStyle>
            <a:lvl1pPr algn="l">
              <a:defRPr sz="3200">
                <a:solidFill>
                  <a:schemeClr val="tx2"/>
                </a:solidFill>
              </a:defRPr>
            </a:lvl1pPr>
          </a:lstStyle>
          <a:p>
            <a:r>
              <a:rPr lang="en-US" dirty="0"/>
              <a:t>Main key point here</a:t>
            </a:r>
          </a:p>
        </p:txBody>
      </p:sp>
      <p:sp>
        <p:nvSpPr>
          <p:cNvPr id="5" name="Picture Placeholder 15">
            <a:extLst>
              <a:ext uri="{FF2B5EF4-FFF2-40B4-BE49-F238E27FC236}">
                <a16:creationId xmlns:a16="http://schemas.microsoft.com/office/drawing/2014/main" id="{C1B76834-A44A-4A4B-B57A-8D041A600A35}"/>
              </a:ext>
            </a:extLst>
          </p:cNvPr>
          <p:cNvSpPr>
            <a:spLocks noGrp="1"/>
          </p:cNvSpPr>
          <p:nvPr>
            <p:ph type="pic" sz="quarter" idx="18"/>
          </p:nvPr>
        </p:nvSpPr>
        <p:spPr>
          <a:xfrm>
            <a:off x="4417575" y="0"/>
            <a:ext cx="7774425" cy="6858000"/>
          </a:xfrm>
          <a:solidFill>
            <a:schemeClr val="bg1">
              <a:lumMod val="75000"/>
            </a:schemeClr>
          </a:solidFill>
        </p:spPr>
        <p:txBody>
          <a:bodyPr/>
          <a:lstStyle>
            <a:lvl1pPr algn="ctr">
              <a:defRPr b="0">
                <a:solidFill>
                  <a:schemeClr val="bg2"/>
                </a:solidFill>
              </a:defRPr>
            </a:lvl1pPr>
          </a:lstStyle>
          <a:p>
            <a:r>
              <a:rPr lang="en-US"/>
              <a:t>Click icon to add picture</a:t>
            </a:r>
            <a:endParaRPr lang="en-US" dirty="0"/>
          </a:p>
        </p:txBody>
      </p:sp>
      <p:pic>
        <p:nvPicPr>
          <p:cNvPr id="2" name="Graphic 1" descr="CVS Caremark logo in white.">
            <a:extLst>
              <a:ext uri="{FF2B5EF4-FFF2-40B4-BE49-F238E27FC236}">
                <a16:creationId xmlns:a16="http://schemas.microsoft.com/office/drawing/2014/main" id="{7073DA4D-F677-E003-211D-382AF29D205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14659117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point righ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226EF1E-6A37-420A-83BE-9C74A6B91F27}"/>
              </a:ext>
            </a:extLst>
          </p:cNvPr>
          <p:cNvSpPr>
            <a:spLocks noGrp="1"/>
          </p:cNvSpPr>
          <p:nvPr>
            <p:ph type="title" hasCustomPrompt="1"/>
          </p:nvPr>
        </p:nvSpPr>
        <p:spPr>
          <a:xfrm>
            <a:off x="8415895" y="2353322"/>
            <a:ext cx="3206045" cy="1690242"/>
          </a:xfrm>
        </p:spPr>
        <p:txBody>
          <a:bodyPr anchor="ctr"/>
          <a:lstStyle>
            <a:lvl1pPr algn="l">
              <a:defRPr sz="3200">
                <a:solidFill>
                  <a:schemeClr val="tx2"/>
                </a:solidFill>
              </a:defRPr>
            </a:lvl1pPr>
          </a:lstStyle>
          <a:p>
            <a:r>
              <a:rPr lang="en-US" dirty="0"/>
              <a:t>Main key point here</a:t>
            </a:r>
          </a:p>
        </p:txBody>
      </p:sp>
      <p:sp>
        <p:nvSpPr>
          <p:cNvPr id="3" name="Rectangle 2">
            <a:extLst>
              <a:ext uri="{FF2B5EF4-FFF2-40B4-BE49-F238E27FC236}">
                <a16:creationId xmlns:a16="http://schemas.microsoft.com/office/drawing/2014/main" id="{C9244385-571F-C0A0-1F2A-40C0B27FD20D}"/>
              </a:ext>
            </a:extLst>
          </p:cNvPr>
          <p:cNvSpPr/>
          <p:nvPr userDrawn="1"/>
        </p:nvSpPr>
        <p:spPr bwMode="gray">
          <a:xfrm>
            <a:off x="0" y="0"/>
            <a:ext cx="7774425" cy="6858000"/>
          </a:xfrm>
          <a:prstGeom prst="rect">
            <a:avLst/>
          </a:prstGeom>
          <a:solidFill>
            <a:srgbClr val="E9E9E9"/>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b="1" dirty="0">
              <a:solidFill>
                <a:schemeClr val="bg1"/>
              </a:solidFill>
            </a:endParaRPr>
          </a:p>
        </p:txBody>
      </p:sp>
      <p:sp>
        <p:nvSpPr>
          <p:cNvPr id="2" name="Content Placeholder 8">
            <a:extLst>
              <a:ext uri="{FF2B5EF4-FFF2-40B4-BE49-F238E27FC236}">
                <a16:creationId xmlns:a16="http://schemas.microsoft.com/office/drawing/2014/main" id="{AB5C32A8-34FF-40DD-FC17-11A40976E80F}"/>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C464ACC-330A-5365-1F9A-6A253C913005}"/>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spTree>
    <p:extLst>
      <p:ext uri="{BB962C8B-B14F-4D97-AF65-F5344CB8AC3E}">
        <p14:creationId xmlns:p14="http://schemas.microsoft.com/office/powerpoint/2010/main" val="337479291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Key point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75D67C-2BF7-49B0-848A-B3B00A9D33BF}"/>
              </a:ext>
            </a:extLst>
          </p:cNvPr>
          <p:cNvSpPr/>
          <p:nvPr userDrawn="1"/>
        </p:nvSpPr>
        <p:spPr>
          <a:xfrm>
            <a:off x="0" y="0"/>
            <a:ext cx="4060994"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CVS Health Sans" panose="020B05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FFA46B7-5841-498B-82BA-189426FD5A3C}"/>
              </a:ext>
            </a:extLst>
          </p:cNvPr>
          <p:cNvSpPr>
            <a:spLocks noGrp="1"/>
          </p:cNvSpPr>
          <p:nvPr>
            <p:ph type="title" hasCustomPrompt="1"/>
          </p:nvPr>
        </p:nvSpPr>
        <p:spPr>
          <a:xfrm>
            <a:off x="557929" y="2353322"/>
            <a:ext cx="3384161" cy="1690242"/>
          </a:xfrm>
        </p:spPr>
        <p:txBody>
          <a:bodyPr anchor="ctr"/>
          <a:lstStyle>
            <a:lvl1pPr algn="l">
              <a:defRPr sz="3200">
                <a:solidFill>
                  <a:schemeClr val="tx2"/>
                </a:solidFill>
              </a:defRPr>
            </a:lvl1pPr>
          </a:lstStyle>
          <a:p>
            <a:r>
              <a:rPr lang="en-US" dirty="0"/>
              <a:t>Main key point here</a:t>
            </a:r>
          </a:p>
        </p:txBody>
      </p:sp>
      <p:sp>
        <p:nvSpPr>
          <p:cNvPr id="3" name="Rectangle 2">
            <a:extLst>
              <a:ext uri="{FF2B5EF4-FFF2-40B4-BE49-F238E27FC236}">
                <a16:creationId xmlns:a16="http://schemas.microsoft.com/office/drawing/2014/main" id="{1A6F1E52-8E2E-4152-9F15-10C9CCB20146}"/>
              </a:ext>
            </a:extLst>
          </p:cNvPr>
          <p:cNvSpPr/>
          <p:nvPr userDrawn="1"/>
        </p:nvSpPr>
        <p:spPr>
          <a:xfrm>
            <a:off x="4417575" y="0"/>
            <a:ext cx="7774425" cy="6858000"/>
          </a:xfrm>
          <a:prstGeom prst="rect">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algn="ctr"/>
            <a:endParaRPr lang="en-US" sz="1400" b="1" dirty="0">
              <a:solidFill>
                <a:schemeClr val="accent5"/>
              </a:solidFill>
            </a:endParaRPr>
          </a:p>
        </p:txBody>
      </p:sp>
      <p:sp>
        <p:nvSpPr>
          <p:cNvPr id="2" name="Content Placeholder 8">
            <a:extLst>
              <a:ext uri="{FF2B5EF4-FFF2-40B4-BE49-F238E27FC236}">
                <a16:creationId xmlns:a16="http://schemas.microsoft.com/office/drawing/2014/main" id="{5B8B2C75-07ED-C52E-7861-5D852ED2AA53}"/>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40FD981C-43AF-E296-E92E-959D31AF9D3C}"/>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6" name="Graphic 5" descr="CVS Caremark logo.">
            <a:extLst>
              <a:ext uri="{FF2B5EF4-FFF2-40B4-BE49-F238E27FC236}">
                <a16:creationId xmlns:a16="http://schemas.microsoft.com/office/drawing/2014/main" id="{3060D26B-D573-D933-CF90-31AFC2A5C4E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22919643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Key point righ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F9A6E9-8835-407E-8593-D94CF68FBE74}"/>
              </a:ext>
            </a:extLst>
          </p:cNvPr>
          <p:cNvSpPr/>
          <p:nvPr userDrawn="1"/>
        </p:nvSpPr>
        <p:spPr>
          <a:xfrm>
            <a:off x="8131006" y="0"/>
            <a:ext cx="4060994"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836A0EE8-EA4B-4F6E-B898-FA5FC677E81F}"/>
              </a:ext>
            </a:extLst>
          </p:cNvPr>
          <p:cNvSpPr>
            <a:spLocks noGrp="1"/>
          </p:cNvSpPr>
          <p:nvPr>
            <p:ph type="title" hasCustomPrompt="1"/>
          </p:nvPr>
        </p:nvSpPr>
        <p:spPr>
          <a:xfrm>
            <a:off x="8707356" y="2353322"/>
            <a:ext cx="2864494" cy="1690242"/>
          </a:xfrm>
        </p:spPr>
        <p:txBody>
          <a:bodyPr anchor="ctr"/>
          <a:lstStyle>
            <a:lvl1pPr algn="l">
              <a:defRPr sz="3200">
                <a:solidFill>
                  <a:schemeClr val="tx2"/>
                </a:solidFill>
              </a:defRPr>
            </a:lvl1pPr>
          </a:lstStyle>
          <a:p>
            <a:r>
              <a:rPr lang="en-US" dirty="0"/>
              <a:t>Main key point here</a:t>
            </a:r>
          </a:p>
        </p:txBody>
      </p:sp>
      <p:sp>
        <p:nvSpPr>
          <p:cNvPr id="2" name="Content Placeholder 8">
            <a:extLst>
              <a:ext uri="{FF2B5EF4-FFF2-40B4-BE49-F238E27FC236}">
                <a16:creationId xmlns:a16="http://schemas.microsoft.com/office/drawing/2014/main" id="{76380D76-BC93-EB50-8142-DFFC1A5C707C}"/>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C5B8EBF9-DBD3-0401-985F-776F46CE83F0}"/>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7" name="Graphic 6" descr="CVS Caremark logo.">
            <a:extLst>
              <a:ext uri="{FF2B5EF4-FFF2-40B4-BE49-F238E27FC236}">
                <a16:creationId xmlns:a16="http://schemas.microsoft.com/office/drawing/2014/main" id="{E002A50C-07FA-A090-B5AC-B06A20E60D0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8630281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ey point lef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A5CA1F-4240-4602-9BCE-C5A4DD7D03C9}"/>
              </a:ext>
            </a:extLst>
          </p:cNvPr>
          <p:cNvSpPr/>
          <p:nvPr userDrawn="1"/>
        </p:nvSpPr>
        <p:spPr>
          <a:xfrm>
            <a:off x="0" y="0"/>
            <a:ext cx="4060994" cy="68580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latin typeface="CVS Health Sans" panose="020B05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32B703BF-57D7-44B0-A2A6-42286624F999}"/>
              </a:ext>
            </a:extLst>
          </p:cNvPr>
          <p:cNvSpPr>
            <a:spLocks noGrp="1"/>
          </p:cNvSpPr>
          <p:nvPr>
            <p:ph type="title" hasCustomPrompt="1"/>
          </p:nvPr>
        </p:nvSpPr>
        <p:spPr>
          <a:xfrm>
            <a:off x="557929" y="2353322"/>
            <a:ext cx="2864494" cy="1690242"/>
          </a:xfrm>
        </p:spPr>
        <p:txBody>
          <a:bodyPr anchor="ctr"/>
          <a:lstStyle>
            <a:lvl1pPr algn="l">
              <a:defRPr sz="3200">
                <a:solidFill>
                  <a:schemeClr val="tx2"/>
                </a:solidFill>
              </a:defRPr>
            </a:lvl1pPr>
          </a:lstStyle>
          <a:p>
            <a:r>
              <a:rPr lang="en-US" dirty="0"/>
              <a:t>Main key point here</a:t>
            </a:r>
          </a:p>
        </p:txBody>
      </p:sp>
      <p:sp>
        <p:nvSpPr>
          <p:cNvPr id="2" name="Content Placeholder 8">
            <a:extLst>
              <a:ext uri="{FF2B5EF4-FFF2-40B4-BE49-F238E27FC236}">
                <a16:creationId xmlns:a16="http://schemas.microsoft.com/office/drawing/2014/main" id="{C1877D65-36DD-6A25-379C-D773270BB243}"/>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C7852A1C-1F75-832E-3D94-E3E2DDD33FE7}"/>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7" name="Graphic 6" descr="CVS Caremark logo.">
            <a:extLst>
              <a:ext uri="{FF2B5EF4-FFF2-40B4-BE49-F238E27FC236}">
                <a16:creationId xmlns:a16="http://schemas.microsoft.com/office/drawing/2014/main" id="{2EB9BE7B-41F2-ECA0-36D7-E9E762109C0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3333920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918F2BD-C2D6-3C83-5AFF-6BC084355925}"/>
              </a:ext>
            </a:extLst>
          </p:cNvPr>
          <p:cNvSpPr>
            <a:spLocks noGrp="1"/>
          </p:cNvSpPr>
          <p:nvPr>
            <p:ph type="dt" sz="half" idx="10"/>
          </p:nvPr>
        </p:nvSpPr>
        <p:spPr/>
        <p:txBody>
          <a:bodyPr/>
          <a:lstStyle/>
          <a:p>
            <a:fld id="{986440BF-E627-488C-A8B2-8C0BCD82EC59}" type="datetime1">
              <a:rPr lang="en-US" smtClean="0"/>
              <a:t>9/13/2024</a:t>
            </a:fld>
            <a:endParaRPr lang="en-US"/>
          </a:p>
        </p:txBody>
      </p:sp>
      <p:sp>
        <p:nvSpPr>
          <p:cNvPr id="3" name="Footer Placeholder 2">
            <a:extLst>
              <a:ext uri="{FF2B5EF4-FFF2-40B4-BE49-F238E27FC236}">
                <a16:creationId xmlns:a16="http://schemas.microsoft.com/office/drawing/2014/main" id="{0A40CA2C-D37D-43AF-BD22-16D10FF947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3410C3D-933E-2031-2A09-07697BFB9133}"/>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26791548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rt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0C533449-70F6-1C0C-62F7-BBA598F10D8E}"/>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endParaRPr lang="en-US" dirty="0"/>
          </a:p>
        </p:txBody>
      </p:sp>
      <p:sp>
        <p:nvSpPr>
          <p:cNvPr id="7" name="Freeform: Shape 6">
            <a:extLst>
              <a:ext uri="{FF2B5EF4-FFF2-40B4-BE49-F238E27FC236}">
                <a16:creationId xmlns:a16="http://schemas.microsoft.com/office/drawing/2014/main" id="{9B828DB0-A742-BF24-4E22-49D67E54A2F2}"/>
              </a:ext>
              <a:ext uri="{C183D7F6-B498-43B3-948B-1728B52AA6E4}">
                <adec:decorative xmlns:adec="http://schemas.microsoft.com/office/drawing/2017/decorative" val="1"/>
              </a:ext>
            </a:extLst>
          </p:cNvPr>
          <p:cNvSpPr/>
          <p:nvPr userDrawn="1"/>
        </p:nvSpPr>
        <p:spPr bwMode="gray">
          <a:xfrm>
            <a:off x="0" y="0"/>
            <a:ext cx="12191999" cy="6857998"/>
          </a:xfrm>
          <a:custGeom>
            <a:avLst/>
            <a:gdLst>
              <a:gd name="connsiteX0" fmla="*/ 0 w 12188824"/>
              <a:gd name="connsiteY0" fmla="*/ 0 h 6857998"/>
              <a:gd name="connsiteX1" fmla="*/ 12188824 w 12188824"/>
              <a:gd name="connsiteY1" fmla="*/ 0 h 6857998"/>
              <a:gd name="connsiteX2" fmla="*/ 12188824 w 12188824"/>
              <a:gd name="connsiteY2" fmla="*/ 1455689 h 6857998"/>
              <a:gd name="connsiteX3" fmla="*/ 11594257 w 12188824"/>
              <a:gd name="connsiteY3" fmla="*/ 860145 h 6857998"/>
              <a:gd name="connsiteX4" fmla="*/ 11002211 w 12188824"/>
              <a:gd name="connsiteY4" fmla="*/ 624078 h 6857998"/>
              <a:gd name="connsiteX5" fmla="*/ 10411410 w 12188824"/>
              <a:gd name="connsiteY5" fmla="*/ 860145 h 6857998"/>
              <a:gd name="connsiteX6" fmla="*/ 9459608 w 12188824"/>
              <a:gd name="connsiteY6" fmla="*/ 1812581 h 6857998"/>
              <a:gd name="connsiteX7" fmla="*/ 8505926 w 12188824"/>
              <a:gd name="connsiteY7" fmla="*/ 860145 h 6857998"/>
              <a:gd name="connsiteX8" fmla="*/ 7915126 w 12188824"/>
              <a:gd name="connsiteY8" fmla="*/ 624078 h 6857998"/>
              <a:gd name="connsiteX9" fmla="*/ 7324958 w 12188824"/>
              <a:gd name="connsiteY9" fmla="*/ 860145 h 6857998"/>
              <a:gd name="connsiteX10" fmla="*/ 6179782 w 12188824"/>
              <a:gd name="connsiteY10" fmla="*/ 2005322 h 6857998"/>
              <a:gd name="connsiteX11" fmla="*/ 5943714 w 12188824"/>
              <a:gd name="connsiteY11" fmla="*/ 2595490 h 6857998"/>
              <a:gd name="connsiteX12" fmla="*/ 6179782 w 12188824"/>
              <a:gd name="connsiteY12" fmla="*/ 3186291 h 6857998"/>
              <a:gd name="connsiteX13" fmla="*/ 9451447 w 12188824"/>
              <a:gd name="connsiteY13" fmla="*/ 6457950 h 6857998"/>
              <a:gd name="connsiteX14" fmla="*/ 9465889 w 12188824"/>
              <a:gd name="connsiteY14" fmla="*/ 6457950 h 6857998"/>
              <a:gd name="connsiteX15" fmla="*/ 12188824 w 12188824"/>
              <a:gd name="connsiteY15" fmla="*/ 3735021 h 6857998"/>
              <a:gd name="connsiteX16" fmla="*/ 12188824 w 12188824"/>
              <a:gd name="connsiteY16" fmla="*/ 6857998 h 6857998"/>
              <a:gd name="connsiteX17" fmla="*/ 0 w 12188824"/>
              <a:gd name="connsiteY1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88824" h="6857998">
                <a:moveTo>
                  <a:pt x="0" y="0"/>
                </a:moveTo>
                <a:lnTo>
                  <a:pt x="12188824" y="0"/>
                </a:lnTo>
                <a:lnTo>
                  <a:pt x="12188824" y="1455689"/>
                </a:lnTo>
                <a:lnTo>
                  <a:pt x="11594257" y="860145"/>
                </a:lnTo>
                <a:cubicBezTo>
                  <a:pt x="11437064" y="704468"/>
                  <a:pt x="11223394" y="619273"/>
                  <a:pt x="11002211" y="624078"/>
                </a:cubicBezTo>
                <a:cubicBezTo>
                  <a:pt x="10781456" y="619616"/>
                  <a:pt x="10568307" y="704784"/>
                  <a:pt x="10411410" y="860145"/>
                </a:cubicBezTo>
                <a:lnTo>
                  <a:pt x="9459608" y="1812581"/>
                </a:lnTo>
                <a:lnTo>
                  <a:pt x="8505926" y="860145"/>
                </a:lnTo>
                <a:cubicBezTo>
                  <a:pt x="8349036" y="704784"/>
                  <a:pt x="8135881" y="619616"/>
                  <a:pt x="7915126" y="624078"/>
                </a:cubicBezTo>
                <a:cubicBezTo>
                  <a:pt x="7694588" y="619787"/>
                  <a:pt x="7481703" y="704943"/>
                  <a:pt x="7324958" y="860145"/>
                </a:cubicBezTo>
                <a:lnTo>
                  <a:pt x="6179782" y="2005322"/>
                </a:lnTo>
                <a:cubicBezTo>
                  <a:pt x="6024578" y="2162061"/>
                  <a:pt x="5939423" y="2374952"/>
                  <a:pt x="5943714" y="2595490"/>
                </a:cubicBezTo>
                <a:cubicBezTo>
                  <a:pt x="5939252" y="2816245"/>
                  <a:pt x="6024421" y="3029394"/>
                  <a:pt x="6179782" y="3186291"/>
                </a:cubicBezTo>
                <a:lnTo>
                  <a:pt x="9451447" y="6457950"/>
                </a:lnTo>
                <a:lnTo>
                  <a:pt x="9465889" y="6457950"/>
                </a:lnTo>
                <a:lnTo>
                  <a:pt x="12188824" y="3735021"/>
                </a:lnTo>
                <a:lnTo>
                  <a:pt x="12188824" y="6857998"/>
                </a:lnTo>
                <a:lnTo>
                  <a:pt x="0" y="6857998"/>
                </a:lnTo>
                <a:close/>
              </a:path>
            </a:pathLst>
          </a:custGeom>
          <a:solidFill>
            <a:srgbClr val="0A4B8C">
              <a:alpha val="89804"/>
            </a:srgbClr>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500" b="1" dirty="0">
              <a:solidFill>
                <a:schemeClr val="bg1"/>
              </a:solidFill>
            </a:endParaRPr>
          </a:p>
        </p:txBody>
      </p:sp>
      <p:sp>
        <p:nvSpPr>
          <p:cNvPr id="2" name="Title 1">
            <a:extLst>
              <a:ext uri="{FF2B5EF4-FFF2-40B4-BE49-F238E27FC236}">
                <a16:creationId xmlns:a16="http://schemas.microsoft.com/office/drawing/2014/main" id="{03F6C921-81BE-D65C-7B67-ECE46459AF6F}"/>
              </a:ext>
            </a:extLst>
          </p:cNvPr>
          <p:cNvSpPr>
            <a:spLocks noGrp="1"/>
          </p:cNvSpPr>
          <p:nvPr>
            <p:ph type="title"/>
          </p:nvPr>
        </p:nvSpPr>
        <p:spPr>
          <a:xfrm>
            <a:off x="557929" y="1225485"/>
            <a:ext cx="4390263" cy="881611"/>
          </a:xfrm>
        </p:spPr>
        <p:txBody>
          <a:bodyPr/>
          <a:lstStyle>
            <a:lvl1pPr>
              <a:defRPr>
                <a:solidFill>
                  <a:schemeClr val="bg1"/>
                </a:solidFill>
              </a:defRPr>
            </a:lvl1pPr>
          </a:lstStyle>
          <a:p>
            <a:r>
              <a:rPr lang="en-US"/>
              <a:t>Click to edit Master title style</a:t>
            </a:r>
            <a:endParaRPr lang="en-US" dirty="0"/>
          </a:p>
        </p:txBody>
      </p:sp>
      <p:pic>
        <p:nvPicPr>
          <p:cNvPr id="6" name="Graphic 5" descr="CVS Caremark logo.">
            <a:extLst>
              <a:ext uri="{FF2B5EF4-FFF2-40B4-BE49-F238E27FC236}">
                <a16:creationId xmlns:a16="http://schemas.microsoft.com/office/drawing/2014/main" id="{D07DDF38-C03F-AF09-277A-C0947A8D6A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9" name="Content Placeholder 2">
            <a:extLst>
              <a:ext uri="{FF2B5EF4-FFF2-40B4-BE49-F238E27FC236}">
                <a16:creationId xmlns:a16="http://schemas.microsoft.com/office/drawing/2014/main" id="{F64C4FEC-C0F1-89DE-0C61-7CAD3EAF834C}"/>
              </a:ext>
            </a:extLst>
          </p:cNvPr>
          <p:cNvSpPr>
            <a:spLocks noGrp="1"/>
          </p:cNvSpPr>
          <p:nvPr>
            <p:ph idx="1" hasCustomPrompt="1"/>
          </p:nvPr>
        </p:nvSpPr>
        <p:spPr bwMode="gray">
          <a:xfrm>
            <a:off x="557929" y="2875787"/>
            <a:ext cx="3876033" cy="3154680"/>
          </a:xfrm>
        </p:spPr>
        <p:txBody>
          <a:bodyPr/>
          <a:lstStyle>
            <a:lvl1pPr>
              <a:defRPr sz="1500" cap="none" baseline="0">
                <a:solidFill>
                  <a:schemeClr val="bg1"/>
                </a:solidFill>
              </a:defRPr>
            </a:lvl1pPr>
            <a:lvl2pPr marL="171450" indent="-171450">
              <a:defRPr sz="1500">
                <a:solidFill>
                  <a:schemeClr val="bg1"/>
                </a:solidFill>
              </a:defRPr>
            </a:lvl2pPr>
            <a:lvl3pPr marL="347663" indent="-176213">
              <a:spcBef>
                <a:spcPts val="600"/>
              </a:spcBef>
              <a:buFont typeface="Arial" panose="020B0604020202020204" pitchFamily="34" charset="0"/>
              <a:buChar char="–"/>
              <a:defRPr sz="1500">
                <a:solidFill>
                  <a:schemeClr val="bg1"/>
                </a:solidFill>
              </a:defRPr>
            </a:lvl3pPr>
            <a:lvl4pPr marL="509588" indent="-161925">
              <a:spcBef>
                <a:spcPts val="600"/>
              </a:spcBef>
              <a:defRPr sz="1500">
                <a:solidFill>
                  <a:schemeClr val="bg1"/>
                </a:solidFill>
              </a:defRPr>
            </a:lvl4pPr>
            <a:lvl5pPr marL="682625" indent="-173038">
              <a:spcBef>
                <a:spcPts val="600"/>
              </a:spcBef>
              <a:defRPr sz="1500">
                <a:solidFill>
                  <a:schemeClr val="bg1"/>
                </a:solidFill>
              </a:defRPr>
            </a:lvl5pPr>
            <a:lvl6pPr marL="857250" indent="-174625">
              <a:defRPr sz="1500">
                <a:solidFill>
                  <a:schemeClr val="bg1"/>
                </a:solidFill>
              </a:defRPr>
            </a:lvl6pPr>
            <a:lvl7pPr marL="1030288" indent="-173038">
              <a:spcBef>
                <a:spcPts val="600"/>
              </a:spcBef>
              <a:buFont typeface="Arial" panose="020B0604020202020204" pitchFamily="34" charset="0"/>
              <a:buChar char="–"/>
              <a:defRPr sz="1500" baseline="0">
                <a:solidFill>
                  <a:schemeClr val="bg1"/>
                </a:solidFill>
              </a:defRPr>
            </a:lvl7pPr>
            <a:lvl8pPr marL="1203325" indent="-174625">
              <a:spcBef>
                <a:spcPts val="600"/>
              </a:spcBef>
              <a:buFont typeface="Arial" panose="020B0604020202020204" pitchFamily="34" charset="0"/>
              <a:buChar char="•"/>
              <a:defRPr sz="1500">
                <a:solidFill>
                  <a:schemeClr val="bg1"/>
                </a:solidFill>
              </a:defRPr>
            </a:lvl8pPr>
            <a:lvl9pPr marL="1377950" indent="-174625">
              <a:spcBef>
                <a:spcPts val="600"/>
              </a:spcBef>
              <a:buFont typeface="Arial" panose="020B0604020202020204" pitchFamily="34" charset="0"/>
              <a:buChar char="–"/>
              <a:defRPr sz="1500" baseline="0">
                <a:solidFill>
                  <a:schemeClr val="bg1"/>
                </a:solidFill>
              </a:defRPr>
            </a:lvl9pPr>
          </a:lstStyle>
          <a:p>
            <a:pPr lvl="0"/>
            <a:r>
              <a:rPr lang="en-US" dirty="0"/>
              <a:t>Body text</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5" name="Content Placeholder 8">
            <a:extLst>
              <a:ext uri="{FF2B5EF4-FFF2-40B4-BE49-F238E27FC236}">
                <a16:creationId xmlns:a16="http://schemas.microsoft.com/office/drawing/2014/main" id="{253DF477-8950-F411-A9A6-55C0AD24B55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FFF94E6-0BC4-DA49-401C-B5A05B638310}"/>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Tree>
    <p:extLst>
      <p:ext uri="{BB962C8B-B14F-4D97-AF65-F5344CB8AC3E}">
        <p14:creationId xmlns:p14="http://schemas.microsoft.com/office/powerpoint/2010/main" val="20681258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atement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75A03643-640F-1E51-BFA6-831F8D8F456C}"/>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D4DFB3DB-A6D1-1AB4-37B6-481DD460428E}"/>
              </a:ext>
            </a:extLst>
          </p:cNvPr>
          <p:cNvSpPr>
            <a:spLocks noGrp="1"/>
          </p:cNvSpPr>
          <p:nvPr>
            <p:ph type="title"/>
          </p:nvPr>
        </p:nvSpPr>
        <p:spPr>
          <a:xfrm>
            <a:off x="859760" y="5212080"/>
            <a:ext cx="9667726" cy="713232"/>
          </a:xfrm>
        </p:spPr>
        <p:txBody>
          <a:bodyPr anchor="b"/>
          <a:lstStyle>
            <a:lvl1pPr>
              <a:defRPr sz="4800">
                <a:solidFill>
                  <a:schemeClr val="bg1"/>
                </a:solidFill>
              </a:defRPr>
            </a:lvl1pPr>
          </a:lstStyle>
          <a:p>
            <a:r>
              <a:rPr lang="en-US"/>
              <a:t>Click to edit Master title style</a:t>
            </a:r>
            <a:endParaRPr lang="en-US" dirty="0"/>
          </a:p>
        </p:txBody>
      </p:sp>
      <p:pic>
        <p:nvPicPr>
          <p:cNvPr id="6" name="Graphic 5" descr="CVS Caremark logo.">
            <a:extLst>
              <a:ext uri="{FF2B5EF4-FFF2-40B4-BE49-F238E27FC236}">
                <a16:creationId xmlns:a16="http://schemas.microsoft.com/office/drawing/2014/main" id="{AC297852-A1A0-3B75-F2B9-313EAD75FD1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
        <p:nvSpPr>
          <p:cNvPr id="4" name="Content Placeholder 8">
            <a:extLst>
              <a:ext uri="{FF2B5EF4-FFF2-40B4-BE49-F238E27FC236}">
                <a16:creationId xmlns:a16="http://schemas.microsoft.com/office/drawing/2014/main" id="{C010848C-8D0D-B9B7-D2D3-AA434A9EF07A}"/>
              </a:ext>
            </a:extLst>
          </p:cNvPr>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bg1"/>
                </a:solidFill>
                <a:latin typeface="+mn-lt"/>
                <a:ea typeface="Open Sans" panose="020B0606030504020204" pitchFamily="34" charset="0"/>
                <a:cs typeface="Arial" panose="020B0604020202020204" pitchFamily="34" charset="0"/>
              </a:rPr>
              <a:pPr algn="l"/>
              <a:t>‹#›</a:t>
            </a:fld>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8B1D0CC-B379-E057-66B0-877E14DB51C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bg1"/>
                </a:solidFill>
              </a:rPr>
              <a:t>©2024 CVS </a:t>
            </a:r>
            <a:r>
              <a:rPr lang="en-US" sz="800" b="0" dirty="0">
                <a:solidFill>
                  <a:schemeClr val="bg1"/>
                </a:solidFill>
                <a:latin typeface="+mn-lt"/>
              </a:rPr>
              <a:t>Health</a:t>
            </a:r>
            <a:r>
              <a:rPr lang="en-US" sz="800" b="0" dirty="0">
                <a:solidFill>
                  <a:schemeClr val="bg1"/>
                </a:solidFill>
              </a:rPr>
              <a:t> and/or one of its affiliates. Confidential and proprietary.</a:t>
            </a:r>
          </a:p>
        </p:txBody>
      </p:sp>
      <p:sp>
        <p:nvSpPr>
          <p:cNvPr id="7" name="Freeform: Shape 6">
            <a:extLst>
              <a:ext uri="{FF2B5EF4-FFF2-40B4-BE49-F238E27FC236}">
                <a16:creationId xmlns:a16="http://schemas.microsoft.com/office/drawing/2014/main" id="{61E56CB2-28D5-84CD-00A0-93FF4C76205E}"/>
              </a:ext>
              <a:ext uri="{C183D7F6-B498-43B3-948B-1728B52AA6E4}">
                <adec:decorative xmlns:adec="http://schemas.microsoft.com/office/drawing/2017/decorative" val="1"/>
              </a:ext>
            </a:extLst>
          </p:cNvPr>
          <p:cNvSpPr/>
          <p:nvPr userDrawn="1"/>
        </p:nvSpPr>
        <p:spPr>
          <a:xfrm>
            <a:off x="859758" y="4152967"/>
            <a:ext cx="433970" cy="359912"/>
          </a:xfrm>
          <a:custGeom>
            <a:avLst/>
            <a:gdLst>
              <a:gd name="connsiteX0" fmla="*/ 270249 w 960973"/>
              <a:gd name="connsiteY0" fmla="*/ 62 h 797186"/>
              <a:gd name="connsiteX1" fmla="*/ 191128 w 960973"/>
              <a:gd name="connsiteY1" fmla="*/ 33306 h 797186"/>
              <a:gd name="connsiteX2" fmla="*/ 32666 w 960973"/>
              <a:gd name="connsiteY2" fmla="*/ 191769 h 797186"/>
              <a:gd name="connsiteX3" fmla="*/ 32666 w 960973"/>
              <a:gd name="connsiteY3" fmla="*/ 350230 h 797186"/>
              <a:gd name="connsiteX4" fmla="*/ 480793 w 960973"/>
              <a:gd name="connsiteY4" fmla="*/ 796916 h 797186"/>
              <a:gd name="connsiteX5" fmla="*/ 928034 w 960973"/>
              <a:gd name="connsiteY5" fmla="*/ 349787 h 797186"/>
              <a:gd name="connsiteX6" fmla="*/ 928056 w 960973"/>
              <a:gd name="connsiteY6" fmla="*/ 191347 h 797186"/>
              <a:gd name="connsiteX7" fmla="*/ 928034 w 960973"/>
              <a:gd name="connsiteY7" fmla="*/ 191325 h 797186"/>
              <a:gd name="connsiteX8" fmla="*/ 768907 w 960973"/>
              <a:gd name="connsiteY8" fmla="*/ 32974 h 797186"/>
              <a:gd name="connsiteX9" fmla="*/ 610943 w 960973"/>
              <a:gd name="connsiteY9" fmla="*/ 32364 h 797186"/>
              <a:gd name="connsiteX10" fmla="*/ 610333 w 960973"/>
              <a:gd name="connsiteY10" fmla="*/ 32974 h 797186"/>
              <a:gd name="connsiteX11" fmla="*/ 480793 w 960973"/>
              <a:gd name="connsiteY11" fmla="*/ 163400 h 797186"/>
              <a:gd name="connsiteX12" fmla="*/ 350477 w 960973"/>
              <a:gd name="connsiteY12" fmla="*/ 32974 h 797186"/>
              <a:gd name="connsiteX13" fmla="*/ 271135 w 960973"/>
              <a:gd name="connsiteY13" fmla="*/ -270 h 79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973" h="797186">
                <a:moveTo>
                  <a:pt x="270249" y="62"/>
                </a:moveTo>
                <a:cubicBezTo>
                  <a:pt x="240484" y="62"/>
                  <a:pt x="211961" y="12052"/>
                  <a:pt x="191128" y="33306"/>
                </a:cubicBezTo>
                <a:lnTo>
                  <a:pt x="32666" y="191769"/>
                </a:lnTo>
                <a:cubicBezTo>
                  <a:pt x="-11039" y="235550"/>
                  <a:pt x="-11039" y="306448"/>
                  <a:pt x="32666" y="350230"/>
                </a:cubicBezTo>
                <a:lnTo>
                  <a:pt x="480793" y="796916"/>
                </a:lnTo>
                <a:lnTo>
                  <a:pt x="928034" y="349787"/>
                </a:lnTo>
                <a:cubicBezTo>
                  <a:pt x="971794" y="306038"/>
                  <a:pt x="971805" y="235107"/>
                  <a:pt x="928056" y="191347"/>
                </a:cubicBezTo>
                <a:cubicBezTo>
                  <a:pt x="928056" y="191347"/>
                  <a:pt x="928045" y="191336"/>
                  <a:pt x="928034" y="191325"/>
                </a:cubicBezTo>
                <a:lnTo>
                  <a:pt x="768907" y="32974"/>
                </a:lnTo>
                <a:cubicBezTo>
                  <a:pt x="725457" y="-10819"/>
                  <a:pt x="654725" y="-11085"/>
                  <a:pt x="610943" y="32364"/>
                </a:cubicBezTo>
                <a:cubicBezTo>
                  <a:pt x="610732" y="32564"/>
                  <a:pt x="610533" y="32774"/>
                  <a:pt x="610333" y="32974"/>
                </a:cubicBezTo>
                <a:lnTo>
                  <a:pt x="480793" y="163400"/>
                </a:lnTo>
                <a:lnTo>
                  <a:pt x="350477" y="32974"/>
                </a:lnTo>
                <a:cubicBezTo>
                  <a:pt x="329534" y="11742"/>
                  <a:pt x="300955" y="-226"/>
                  <a:pt x="271135" y="-270"/>
                </a:cubicBezTo>
                <a:close/>
              </a:path>
            </a:pathLst>
          </a:custGeom>
          <a:solidFill>
            <a:schemeClr val="bg1"/>
          </a:solidFill>
          <a:ln w="3858" cap="flat">
            <a:noFill/>
            <a:prstDash val="solid"/>
            <a:miter/>
          </a:ln>
        </p:spPr>
        <p:txBody>
          <a:bodyPr rtlCol="0" anchor="ctr"/>
          <a:lstStyle/>
          <a:p>
            <a:endParaRPr lang="en-US" sz="1800" dirty="0"/>
          </a:p>
        </p:txBody>
      </p:sp>
    </p:spTree>
    <p:extLst>
      <p:ext uri="{BB962C8B-B14F-4D97-AF65-F5344CB8AC3E}">
        <p14:creationId xmlns:p14="http://schemas.microsoft.com/office/powerpoint/2010/main" val="20084219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with Image">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E165B92E-6E75-4AE3-9A66-2BE7D7974FA8}"/>
              </a:ext>
            </a:extLst>
          </p:cNvPr>
          <p:cNvSpPr>
            <a:spLocks noGrp="1"/>
          </p:cNvSpPr>
          <p:nvPr>
            <p:ph type="pic" sz="quarter" idx="12"/>
          </p:nvPr>
        </p:nvSpPr>
        <p:spPr>
          <a:xfrm>
            <a:off x="1" y="0"/>
            <a:ext cx="12191999" cy="6858000"/>
          </a:xfrm>
          <a:solidFill>
            <a:schemeClr val="bg1">
              <a:lumMod val="75000"/>
            </a:schemeClr>
          </a:solidFill>
        </p:spPr>
        <p:txBody>
          <a:bodyPr/>
          <a:lstStyle>
            <a:lvl1pPr algn="ctr">
              <a:defRPr b="0" baseline="0">
                <a:solidFill>
                  <a:schemeClr val="bg1"/>
                </a:solidFill>
              </a:defRPr>
            </a:lvl1pPr>
          </a:lstStyle>
          <a:p>
            <a:r>
              <a:rPr lang="en-US"/>
              <a:t>Click icon to add picture</a:t>
            </a:r>
            <a:endParaRPr lang="en-US" dirty="0"/>
          </a:p>
        </p:txBody>
      </p:sp>
      <p:sp>
        <p:nvSpPr>
          <p:cNvPr id="4" name="Title 1">
            <a:extLst>
              <a:ext uri="{FF2B5EF4-FFF2-40B4-BE49-F238E27FC236}">
                <a16:creationId xmlns:a16="http://schemas.microsoft.com/office/drawing/2014/main" id="{9A83F15B-6875-4795-A8F5-FC92953B6659}"/>
              </a:ext>
            </a:extLst>
          </p:cNvPr>
          <p:cNvSpPr>
            <a:spLocks noGrp="1"/>
          </p:cNvSpPr>
          <p:nvPr>
            <p:ph type="ctrTitle" hasCustomPrompt="1"/>
          </p:nvPr>
        </p:nvSpPr>
        <p:spPr>
          <a:xfrm>
            <a:off x="1069335" y="1659885"/>
            <a:ext cx="3395987" cy="3538233"/>
          </a:xfrm>
        </p:spPr>
        <p:txBody>
          <a:bodyPr anchor="ctr">
            <a:noAutofit/>
          </a:bodyPr>
          <a:lstStyle>
            <a:lvl1pPr algn="l">
              <a:lnSpc>
                <a:spcPct val="90000"/>
              </a:lnSpc>
              <a:defRPr sz="6600" baseline="0">
                <a:solidFill>
                  <a:schemeClr val="bg1"/>
                </a:solidFill>
              </a:defRPr>
            </a:lvl1pPr>
          </a:lstStyle>
          <a:p>
            <a:r>
              <a:rPr lang="en-US" dirty="0"/>
              <a:t>Closing text</a:t>
            </a:r>
          </a:p>
        </p:txBody>
      </p:sp>
      <p:pic>
        <p:nvPicPr>
          <p:cNvPr id="2" name="Graphic 1" descr="CVS Caremark logo in white.">
            <a:extLst>
              <a:ext uri="{FF2B5EF4-FFF2-40B4-BE49-F238E27FC236}">
                <a16:creationId xmlns:a16="http://schemas.microsoft.com/office/drawing/2014/main" id="{96EC8C29-3681-9208-EEEF-A95812C1102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742283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VS Caremark logo on whit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253777D-5108-48F4-BAF8-16EF5CA96ABC}"/>
              </a:ext>
            </a:extLst>
          </p:cNvPr>
          <p:cNvSpPr>
            <a:spLocks noGrp="1"/>
          </p:cNvSpPr>
          <p:nvPr>
            <p:ph type="title" hasCustomPrompt="1"/>
          </p:nvPr>
        </p:nvSpPr>
        <p:spPr>
          <a:xfrm>
            <a:off x="557929" y="-347472"/>
            <a:ext cx="9667726" cy="262719"/>
          </a:xfrm>
        </p:spPr>
        <p:txBody>
          <a:bodyPr anchor="b"/>
          <a:lstStyle>
            <a:lvl1pPr>
              <a:defRPr sz="1400">
                <a:solidFill>
                  <a:schemeClr val="tx2"/>
                </a:solidFill>
              </a:defRPr>
            </a:lvl1pPr>
          </a:lstStyle>
          <a:p>
            <a:r>
              <a:rPr lang="en-US" dirty="0"/>
              <a:t>CVS Caremark logo on white background</a:t>
            </a:r>
          </a:p>
        </p:txBody>
      </p:sp>
      <p:sp>
        <p:nvSpPr>
          <p:cNvPr id="2" name="Freeform: Shape 1" descr="CVS Caremark logo.">
            <a:extLst>
              <a:ext uri="{FF2B5EF4-FFF2-40B4-BE49-F238E27FC236}">
                <a16:creationId xmlns:a16="http://schemas.microsoft.com/office/drawing/2014/main" id="{241BD5D4-268C-4F83-A77A-F05E428E8CB1}"/>
              </a:ext>
            </a:extLst>
          </p:cNvPr>
          <p:cNvSpPr/>
          <p:nvPr/>
        </p:nvSpPr>
        <p:spPr>
          <a:xfrm>
            <a:off x="2607460" y="2984734"/>
            <a:ext cx="7063810" cy="798925"/>
          </a:xfrm>
          <a:custGeom>
            <a:avLst/>
            <a:gdLst>
              <a:gd name="connsiteX0" fmla="*/ 2689553 w 7061970"/>
              <a:gd name="connsiteY0" fmla="*/ 541388 h 798925"/>
              <a:gd name="connsiteX1" fmla="*/ 2800639 w 7061970"/>
              <a:gd name="connsiteY1" fmla="*/ 618104 h 798925"/>
              <a:gd name="connsiteX2" fmla="*/ 2891547 w 7061970"/>
              <a:gd name="connsiteY2" fmla="*/ 563559 h 798925"/>
              <a:gd name="connsiteX3" fmla="*/ 2758214 w 7061970"/>
              <a:gd name="connsiteY3" fmla="*/ 488837 h 798925"/>
              <a:gd name="connsiteX4" fmla="*/ 2554226 w 7061970"/>
              <a:gd name="connsiteY4" fmla="*/ 416110 h 798925"/>
              <a:gd name="connsiteX5" fmla="*/ 2467383 w 7061970"/>
              <a:gd name="connsiteY5" fmla="*/ 241427 h 798925"/>
              <a:gd name="connsiteX6" fmla="*/ 2783454 w 7061970"/>
              <a:gd name="connsiteY6" fmla="*/ 0 h 798925"/>
              <a:gd name="connsiteX7" fmla="*/ 3106660 w 7061970"/>
              <a:gd name="connsiteY7" fmla="*/ 238358 h 798925"/>
              <a:gd name="connsiteX8" fmla="*/ 2877355 w 7061970"/>
              <a:gd name="connsiteY8" fmla="*/ 238358 h 798925"/>
              <a:gd name="connsiteX9" fmla="*/ 2779465 w 7061970"/>
              <a:gd name="connsiteY9" fmla="*/ 171691 h 798925"/>
              <a:gd name="connsiteX10" fmla="*/ 2702749 w 7061970"/>
              <a:gd name="connsiteY10" fmla="*/ 223168 h 798925"/>
              <a:gd name="connsiteX11" fmla="*/ 2814831 w 7061970"/>
              <a:gd name="connsiteY11" fmla="*/ 289835 h 798925"/>
              <a:gd name="connsiteX12" fmla="*/ 3031018 w 7061970"/>
              <a:gd name="connsiteY12" fmla="*/ 361565 h 798925"/>
              <a:gd name="connsiteX13" fmla="*/ 3127910 w 7061970"/>
              <a:gd name="connsiteY13" fmla="*/ 538012 h 798925"/>
              <a:gd name="connsiteX14" fmla="*/ 2790359 w 7061970"/>
              <a:gd name="connsiteY14" fmla="*/ 798848 h 798925"/>
              <a:gd name="connsiteX15" fmla="*/ 2452807 w 7061970"/>
              <a:gd name="connsiteY15" fmla="*/ 541311 h 798925"/>
              <a:gd name="connsiteX16" fmla="*/ 1797803 w 7061970"/>
              <a:gd name="connsiteY16" fmla="*/ 483851 h 798925"/>
              <a:gd name="connsiteX17" fmla="*/ 1436239 w 7061970"/>
              <a:gd name="connsiteY17" fmla="*/ 798925 h 798925"/>
              <a:gd name="connsiteX18" fmla="*/ 1047440 w 7061970"/>
              <a:gd name="connsiteY18" fmla="*/ 400000 h 798925"/>
              <a:gd name="connsiteX19" fmla="*/ 1431022 w 7061970"/>
              <a:gd name="connsiteY19" fmla="*/ 77 h 798925"/>
              <a:gd name="connsiteX20" fmla="*/ 1793737 w 7061970"/>
              <a:gd name="connsiteY20" fmla="*/ 306943 h 798925"/>
              <a:gd name="connsiteX21" fmla="*/ 1562437 w 7061970"/>
              <a:gd name="connsiteY21" fmla="*/ 306943 h 798925"/>
              <a:gd name="connsiteX22" fmla="*/ 1434167 w 7061970"/>
              <a:gd name="connsiteY22" fmla="*/ 189796 h 798925"/>
              <a:gd name="connsiteX23" fmla="*/ 1291782 w 7061970"/>
              <a:gd name="connsiteY23" fmla="*/ 399846 h 798925"/>
              <a:gd name="connsiteX24" fmla="*/ 1441302 w 7061970"/>
              <a:gd name="connsiteY24" fmla="*/ 608975 h 798925"/>
              <a:gd name="connsiteX25" fmla="*/ 1568574 w 7061970"/>
              <a:gd name="connsiteY25" fmla="*/ 483697 h 798925"/>
              <a:gd name="connsiteX26" fmla="*/ 1746249 w 7061970"/>
              <a:gd name="connsiteY26" fmla="*/ 21250 h 798925"/>
              <a:gd name="connsiteX27" fmla="*/ 1993736 w 7061970"/>
              <a:gd name="connsiteY27" fmla="*/ 21250 h 798925"/>
              <a:gd name="connsiteX28" fmla="*/ 2121009 w 7061970"/>
              <a:gd name="connsiteY28" fmla="*/ 510088 h 798925"/>
              <a:gd name="connsiteX29" fmla="*/ 2257257 w 7061970"/>
              <a:gd name="connsiteY29" fmla="*/ 21250 h 798925"/>
              <a:gd name="connsiteX30" fmla="*/ 2495615 w 7061970"/>
              <a:gd name="connsiteY30" fmla="*/ 21250 h 798925"/>
              <a:gd name="connsiteX31" fmla="*/ 2241146 w 7061970"/>
              <a:gd name="connsiteY31" fmla="*/ 777751 h 798925"/>
              <a:gd name="connsiteX32" fmla="*/ 1999797 w 7061970"/>
              <a:gd name="connsiteY32" fmla="*/ 777751 h 798925"/>
              <a:gd name="connsiteX33" fmla="*/ 270687 w 7061970"/>
              <a:gd name="connsiteY33" fmla="*/ 1074 h 798925"/>
              <a:gd name="connsiteX34" fmla="*/ 191900 w 7061970"/>
              <a:gd name="connsiteY34" fmla="*/ 33985 h 798925"/>
              <a:gd name="connsiteX35" fmla="*/ 32867 w 7061970"/>
              <a:gd name="connsiteY35" fmla="*/ 192635 h 798925"/>
              <a:gd name="connsiteX36" fmla="*/ 32835 w 7061970"/>
              <a:gd name="connsiteY36" fmla="*/ 351252 h 798925"/>
              <a:gd name="connsiteX37" fmla="*/ 32867 w 7061970"/>
              <a:gd name="connsiteY37" fmla="*/ 351285 h 798925"/>
              <a:gd name="connsiteX38" fmla="*/ 480507 w 7061970"/>
              <a:gd name="connsiteY38" fmla="*/ 798925 h 798925"/>
              <a:gd name="connsiteX39" fmla="*/ 928377 w 7061970"/>
              <a:gd name="connsiteY39" fmla="*/ 351285 h 798925"/>
              <a:gd name="connsiteX40" fmla="*/ 928407 w 7061970"/>
              <a:gd name="connsiteY40" fmla="*/ 192667 h 798925"/>
              <a:gd name="connsiteX41" fmla="*/ 928377 w 7061970"/>
              <a:gd name="connsiteY41" fmla="*/ 192635 h 798925"/>
              <a:gd name="connsiteX42" fmla="*/ 769727 w 7061970"/>
              <a:gd name="connsiteY42" fmla="*/ 34139 h 798925"/>
              <a:gd name="connsiteX43" fmla="*/ 611654 w 7061970"/>
              <a:gd name="connsiteY43" fmla="*/ 33486 h 798925"/>
              <a:gd name="connsiteX44" fmla="*/ 611001 w 7061970"/>
              <a:gd name="connsiteY44" fmla="*/ 34139 h 798925"/>
              <a:gd name="connsiteX45" fmla="*/ 480583 w 7061970"/>
              <a:gd name="connsiteY45" fmla="*/ 164557 h 798925"/>
              <a:gd name="connsiteX46" fmla="*/ 350166 w 7061970"/>
              <a:gd name="connsiteY46" fmla="*/ 34139 h 798925"/>
              <a:gd name="connsiteX47" fmla="*/ 270687 w 7061970"/>
              <a:gd name="connsiteY47" fmla="*/ 1074 h 798925"/>
              <a:gd name="connsiteX48" fmla="*/ 3293311 w 7061970"/>
              <a:gd name="connsiteY48" fmla="*/ 547218 h 798925"/>
              <a:gd name="connsiteX49" fmla="*/ 3517860 w 7061970"/>
              <a:gd name="connsiteY49" fmla="*/ 306712 h 798925"/>
              <a:gd name="connsiteX50" fmla="*/ 3720084 w 7061970"/>
              <a:gd name="connsiteY50" fmla="*/ 469965 h 798925"/>
              <a:gd name="connsiteX51" fmla="*/ 3621120 w 7061970"/>
              <a:gd name="connsiteY51" fmla="*/ 469965 h 798925"/>
              <a:gd name="connsiteX52" fmla="*/ 3521389 w 7061970"/>
              <a:gd name="connsiteY52" fmla="*/ 388339 h 798925"/>
              <a:gd name="connsiteX53" fmla="*/ 3395420 w 7061970"/>
              <a:gd name="connsiteY53" fmla="*/ 547218 h 798925"/>
              <a:gd name="connsiteX54" fmla="*/ 3520775 w 7061970"/>
              <a:gd name="connsiteY54" fmla="*/ 705868 h 798925"/>
              <a:gd name="connsiteX55" fmla="*/ 3625493 w 7061970"/>
              <a:gd name="connsiteY55" fmla="*/ 614499 h 798925"/>
              <a:gd name="connsiteX56" fmla="*/ 3723076 w 7061970"/>
              <a:gd name="connsiteY56" fmla="*/ 614499 h 798925"/>
              <a:gd name="connsiteX57" fmla="*/ 3522539 w 7061970"/>
              <a:gd name="connsiteY57" fmla="*/ 788415 h 798925"/>
              <a:gd name="connsiteX58" fmla="*/ 3293618 w 7061970"/>
              <a:gd name="connsiteY58" fmla="*/ 547065 h 798925"/>
              <a:gd name="connsiteX59" fmla="*/ 4056715 w 7061970"/>
              <a:gd name="connsiteY59" fmla="*/ 716532 h 798925"/>
              <a:gd name="connsiteX60" fmla="*/ 3914713 w 7061970"/>
              <a:gd name="connsiteY60" fmla="*/ 784886 h 798925"/>
              <a:gd name="connsiteX61" fmla="*/ 3761280 w 7061970"/>
              <a:gd name="connsiteY61" fmla="*/ 650862 h 798925"/>
              <a:gd name="connsiteX62" fmla="*/ 3948545 w 7061970"/>
              <a:gd name="connsiteY62" fmla="*/ 503567 h 798925"/>
              <a:gd name="connsiteX63" fmla="*/ 4055948 w 7061970"/>
              <a:gd name="connsiteY63" fmla="*/ 445876 h 798925"/>
              <a:gd name="connsiteX64" fmla="*/ 3969872 w 7061970"/>
              <a:gd name="connsiteY64" fmla="*/ 382892 h 798925"/>
              <a:gd name="connsiteX65" fmla="*/ 3876739 w 7061970"/>
              <a:gd name="connsiteY65" fmla="*/ 460069 h 798925"/>
              <a:gd name="connsiteX66" fmla="*/ 3781610 w 7061970"/>
              <a:gd name="connsiteY66" fmla="*/ 460069 h 798925"/>
              <a:gd name="connsiteX67" fmla="*/ 3968798 w 7061970"/>
              <a:gd name="connsiteY67" fmla="*/ 308323 h 798925"/>
              <a:gd name="connsiteX68" fmla="*/ 4155142 w 7061970"/>
              <a:gd name="connsiteY68" fmla="*/ 466283 h 798925"/>
              <a:gd name="connsiteX69" fmla="*/ 4155142 w 7061970"/>
              <a:gd name="connsiteY69" fmla="*/ 665745 h 798925"/>
              <a:gd name="connsiteX70" fmla="*/ 4194268 w 7061970"/>
              <a:gd name="connsiteY70" fmla="*/ 706558 h 798925"/>
              <a:gd name="connsiteX71" fmla="*/ 4196876 w 7061970"/>
              <a:gd name="connsiteY71" fmla="*/ 706558 h 798925"/>
              <a:gd name="connsiteX72" fmla="*/ 4196876 w 7061970"/>
              <a:gd name="connsiteY72" fmla="*/ 771307 h 798925"/>
              <a:gd name="connsiteX73" fmla="*/ 4150846 w 7061970"/>
              <a:gd name="connsiteY73" fmla="*/ 781050 h 798925"/>
              <a:gd name="connsiteX74" fmla="*/ 4057712 w 7061970"/>
              <a:gd name="connsiteY74" fmla="*/ 716301 h 798925"/>
              <a:gd name="connsiteX75" fmla="*/ 4057559 w 7061970"/>
              <a:gd name="connsiteY75" fmla="*/ 610970 h 798925"/>
              <a:gd name="connsiteX76" fmla="*/ 4057559 w 7061970"/>
              <a:gd name="connsiteY76" fmla="*/ 539240 h 798925"/>
              <a:gd name="connsiteX77" fmla="*/ 3967955 w 7061970"/>
              <a:gd name="connsiteY77" fmla="*/ 568469 h 798925"/>
              <a:gd name="connsiteX78" fmla="*/ 3863237 w 7061970"/>
              <a:gd name="connsiteY78" fmla="*/ 648331 h 798925"/>
              <a:gd name="connsiteX79" fmla="*/ 3939569 w 7061970"/>
              <a:gd name="connsiteY79" fmla="*/ 713156 h 798925"/>
              <a:gd name="connsiteX80" fmla="*/ 4057559 w 7061970"/>
              <a:gd name="connsiteY80" fmla="*/ 611123 h 798925"/>
              <a:gd name="connsiteX81" fmla="*/ 4350309 w 7061970"/>
              <a:gd name="connsiteY81" fmla="*/ 393632 h 798925"/>
              <a:gd name="connsiteX82" fmla="*/ 4352994 w 7061970"/>
              <a:gd name="connsiteY82" fmla="*/ 393632 h 798925"/>
              <a:gd name="connsiteX83" fmla="*/ 4474589 w 7061970"/>
              <a:gd name="connsiteY83" fmla="*/ 314614 h 798925"/>
              <a:gd name="connsiteX84" fmla="*/ 4502974 w 7061970"/>
              <a:gd name="connsiteY84" fmla="*/ 318143 h 798925"/>
              <a:gd name="connsiteX85" fmla="*/ 4502974 w 7061970"/>
              <a:gd name="connsiteY85" fmla="*/ 409589 h 798925"/>
              <a:gd name="connsiteX86" fmla="*/ 4500289 w 7061970"/>
              <a:gd name="connsiteY86" fmla="*/ 409589 h 798925"/>
              <a:gd name="connsiteX87" fmla="*/ 4476353 w 7061970"/>
              <a:gd name="connsiteY87" fmla="*/ 406981 h 798925"/>
              <a:gd name="connsiteX88" fmla="*/ 4352994 w 7061970"/>
              <a:gd name="connsiteY88" fmla="*/ 541004 h 798925"/>
              <a:gd name="connsiteX89" fmla="*/ 4352994 w 7061970"/>
              <a:gd name="connsiteY89" fmla="*/ 774913 h 798925"/>
              <a:gd name="connsiteX90" fmla="*/ 4252726 w 7061970"/>
              <a:gd name="connsiteY90" fmla="*/ 774913 h 798925"/>
              <a:gd name="connsiteX91" fmla="*/ 4252726 w 7061970"/>
              <a:gd name="connsiteY91" fmla="*/ 318220 h 798925"/>
              <a:gd name="connsiteX92" fmla="*/ 4350309 w 7061970"/>
              <a:gd name="connsiteY92" fmla="*/ 318220 h 798925"/>
              <a:gd name="connsiteX93" fmla="*/ 4510032 w 7061970"/>
              <a:gd name="connsiteY93" fmla="*/ 547065 h 798925"/>
              <a:gd name="connsiteX94" fmla="*/ 4731896 w 7061970"/>
              <a:gd name="connsiteY94" fmla="*/ 306559 h 798925"/>
              <a:gd name="connsiteX95" fmla="*/ 4950154 w 7061970"/>
              <a:gd name="connsiteY95" fmla="*/ 573686 h 798925"/>
              <a:gd name="connsiteX96" fmla="*/ 4610300 w 7061970"/>
              <a:gd name="connsiteY96" fmla="*/ 573686 h 798925"/>
              <a:gd name="connsiteX97" fmla="*/ 4739874 w 7061970"/>
              <a:gd name="connsiteY97" fmla="*/ 708553 h 798925"/>
              <a:gd name="connsiteX98" fmla="*/ 4841907 w 7061970"/>
              <a:gd name="connsiteY98" fmla="*/ 645492 h 798925"/>
              <a:gd name="connsiteX99" fmla="*/ 4940641 w 7061970"/>
              <a:gd name="connsiteY99" fmla="*/ 645492 h 798925"/>
              <a:gd name="connsiteX100" fmla="*/ 4740104 w 7061970"/>
              <a:gd name="connsiteY100" fmla="*/ 788415 h 798925"/>
              <a:gd name="connsiteX101" fmla="*/ 4509955 w 7061970"/>
              <a:gd name="connsiteY101" fmla="*/ 547065 h 798925"/>
              <a:gd name="connsiteX102" fmla="*/ 4611988 w 7061970"/>
              <a:gd name="connsiteY102" fmla="*/ 502646 h 798925"/>
              <a:gd name="connsiteX103" fmla="*/ 4844515 w 7061970"/>
              <a:gd name="connsiteY103" fmla="*/ 502646 h 798925"/>
              <a:gd name="connsiteX104" fmla="*/ 4732663 w 7061970"/>
              <a:gd name="connsiteY104" fmla="*/ 384656 h 798925"/>
              <a:gd name="connsiteX105" fmla="*/ 4611988 w 7061970"/>
              <a:gd name="connsiteY105" fmla="*/ 502646 h 798925"/>
              <a:gd name="connsiteX106" fmla="*/ 5015670 w 7061970"/>
              <a:gd name="connsiteY106" fmla="*/ 318066 h 798925"/>
              <a:gd name="connsiteX107" fmla="*/ 5113329 w 7061970"/>
              <a:gd name="connsiteY107" fmla="*/ 318066 h 798925"/>
              <a:gd name="connsiteX108" fmla="*/ 5113329 w 7061970"/>
              <a:gd name="connsiteY108" fmla="*/ 381127 h 798925"/>
              <a:gd name="connsiteX109" fmla="*/ 5116014 w 7061970"/>
              <a:gd name="connsiteY109" fmla="*/ 381127 h 798925"/>
              <a:gd name="connsiteX110" fmla="*/ 5249117 w 7061970"/>
              <a:gd name="connsiteY110" fmla="*/ 306943 h 798925"/>
              <a:gd name="connsiteX111" fmla="*/ 5372477 w 7061970"/>
              <a:gd name="connsiteY111" fmla="*/ 387495 h 798925"/>
              <a:gd name="connsiteX112" fmla="*/ 5374242 w 7061970"/>
              <a:gd name="connsiteY112" fmla="*/ 387495 h 798925"/>
              <a:gd name="connsiteX113" fmla="*/ 5512331 w 7061970"/>
              <a:gd name="connsiteY113" fmla="*/ 306712 h 798925"/>
              <a:gd name="connsiteX114" fmla="*/ 5658092 w 7061970"/>
              <a:gd name="connsiteY114" fmla="*/ 462907 h 798925"/>
              <a:gd name="connsiteX115" fmla="*/ 5658092 w 7061970"/>
              <a:gd name="connsiteY115" fmla="*/ 774913 h 798925"/>
              <a:gd name="connsiteX116" fmla="*/ 5557056 w 7061970"/>
              <a:gd name="connsiteY116" fmla="*/ 774913 h 798925"/>
              <a:gd name="connsiteX117" fmla="*/ 5557056 w 7061970"/>
              <a:gd name="connsiteY117" fmla="*/ 475719 h 798925"/>
              <a:gd name="connsiteX118" fmla="*/ 5481645 w 7061970"/>
              <a:gd name="connsiteY118" fmla="*/ 392328 h 798925"/>
              <a:gd name="connsiteX119" fmla="*/ 5386670 w 7061970"/>
              <a:gd name="connsiteY119" fmla="*/ 501495 h 798925"/>
              <a:gd name="connsiteX120" fmla="*/ 5386670 w 7061970"/>
              <a:gd name="connsiteY120" fmla="*/ 774913 h 798925"/>
              <a:gd name="connsiteX121" fmla="*/ 5286401 w 7061970"/>
              <a:gd name="connsiteY121" fmla="*/ 774913 h 798925"/>
              <a:gd name="connsiteX122" fmla="*/ 5286401 w 7061970"/>
              <a:gd name="connsiteY122" fmla="*/ 475719 h 798925"/>
              <a:gd name="connsiteX123" fmla="*/ 5212753 w 7061970"/>
              <a:gd name="connsiteY123" fmla="*/ 392328 h 798925"/>
              <a:gd name="connsiteX124" fmla="*/ 5116091 w 7061970"/>
              <a:gd name="connsiteY124" fmla="*/ 501495 h 798925"/>
              <a:gd name="connsiteX125" fmla="*/ 5116091 w 7061970"/>
              <a:gd name="connsiteY125" fmla="*/ 774913 h 798925"/>
              <a:gd name="connsiteX126" fmla="*/ 5015746 w 7061970"/>
              <a:gd name="connsiteY126" fmla="*/ 774913 h 798925"/>
              <a:gd name="connsiteX127" fmla="*/ 6015744 w 7061970"/>
              <a:gd name="connsiteY127" fmla="*/ 716685 h 798925"/>
              <a:gd name="connsiteX128" fmla="*/ 5873742 w 7061970"/>
              <a:gd name="connsiteY128" fmla="*/ 785039 h 798925"/>
              <a:gd name="connsiteX129" fmla="*/ 5720309 w 7061970"/>
              <a:gd name="connsiteY129" fmla="*/ 651016 h 798925"/>
              <a:gd name="connsiteX130" fmla="*/ 5907573 w 7061970"/>
              <a:gd name="connsiteY130" fmla="*/ 503720 h 798925"/>
              <a:gd name="connsiteX131" fmla="*/ 6014976 w 7061970"/>
              <a:gd name="connsiteY131" fmla="*/ 446029 h 798925"/>
              <a:gd name="connsiteX132" fmla="*/ 5928901 w 7061970"/>
              <a:gd name="connsiteY132" fmla="*/ 383045 h 798925"/>
              <a:gd name="connsiteX133" fmla="*/ 5835767 w 7061970"/>
              <a:gd name="connsiteY133" fmla="*/ 460222 h 798925"/>
              <a:gd name="connsiteX134" fmla="*/ 5740639 w 7061970"/>
              <a:gd name="connsiteY134" fmla="*/ 460222 h 798925"/>
              <a:gd name="connsiteX135" fmla="*/ 5927903 w 7061970"/>
              <a:gd name="connsiteY135" fmla="*/ 308477 h 798925"/>
              <a:gd name="connsiteX136" fmla="*/ 6114247 w 7061970"/>
              <a:gd name="connsiteY136" fmla="*/ 466436 h 798925"/>
              <a:gd name="connsiteX137" fmla="*/ 6114247 w 7061970"/>
              <a:gd name="connsiteY137" fmla="*/ 665899 h 798925"/>
              <a:gd name="connsiteX138" fmla="*/ 6153296 w 7061970"/>
              <a:gd name="connsiteY138" fmla="*/ 706712 h 798925"/>
              <a:gd name="connsiteX139" fmla="*/ 6155981 w 7061970"/>
              <a:gd name="connsiteY139" fmla="*/ 706712 h 798925"/>
              <a:gd name="connsiteX140" fmla="*/ 6155981 w 7061970"/>
              <a:gd name="connsiteY140" fmla="*/ 771461 h 798925"/>
              <a:gd name="connsiteX141" fmla="*/ 6109951 w 7061970"/>
              <a:gd name="connsiteY141" fmla="*/ 781204 h 798925"/>
              <a:gd name="connsiteX142" fmla="*/ 6016818 w 7061970"/>
              <a:gd name="connsiteY142" fmla="*/ 716455 h 798925"/>
              <a:gd name="connsiteX143" fmla="*/ 6016664 w 7061970"/>
              <a:gd name="connsiteY143" fmla="*/ 611123 h 798925"/>
              <a:gd name="connsiteX144" fmla="*/ 6016664 w 7061970"/>
              <a:gd name="connsiteY144" fmla="*/ 539240 h 798925"/>
              <a:gd name="connsiteX145" fmla="*/ 5926983 w 7061970"/>
              <a:gd name="connsiteY145" fmla="*/ 568469 h 798925"/>
              <a:gd name="connsiteX146" fmla="*/ 5822342 w 7061970"/>
              <a:gd name="connsiteY146" fmla="*/ 648331 h 798925"/>
              <a:gd name="connsiteX147" fmla="*/ 5898598 w 7061970"/>
              <a:gd name="connsiteY147" fmla="*/ 713156 h 798925"/>
              <a:gd name="connsiteX148" fmla="*/ 6016664 w 7061970"/>
              <a:gd name="connsiteY148" fmla="*/ 611123 h 798925"/>
              <a:gd name="connsiteX149" fmla="*/ 6309413 w 7061970"/>
              <a:gd name="connsiteY149" fmla="*/ 393632 h 798925"/>
              <a:gd name="connsiteX150" fmla="*/ 6312099 w 7061970"/>
              <a:gd name="connsiteY150" fmla="*/ 393632 h 798925"/>
              <a:gd name="connsiteX151" fmla="*/ 6433617 w 7061970"/>
              <a:gd name="connsiteY151" fmla="*/ 314614 h 798925"/>
              <a:gd name="connsiteX152" fmla="*/ 6462002 w 7061970"/>
              <a:gd name="connsiteY152" fmla="*/ 318143 h 798925"/>
              <a:gd name="connsiteX153" fmla="*/ 6462002 w 7061970"/>
              <a:gd name="connsiteY153" fmla="*/ 409589 h 798925"/>
              <a:gd name="connsiteX154" fmla="*/ 6459624 w 7061970"/>
              <a:gd name="connsiteY154" fmla="*/ 409589 h 798925"/>
              <a:gd name="connsiteX155" fmla="*/ 6435612 w 7061970"/>
              <a:gd name="connsiteY155" fmla="*/ 406981 h 798925"/>
              <a:gd name="connsiteX156" fmla="*/ 6312329 w 7061970"/>
              <a:gd name="connsiteY156" fmla="*/ 541004 h 798925"/>
              <a:gd name="connsiteX157" fmla="*/ 6312329 w 7061970"/>
              <a:gd name="connsiteY157" fmla="*/ 774913 h 798925"/>
              <a:gd name="connsiteX158" fmla="*/ 6211754 w 7061970"/>
              <a:gd name="connsiteY158" fmla="*/ 774913 h 798925"/>
              <a:gd name="connsiteX159" fmla="*/ 6211754 w 7061970"/>
              <a:gd name="connsiteY159" fmla="*/ 318220 h 798925"/>
              <a:gd name="connsiteX160" fmla="*/ 6309413 w 7061970"/>
              <a:gd name="connsiteY160" fmla="*/ 318220 h 798925"/>
              <a:gd name="connsiteX161" fmla="*/ 6671361 w 7061970"/>
              <a:gd name="connsiteY161" fmla="*/ 549827 h 798925"/>
              <a:gd name="connsiteX162" fmla="*/ 6611062 w 7061970"/>
              <a:gd name="connsiteY162" fmla="*/ 613808 h 798925"/>
              <a:gd name="connsiteX163" fmla="*/ 6611062 w 7061970"/>
              <a:gd name="connsiteY163" fmla="*/ 774913 h 798925"/>
              <a:gd name="connsiteX164" fmla="*/ 6510717 w 7061970"/>
              <a:gd name="connsiteY164" fmla="*/ 774913 h 798925"/>
              <a:gd name="connsiteX165" fmla="*/ 6510717 w 7061970"/>
              <a:gd name="connsiteY165" fmla="*/ 140775 h 798925"/>
              <a:gd name="connsiteX166" fmla="*/ 6611062 w 7061970"/>
              <a:gd name="connsiteY166" fmla="*/ 140775 h 798925"/>
              <a:gd name="connsiteX167" fmla="*/ 6611062 w 7061970"/>
              <a:gd name="connsiteY167" fmla="*/ 501956 h 798925"/>
              <a:gd name="connsiteX168" fmla="*/ 6783214 w 7061970"/>
              <a:gd name="connsiteY168" fmla="*/ 317836 h 798925"/>
              <a:gd name="connsiteX169" fmla="*/ 6902124 w 7061970"/>
              <a:gd name="connsiteY169" fmla="*/ 317836 h 798925"/>
              <a:gd name="connsiteX170" fmla="*/ 6740559 w 7061970"/>
              <a:gd name="connsiteY170" fmla="*/ 487686 h 798925"/>
              <a:gd name="connsiteX171" fmla="*/ 6914475 w 7061970"/>
              <a:gd name="connsiteY171" fmla="*/ 774913 h 798925"/>
              <a:gd name="connsiteX172" fmla="*/ 6801856 w 7061970"/>
              <a:gd name="connsiteY172" fmla="*/ 774913 h 798925"/>
              <a:gd name="connsiteX173" fmla="*/ 6994644 w 7061970"/>
              <a:gd name="connsiteY173" fmla="*/ 326352 h 798925"/>
              <a:gd name="connsiteX174" fmla="*/ 6927011 w 7061970"/>
              <a:gd name="connsiteY174" fmla="*/ 261763 h 798925"/>
              <a:gd name="connsiteX175" fmla="*/ 6927057 w 7061970"/>
              <a:gd name="connsiteY175" fmla="*/ 257307 h 798925"/>
              <a:gd name="connsiteX176" fmla="*/ 6994490 w 7061970"/>
              <a:gd name="connsiteY176" fmla="*/ 189873 h 798925"/>
              <a:gd name="connsiteX177" fmla="*/ 7061924 w 7061970"/>
              <a:gd name="connsiteY177" fmla="*/ 257307 h 798925"/>
              <a:gd name="connsiteX178" fmla="*/ 6997835 w 7061970"/>
              <a:gd name="connsiteY178" fmla="*/ 326310 h 798925"/>
              <a:gd name="connsiteX179" fmla="*/ 6994644 w 7061970"/>
              <a:gd name="connsiteY179" fmla="*/ 326352 h 798925"/>
              <a:gd name="connsiteX180" fmla="*/ 6994644 w 7061970"/>
              <a:gd name="connsiteY180" fmla="*/ 200920 h 798925"/>
              <a:gd name="connsiteX181" fmla="*/ 6941786 w 7061970"/>
              <a:gd name="connsiteY181" fmla="*/ 257691 h 798925"/>
              <a:gd name="connsiteX182" fmla="*/ 6994644 w 7061970"/>
              <a:gd name="connsiteY182" fmla="*/ 314384 h 798925"/>
              <a:gd name="connsiteX183" fmla="*/ 7047195 w 7061970"/>
              <a:gd name="connsiteY183" fmla="*/ 257691 h 798925"/>
              <a:gd name="connsiteX184" fmla="*/ 6994644 w 7061970"/>
              <a:gd name="connsiteY184" fmla="*/ 200920 h 798925"/>
              <a:gd name="connsiteX185" fmla="*/ 6981295 w 7061970"/>
              <a:gd name="connsiteY185" fmla="*/ 296969 h 798925"/>
              <a:gd name="connsiteX186" fmla="*/ 6968790 w 7061970"/>
              <a:gd name="connsiteY186" fmla="*/ 296969 h 798925"/>
              <a:gd name="connsiteX187" fmla="*/ 6968790 w 7061970"/>
              <a:gd name="connsiteY187" fmla="*/ 220943 h 798925"/>
              <a:gd name="connsiteX188" fmla="*/ 6997636 w 7061970"/>
              <a:gd name="connsiteY188" fmla="*/ 220943 h 798925"/>
              <a:gd name="connsiteX189" fmla="*/ 7025407 w 7061970"/>
              <a:gd name="connsiteY189" fmla="*/ 242808 h 798925"/>
              <a:gd name="connsiteX190" fmla="*/ 7007356 w 7061970"/>
              <a:gd name="connsiteY190" fmla="*/ 263483 h 798925"/>
              <a:gd name="connsiteX191" fmla="*/ 7005537 w 7061970"/>
              <a:gd name="connsiteY191" fmla="*/ 263521 h 798925"/>
              <a:gd name="connsiteX192" fmla="*/ 7026865 w 7061970"/>
              <a:gd name="connsiteY192" fmla="*/ 296969 h 798925"/>
              <a:gd name="connsiteX193" fmla="*/ 7012672 w 7061970"/>
              <a:gd name="connsiteY193" fmla="*/ 296969 h 798925"/>
              <a:gd name="connsiteX194" fmla="*/ 6993109 w 7061970"/>
              <a:gd name="connsiteY194" fmla="*/ 264442 h 798925"/>
              <a:gd name="connsiteX195" fmla="*/ 6981295 w 7061970"/>
              <a:gd name="connsiteY195" fmla="*/ 264442 h 798925"/>
              <a:gd name="connsiteX196" fmla="*/ 6995258 w 7061970"/>
              <a:gd name="connsiteY196" fmla="*/ 253778 h 798925"/>
              <a:gd name="connsiteX197" fmla="*/ 7012902 w 7061970"/>
              <a:gd name="connsiteY197" fmla="*/ 241887 h 798925"/>
              <a:gd name="connsiteX198" fmla="*/ 6996408 w 7061970"/>
              <a:gd name="connsiteY198" fmla="*/ 231607 h 798925"/>
              <a:gd name="connsiteX199" fmla="*/ 6981065 w 7061970"/>
              <a:gd name="connsiteY199" fmla="*/ 231607 h 798925"/>
              <a:gd name="connsiteX200" fmla="*/ 6981065 w 7061970"/>
              <a:gd name="connsiteY200" fmla="*/ 253778 h 79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7061970" h="798925">
                <a:moveTo>
                  <a:pt x="2689553" y="541388"/>
                </a:moveTo>
                <a:cubicBezTo>
                  <a:pt x="2701675" y="598005"/>
                  <a:pt x="2733972" y="618104"/>
                  <a:pt x="2800639" y="618104"/>
                </a:cubicBezTo>
                <a:cubicBezTo>
                  <a:pt x="2859173" y="618104"/>
                  <a:pt x="2891547" y="596854"/>
                  <a:pt x="2891547" y="563559"/>
                </a:cubicBezTo>
                <a:cubicBezTo>
                  <a:pt x="2891547" y="516072"/>
                  <a:pt x="2848126" y="512082"/>
                  <a:pt x="2758214" y="488837"/>
                </a:cubicBezTo>
                <a:cubicBezTo>
                  <a:pt x="2653190" y="461603"/>
                  <a:pt x="2585526" y="438358"/>
                  <a:pt x="2554226" y="416110"/>
                </a:cubicBezTo>
                <a:cubicBezTo>
                  <a:pt x="2495615" y="374683"/>
                  <a:pt x="2467383" y="316379"/>
                  <a:pt x="2467383" y="241427"/>
                </a:cubicBezTo>
                <a:cubicBezTo>
                  <a:pt x="2467383" y="94975"/>
                  <a:pt x="2582457" y="0"/>
                  <a:pt x="2783454" y="0"/>
                </a:cubicBezTo>
                <a:cubicBezTo>
                  <a:pt x="2978390" y="0"/>
                  <a:pt x="3093542" y="85846"/>
                  <a:pt x="3106660" y="238358"/>
                </a:cubicBezTo>
                <a:lnTo>
                  <a:pt x="2877355" y="238358"/>
                </a:lnTo>
                <a:cubicBezTo>
                  <a:pt x="2869300" y="192865"/>
                  <a:pt x="2838000" y="171691"/>
                  <a:pt x="2779465" y="171691"/>
                </a:cubicBezTo>
                <a:cubicBezTo>
                  <a:pt x="2727912" y="171691"/>
                  <a:pt x="2702749" y="188876"/>
                  <a:pt x="2702749" y="223168"/>
                </a:cubicBezTo>
                <a:cubicBezTo>
                  <a:pt x="2702749" y="263598"/>
                  <a:pt x="2742104" y="270656"/>
                  <a:pt x="2814831" y="289835"/>
                </a:cubicBezTo>
                <a:cubicBezTo>
                  <a:pt x="2908809" y="314154"/>
                  <a:pt x="2983607" y="329267"/>
                  <a:pt x="3031018" y="361565"/>
                </a:cubicBezTo>
                <a:cubicBezTo>
                  <a:pt x="3097608" y="405983"/>
                  <a:pt x="3127910" y="460529"/>
                  <a:pt x="3127910" y="538012"/>
                </a:cubicBezTo>
                <a:cubicBezTo>
                  <a:pt x="3127910" y="702646"/>
                  <a:pt x="3009767" y="798848"/>
                  <a:pt x="2790359" y="798848"/>
                </a:cubicBezTo>
                <a:cubicBezTo>
                  <a:pt x="2587290" y="798848"/>
                  <a:pt x="2468150" y="702953"/>
                  <a:pt x="2452807" y="541311"/>
                </a:cubicBezTo>
                <a:close/>
                <a:moveTo>
                  <a:pt x="1797803" y="483851"/>
                </a:moveTo>
                <a:cubicBezTo>
                  <a:pt x="1784684" y="682853"/>
                  <a:pt x="1653346" y="798925"/>
                  <a:pt x="1436239" y="798925"/>
                </a:cubicBezTo>
                <a:cubicBezTo>
                  <a:pt x="1194812" y="798925"/>
                  <a:pt x="1047440" y="645492"/>
                  <a:pt x="1047440" y="400000"/>
                </a:cubicBezTo>
                <a:cubicBezTo>
                  <a:pt x="1047440" y="152589"/>
                  <a:pt x="1195886" y="77"/>
                  <a:pt x="1431022" y="77"/>
                </a:cubicBezTo>
                <a:cubicBezTo>
                  <a:pt x="1650354" y="77"/>
                  <a:pt x="1779928" y="111162"/>
                  <a:pt x="1793737" y="306943"/>
                </a:cubicBezTo>
                <a:lnTo>
                  <a:pt x="1562437" y="306943"/>
                </a:lnTo>
                <a:cubicBezTo>
                  <a:pt x="1555379" y="230226"/>
                  <a:pt x="1511958" y="189796"/>
                  <a:pt x="1434167" y="189796"/>
                </a:cubicBezTo>
                <a:cubicBezTo>
                  <a:pt x="1339269" y="189796"/>
                  <a:pt x="1291782" y="259532"/>
                  <a:pt x="1291782" y="399846"/>
                </a:cubicBezTo>
                <a:cubicBezTo>
                  <a:pt x="1291782" y="537245"/>
                  <a:pt x="1343335" y="608975"/>
                  <a:pt x="1441302" y="608975"/>
                </a:cubicBezTo>
                <a:cubicBezTo>
                  <a:pt x="1515026" y="608975"/>
                  <a:pt x="1561440" y="564480"/>
                  <a:pt x="1568574" y="483697"/>
                </a:cubicBezTo>
                <a:close/>
                <a:moveTo>
                  <a:pt x="1746249" y="21250"/>
                </a:moveTo>
                <a:lnTo>
                  <a:pt x="1993736" y="21250"/>
                </a:lnTo>
                <a:lnTo>
                  <a:pt x="2121009" y="510088"/>
                </a:lnTo>
                <a:lnTo>
                  <a:pt x="2257257" y="21250"/>
                </a:lnTo>
                <a:lnTo>
                  <a:pt x="2495615" y="21250"/>
                </a:lnTo>
                <a:lnTo>
                  <a:pt x="2241146" y="777751"/>
                </a:lnTo>
                <a:lnTo>
                  <a:pt x="1999797" y="777751"/>
                </a:lnTo>
                <a:close/>
                <a:moveTo>
                  <a:pt x="270687" y="1074"/>
                </a:moveTo>
                <a:cubicBezTo>
                  <a:pt x="241094" y="1135"/>
                  <a:pt x="212744" y="12978"/>
                  <a:pt x="191900" y="33985"/>
                </a:cubicBezTo>
                <a:lnTo>
                  <a:pt x="32867" y="192635"/>
                </a:lnTo>
                <a:cubicBezTo>
                  <a:pt x="-10943" y="236427"/>
                  <a:pt x="-10957" y="307443"/>
                  <a:pt x="32835" y="351252"/>
                </a:cubicBezTo>
                <a:cubicBezTo>
                  <a:pt x="32845" y="351263"/>
                  <a:pt x="32856" y="351274"/>
                  <a:pt x="32867" y="351285"/>
                </a:cubicBezTo>
                <a:lnTo>
                  <a:pt x="480507" y="798925"/>
                </a:lnTo>
                <a:lnTo>
                  <a:pt x="928377" y="351285"/>
                </a:lnTo>
                <a:cubicBezTo>
                  <a:pt x="972189" y="307493"/>
                  <a:pt x="972205" y="236477"/>
                  <a:pt x="928407" y="192667"/>
                </a:cubicBezTo>
                <a:cubicBezTo>
                  <a:pt x="928400" y="192656"/>
                  <a:pt x="928384" y="192646"/>
                  <a:pt x="928377" y="192635"/>
                </a:cubicBezTo>
                <a:lnTo>
                  <a:pt x="769727" y="34139"/>
                </a:lnTo>
                <a:cubicBezTo>
                  <a:pt x="726257" y="-9692"/>
                  <a:pt x="655485" y="-9984"/>
                  <a:pt x="611654" y="33486"/>
                </a:cubicBezTo>
                <a:cubicBezTo>
                  <a:pt x="611435" y="33703"/>
                  <a:pt x="611217" y="33920"/>
                  <a:pt x="611001" y="34139"/>
                </a:cubicBezTo>
                <a:lnTo>
                  <a:pt x="480583" y="164557"/>
                </a:lnTo>
                <a:lnTo>
                  <a:pt x="350166" y="34139"/>
                </a:lnTo>
                <a:cubicBezTo>
                  <a:pt x="329125" y="12985"/>
                  <a:pt x="300523" y="1086"/>
                  <a:pt x="270687" y="1074"/>
                </a:cubicBezTo>
                <a:moveTo>
                  <a:pt x="3293311" y="547218"/>
                </a:moveTo>
                <a:cubicBezTo>
                  <a:pt x="3293311" y="412274"/>
                  <a:pt x="3380231" y="306712"/>
                  <a:pt x="3517860" y="306712"/>
                </a:cubicBezTo>
                <a:cubicBezTo>
                  <a:pt x="3632244" y="306712"/>
                  <a:pt x="3704127" y="372382"/>
                  <a:pt x="3720084" y="469965"/>
                </a:cubicBezTo>
                <a:lnTo>
                  <a:pt x="3621120" y="469965"/>
                </a:lnTo>
                <a:cubicBezTo>
                  <a:pt x="3612221" y="421173"/>
                  <a:pt x="3575857" y="388339"/>
                  <a:pt x="3521389" y="388339"/>
                </a:cubicBezTo>
                <a:cubicBezTo>
                  <a:pt x="3437998" y="388339"/>
                  <a:pt x="3395420" y="454008"/>
                  <a:pt x="3395420" y="547218"/>
                </a:cubicBezTo>
                <a:cubicBezTo>
                  <a:pt x="3395420" y="640429"/>
                  <a:pt x="3437384" y="705868"/>
                  <a:pt x="3520775" y="705868"/>
                </a:cubicBezTo>
                <a:cubicBezTo>
                  <a:pt x="3580230" y="705868"/>
                  <a:pt x="3618358" y="673877"/>
                  <a:pt x="3625493" y="614499"/>
                </a:cubicBezTo>
                <a:lnTo>
                  <a:pt x="3723076" y="614499"/>
                </a:lnTo>
                <a:cubicBezTo>
                  <a:pt x="3715404" y="716532"/>
                  <a:pt x="3640529" y="788415"/>
                  <a:pt x="3522539" y="788415"/>
                </a:cubicBezTo>
                <a:cubicBezTo>
                  <a:pt x="3381458" y="788415"/>
                  <a:pt x="3293618" y="681932"/>
                  <a:pt x="3293618" y="547065"/>
                </a:cubicBezTo>
                <a:moveTo>
                  <a:pt x="4056715" y="716532"/>
                </a:moveTo>
                <a:cubicBezTo>
                  <a:pt x="4030938" y="751975"/>
                  <a:pt x="3991046" y="784886"/>
                  <a:pt x="3914713" y="784886"/>
                </a:cubicBezTo>
                <a:cubicBezTo>
                  <a:pt x="3825953" y="784886"/>
                  <a:pt x="3761280" y="739623"/>
                  <a:pt x="3761280" y="650862"/>
                </a:cubicBezTo>
                <a:cubicBezTo>
                  <a:pt x="3761280" y="547065"/>
                  <a:pt x="3843827" y="518603"/>
                  <a:pt x="3948545" y="503567"/>
                </a:cubicBezTo>
                <a:cubicBezTo>
                  <a:pt x="4017590" y="492903"/>
                  <a:pt x="4055948" y="486689"/>
                  <a:pt x="4055948" y="445876"/>
                </a:cubicBezTo>
                <a:cubicBezTo>
                  <a:pt x="4055948" y="406827"/>
                  <a:pt x="4025261" y="382892"/>
                  <a:pt x="3969872" y="382892"/>
                </a:cubicBezTo>
                <a:cubicBezTo>
                  <a:pt x="3908499" y="382892"/>
                  <a:pt x="3879347" y="406827"/>
                  <a:pt x="3876739" y="460069"/>
                </a:cubicBezTo>
                <a:lnTo>
                  <a:pt x="3781610" y="460069"/>
                </a:lnTo>
                <a:cubicBezTo>
                  <a:pt x="3784295" y="376678"/>
                  <a:pt x="3841909" y="308323"/>
                  <a:pt x="3968798" y="308323"/>
                </a:cubicBezTo>
                <a:cubicBezTo>
                  <a:pt x="4092158" y="308323"/>
                  <a:pt x="4155142" y="358880"/>
                  <a:pt x="4155142" y="466283"/>
                </a:cubicBezTo>
                <a:lnTo>
                  <a:pt x="4155142" y="665745"/>
                </a:lnTo>
                <a:cubicBezTo>
                  <a:pt x="4155142" y="698580"/>
                  <a:pt x="4162277" y="712773"/>
                  <a:pt x="4194268" y="706558"/>
                </a:cubicBezTo>
                <a:lnTo>
                  <a:pt x="4196876" y="706558"/>
                </a:lnTo>
                <a:lnTo>
                  <a:pt x="4196876" y="771307"/>
                </a:lnTo>
                <a:cubicBezTo>
                  <a:pt x="4182637" y="778488"/>
                  <a:pt x="4166772" y="781848"/>
                  <a:pt x="4150846" y="781050"/>
                </a:cubicBezTo>
                <a:cubicBezTo>
                  <a:pt x="4094997" y="781050"/>
                  <a:pt x="4065691" y="762408"/>
                  <a:pt x="4057712" y="716301"/>
                </a:cubicBezTo>
                <a:close/>
                <a:moveTo>
                  <a:pt x="4057559" y="610970"/>
                </a:moveTo>
                <a:lnTo>
                  <a:pt x="4057559" y="539240"/>
                </a:lnTo>
                <a:cubicBezTo>
                  <a:pt x="4035388" y="552512"/>
                  <a:pt x="4000789" y="561411"/>
                  <a:pt x="3967955" y="568469"/>
                </a:cubicBezTo>
                <a:cubicBezTo>
                  <a:pt x="3902285" y="582661"/>
                  <a:pt x="3863237" y="595089"/>
                  <a:pt x="3863237" y="648331"/>
                </a:cubicBezTo>
                <a:cubicBezTo>
                  <a:pt x="3863237" y="698043"/>
                  <a:pt x="3896992" y="713156"/>
                  <a:pt x="3939569" y="713156"/>
                </a:cubicBezTo>
                <a:cubicBezTo>
                  <a:pt x="4018510" y="713156"/>
                  <a:pt x="4057559" y="658994"/>
                  <a:pt x="4057559" y="611123"/>
                </a:cubicBezTo>
                <a:moveTo>
                  <a:pt x="4350309" y="393632"/>
                </a:moveTo>
                <a:lnTo>
                  <a:pt x="4352994" y="393632"/>
                </a:lnTo>
                <a:cubicBezTo>
                  <a:pt x="4380612" y="344840"/>
                  <a:pt x="4417819" y="314614"/>
                  <a:pt x="4474589" y="314614"/>
                </a:cubicBezTo>
                <a:cubicBezTo>
                  <a:pt x="4484186" y="314082"/>
                  <a:pt x="4493799" y="315278"/>
                  <a:pt x="4502974" y="318143"/>
                </a:cubicBezTo>
                <a:lnTo>
                  <a:pt x="4502974" y="409589"/>
                </a:lnTo>
                <a:lnTo>
                  <a:pt x="4500289" y="409589"/>
                </a:lnTo>
                <a:cubicBezTo>
                  <a:pt x="4492456" y="407689"/>
                  <a:pt x="4484409" y="406812"/>
                  <a:pt x="4476353" y="406981"/>
                </a:cubicBezTo>
                <a:cubicBezTo>
                  <a:pt x="4407309" y="406981"/>
                  <a:pt x="4352994" y="454008"/>
                  <a:pt x="4352994" y="541004"/>
                </a:cubicBezTo>
                <a:lnTo>
                  <a:pt x="4352994" y="774913"/>
                </a:lnTo>
                <a:lnTo>
                  <a:pt x="4252726" y="774913"/>
                </a:lnTo>
                <a:lnTo>
                  <a:pt x="4252726" y="318220"/>
                </a:lnTo>
                <a:lnTo>
                  <a:pt x="4350309" y="318220"/>
                </a:lnTo>
                <a:close/>
                <a:moveTo>
                  <a:pt x="4510032" y="547065"/>
                </a:moveTo>
                <a:cubicBezTo>
                  <a:pt x="4510032" y="412121"/>
                  <a:pt x="4599637" y="306559"/>
                  <a:pt x="4731896" y="306559"/>
                </a:cubicBezTo>
                <a:cubicBezTo>
                  <a:pt x="4873821" y="306559"/>
                  <a:pt x="4950154" y="415726"/>
                  <a:pt x="4950154" y="573686"/>
                </a:cubicBezTo>
                <a:lnTo>
                  <a:pt x="4610300" y="573686"/>
                </a:lnTo>
                <a:cubicBezTo>
                  <a:pt x="4617435" y="653547"/>
                  <a:pt x="4661777" y="708553"/>
                  <a:pt x="4739874" y="708553"/>
                </a:cubicBezTo>
                <a:cubicBezTo>
                  <a:pt x="4791351" y="708553"/>
                  <a:pt x="4825950" y="685538"/>
                  <a:pt x="4841907" y="645492"/>
                </a:cubicBezTo>
                <a:lnTo>
                  <a:pt x="4940641" y="645492"/>
                </a:lnTo>
                <a:cubicBezTo>
                  <a:pt x="4921999" y="727118"/>
                  <a:pt x="4850116" y="788415"/>
                  <a:pt x="4740104" y="788415"/>
                </a:cubicBezTo>
                <a:cubicBezTo>
                  <a:pt x="4593730" y="788415"/>
                  <a:pt x="4509955" y="681012"/>
                  <a:pt x="4509955" y="547065"/>
                </a:cubicBezTo>
                <a:moveTo>
                  <a:pt x="4611988" y="502646"/>
                </a:moveTo>
                <a:lnTo>
                  <a:pt x="4844515" y="502646"/>
                </a:lnTo>
                <a:cubicBezTo>
                  <a:pt x="4840910" y="430763"/>
                  <a:pt x="4798485" y="384656"/>
                  <a:pt x="4732663" y="384656"/>
                </a:cubicBezTo>
                <a:cubicBezTo>
                  <a:pt x="4659936" y="384656"/>
                  <a:pt x="4622652" y="433448"/>
                  <a:pt x="4611988" y="502646"/>
                </a:cubicBezTo>
                <a:moveTo>
                  <a:pt x="5015670" y="318066"/>
                </a:moveTo>
                <a:lnTo>
                  <a:pt x="5113329" y="318066"/>
                </a:lnTo>
                <a:lnTo>
                  <a:pt x="5113329" y="381127"/>
                </a:lnTo>
                <a:lnTo>
                  <a:pt x="5116014" y="381127"/>
                </a:lnTo>
                <a:cubicBezTo>
                  <a:pt x="5143893" y="334347"/>
                  <a:pt x="5194664" y="306050"/>
                  <a:pt x="5249117" y="306943"/>
                </a:cubicBezTo>
                <a:cubicBezTo>
                  <a:pt x="5302919" y="305771"/>
                  <a:pt x="5351917" y="337765"/>
                  <a:pt x="5372477" y="387495"/>
                </a:cubicBezTo>
                <a:lnTo>
                  <a:pt x="5374242" y="387495"/>
                </a:lnTo>
                <a:cubicBezTo>
                  <a:pt x="5402458" y="337759"/>
                  <a:pt x="5455146" y="306938"/>
                  <a:pt x="5512331" y="306712"/>
                </a:cubicBezTo>
                <a:cubicBezTo>
                  <a:pt x="5602012" y="306712"/>
                  <a:pt x="5658092" y="365324"/>
                  <a:pt x="5658092" y="462907"/>
                </a:cubicBezTo>
                <a:lnTo>
                  <a:pt x="5658092" y="774913"/>
                </a:lnTo>
                <a:lnTo>
                  <a:pt x="5557056" y="774913"/>
                </a:lnTo>
                <a:lnTo>
                  <a:pt x="5557056" y="475719"/>
                </a:lnTo>
                <a:cubicBezTo>
                  <a:pt x="5557056" y="421634"/>
                  <a:pt x="5525986" y="392328"/>
                  <a:pt x="5481645" y="392328"/>
                </a:cubicBezTo>
                <a:cubicBezTo>
                  <a:pt x="5427483" y="392328"/>
                  <a:pt x="5386670" y="436747"/>
                  <a:pt x="5386670" y="501495"/>
                </a:cubicBezTo>
                <a:lnTo>
                  <a:pt x="5386670" y="774913"/>
                </a:lnTo>
                <a:lnTo>
                  <a:pt x="5286401" y="774913"/>
                </a:lnTo>
                <a:lnTo>
                  <a:pt x="5286401" y="475719"/>
                </a:lnTo>
                <a:cubicBezTo>
                  <a:pt x="5286401" y="421634"/>
                  <a:pt x="5258016" y="392328"/>
                  <a:pt x="5212753" y="392328"/>
                </a:cubicBezTo>
                <a:cubicBezTo>
                  <a:pt x="5160433" y="392328"/>
                  <a:pt x="5116091" y="436747"/>
                  <a:pt x="5116091" y="501495"/>
                </a:cubicBezTo>
                <a:lnTo>
                  <a:pt x="5116091" y="774913"/>
                </a:lnTo>
                <a:lnTo>
                  <a:pt x="5015746" y="774913"/>
                </a:lnTo>
                <a:close/>
                <a:moveTo>
                  <a:pt x="6015744" y="716685"/>
                </a:moveTo>
                <a:cubicBezTo>
                  <a:pt x="5989967" y="752128"/>
                  <a:pt x="5950074" y="785039"/>
                  <a:pt x="5873742" y="785039"/>
                </a:cubicBezTo>
                <a:cubicBezTo>
                  <a:pt x="5785058" y="785039"/>
                  <a:pt x="5720309" y="739777"/>
                  <a:pt x="5720309" y="651016"/>
                </a:cubicBezTo>
                <a:cubicBezTo>
                  <a:pt x="5720309" y="547218"/>
                  <a:pt x="5802856" y="518757"/>
                  <a:pt x="5907573" y="503720"/>
                </a:cubicBezTo>
                <a:cubicBezTo>
                  <a:pt x="5976618" y="493057"/>
                  <a:pt x="6014976" y="486843"/>
                  <a:pt x="6014976" y="446029"/>
                </a:cubicBezTo>
                <a:cubicBezTo>
                  <a:pt x="6014976" y="406981"/>
                  <a:pt x="5984290" y="383045"/>
                  <a:pt x="5928901" y="383045"/>
                </a:cubicBezTo>
                <a:cubicBezTo>
                  <a:pt x="5867528" y="383045"/>
                  <a:pt x="5838452" y="406981"/>
                  <a:pt x="5835767" y="460222"/>
                </a:cubicBezTo>
                <a:lnTo>
                  <a:pt x="5740639" y="460222"/>
                </a:lnTo>
                <a:cubicBezTo>
                  <a:pt x="5743324" y="376831"/>
                  <a:pt x="5801015" y="308477"/>
                  <a:pt x="5927903" y="308477"/>
                </a:cubicBezTo>
                <a:cubicBezTo>
                  <a:pt x="6051186" y="308477"/>
                  <a:pt x="6114247" y="359033"/>
                  <a:pt x="6114247" y="466436"/>
                </a:cubicBezTo>
                <a:lnTo>
                  <a:pt x="6114247" y="665899"/>
                </a:lnTo>
                <a:cubicBezTo>
                  <a:pt x="6114247" y="698733"/>
                  <a:pt x="6121305" y="712926"/>
                  <a:pt x="6153296" y="706712"/>
                </a:cubicBezTo>
                <a:lnTo>
                  <a:pt x="6155981" y="706712"/>
                </a:lnTo>
                <a:lnTo>
                  <a:pt x="6155981" y="771461"/>
                </a:lnTo>
                <a:cubicBezTo>
                  <a:pt x="6141743" y="778641"/>
                  <a:pt x="6125877" y="782001"/>
                  <a:pt x="6109951" y="781204"/>
                </a:cubicBezTo>
                <a:cubicBezTo>
                  <a:pt x="6054025" y="781204"/>
                  <a:pt x="6024796" y="762561"/>
                  <a:pt x="6016818" y="716455"/>
                </a:cubicBezTo>
                <a:close/>
                <a:moveTo>
                  <a:pt x="6016664" y="611123"/>
                </a:moveTo>
                <a:lnTo>
                  <a:pt x="6016664" y="539240"/>
                </a:lnTo>
                <a:cubicBezTo>
                  <a:pt x="5994416" y="552512"/>
                  <a:pt x="5959817" y="561411"/>
                  <a:pt x="5926983" y="568469"/>
                </a:cubicBezTo>
                <a:cubicBezTo>
                  <a:pt x="5861314" y="582661"/>
                  <a:pt x="5822342" y="595089"/>
                  <a:pt x="5822342" y="648331"/>
                </a:cubicBezTo>
                <a:cubicBezTo>
                  <a:pt x="5822342" y="698043"/>
                  <a:pt x="5856020" y="713156"/>
                  <a:pt x="5898598" y="713156"/>
                </a:cubicBezTo>
                <a:cubicBezTo>
                  <a:pt x="5977615" y="713156"/>
                  <a:pt x="6016664" y="658994"/>
                  <a:pt x="6016664" y="611123"/>
                </a:cubicBezTo>
                <a:moveTo>
                  <a:pt x="6309413" y="393632"/>
                </a:moveTo>
                <a:lnTo>
                  <a:pt x="6312099" y="393632"/>
                </a:lnTo>
                <a:cubicBezTo>
                  <a:pt x="6339563" y="344840"/>
                  <a:pt x="6376847" y="314614"/>
                  <a:pt x="6433617" y="314614"/>
                </a:cubicBezTo>
                <a:cubicBezTo>
                  <a:pt x="6443215" y="314071"/>
                  <a:pt x="6452827" y="315266"/>
                  <a:pt x="6462002" y="318143"/>
                </a:cubicBezTo>
                <a:lnTo>
                  <a:pt x="6462002" y="409589"/>
                </a:lnTo>
                <a:lnTo>
                  <a:pt x="6459624" y="409589"/>
                </a:lnTo>
                <a:cubicBezTo>
                  <a:pt x="6451768" y="407689"/>
                  <a:pt x="6443698" y="406812"/>
                  <a:pt x="6435612" y="406981"/>
                </a:cubicBezTo>
                <a:cubicBezTo>
                  <a:pt x="6366567" y="406981"/>
                  <a:pt x="6312329" y="454008"/>
                  <a:pt x="6312329" y="541004"/>
                </a:cubicBezTo>
                <a:lnTo>
                  <a:pt x="6312329" y="774913"/>
                </a:lnTo>
                <a:lnTo>
                  <a:pt x="6211754" y="774913"/>
                </a:lnTo>
                <a:lnTo>
                  <a:pt x="6211754" y="318220"/>
                </a:lnTo>
                <a:lnTo>
                  <a:pt x="6309413" y="318220"/>
                </a:lnTo>
                <a:close/>
                <a:moveTo>
                  <a:pt x="6671361" y="549827"/>
                </a:moveTo>
                <a:lnTo>
                  <a:pt x="6611062" y="613808"/>
                </a:lnTo>
                <a:lnTo>
                  <a:pt x="6611062" y="774913"/>
                </a:lnTo>
                <a:lnTo>
                  <a:pt x="6510717" y="774913"/>
                </a:lnTo>
                <a:lnTo>
                  <a:pt x="6510717" y="140775"/>
                </a:lnTo>
                <a:lnTo>
                  <a:pt x="6611062" y="140775"/>
                </a:lnTo>
                <a:lnTo>
                  <a:pt x="6611062" y="501956"/>
                </a:lnTo>
                <a:lnTo>
                  <a:pt x="6783214" y="317836"/>
                </a:lnTo>
                <a:lnTo>
                  <a:pt x="6902124" y="317836"/>
                </a:lnTo>
                <a:lnTo>
                  <a:pt x="6740559" y="487686"/>
                </a:lnTo>
                <a:lnTo>
                  <a:pt x="6914475" y="774913"/>
                </a:lnTo>
                <a:lnTo>
                  <a:pt x="6801856" y="774913"/>
                </a:lnTo>
                <a:close/>
                <a:moveTo>
                  <a:pt x="6994644" y="326352"/>
                </a:moveTo>
                <a:cubicBezTo>
                  <a:pt x="6958135" y="327193"/>
                  <a:pt x="6927847" y="298275"/>
                  <a:pt x="6927011" y="261763"/>
                </a:cubicBezTo>
                <a:cubicBezTo>
                  <a:pt x="6926972" y="260277"/>
                  <a:pt x="6926988" y="258791"/>
                  <a:pt x="6927057" y="257307"/>
                </a:cubicBezTo>
                <a:cubicBezTo>
                  <a:pt x="6927057" y="220064"/>
                  <a:pt x="6957245" y="189873"/>
                  <a:pt x="6994490" y="189873"/>
                </a:cubicBezTo>
                <a:cubicBezTo>
                  <a:pt x="7031736" y="189873"/>
                  <a:pt x="7061924" y="220064"/>
                  <a:pt x="7061924" y="257307"/>
                </a:cubicBezTo>
                <a:cubicBezTo>
                  <a:pt x="7063282" y="294059"/>
                  <a:pt x="7034590" y="324952"/>
                  <a:pt x="6997835" y="326310"/>
                </a:cubicBezTo>
                <a:cubicBezTo>
                  <a:pt x="6996777" y="326349"/>
                  <a:pt x="6995710" y="326363"/>
                  <a:pt x="6994644" y="326352"/>
                </a:cubicBezTo>
                <a:moveTo>
                  <a:pt x="6994644" y="200920"/>
                </a:moveTo>
                <a:cubicBezTo>
                  <a:pt x="6964878" y="200920"/>
                  <a:pt x="6941786" y="223935"/>
                  <a:pt x="6941786" y="257691"/>
                </a:cubicBezTo>
                <a:cubicBezTo>
                  <a:pt x="6941786" y="288914"/>
                  <a:pt x="6961963" y="314384"/>
                  <a:pt x="6994644" y="314384"/>
                </a:cubicBezTo>
                <a:cubicBezTo>
                  <a:pt x="7024026" y="314384"/>
                  <a:pt x="7047195" y="291369"/>
                  <a:pt x="7047195" y="257691"/>
                </a:cubicBezTo>
                <a:cubicBezTo>
                  <a:pt x="7047195" y="224012"/>
                  <a:pt x="7024180" y="200920"/>
                  <a:pt x="6994644" y="200920"/>
                </a:cubicBezTo>
                <a:moveTo>
                  <a:pt x="6981295" y="296969"/>
                </a:moveTo>
                <a:lnTo>
                  <a:pt x="6968790" y="296969"/>
                </a:lnTo>
                <a:lnTo>
                  <a:pt x="6968790" y="220943"/>
                </a:lnTo>
                <a:lnTo>
                  <a:pt x="6997636" y="220943"/>
                </a:lnTo>
                <a:cubicBezTo>
                  <a:pt x="7016048" y="220943"/>
                  <a:pt x="7025407" y="227388"/>
                  <a:pt x="7025407" y="242808"/>
                </a:cubicBezTo>
                <a:cubicBezTo>
                  <a:pt x="7026128" y="253503"/>
                  <a:pt x="7018050" y="262759"/>
                  <a:pt x="7007356" y="263483"/>
                </a:cubicBezTo>
                <a:cubicBezTo>
                  <a:pt x="7006750" y="263524"/>
                  <a:pt x="7006144" y="263537"/>
                  <a:pt x="7005537" y="263521"/>
                </a:cubicBezTo>
                <a:lnTo>
                  <a:pt x="7026865" y="296969"/>
                </a:lnTo>
                <a:lnTo>
                  <a:pt x="7012672" y="296969"/>
                </a:lnTo>
                <a:lnTo>
                  <a:pt x="6993109" y="264442"/>
                </a:lnTo>
                <a:lnTo>
                  <a:pt x="6981295" y="264442"/>
                </a:lnTo>
                <a:close/>
                <a:moveTo>
                  <a:pt x="6995258" y="253778"/>
                </a:moveTo>
                <a:cubicBezTo>
                  <a:pt x="7004617" y="253778"/>
                  <a:pt x="7012902" y="252934"/>
                  <a:pt x="7012902" y="241887"/>
                </a:cubicBezTo>
                <a:cubicBezTo>
                  <a:pt x="7012902" y="232681"/>
                  <a:pt x="7003927" y="231607"/>
                  <a:pt x="6996408" y="231607"/>
                </a:cubicBezTo>
                <a:lnTo>
                  <a:pt x="6981065" y="231607"/>
                </a:lnTo>
                <a:lnTo>
                  <a:pt x="6981065" y="253778"/>
                </a:lnTo>
                <a:close/>
              </a:path>
            </a:pathLst>
          </a:custGeom>
          <a:solidFill>
            <a:srgbClr val="CC0000"/>
          </a:solidFill>
          <a:ln w="7663" cap="flat">
            <a:noFill/>
            <a:prstDash val="solid"/>
            <a:miter/>
          </a:ln>
        </p:spPr>
        <p:txBody>
          <a:bodyPr rtlCol="0" anchor="ctr"/>
          <a:lstStyle/>
          <a:p>
            <a:endParaRPr lang="en-US" sz="1800" dirty="0"/>
          </a:p>
        </p:txBody>
      </p:sp>
    </p:spTree>
    <p:extLst>
      <p:ext uri="{BB962C8B-B14F-4D97-AF65-F5344CB8AC3E}">
        <p14:creationId xmlns:p14="http://schemas.microsoft.com/office/powerpoint/2010/main" val="42780962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Divider with image_blue">
    <p:spTree>
      <p:nvGrpSpPr>
        <p:cNvPr id="1" name=""/>
        <p:cNvGrpSpPr/>
        <p:nvPr/>
      </p:nvGrpSpPr>
      <p:grpSpPr>
        <a:xfrm>
          <a:off x="0" y="0"/>
          <a:ext cx="0" cy="0"/>
          <a:chOff x="0" y="0"/>
          <a:chExt cx="0" cy="0"/>
        </a:xfrm>
      </p:grpSpPr>
      <p:sp>
        <p:nvSpPr>
          <p:cNvPr id="5" name="Picture Placeholder 15"/>
          <p:cNvSpPr>
            <a:spLocks noGrp="1"/>
          </p:cNvSpPr>
          <p:nvPr>
            <p:ph type="pic" sz="quarter" idx="15"/>
          </p:nvPr>
        </p:nvSpPr>
        <p:spPr>
          <a:xfrm>
            <a:off x="1" y="1"/>
            <a:ext cx="12192000" cy="6107113"/>
          </a:xfrm>
          <a:prstGeom prst="rect">
            <a:avLst/>
          </a:prstGeom>
          <a:solidFill>
            <a:schemeClr val="bg1">
              <a:lumMod val="75000"/>
            </a:schemeClr>
          </a:solidFill>
        </p:spPr>
        <p:txBody>
          <a:bodyPr/>
          <a:lstStyle>
            <a:lvl1pPr algn="ctr">
              <a:defRPr b="1" baseline="0">
                <a:solidFill>
                  <a:schemeClr val="bg1"/>
                </a:solidFill>
              </a:defRPr>
            </a:lvl1pPr>
          </a:lstStyle>
          <a:p>
            <a:r>
              <a:rPr lang="en-US"/>
              <a:t>Click icon to add picture</a:t>
            </a:r>
            <a:endParaRPr lang="en-US" dirty="0"/>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bwMode="ltGray">
          <a:xfrm>
            <a:off x="0" y="0"/>
            <a:ext cx="12192127" cy="6108192"/>
          </a:xfrm>
          <a:solidFill>
            <a:srgbClr val="267AC0">
              <a:alpha val="69804"/>
            </a:srgbClr>
          </a:solidFill>
        </p:spPr>
        <p:txBody>
          <a:bodyPr rIns="0" anchor="ctr"/>
          <a:lstStyle>
            <a:lvl1pPr algn="ctr">
              <a:defRPr sz="3600">
                <a:solidFill>
                  <a:schemeClr val="bg1"/>
                </a:solidFill>
                <a:latin typeface="+mn-lt"/>
              </a:defRPr>
            </a:lvl1pPr>
          </a:lstStyle>
          <a:p>
            <a:r>
              <a:rPr lang="en-US" dirty="0"/>
              <a:t>Click to edit title for divider</a:t>
            </a:r>
          </a:p>
        </p:txBody>
      </p:sp>
      <p:sp>
        <p:nvSpPr>
          <p:cNvPr id="2" name="Rectangle 1"/>
          <p:cNvSpPr/>
          <p:nvPr userDrawn="1"/>
        </p:nvSpPr>
        <p:spPr bwMode="gray">
          <a:xfrm>
            <a:off x="1" y="6261904"/>
            <a:ext cx="4445836" cy="596096"/>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dirty="0">
              <a:solidFill>
                <a:schemeClr val="bg1"/>
              </a:solidFill>
            </a:endParaRPr>
          </a:p>
        </p:txBody>
      </p:sp>
      <p:grpSp>
        <p:nvGrpSpPr>
          <p:cNvPr id="8" name="Group 7">
            <a:extLst>
              <a:ext uri="{FF2B5EF4-FFF2-40B4-BE49-F238E27FC236}">
                <a16:creationId xmlns:a16="http://schemas.microsoft.com/office/drawing/2014/main" id="{1A488A55-A1E3-4589-84A6-891A58FB0678}"/>
              </a:ext>
            </a:extLst>
          </p:cNvPr>
          <p:cNvGrpSpPr/>
          <p:nvPr userDrawn="1"/>
        </p:nvGrpSpPr>
        <p:grpSpPr bwMode="white">
          <a:xfrm>
            <a:off x="5899151" y="2270492"/>
            <a:ext cx="393699" cy="1554480"/>
            <a:chOff x="5897615" y="2231631"/>
            <a:chExt cx="393596" cy="1554480"/>
          </a:xfrm>
        </p:grpSpPr>
        <p:cxnSp>
          <p:nvCxnSpPr>
            <p:cNvPr id="9" name="Straight Connector 8">
              <a:extLst>
                <a:ext uri="{FF2B5EF4-FFF2-40B4-BE49-F238E27FC236}">
                  <a16:creationId xmlns:a16="http://schemas.microsoft.com/office/drawing/2014/main" id="{A3CD6507-4329-43F1-9783-C7A1ED84BBC5}"/>
                </a:ext>
              </a:extLst>
            </p:cNvPr>
            <p:cNvCxnSpPr/>
            <p:nvPr/>
          </p:nvCxnSpPr>
          <p:spPr bwMode="white">
            <a:xfrm>
              <a:off x="5897615" y="223163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A169C1-F273-430E-82C8-6CC1089786DA}"/>
                </a:ext>
              </a:extLst>
            </p:cNvPr>
            <p:cNvCxnSpPr/>
            <p:nvPr/>
          </p:nvCxnSpPr>
          <p:spPr bwMode="white">
            <a:xfrm>
              <a:off x="5897615" y="3786111"/>
              <a:ext cx="393596" cy="0"/>
            </a:xfrm>
            <a:prstGeom prst="line">
              <a:avLst/>
            </a:prstGeom>
            <a:ln w="25400" cmpd="sng">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0020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_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5"/>
          <p:cNvSpPr>
            <a:spLocks noGrp="1"/>
          </p:cNvSpPr>
          <p:nvPr>
            <p:ph type="body" sz="quarter" idx="15"/>
          </p:nvPr>
        </p:nvSpPr>
        <p:spPr>
          <a:xfrm>
            <a:off x="609604" y="5351780"/>
            <a:ext cx="10972801" cy="502920"/>
          </a:xfrm>
          <a:solidFill>
            <a:schemeClr val="tx2"/>
          </a:solidFill>
          <a:ln w="101600">
            <a:noFill/>
            <a:miter lim="800000"/>
          </a:ln>
          <a:effectLst/>
        </p:spPr>
        <p:txBody>
          <a:bodyPr lIns="91440" tIns="91440" bIns="91440" anchor="ctr" anchorCtr="0">
            <a:noAutofit/>
          </a:bodyPr>
          <a:lstStyle>
            <a:lvl1pPr algn="ctr">
              <a:spcBef>
                <a:spcPts val="0"/>
              </a:spcBef>
              <a:defRPr sz="1600">
                <a:solidFill>
                  <a:schemeClr val="bg1"/>
                </a:solidFill>
              </a:defRPr>
            </a:lvl1pPr>
          </a:lstStyle>
          <a:p>
            <a:pPr lvl="0"/>
            <a:r>
              <a:rPr lang="en-US" dirty="0"/>
              <a:t>Click to edit Master text styles</a:t>
            </a:r>
          </a:p>
        </p:txBody>
      </p:sp>
      <p:sp>
        <p:nvSpPr>
          <p:cNvPr id="4" name="Text Placeholder 8"/>
          <p:cNvSpPr>
            <a:spLocks noGrp="1"/>
          </p:cNvSpPr>
          <p:nvPr>
            <p:ph type="body" sz="quarter" idx="13" hasCustomPrompt="1"/>
          </p:nvPr>
        </p:nvSpPr>
        <p:spPr>
          <a:xfrm>
            <a:off x="609601" y="5882600"/>
            <a:ext cx="10977034"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dirty="0"/>
              <a:t>Add footnotes if needed</a:t>
            </a:r>
          </a:p>
        </p:txBody>
      </p:sp>
    </p:spTree>
    <p:extLst>
      <p:ext uri="{BB962C8B-B14F-4D97-AF65-F5344CB8AC3E}">
        <p14:creationId xmlns:p14="http://schemas.microsoft.com/office/powerpoint/2010/main" val="21396495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hree Box">
    <p:spTree>
      <p:nvGrpSpPr>
        <p:cNvPr id="1" name=""/>
        <p:cNvGrpSpPr/>
        <p:nvPr/>
      </p:nvGrpSpPr>
      <p:grpSpPr>
        <a:xfrm>
          <a:off x="0" y="0"/>
          <a:ext cx="0" cy="0"/>
          <a:chOff x="0" y="0"/>
          <a:chExt cx="0" cy="0"/>
        </a:xfrm>
      </p:grpSpPr>
      <p:sp>
        <p:nvSpPr>
          <p:cNvPr id="4" name="Rectangle 3"/>
          <p:cNvSpPr/>
          <p:nvPr userDrawn="1"/>
        </p:nvSpPr>
        <p:spPr>
          <a:xfrm>
            <a:off x="609599" y="2060576"/>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00" b="1" dirty="0">
              <a:solidFill>
                <a:schemeClr val="bg1"/>
              </a:solidFill>
            </a:endParaRPr>
          </a:p>
        </p:txBody>
      </p:sp>
      <p:sp>
        <p:nvSpPr>
          <p:cNvPr id="2" name="Title 1"/>
          <p:cNvSpPr>
            <a:spLocks noGrp="1"/>
          </p:cNvSpPr>
          <p:nvPr>
            <p:ph type="title"/>
          </p:nvPr>
        </p:nvSpPr>
        <p:spPr/>
        <p:txBody>
          <a:bodyPr/>
          <a:lstStyle>
            <a:lvl1pPr>
              <a:defRPr baseline="0"/>
            </a:lvl1pPr>
          </a:lstStyle>
          <a:p>
            <a:r>
              <a:rPr lang="en-US" dirty="0"/>
              <a:t>Click to edit Master title style</a:t>
            </a:r>
          </a:p>
        </p:txBody>
      </p:sp>
      <p:sp>
        <p:nvSpPr>
          <p:cNvPr id="3" name="Content Placeholder 2"/>
          <p:cNvSpPr>
            <a:spLocks noGrp="1"/>
          </p:cNvSpPr>
          <p:nvPr>
            <p:ph idx="1"/>
          </p:nvPr>
        </p:nvSpPr>
        <p:spPr bwMode="gray">
          <a:xfrm>
            <a:off x="609599" y="2057402"/>
            <a:ext cx="3572256" cy="3772465"/>
          </a:xfrm>
        </p:spPr>
        <p:txBody>
          <a:bodyPr lIns="137160" tIns="137160" bIns="91440"/>
          <a:lstStyle>
            <a:lvl1pPr>
              <a:defRPr sz="1600" cap="none"/>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7" name="Text Placeholder 8"/>
          <p:cNvSpPr>
            <a:spLocks noGrp="1"/>
          </p:cNvSpPr>
          <p:nvPr>
            <p:ph type="body" sz="quarter" idx="13" hasCustomPrompt="1"/>
          </p:nvPr>
        </p:nvSpPr>
        <p:spPr>
          <a:xfrm>
            <a:off x="609600" y="5882600"/>
            <a:ext cx="10972801" cy="418596"/>
          </a:xfrm>
        </p:spPr>
        <p:txBody>
          <a:bodyPr anchor="b" anchorCtr="0">
            <a:noAutofit/>
          </a:bodyPr>
          <a:lstStyle>
            <a:lvl1pPr marL="0" indent="0">
              <a:lnSpc>
                <a:spcPct val="90000"/>
              </a:lnSpc>
              <a:spcBef>
                <a:spcPts val="0"/>
              </a:spcBef>
              <a:spcAft>
                <a:spcPts val="0"/>
              </a:spcAft>
              <a:buNone/>
              <a:defRPr sz="700" b="0">
                <a:solidFill>
                  <a:schemeClr val="tx1"/>
                </a:solidFill>
              </a:defRPr>
            </a:lvl1pPr>
          </a:lstStyle>
          <a:p>
            <a:pPr lvl="0"/>
            <a:r>
              <a:rPr lang="en-US" dirty="0"/>
              <a:t>Add footnotes if needed</a:t>
            </a:r>
          </a:p>
        </p:txBody>
      </p:sp>
      <p:sp>
        <p:nvSpPr>
          <p:cNvPr id="6" name="Text Placeholder 2"/>
          <p:cNvSpPr>
            <a:spLocks noGrp="1"/>
          </p:cNvSpPr>
          <p:nvPr>
            <p:ph type="body" idx="14"/>
          </p:nvPr>
        </p:nvSpPr>
        <p:spPr>
          <a:xfrm>
            <a:off x="609604" y="1463042"/>
            <a:ext cx="3572256" cy="502601"/>
          </a:xfrm>
          <a:solidFill>
            <a:schemeClr val="tx1"/>
          </a:solidFill>
        </p:spPr>
        <p:txBody>
          <a:bodyPr lIns="13716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Rectangle 7"/>
          <p:cNvSpPr/>
          <p:nvPr userDrawn="1"/>
        </p:nvSpPr>
        <p:spPr>
          <a:xfrm>
            <a:off x="4309873" y="2060576"/>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00" b="1" dirty="0">
              <a:solidFill>
                <a:schemeClr val="bg1"/>
              </a:solidFill>
            </a:endParaRPr>
          </a:p>
        </p:txBody>
      </p:sp>
      <p:sp>
        <p:nvSpPr>
          <p:cNvPr id="9" name="Content Placeholder 2"/>
          <p:cNvSpPr>
            <a:spLocks noGrp="1"/>
          </p:cNvSpPr>
          <p:nvPr>
            <p:ph idx="15"/>
          </p:nvPr>
        </p:nvSpPr>
        <p:spPr bwMode="gray">
          <a:xfrm>
            <a:off x="4309873" y="2057402"/>
            <a:ext cx="3572256" cy="3772465"/>
          </a:xfrm>
        </p:spPr>
        <p:txBody>
          <a:bodyPr lIns="137160" tIns="137160" bIns="91440"/>
          <a:lstStyle>
            <a:lvl1pPr>
              <a:defRPr sz="1600" cap="none"/>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idx="16"/>
          </p:nvPr>
        </p:nvSpPr>
        <p:spPr>
          <a:xfrm>
            <a:off x="4309873" y="1463042"/>
            <a:ext cx="3572256" cy="502601"/>
          </a:xfrm>
          <a:solidFill>
            <a:schemeClr val="tx1"/>
          </a:solidFill>
        </p:spPr>
        <p:txBody>
          <a:bodyPr lIns="13716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Rectangle 10"/>
          <p:cNvSpPr/>
          <p:nvPr userDrawn="1"/>
        </p:nvSpPr>
        <p:spPr>
          <a:xfrm>
            <a:off x="8010144" y="2060575"/>
            <a:ext cx="3572256" cy="3772465"/>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00" b="1" dirty="0">
              <a:solidFill>
                <a:schemeClr val="bg1"/>
              </a:solidFill>
            </a:endParaRPr>
          </a:p>
        </p:txBody>
      </p:sp>
      <p:sp>
        <p:nvSpPr>
          <p:cNvPr id="12" name="Content Placeholder 2"/>
          <p:cNvSpPr>
            <a:spLocks noGrp="1"/>
          </p:cNvSpPr>
          <p:nvPr>
            <p:ph idx="17"/>
          </p:nvPr>
        </p:nvSpPr>
        <p:spPr bwMode="gray">
          <a:xfrm>
            <a:off x="8010144" y="2057402"/>
            <a:ext cx="3572256" cy="3772465"/>
          </a:xfrm>
        </p:spPr>
        <p:txBody>
          <a:bodyPr lIns="137160" tIns="137160" bIns="91440"/>
          <a:lstStyle>
            <a:lvl1pPr>
              <a:defRPr sz="1600" cap="none"/>
            </a:lvl1pPr>
            <a:lvl2pPr>
              <a:defRPr sz="14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p:txBody>
      </p:sp>
      <p:sp>
        <p:nvSpPr>
          <p:cNvPr id="13" name="Text Placeholder 2"/>
          <p:cNvSpPr>
            <a:spLocks noGrp="1"/>
          </p:cNvSpPr>
          <p:nvPr>
            <p:ph type="body" idx="18"/>
          </p:nvPr>
        </p:nvSpPr>
        <p:spPr>
          <a:xfrm>
            <a:off x="8010144" y="1463042"/>
            <a:ext cx="3572256" cy="502601"/>
          </a:xfrm>
          <a:solidFill>
            <a:schemeClr val="tx1"/>
          </a:solidFill>
        </p:spPr>
        <p:txBody>
          <a:bodyPr lIns="137160" anchor="ctr" anchorCtr="0"/>
          <a:lstStyle>
            <a:lvl1pPr marL="0" indent="0">
              <a:lnSpc>
                <a:spcPct val="90000"/>
              </a:lnSpc>
              <a:spcBef>
                <a:spcPts val="0"/>
              </a:spcBef>
              <a:buNone/>
              <a:defRPr sz="1600" b="1" cap="all">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2162710556"/>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2E369-D281-5C16-E4A8-D705AFCD0E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3771DA5-C6D9-83D1-ABA8-9BD580B5BE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7D2BC7B-F2C4-2860-4D85-C253223F4F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0520CF-988D-D449-E7FB-7976A4820062}"/>
              </a:ext>
            </a:extLst>
          </p:cNvPr>
          <p:cNvSpPr>
            <a:spLocks noGrp="1"/>
          </p:cNvSpPr>
          <p:nvPr>
            <p:ph type="dt" sz="half" idx="10"/>
          </p:nvPr>
        </p:nvSpPr>
        <p:spPr/>
        <p:txBody>
          <a:bodyPr/>
          <a:lstStyle/>
          <a:p>
            <a:fld id="{C10C29B7-155A-4665-B578-25092855AB77}" type="datetime1">
              <a:rPr lang="en-US" smtClean="0"/>
              <a:t>9/13/2024</a:t>
            </a:fld>
            <a:endParaRPr lang="en-US"/>
          </a:p>
        </p:txBody>
      </p:sp>
      <p:sp>
        <p:nvSpPr>
          <p:cNvPr id="6" name="Footer Placeholder 5">
            <a:extLst>
              <a:ext uri="{FF2B5EF4-FFF2-40B4-BE49-F238E27FC236}">
                <a16:creationId xmlns:a16="http://schemas.microsoft.com/office/drawing/2014/main" id="{74C5136F-1021-2B17-C364-904101D71B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84E2A4-1A20-26A8-BD69-F5A534F3036E}"/>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76271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49224-7F3A-E18A-CEAB-4214676EC1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8EA9699-7C6F-2697-77F4-6259CA67F7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59B86E-6AA5-9CDB-B0DF-5A819B96DD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52650B-EAD4-9663-B03D-32B329F67954}"/>
              </a:ext>
            </a:extLst>
          </p:cNvPr>
          <p:cNvSpPr>
            <a:spLocks noGrp="1"/>
          </p:cNvSpPr>
          <p:nvPr>
            <p:ph type="dt" sz="half" idx="10"/>
          </p:nvPr>
        </p:nvSpPr>
        <p:spPr/>
        <p:txBody>
          <a:bodyPr/>
          <a:lstStyle/>
          <a:p>
            <a:fld id="{CCAEC738-67D4-49D7-9642-391DEE7DC631}" type="datetime1">
              <a:rPr lang="en-US" smtClean="0"/>
              <a:t>9/13/2024</a:t>
            </a:fld>
            <a:endParaRPr lang="en-US"/>
          </a:p>
        </p:txBody>
      </p:sp>
      <p:sp>
        <p:nvSpPr>
          <p:cNvPr id="6" name="Footer Placeholder 5">
            <a:extLst>
              <a:ext uri="{FF2B5EF4-FFF2-40B4-BE49-F238E27FC236}">
                <a16:creationId xmlns:a16="http://schemas.microsoft.com/office/drawing/2014/main" id="{377115DA-FA32-70E3-527D-CB40F5E592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70DBAD-93F2-960D-C22E-B14AF5533A9C}"/>
              </a:ext>
            </a:extLst>
          </p:cNvPr>
          <p:cNvSpPr>
            <a:spLocks noGrp="1"/>
          </p:cNvSpPr>
          <p:nvPr>
            <p:ph type="sldNum" sz="quarter" idx="12"/>
          </p:nvPr>
        </p:nvSpPr>
        <p:spPr/>
        <p:txBody>
          <a:bodyPr/>
          <a:lstStyle/>
          <a:p>
            <a:fld id="{7D574CE8-E1C3-40A2-8186-20B884981DF2}" type="slidenum">
              <a:rPr lang="en-US" smtClean="0"/>
              <a:t>‹#›</a:t>
            </a:fld>
            <a:endParaRPr lang="en-US"/>
          </a:p>
        </p:txBody>
      </p:sp>
    </p:spTree>
    <p:extLst>
      <p:ext uri="{BB962C8B-B14F-4D97-AF65-F5344CB8AC3E}">
        <p14:creationId xmlns:p14="http://schemas.microsoft.com/office/powerpoint/2010/main" val="1536992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jp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50" Type="http://schemas.openxmlformats.org/officeDocument/2006/relationships/slideLayout" Target="../slideLayouts/slideLayout73.xml"/><Relationship Id="rId55" Type="http://schemas.openxmlformats.org/officeDocument/2006/relationships/image" Target="../media/image5.pn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54"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3" Type="http://schemas.openxmlformats.org/officeDocument/2006/relationships/slideLayout" Target="../slideLayouts/slideLayout76.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slideLayout" Target="../slideLayouts/slideLayout7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56" Type="http://schemas.openxmlformats.org/officeDocument/2006/relationships/image" Target="../media/image6.svg"/><Relationship Id="rId8" Type="http://schemas.openxmlformats.org/officeDocument/2006/relationships/slideLayout" Target="../slideLayouts/slideLayout31.xml"/><Relationship Id="rId51" Type="http://schemas.openxmlformats.org/officeDocument/2006/relationships/slideLayout" Target="../slideLayouts/slideLayout74.xml"/><Relationship Id="rId3"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661C8C-3595-F7A7-5471-EA1D0E4D00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B15D685-24AF-28DC-F7CF-202D676A49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D322E1-C6F2-15B0-BC8A-2BC2280C24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B4F213-1557-4A77-8C0E-477004909030}" type="datetime1">
              <a:rPr lang="en-US" smtClean="0"/>
              <a:t>9/13/2024</a:t>
            </a:fld>
            <a:endParaRPr lang="en-US"/>
          </a:p>
        </p:txBody>
      </p:sp>
      <p:sp>
        <p:nvSpPr>
          <p:cNvPr id="5" name="Footer Placeholder 4">
            <a:extLst>
              <a:ext uri="{FF2B5EF4-FFF2-40B4-BE49-F238E27FC236}">
                <a16:creationId xmlns:a16="http://schemas.microsoft.com/office/drawing/2014/main" id="{7914E871-C1B8-DB05-8440-48E1F9A69F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6677B14-7CD9-9F30-0786-68DE07DFC7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574CE8-E1C3-40A2-8186-20B884981DF2}" type="slidenum">
              <a:rPr lang="en-US" smtClean="0"/>
              <a:t>‹#›</a:t>
            </a:fld>
            <a:endParaRPr lang="en-US"/>
          </a:p>
        </p:txBody>
      </p:sp>
    </p:spTree>
    <p:extLst>
      <p:ext uri="{BB962C8B-B14F-4D97-AF65-F5344CB8AC3E}">
        <p14:creationId xmlns:p14="http://schemas.microsoft.com/office/powerpoint/2010/main" val="5195796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8"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E3FE71-CC55-A3F9-2380-7C1950A3AD60}"/>
              </a:ext>
            </a:extLst>
          </p:cNvPr>
          <p:cNvSpPr>
            <a:spLocks noGrp="1"/>
          </p:cNvSpPr>
          <p:nvPr>
            <p:ph type="title"/>
          </p:nvPr>
        </p:nvSpPr>
        <p:spPr>
          <a:xfrm>
            <a:off x="2113808" y="1"/>
            <a:ext cx="9239992" cy="11756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1453025-5FAB-D175-492F-F174386529CF}"/>
              </a:ext>
            </a:extLst>
          </p:cNvPr>
          <p:cNvSpPr>
            <a:spLocks noGrp="1"/>
          </p:cNvSpPr>
          <p:nvPr>
            <p:ph type="body" idx="1"/>
          </p:nvPr>
        </p:nvSpPr>
        <p:spPr>
          <a:xfrm>
            <a:off x="838200" y="1543792"/>
            <a:ext cx="10515600" cy="463317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7FCB35C-9E3B-66A1-BC82-129F5F6F5D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21F1C8F6-F537-A543-8E07-685F09530F22}" type="datetimeFigureOut">
              <a:rPr lang="en-US" smtClean="0"/>
              <a:pPr/>
              <a:t>9/13/2024</a:t>
            </a:fld>
            <a:endParaRPr lang="en-US"/>
          </a:p>
        </p:txBody>
      </p:sp>
      <p:sp>
        <p:nvSpPr>
          <p:cNvPr id="5" name="Footer Placeholder 4">
            <a:extLst>
              <a:ext uri="{FF2B5EF4-FFF2-40B4-BE49-F238E27FC236}">
                <a16:creationId xmlns:a16="http://schemas.microsoft.com/office/drawing/2014/main" id="{1864AE3A-9513-992B-B67E-0D030015AF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A7D383F-5FD4-812F-6465-36BFA7304A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60E0043C-8871-8641-B07E-1A97482E98AE}" type="slidenum">
              <a:rPr lang="en-US" smtClean="0"/>
              <a:pPr/>
              <a:t>‹#›</a:t>
            </a:fld>
            <a:endParaRPr lang="en-US"/>
          </a:p>
        </p:txBody>
      </p:sp>
    </p:spTree>
    <p:extLst>
      <p:ext uri="{BB962C8B-B14F-4D97-AF65-F5344CB8AC3E}">
        <p14:creationId xmlns:p14="http://schemas.microsoft.com/office/powerpoint/2010/main" val="340559272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929" y="649224"/>
            <a:ext cx="9667726" cy="713232"/>
          </a:xfrm>
          <a:prstGeom prst="rect">
            <a:avLst/>
          </a:prstGeom>
        </p:spPr>
        <p:txBody>
          <a:bodyPr vert="horz" lIns="0" tIns="0" rIns="0" bIns="0" rtlCol="0" anchor="t" anchorCtr="0">
            <a:noAutofit/>
          </a:bodyPr>
          <a:lstStyle/>
          <a:p>
            <a:r>
              <a:rPr lang="en-US" dirty="0"/>
              <a:t>Click to edit master title</a:t>
            </a:r>
          </a:p>
        </p:txBody>
      </p:sp>
      <p:sp>
        <p:nvSpPr>
          <p:cNvPr id="3" name="Text Placeholder 2"/>
          <p:cNvSpPr>
            <a:spLocks noGrp="1"/>
          </p:cNvSpPr>
          <p:nvPr>
            <p:ph type="body" idx="1"/>
          </p:nvPr>
        </p:nvSpPr>
        <p:spPr bwMode="gray">
          <a:xfrm>
            <a:off x="557929" y="1773936"/>
            <a:ext cx="10771119" cy="3977640"/>
          </a:xfrm>
          <a:prstGeom prst="rect">
            <a:avLst/>
          </a:prstGeom>
        </p:spPr>
        <p:txBody>
          <a:bodyPr vert="horz" lIns="0" tIns="0" rIns="0" bIns="0" rtlCol="0">
            <a:noAutofit/>
          </a:bodyPr>
          <a:lstStyle/>
          <a:p>
            <a:pPr lvl="0"/>
            <a:r>
              <a:rPr lang="en-US" dirty="0"/>
              <a:t>Click to edit Master text styles</a:t>
            </a:r>
          </a:p>
          <a:p>
            <a:pPr lvl="1"/>
            <a:r>
              <a:rPr lang="en-US" dirty="0"/>
              <a:t>First-level bullet</a:t>
            </a:r>
          </a:p>
          <a:p>
            <a:pPr marL="342900" marR="0" lvl="2" indent="-171450" algn="l" defTabSz="457200" rtl="0" eaLnBrk="1" fontAlgn="auto" latinLnBrk="0" hangingPunct="1">
              <a:lnSpc>
                <a:spcPct val="100000"/>
              </a:lnSpc>
              <a:spcBef>
                <a:spcPts val="600"/>
              </a:spcBef>
              <a:spcAft>
                <a:spcPts val="0"/>
              </a:spcAft>
              <a:buClrTx/>
              <a:buSzTx/>
              <a:buFont typeface="CVS Health Sans"/>
              <a:buChar char="–"/>
              <a:tabLst/>
              <a:defRPr/>
            </a:pPr>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0" name="Content Placeholder 8"/>
          <p:cNvSpPr txBox="1">
            <a:spLocks/>
          </p:cNvSpPr>
          <p:nvPr userDrawn="1"/>
        </p:nvSpPr>
        <p:spPr>
          <a:xfrm>
            <a:off x="557930" y="6367487"/>
            <a:ext cx="352459"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CVS Health Sans"/>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38743595-4496-5147-A886-7D133864DF76}" type="slidenum">
              <a:rPr lang="en-US" sz="1000" b="1" smtClean="0">
                <a:solidFill>
                  <a:schemeClr val="tx2"/>
                </a:solidFill>
                <a:latin typeface="+mn-lt"/>
                <a:ea typeface="Open Sans" panose="020B0606030504020204" pitchFamily="34" charset="0"/>
                <a:cs typeface="Arial" panose="020B0604020202020204" pitchFamily="34" charset="0"/>
              </a:rPr>
              <a:pPr algn="l"/>
              <a:t>‹#›</a:t>
            </a:fld>
            <a:endParaRPr lang="en-US" sz="1000" b="1" dirty="0">
              <a:solidFill>
                <a:schemeClr val="tx2"/>
              </a:solidFill>
              <a:latin typeface="+mn-lt"/>
              <a:ea typeface="Open Sans" panose="020B0606030504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2B9F1AC-7982-48A5-A9F4-F49F09D2E693}"/>
              </a:ext>
            </a:extLst>
          </p:cNvPr>
          <p:cNvSpPr txBox="1"/>
          <p:nvPr userDrawn="1"/>
        </p:nvSpPr>
        <p:spPr>
          <a:xfrm>
            <a:off x="859758" y="6425582"/>
            <a:ext cx="8048816" cy="123111"/>
          </a:xfrm>
          <a:prstGeom prst="rect">
            <a:avLst/>
          </a:prstGeom>
          <a:noFill/>
        </p:spPr>
        <p:txBody>
          <a:bodyPr wrap="square" lIns="0" tIns="0" rIns="0" bIns="0" rtlCol="0" anchor="b">
            <a:spAutoFit/>
          </a:bodyPr>
          <a:lstStyle/>
          <a:p>
            <a:r>
              <a:rPr lang="en-US" sz="800" b="0" dirty="0">
                <a:solidFill>
                  <a:schemeClr val="tx2"/>
                </a:solidFill>
              </a:rPr>
              <a:t>©2024 CVS </a:t>
            </a:r>
            <a:r>
              <a:rPr lang="en-US" sz="800" b="0" dirty="0">
                <a:solidFill>
                  <a:schemeClr val="tx2"/>
                </a:solidFill>
                <a:latin typeface="+mn-lt"/>
              </a:rPr>
              <a:t>Health</a:t>
            </a:r>
            <a:r>
              <a:rPr lang="en-US" sz="800" b="0" dirty="0">
                <a:solidFill>
                  <a:schemeClr val="tx2"/>
                </a:solidFill>
              </a:rPr>
              <a:t> and/or one of its affiliates. Confidential and proprietary.</a:t>
            </a:r>
          </a:p>
        </p:txBody>
      </p:sp>
      <p:pic>
        <p:nvPicPr>
          <p:cNvPr id="7" name="Graphic 6" descr="CVS Caremark logo.">
            <a:extLst>
              <a:ext uri="{FF2B5EF4-FFF2-40B4-BE49-F238E27FC236}">
                <a16:creationId xmlns:a16="http://schemas.microsoft.com/office/drawing/2014/main" id="{9D0E0284-1B0F-4177-9486-3C67E4051036}"/>
              </a:ext>
            </a:extLst>
          </p:cNvPr>
          <p:cNvPicPr>
            <a:picLocks noChangeAspect="1"/>
          </p:cNvPicPr>
          <p:nvPr userDrawn="1"/>
        </p:nvPicPr>
        <p:blipFill>
          <a:blip r:embed="rId55" cstate="print">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10248331" y="6373368"/>
            <a:ext cx="1382548" cy="156078"/>
          </a:xfrm>
          <a:prstGeom prst="rect">
            <a:avLst/>
          </a:prstGeom>
        </p:spPr>
      </p:pic>
    </p:spTree>
    <p:extLst>
      <p:ext uri="{BB962C8B-B14F-4D97-AF65-F5344CB8AC3E}">
        <p14:creationId xmlns:p14="http://schemas.microsoft.com/office/powerpoint/2010/main" val="292142168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 id="2147483716" r:id="rId34"/>
    <p:sldLayoutId id="2147483717" r:id="rId35"/>
    <p:sldLayoutId id="2147483718" r:id="rId36"/>
    <p:sldLayoutId id="2147483719" r:id="rId37"/>
    <p:sldLayoutId id="2147483720" r:id="rId38"/>
    <p:sldLayoutId id="2147483721" r:id="rId39"/>
    <p:sldLayoutId id="2147483722" r:id="rId40"/>
    <p:sldLayoutId id="2147483723" r:id="rId41"/>
    <p:sldLayoutId id="2147483724" r:id="rId42"/>
    <p:sldLayoutId id="2147483725" r:id="rId43"/>
    <p:sldLayoutId id="2147483726" r:id="rId44"/>
    <p:sldLayoutId id="2147483727" r:id="rId45"/>
    <p:sldLayoutId id="2147483728" r:id="rId46"/>
    <p:sldLayoutId id="2147483729" r:id="rId47"/>
    <p:sldLayoutId id="2147483730" r:id="rId48"/>
    <p:sldLayoutId id="2147483731" r:id="rId49"/>
    <p:sldLayoutId id="2147483732" r:id="rId50"/>
    <p:sldLayoutId id="2147483733" r:id="rId51"/>
    <p:sldLayoutId id="2147483734" r:id="rId52"/>
    <p:sldLayoutId id="2147483735" r:id="rId53"/>
  </p:sldLayoutIdLst>
  <p:hf hdr="0" dt="0"/>
  <p:txStyles>
    <p:titleStyle>
      <a:lvl1pPr algn="l" defTabSz="457200" rtl="0" eaLnBrk="1" latinLnBrk="0" hangingPunct="1">
        <a:lnSpc>
          <a:spcPct val="90000"/>
        </a:lnSpc>
        <a:spcBef>
          <a:spcPct val="0"/>
        </a:spcBef>
        <a:buNone/>
        <a:defRPr sz="3200" b="0" kern="1200">
          <a:solidFill>
            <a:schemeClr val="tx2"/>
          </a:solidFill>
          <a:latin typeface="+mj-lt"/>
          <a:ea typeface="+mj-ea"/>
          <a:cs typeface="+mj-cs"/>
        </a:defRPr>
      </a:lvl1pPr>
    </p:titleStyle>
    <p:bodyStyle>
      <a:lvl1pPr marL="0" indent="0" algn="l" defTabSz="457200" rtl="0" eaLnBrk="1" latinLnBrk="0" hangingPunct="1">
        <a:lnSpc>
          <a:spcPct val="100000"/>
        </a:lnSpc>
        <a:spcBef>
          <a:spcPts val="1800"/>
        </a:spcBef>
        <a:buClrTx/>
        <a:buFont typeface="Arial"/>
        <a:buNone/>
        <a:defRPr sz="1500" b="0" kern="1200">
          <a:solidFill>
            <a:schemeClr val="tx2"/>
          </a:solidFill>
          <a:latin typeface="+mn-lt"/>
          <a:ea typeface="+mn-ea"/>
          <a:cs typeface="+mn-cs"/>
        </a:defRPr>
      </a:lvl1pPr>
      <a:lvl2pPr marL="171450" indent="-171450" algn="l" defTabSz="457200" rtl="0" eaLnBrk="1" latinLnBrk="0" hangingPunct="1">
        <a:lnSpc>
          <a:spcPct val="100000"/>
        </a:lnSpc>
        <a:spcBef>
          <a:spcPts val="1200"/>
        </a:spcBef>
        <a:buClrTx/>
        <a:buFont typeface="Arial"/>
        <a:buChar char="•"/>
        <a:defRPr sz="1500" kern="1200">
          <a:solidFill>
            <a:schemeClr val="tx2"/>
          </a:solidFill>
          <a:latin typeface="+mn-lt"/>
          <a:ea typeface="+mn-ea"/>
          <a:cs typeface="+mn-cs"/>
        </a:defRPr>
      </a:lvl2pPr>
      <a:lvl3pPr marL="171450" marR="0" indent="0" algn="l" defTabSz="457200" rtl="0" eaLnBrk="1" fontAlgn="auto" latinLnBrk="0" hangingPunct="1">
        <a:lnSpc>
          <a:spcPct val="100000"/>
        </a:lnSpc>
        <a:spcBef>
          <a:spcPts val="600"/>
        </a:spcBef>
        <a:spcAft>
          <a:spcPts val="0"/>
        </a:spcAft>
        <a:buClrTx/>
        <a:buSzTx/>
        <a:buFont typeface="CVS Health Sans"/>
        <a:buNone/>
        <a:tabLst/>
        <a:defRPr sz="1500" kern="1200">
          <a:solidFill>
            <a:schemeClr val="tx2"/>
          </a:solidFill>
          <a:latin typeface="+mn-lt"/>
          <a:ea typeface="+mn-ea"/>
          <a:cs typeface="+mn-cs"/>
        </a:defRPr>
      </a:lvl3pPr>
      <a:lvl4pPr marL="514350" indent="-171450" algn="l" defTabSz="457200" rtl="0" eaLnBrk="1" latinLnBrk="0" hangingPunct="1">
        <a:lnSpc>
          <a:spcPct val="100000"/>
        </a:lnSpc>
        <a:spcBef>
          <a:spcPts val="600"/>
        </a:spcBef>
        <a:buClrTx/>
        <a:buFont typeface="Arial"/>
        <a:buChar char="•"/>
        <a:defRPr sz="1500" kern="1200">
          <a:solidFill>
            <a:schemeClr val="tx2"/>
          </a:solidFill>
          <a:latin typeface="+mn-lt"/>
          <a:ea typeface="+mn-ea"/>
          <a:cs typeface="+mn-cs"/>
        </a:defRPr>
      </a:lvl4pPr>
      <a:lvl5pPr marL="682625" indent="-168275" algn="l" defTabSz="457200" rtl="0" eaLnBrk="1" latinLnBrk="0" hangingPunct="1">
        <a:lnSpc>
          <a:spcPct val="100000"/>
        </a:lnSpc>
        <a:spcBef>
          <a:spcPts val="600"/>
        </a:spcBef>
        <a:buClrTx/>
        <a:buFont typeface="Arial" panose="020B0604020202020204" pitchFamily="34" charset="0"/>
        <a:buChar char="–"/>
        <a:defRPr sz="1500" kern="1200">
          <a:solidFill>
            <a:schemeClr val="tx2"/>
          </a:solidFill>
          <a:latin typeface="+mn-lt"/>
          <a:ea typeface="+mn-ea"/>
          <a:cs typeface="+mn-cs"/>
        </a:defRPr>
      </a:lvl5pPr>
      <a:lvl6pPr marL="8572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6pPr>
      <a:lvl7pPr marL="1030288" indent="-173038"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7pPr>
      <a:lvl8pPr marL="1203325" indent="-173038" algn="l" defTabSz="457200" rtl="0" eaLnBrk="1" latinLnBrk="0" hangingPunct="1">
        <a:lnSpc>
          <a:spcPct val="100000"/>
        </a:lnSpc>
        <a:spcBef>
          <a:spcPts val="600"/>
        </a:spcBef>
        <a:buFont typeface="Arial"/>
        <a:buChar char="•"/>
        <a:defRPr sz="1500" kern="1200" baseline="0">
          <a:solidFill>
            <a:schemeClr val="tx2"/>
          </a:solidFill>
          <a:latin typeface="+mn-lt"/>
          <a:ea typeface="+mn-ea"/>
          <a:cs typeface="+mn-cs"/>
        </a:defRPr>
      </a:lvl8pPr>
      <a:lvl9pPr marL="1377950" indent="-174625" algn="l" defTabSz="457200" rtl="0" eaLnBrk="1" latinLnBrk="0" hangingPunct="1">
        <a:lnSpc>
          <a:spcPct val="100000"/>
        </a:lnSpc>
        <a:spcBef>
          <a:spcPts val="600"/>
        </a:spcBef>
        <a:buFont typeface="Arial" panose="020B0604020202020204" pitchFamily="34" charset="0"/>
        <a:buChar char="–"/>
        <a:defRPr sz="1500" kern="1200" baseline="0">
          <a:solidFill>
            <a:schemeClr val="tx2"/>
          </a:solidFill>
          <a:latin typeface="+mn-lt"/>
          <a:ea typeface="+mn-ea"/>
          <a:cs typeface="+mn-cs"/>
        </a:defRPr>
      </a:lvl9pPr>
    </p:bodyStyle>
    <p:otherStyle>
      <a:defPPr>
        <a:defRPr lang="en-US"/>
      </a:defPPr>
      <a:lvl1pPr marL="0" algn="l" defTabSz="457200" rtl="0" eaLnBrk="1" fontAlgn="ctr" latinLnBrk="0" hangingPunct="1">
        <a:defRPr sz="1500" kern="1500">
          <a:solidFill>
            <a:schemeClr val="tx1"/>
          </a:solidFill>
          <a:latin typeface="+mn-lt"/>
          <a:ea typeface="+mn-ea"/>
          <a:cs typeface="+mn-cs"/>
        </a:defRPr>
      </a:lvl1pPr>
      <a:lvl2pPr marL="0" algn="r" defTabSz="457200" rtl="0" eaLnBrk="1" fontAlgn="ctr" latinLnBrk="0" hangingPunct="1">
        <a:defRPr sz="1500" kern="1500">
          <a:solidFill>
            <a:schemeClr val="tx1"/>
          </a:solidFill>
          <a:latin typeface="+mn-lt"/>
          <a:ea typeface="+mn-ea"/>
          <a:cs typeface="+mn-cs"/>
        </a:defRPr>
      </a:lvl2pPr>
      <a:lvl3pPr marL="0" algn="ctr" defTabSz="457200" rtl="0" eaLnBrk="1" fontAlgn="ctr" latinLnBrk="0" hangingPunct="1">
        <a:defRPr sz="1500" kern="1500">
          <a:solidFill>
            <a:schemeClr val="tx1"/>
          </a:solidFill>
          <a:latin typeface="+mn-lt"/>
          <a:ea typeface="+mn-ea"/>
          <a:cs typeface="+mn-cs"/>
        </a:defRPr>
      </a:lvl3pPr>
      <a:lvl4pPr marL="0" algn="l" defTabSz="457200" rtl="0" eaLnBrk="1" fontAlgn="ctr" latinLnBrk="0" hangingPunct="1">
        <a:defRPr sz="1500" kern="1500">
          <a:solidFill>
            <a:schemeClr val="tx1"/>
          </a:solidFill>
          <a:latin typeface="+mn-lt"/>
          <a:ea typeface="+mn-ea"/>
          <a:cs typeface="+mn-cs"/>
        </a:defRPr>
      </a:lvl4pPr>
      <a:lvl5pPr marL="0" algn="r" defTabSz="457200" rtl="0" eaLnBrk="1" fontAlgn="ctr" latinLnBrk="0" hangingPunct="1">
        <a:defRPr sz="1500" kern="1500">
          <a:solidFill>
            <a:schemeClr val="tx1"/>
          </a:solidFill>
          <a:latin typeface="+mn-lt"/>
          <a:ea typeface="+mn-ea"/>
          <a:cs typeface="+mn-cs"/>
        </a:defRPr>
      </a:lvl5pPr>
      <a:lvl6pPr marL="0" algn="ctr" defTabSz="457200" rtl="0" eaLnBrk="1" fontAlgn="ctr" latinLnBrk="0" hangingPunct="1">
        <a:defRPr sz="1500" kern="1500">
          <a:solidFill>
            <a:schemeClr val="tx1"/>
          </a:solidFill>
          <a:latin typeface="+mn-lt"/>
          <a:ea typeface="+mn-ea"/>
          <a:cs typeface="+mn-cs"/>
        </a:defRPr>
      </a:lvl6pPr>
      <a:lvl7pPr marL="0" algn="l" defTabSz="457200" rtl="0" eaLnBrk="1" fontAlgn="ctr" latinLnBrk="0" hangingPunct="1">
        <a:defRPr sz="1500" kern="1500">
          <a:solidFill>
            <a:schemeClr val="tx1"/>
          </a:solidFill>
          <a:latin typeface="+mn-lt"/>
          <a:ea typeface="+mn-ea"/>
          <a:cs typeface="+mn-cs"/>
        </a:defRPr>
      </a:lvl7pPr>
      <a:lvl8pPr marL="0" algn="r" defTabSz="457200" rtl="0" eaLnBrk="1" fontAlgn="ctr" latinLnBrk="0" hangingPunct="1">
        <a:defRPr sz="1500" kern="1500">
          <a:solidFill>
            <a:schemeClr val="tx1"/>
          </a:solidFill>
          <a:latin typeface="+mn-lt"/>
          <a:ea typeface="+mn-ea"/>
          <a:cs typeface="+mn-cs"/>
        </a:defRPr>
      </a:lvl8pPr>
      <a:lvl9pPr marL="0" algn="ctr" defTabSz="457200" rtl="0" eaLnBrk="1" fontAlgn="ctr" latinLnBrk="0" hangingPunct="1">
        <a:defRPr sz="1500" kern="1500">
          <a:solidFill>
            <a:schemeClr val="tx1"/>
          </a:solidFill>
          <a:latin typeface="+mn-lt"/>
          <a:ea typeface="+mn-ea"/>
          <a:cs typeface="+mn-cs"/>
        </a:defRPr>
      </a:lvl9pPr>
    </p:otherStyle>
  </p:txStyles>
  <p:extLst>
    <p:ext uri="{27BBF7A9-308A-43DC-89C8-2F10F3537804}">
      <p15:sldGuideLst xmlns:p15="http://schemas.microsoft.com/office/powerpoint/2012/main">
        <p15:guide id="1" pos="359">
          <p15:clr>
            <a:srgbClr val="F26B43"/>
          </p15:clr>
        </p15:guide>
        <p15:guide id="2" pos="7319">
          <p15:clr>
            <a:srgbClr val="F26B43"/>
          </p15:clr>
        </p15:guide>
        <p15:guide id="3" orient="horz" pos="432">
          <p15:clr>
            <a:srgbClr val="F26B43"/>
          </p15:clr>
        </p15:guide>
        <p15:guide id="4" orient="horz" pos="4112">
          <p15:clr>
            <a:srgbClr val="F26B43"/>
          </p15:clr>
        </p15:guide>
        <p15:guide id="5" orient="horz" pos="1116">
          <p15:clr>
            <a:srgbClr val="F26B43"/>
          </p15:clr>
        </p15:guide>
        <p15:guide id="6" orient="horz" pos="3624">
          <p15:clr>
            <a:srgbClr val="F26B43"/>
          </p15:clr>
        </p15:guide>
        <p15:guide id="7" orient="horz" pos="39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0.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0.png"/><Relationship Id="rId5" Type="http://schemas.openxmlformats.org/officeDocument/2006/relationships/image" Target="../media/image28.jp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0.png"/><Relationship Id="rId5" Type="http://schemas.openxmlformats.org/officeDocument/2006/relationships/image" Target="../media/image29.jpe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0.png"/><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0.png"/><Relationship Id="rId5" Type="http://schemas.openxmlformats.org/officeDocument/2006/relationships/image" Target="../media/image11.jp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0.png"/><Relationship Id="rId5" Type="http://schemas.openxmlformats.org/officeDocument/2006/relationships/image" Target="../media/image12.jp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7.png"/><Relationship Id="rId3" Type="http://schemas.microsoft.com/office/2007/relationships/media" Target="../media/media4.m4a"/><Relationship Id="rId7" Type="http://schemas.openxmlformats.org/officeDocument/2006/relationships/oleObject" Target="../embeddings/oleObject1.bin"/><Relationship Id="rId12" Type="http://schemas.microsoft.com/office/2007/relationships/hdphoto" Target="../media/hdphoto1.wdp"/><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20.png"/><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16.png"/><Relationship Id="rId5" Type="http://schemas.openxmlformats.org/officeDocument/2006/relationships/slideLayout" Target="../slideLayouts/slideLayout7.xml"/><Relationship Id="rId15" Type="http://schemas.openxmlformats.org/officeDocument/2006/relationships/image" Target="../media/image19.PNG"/><Relationship Id="rId10" Type="http://schemas.openxmlformats.org/officeDocument/2006/relationships/image" Target="../media/image15.png"/><Relationship Id="rId4" Type="http://schemas.openxmlformats.org/officeDocument/2006/relationships/audio" Target="../media/media4.m4a"/><Relationship Id="rId9" Type="http://schemas.openxmlformats.org/officeDocument/2006/relationships/image" Target="../media/image14.png"/><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0.png"/><Relationship Id="rId5" Type="http://schemas.openxmlformats.org/officeDocument/2006/relationships/image" Target="../media/image21.jp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1.xml"/><Relationship Id="rId7" Type="http://schemas.openxmlformats.org/officeDocument/2006/relationships/image" Target="../media/image6.sv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5.png"/><Relationship Id="rId5" Type="http://schemas.openxmlformats.org/officeDocument/2006/relationships/image" Target="../media/image22.jpe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0.png"/><Relationship Id="rId5" Type="http://schemas.openxmlformats.org/officeDocument/2006/relationships/image" Target="../media/image23.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25.emf"/><Relationship Id="rId5" Type="http://schemas.openxmlformats.org/officeDocument/2006/relationships/image" Target="../media/image24.jp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tags" Target="../tags/tag5.xml"/><Relationship Id="rId7" Type="http://schemas.openxmlformats.org/officeDocument/2006/relationships/notesSlide" Target="../notesSlides/notesSlide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12.xml"/><Relationship Id="rId11" Type="http://schemas.openxmlformats.org/officeDocument/2006/relationships/image" Target="../media/image10.png"/><Relationship Id="rId5" Type="http://schemas.openxmlformats.org/officeDocument/2006/relationships/audio" Target="../media/media9.m4a"/><Relationship Id="rId10" Type="http://schemas.openxmlformats.org/officeDocument/2006/relationships/image" Target="../media/image27.emf"/><Relationship Id="rId4" Type="http://schemas.microsoft.com/office/2007/relationships/media" Target="../media/media9.m4a"/><Relationship Id="rId9"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A7A8C7D-C4F1-F1D9-81A4-0183AB91EFFD}"/>
              </a:ext>
            </a:extLst>
          </p:cNvPr>
          <p:cNvSpPr>
            <a:spLocks noGrp="1"/>
          </p:cNvSpPr>
          <p:nvPr>
            <p:ph type="ctrTitle"/>
          </p:nvPr>
        </p:nvSpPr>
        <p:spPr/>
        <p:txBody>
          <a:bodyPr>
            <a:normAutofit/>
          </a:bodyPr>
          <a:lstStyle/>
          <a:p>
            <a:r>
              <a:rPr lang="en-US" sz="3200" dirty="0"/>
              <a:t>2025 Benefits Information: </a:t>
            </a:r>
            <a:br>
              <a:rPr lang="en-US" sz="3200" dirty="0"/>
            </a:br>
            <a:r>
              <a:rPr lang="en-US" sz="3200" dirty="0"/>
              <a:t>Prescription Benefits</a:t>
            </a:r>
          </a:p>
        </p:txBody>
      </p:sp>
      <p:sp>
        <p:nvSpPr>
          <p:cNvPr id="9" name="Subtitle 8">
            <a:extLst>
              <a:ext uri="{FF2B5EF4-FFF2-40B4-BE49-F238E27FC236}">
                <a16:creationId xmlns:a16="http://schemas.microsoft.com/office/drawing/2014/main" id="{2951B3AF-6D45-0176-5913-3262968661B5}"/>
              </a:ext>
            </a:extLst>
          </p:cNvPr>
          <p:cNvSpPr>
            <a:spLocks noGrp="1"/>
          </p:cNvSpPr>
          <p:nvPr>
            <p:ph type="subTitle" idx="1"/>
          </p:nvPr>
        </p:nvSpPr>
        <p:spPr/>
        <p:txBody>
          <a:bodyPr/>
          <a:lstStyle/>
          <a:p>
            <a:r>
              <a:rPr lang="en-US" dirty="0"/>
              <a:t>Presented by </a:t>
            </a:r>
            <a:br>
              <a:rPr lang="en-US" dirty="0"/>
            </a:br>
            <a:r>
              <a:rPr lang="en-US" dirty="0"/>
              <a:t>CVS Health</a:t>
            </a:r>
          </a:p>
        </p:txBody>
      </p:sp>
      <p:pic>
        <p:nvPicPr>
          <p:cNvPr id="2" name="Recorded Sound">
            <a:hlinkClick r:id="" action="ppaction://media"/>
            <a:extLst>
              <a:ext uri="{FF2B5EF4-FFF2-40B4-BE49-F238E27FC236}">
                <a16:creationId xmlns:a16="http://schemas.microsoft.com/office/drawing/2014/main" id="{5C17E3C9-99BD-370E-2A3A-E1B97E79305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13587" y="6193301"/>
            <a:ext cx="609600" cy="609600"/>
          </a:xfrm>
          <a:prstGeom prst="rect">
            <a:avLst/>
          </a:prstGeom>
        </p:spPr>
      </p:pic>
    </p:spTree>
    <p:extLst>
      <p:ext uri="{BB962C8B-B14F-4D97-AF65-F5344CB8AC3E}">
        <p14:creationId xmlns:p14="http://schemas.microsoft.com/office/powerpoint/2010/main" val="3836214926"/>
      </p:ext>
    </p:extLst>
  </p:cSld>
  <p:clrMapOvr>
    <a:masterClrMapping/>
  </p:clrMapOvr>
  <mc:AlternateContent xmlns:mc="http://schemas.openxmlformats.org/markup-compatibility/2006" xmlns:p14="http://schemas.microsoft.com/office/powerpoint/2010/main">
    <mc:Choice Requires="p14">
      <p:transition spd="slow" p14:dur="2000" advTm="6441"/>
    </mc:Choice>
    <mc:Fallback xmlns="">
      <p:transition spd="slow" advTm="644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4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descr="Elderly man in home sitting at a table using a computer while talking on smartphone.&#10;&#10;G-153185114.&#10;">
            <a:extLst>
              <a:ext uri="{FF2B5EF4-FFF2-40B4-BE49-F238E27FC236}">
                <a16:creationId xmlns:a16="http://schemas.microsoft.com/office/drawing/2014/main" id="{A815D6E7-BF0E-C2AB-C049-3C420BFF955C}"/>
              </a:ext>
            </a:extLst>
          </p:cNvPr>
          <p:cNvPicPr>
            <a:picLocks noChangeAspect="1"/>
          </p:cNvPicPr>
          <p:nvPr/>
        </p:nvPicPr>
        <p:blipFill rotWithShape="1">
          <a:blip r:embed="rId5"/>
          <a:srcRect l="24955" t="7813" r="19828" b="7813"/>
          <a:stretch/>
        </p:blipFill>
        <p:spPr>
          <a:xfrm>
            <a:off x="0" y="0"/>
            <a:ext cx="6732025" cy="6858000"/>
          </a:xfrm>
          <a:prstGeom prst="rect">
            <a:avLst/>
          </a:prstGeom>
          <a:solidFill>
            <a:schemeClr val="bg1">
              <a:lumMod val="75000"/>
            </a:schemeClr>
          </a:solidFill>
        </p:spPr>
      </p:pic>
      <p:sp>
        <p:nvSpPr>
          <p:cNvPr id="16" name="Text Placeholder 3">
            <a:extLst>
              <a:ext uri="{FF2B5EF4-FFF2-40B4-BE49-F238E27FC236}">
                <a16:creationId xmlns:a16="http://schemas.microsoft.com/office/drawing/2014/main" id="{6A21DFEB-9D59-1644-9BA7-C6ED6B7EC3DD}"/>
              </a:ext>
            </a:extLst>
          </p:cNvPr>
          <p:cNvSpPr txBox="1">
            <a:spLocks/>
          </p:cNvSpPr>
          <p:nvPr/>
        </p:nvSpPr>
        <p:spPr>
          <a:xfrm>
            <a:off x="1588" y="6414678"/>
            <a:ext cx="9829800" cy="457200"/>
          </a:xfrm>
          <a:prstGeom prst="rect">
            <a:avLst/>
          </a:prstGeom>
        </p:spPr>
        <p:txBody>
          <a:bodyPr lIns="548640" tIns="0" r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a:lnSpc>
                <a:spcPct val="90000"/>
              </a:lnSpc>
              <a:defRPr/>
            </a:pPr>
            <a:endParaRPr lang="en-US" dirty="0">
              <a:solidFill>
                <a:srgbClr val="3F3F3F"/>
              </a:solidFill>
              <a:latin typeface="CVS Health Sans"/>
            </a:endParaRPr>
          </a:p>
        </p:txBody>
      </p:sp>
      <p:sp>
        <p:nvSpPr>
          <p:cNvPr id="30" name="Text Placeholder 8" descr="Image source: CVS Health Creative Resource Library, accessed 2020, GettyImages-73773763&#10;">
            <a:extLst>
              <a:ext uri="{FF2B5EF4-FFF2-40B4-BE49-F238E27FC236}">
                <a16:creationId xmlns:a16="http://schemas.microsoft.com/office/drawing/2014/main" id="{52577BC9-A961-5B49-9D38-2022AA751EE1}"/>
              </a:ext>
            </a:extLst>
          </p:cNvPr>
          <p:cNvSpPr txBox="1">
            <a:spLocks/>
          </p:cNvSpPr>
          <p:nvPr/>
        </p:nvSpPr>
        <p:spPr>
          <a:xfrm>
            <a:off x="458670" y="6949416"/>
            <a:ext cx="10437577" cy="457081"/>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pPr>
              <a:defRPr/>
            </a:pPr>
            <a:r>
              <a:rPr lang="en-US" dirty="0">
                <a:solidFill>
                  <a:srgbClr val="3F3F3F"/>
                </a:solidFill>
                <a:latin typeface="CVS Health Sans"/>
              </a:rPr>
              <a:t>Image source: CVS Health Creative Resource Library, accessed 2021, G-73773763. Asset ID: 285465. No expiration. </a:t>
            </a:r>
            <a:endParaRPr lang="en-US" altLang="en-US" b="1" dirty="0">
              <a:solidFill>
                <a:srgbClr val="3F3F3F"/>
              </a:solidFill>
              <a:latin typeface="CVS Health Sans"/>
            </a:endParaRPr>
          </a:p>
        </p:txBody>
      </p:sp>
      <p:cxnSp>
        <p:nvCxnSpPr>
          <p:cNvPr id="9" name="Straight Connector 8">
            <a:extLst>
              <a:ext uri="{FF2B5EF4-FFF2-40B4-BE49-F238E27FC236}">
                <a16:creationId xmlns:a16="http://schemas.microsoft.com/office/drawing/2014/main" id="{5B2E49F3-216E-6343-9D01-1C7AEB6BB159}"/>
              </a:ext>
            </a:extLst>
          </p:cNvPr>
          <p:cNvCxnSpPr/>
          <p:nvPr/>
        </p:nvCxnSpPr>
        <p:spPr bwMode="gray">
          <a:xfrm>
            <a:off x="8253002" y="5609423"/>
            <a:ext cx="3314700" cy="0"/>
          </a:xfrm>
          <a:prstGeom prst="line">
            <a:avLst/>
          </a:prstGeom>
          <a:ln w="12700" cmpd="sng">
            <a:solidFill>
              <a:schemeClr val="bg2"/>
            </a:solidFill>
            <a:miter lim="800000"/>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6815497" y="404953"/>
            <a:ext cx="5199294" cy="6259338"/>
          </a:xfrm>
          <a:prstGeom prst="rect">
            <a:avLst/>
          </a:prstGeom>
          <a:noFill/>
        </p:spPr>
        <p:txBody>
          <a:bodyPr wrap="square" lIns="0" tIns="0" rIns="0">
            <a:noAutofit/>
          </a:bodyPr>
          <a:lstStyle/>
          <a:p>
            <a:pPr>
              <a:lnSpc>
                <a:spcPct val="90000"/>
              </a:lnSpc>
              <a:spcBef>
                <a:spcPts val="1800"/>
              </a:spcBef>
              <a:defRPr/>
            </a:pPr>
            <a:r>
              <a:rPr lang="en-US" sz="2800" b="1" dirty="0">
                <a:solidFill>
                  <a:schemeClr val="tx1">
                    <a:lumMod val="95000"/>
                    <a:lumOff val="5000"/>
                  </a:schemeClr>
                </a:solidFill>
                <a:latin typeface="+mj-lt"/>
                <a:ea typeface="Calibri" panose="020F0502020204030204" pitchFamily="34" charset="0"/>
                <a:cs typeface="Times New Roman" panose="02020603050405020304" pitchFamily="18" charset="0"/>
              </a:rPr>
              <a:t>New Mexico </a:t>
            </a:r>
            <a:r>
              <a:rPr lang="en-US" sz="2800" b="1" dirty="0">
                <a:latin typeface="+mj-lt"/>
                <a:ea typeface="Calibri" panose="020F0502020204030204" pitchFamily="34" charset="0"/>
                <a:cs typeface="Times New Roman" panose="02020603050405020304" pitchFamily="18" charset="0"/>
              </a:rPr>
              <a:t>is working with PrudentRx to reduce your </a:t>
            </a:r>
            <a:br>
              <a:rPr lang="en-US" sz="2800" b="1" dirty="0">
                <a:latin typeface="+mj-lt"/>
                <a:ea typeface="Calibri" panose="020F0502020204030204" pitchFamily="34" charset="0"/>
                <a:cs typeface="Times New Roman" panose="02020603050405020304" pitchFamily="18" charset="0"/>
              </a:rPr>
            </a:br>
            <a:r>
              <a:rPr lang="en-US" sz="2800" b="1" dirty="0">
                <a:latin typeface="+mj-lt"/>
                <a:ea typeface="Calibri" panose="020F0502020204030204" pitchFamily="34" charset="0"/>
                <a:cs typeface="Times New Roman" panose="02020603050405020304" pitchFamily="18" charset="0"/>
              </a:rPr>
              <a:t>out-of-pocket costs for specialty medications to $0</a:t>
            </a:r>
            <a:endParaRPr lang="en-US" b="1" dirty="0">
              <a:latin typeface="+mj-lt"/>
              <a:ea typeface="Calibri" panose="020F0502020204030204" pitchFamily="34" charset="0"/>
              <a:cs typeface="Times New Roman" panose="02020603050405020304" pitchFamily="18" charset="0"/>
            </a:endParaRPr>
          </a:p>
          <a:p>
            <a:pPr marL="173038" indent="-163513">
              <a:lnSpc>
                <a:spcPct val="90000"/>
              </a:lnSpc>
              <a:spcBef>
                <a:spcPts val="1800"/>
              </a:spcBef>
              <a:buFont typeface="Wingdings" panose="05000000000000000000" pitchFamily="2" charset="2"/>
              <a:buChar char="ü"/>
              <a:defRPr/>
            </a:pPr>
            <a:r>
              <a:rPr lang="en-US" sz="1400" dirty="0">
                <a:latin typeface="CVS Health Sans" panose="020B0504020202020204" pitchFamily="34" charset="0"/>
                <a:ea typeface="Calibri" panose="020F0502020204030204" pitchFamily="34" charset="0"/>
                <a:cs typeface="Times New Roman" panose="02020603050405020304" pitchFamily="18" charset="0"/>
              </a:rPr>
              <a:t>Pay $0 for any medication on your plan’s Exclusive Specialty Drug List for as long as you’re enrolled – even if there is no copay program available</a:t>
            </a:r>
          </a:p>
          <a:p>
            <a:pPr marL="173038" indent="-163513">
              <a:lnSpc>
                <a:spcPct val="90000"/>
              </a:lnSpc>
              <a:spcBef>
                <a:spcPts val="1800"/>
              </a:spcBef>
              <a:buFont typeface="Wingdings" panose="05000000000000000000" pitchFamily="2" charset="2"/>
              <a:buChar char="ü"/>
              <a:defRPr/>
            </a:pPr>
            <a:r>
              <a:rPr lang="en-US" sz="1400" dirty="0">
                <a:latin typeface="CVS Health Sans" panose="020B0504020202020204" pitchFamily="34" charset="0"/>
                <a:ea typeface="Calibri" panose="020F0502020204030204" pitchFamily="34" charset="0"/>
                <a:cs typeface="Times New Roman" panose="02020603050405020304" pitchFamily="18" charset="0"/>
              </a:rPr>
              <a:t>PrudentRx works with manufacturers to get copay assistance for your medications</a:t>
            </a:r>
          </a:p>
          <a:p>
            <a:pPr marL="173038" indent="-163513">
              <a:lnSpc>
                <a:spcPct val="90000"/>
              </a:lnSpc>
              <a:spcBef>
                <a:spcPts val="1800"/>
              </a:spcBef>
              <a:buFont typeface="Wingdings" panose="05000000000000000000" pitchFamily="2" charset="2"/>
              <a:buChar char="ü"/>
              <a:defRPr/>
            </a:pPr>
            <a:r>
              <a:rPr lang="en-US" sz="1400" dirty="0">
                <a:latin typeface="CVS Health Sans" panose="020B0504020202020204" pitchFamily="34" charset="0"/>
                <a:ea typeface="Calibri" panose="020F0502020204030204" pitchFamily="34" charset="0"/>
                <a:cs typeface="Times New Roman" panose="02020603050405020304" pitchFamily="18" charset="0"/>
              </a:rPr>
              <a:t>PrudentRx handles all the details for you — no need to worry about renewals or expiration dates</a:t>
            </a:r>
            <a:endParaRPr lang="en-US" sz="1600" b="1" dirty="0">
              <a:latin typeface="CVS Health Sans" panose="020B0504020202020204" pitchFamily="34" charset="0"/>
              <a:ea typeface="Calibri" panose="020F0502020204030204" pitchFamily="34" charset="0"/>
              <a:cs typeface="Times New Roman" panose="02020603050405020304" pitchFamily="18" charset="0"/>
            </a:endParaRPr>
          </a:p>
          <a:p>
            <a:pPr indent="-171450">
              <a:lnSpc>
                <a:spcPct val="90000"/>
              </a:lnSpc>
              <a:spcBef>
                <a:spcPts val="1800"/>
              </a:spcBef>
              <a:defRPr/>
            </a:pPr>
            <a:r>
              <a:rPr lang="en-US" sz="1400" b="1" dirty="0">
                <a:latin typeface="CVS Health Sans" panose="020B0504020202020204" pitchFamily="34" charset="0"/>
                <a:ea typeface="Calibri" panose="020F0502020204030204" pitchFamily="34" charset="0"/>
                <a:cs typeface="Times New Roman" panose="02020603050405020304" pitchFamily="18" charset="0"/>
              </a:rPr>
              <a:t>Watch your mailbox for more information. </a:t>
            </a:r>
            <a:r>
              <a:rPr lang="en-US" sz="1400" dirty="0" err="1">
                <a:latin typeface="CVS Health Sans" panose="020B0504020202020204" pitchFamily="34" charset="0"/>
                <a:ea typeface="Calibri" panose="020F0502020204030204" pitchFamily="34" charset="0"/>
                <a:cs typeface="Times New Roman" panose="02020603050405020304" pitchFamily="18" charset="0"/>
              </a:rPr>
              <a:t>PrudentRx</a:t>
            </a:r>
            <a:r>
              <a:rPr lang="en-US" sz="1400" dirty="0">
                <a:latin typeface="CVS Health Sans" panose="020B0504020202020204" pitchFamily="34" charset="0"/>
                <a:ea typeface="Calibri" panose="020F0502020204030204" pitchFamily="34" charset="0"/>
                <a:cs typeface="Times New Roman" panose="02020603050405020304" pitchFamily="18" charset="0"/>
              </a:rPr>
              <a:t> will reach out to enroll members with eligible specialty medications. * You can choose to opt-out at any time. If you opt-out, you’ll have to pay 30 percent of the cost of your medication</a:t>
            </a:r>
          </a:p>
          <a:p>
            <a:pPr indent="-171450">
              <a:lnSpc>
                <a:spcPct val="90000"/>
              </a:lnSpc>
              <a:spcBef>
                <a:spcPts val="1800"/>
              </a:spcBef>
              <a:defRPr/>
            </a:pPr>
            <a:r>
              <a:rPr lang="en-US" sz="900" dirty="0">
                <a:latin typeface="CVS Health Sans" panose="020B0504020202020204" pitchFamily="34" charset="0"/>
                <a:ea typeface="Times New Roman" panose="02020603050405020304" pitchFamily="18" charset="0"/>
              </a:rPr>
              <a:t>*Some manufacturers require you to sign up to take advantage of the copay assistance that they provide for their medications – in that case, you must call </a:t>
            </a:r>
            <a:r>
              <a:rPr lang="en-US" sz="900" dirty="0" err="1">
                <a:latin typeface="CVS Health Sans" panose="020B0504020202020204" pitchFamily="34" charset="0"/>
                <a:ea typeface="Times New Roman" panose="02020603050405020304" pitchFamily="18" charset="0"/>
              </a:rPr>
              <a:t>PrudentRx</a:t>
            </a:r>
            <a:r>
              <a:rPr lang="en-US" sz="900" dirty="0">
                <a:latin typeface="CVS Health Sans" panose="020B0504020202020204" pitchFamily="34" charset="0"/>
                <a:ea typeface="Times New Roman" panose="02020603050405020304" pitchFamily="18" charset="0"/>
              </a:rPr>
              <a:t> to participate in the copay assistance for that medication. </a:t>
            </a:r>
            <a:r>
              <a:rPr lang="en-US" sz="900" dirty="0" err="1">
                <a:latin typeface="CVS Health Sans" panose="020B0504020202020204" pitchFamily="34" charset="0"/>
                <a:ea typeface="Times New Roman" panose="02020603050405020304" pitchFamily="18" charset="0"/>
              </a:rPr>
              <a:t>PrudentRx</a:t>
            </a:r>
            <a:r>
              <a:rPr lang="en-US" sz="900" dirty="0">
                <a:latin typeface="CVS Health Sans" panose="020B0504020202020204" pitchFamily="34" charset="0"/>
                <a:ea typeface="Times New Roman" panose="02020603050405020304" pitchFamily="18" charset="0"/>
              </a:rPr>
              <a:t> will also contact you if you are required to enroll in the copay assistance for any medication that you take. If you do not return their call, choose to opt out of the program, or if you do not affirmatively enroll in any copay assistance as required by a manufacturer, you will be responsible for 30 percent of the cost of your specialty medications</a:t>
            </a:r>
            <a:r>
              <a:rPr lang="en-US" sz="1000" dirty="0">
                <a:latin typeface="CVS Health Sans" panose="020B0504020202020204" pitchFamily="34" charset="0"/>
                <a:ea typeface="Times New Roman" panose="02020603050405020304" pitchFamily="18" charset="0"/>
              </a:rPr>
              <a:t>. </a:t>
            </a:r>
          </a:p>
          <a:p>
            <a:pPr indent="-171450">
              <a:lnSpc>
                <a:spcPct val="90000"/>
              </a:lnSpc>
              <a:spcBef>
                <a:spcPts val="1800"/>
              </a:spcBef>
              <a:defRPr/>
            </a:pPr>
            <a:endParaRPr lang="en-US" sz="1400" dirty="0">
              <a:solidFill>
                <a:schemeClr val="bg1"/>
              </a:solidFill>
              <a:latin typeface="CVS Health Sans" panose="020B0504020202020204" pitchFamily="34" charset="0"/>
              <a:ea typeface="Times New Roman" panose="02020603050405020304" pitchFamily="18" charset="0"/>
            </a:endParaRPr>
          </a:p>
          <a:p>
            <a:pPr indent="-171450">
              <a:lnSpc>
                <a:spcPct val="90000"/>
              </a:lnSpc>
              <a:spcBef>
                <a:spcPts val="1800"/>
              </a:spcBef>
              <a:defRPr/>
            </a:pPr>
            <a:endParaRPr lang="en-US" sz="1400" dirty="0">
              <a:solidFill>
                <a:schemeClr val="tx2"/>
              </a:solidFill>
              <a:latin typeface="CVS Health Sans"/>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8EA3C998-96BE-6545-A489-BA1F3FEC10A2}"/>
              </a:ext>
            </a:extLst>
          </p:cNvPr>
          <p:cNvSpPr txBox="1"/>
          <p:nvPr/>
        </p:nvSpPr>
        <p:spPr>
          <a:xfrm>
            <a:off x="426772" y="6618718"/>
            <a:ext cx="8046720" cy="123111"/>
          </a:xfrm>
          <a:prstGeom prst="rect">
            <a:avLst/>
          </a:prstGeom>
          <a:noFill/>
        </p:spPr>
        <p:txBody>
          <a:bodyPr wrap="square" lIns="0" tIns="0" rIns="0" bIns="0" rtlCol="0" anchor="b">
            <a:spAutoFit/>
          </a:bodyPr>
          <a:lstStyle/>
          <a:p>
            <a:pPr>
              <a:defRPr/>
            </a:pPr>
            <a:r>
              <a:rPr lang="en-US" sz="800" dirty="0">
                <a:solidFill>
                  <a:schemeClr val="tx2"/>
                </a:solidFill>
                <a:latin typeface="CVS Health Sans"/>
              </a:rPr>
              <a:t>©2023 CVS Health and/or one of its affiliates. Confidential and proprietary.		</a:t>
            </a:r>
            <a:endParaRPr lang="en-US" sz="800" dirty="0">
              <a:solidFill>
                <a:schemeClr val="bg1"/>
              </a:solidFill>
              <a:latin typeface="CVS Health Sans"/>
            </a:endParaRPr>
          </a:p>
        </p:txBody>
      </p:sp>
      <p:sp>
        <p:nvSpPr>
          <p:cNvPr id="21" name="Text Placeholder 3">
            <a:extLst>
              <a:ext uri="{FF2B5EF4-FFF2-40B4-BE49-F238E27FC236}">
                <a16:creationId xmlns:a16="http://schemas.microsoft.com/office/drawing/2014/main" id="{A70B1921-F83B-429F-A482-C3FBCF758E9C}"/>
              </a:ext>
            </a:extLst>
          </p:cNvPr>
          <p:cNvSpPr txBox="1">
            <a:spLocks/>
          </p:cNvSpPr>
          <p:nvPr/>
        </p:nvSpPr>
        <p:spPr>
          <a:xfrm>
            <a:off x="-83472" y="3169312"/>
            <a:ext cx="4368393" cy="1094344"/>
          </a:xfrm>
          <a:prstGeom prst="rect">
            <a:avLst/>
          </a:prstGeom>
        </p:spPr>
        <p:txBody>
          <a:bodyPr lIns="548640" tIns="0" bIns="548640" anchor="b" anchorCtr="0"/>
          <a:lstStyle>
            <a:defPPr>
              <a:defRPr lang="en-US"/>
            </a:defPPr>
            <a:lvl1pPr indent="0" defTabSz="457200">
              <a:lnSpc>
                <a:spcPct val="95000"/>
              </a:lnSpc>
              <a:spcBef>
                <a:spcPts val="100"/>
              </a:spcBef>
              <a:spcAft>
                <a:spcPts val="0"/>
              </a:spcAft>
              <a:buClrTx/>
              <a:buFont typeface="Arial"/>
              <a:buNone/>
              <a:defRPr sz="1000">
                <a:solidFill>
                  <a:schemeClr val="tx2"/>
                </a:solidFill>
                <a:cs typeface="Arial"/>
              </a:defRPr>
            </a:lvl1pPr>
            <a:lvl2pPr marL="396875" indent="-166688" defTabSz="457200">
              <a:spcBef>
                <a:spcPts val="100"/>
              </a:spcBef>
              <a:spcAft>
                <a:spcPts val="600"/>
              </a:spcAft>
              <a:buClrTx/>
              <a:buFont typeface="Lucida Grande"/>
              <a:buChar char="–"/>
              <a:tabLst/>
            </a:lvl2pPr>
            <a:lvl3pPr marL="622300" indent="-161925" defTabSz="457200">
              <a:spcBef>
                <a:spcPts val="100"/>
              </a:spcBef>
              <a:spcAft>
                <a:spcPts val="600"/>
              </a:spcAft>
              <a:buClrTx/>
              <a:buFont typeface="Arial"/>
              <a:buChar char="•"/>
              <a:defRPr sz="1600"/>
            </a:lvl3pPr>
            <a:lvl4pPr marL="911225" indent="-228600" defTabSz="457200">
              <a:spcBef>
                <a:spcPts val="100"/>
              </a:spcBef>
              <a:spcAft>
                <a:spcPts val="600"/>
              </a:spcAft>
              <a:buClrTx/>
              <a:buFont typeface="Lucida Grande"/>
              <a:buChar char="–"/>
              <a:defRPr sz="1600">
                <a:solidFill>
                  <a:schemeClr val="bg2">
                    <a:lumMod val="75000"/>
                  </a:schemeClr>
                </a:solidFill>
              </a:defRPr>
            </a:lvl4pPr>
            <a:lvl5pPr marL="1141413" indent="-230188" defTabSz="457200">
              <a:spcBef>
                <a:spcPts val="100"/>
              </a:spcBef>
              <a:spcAft>
                <a:spcPts val="600"/>
              </a:spcAft>
              <a:buClrTx/>
              <a:buFont typeface="Arial"/>
              <a:buChar char="•"/>
              <a:defRPr sz="1600">
                <a:solidFill>
                  <a:schemeClr val="bg2">
                    <a:lumMod val="75000"/>
                  </a:schemeClr>
                </a:solidFil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defTabSz="914400">
              <a:spcBef>
                <a:spcPts val="400"/>
              </a:spcBef>
              <a:defRPr/>
            </a:pPr>
            <a:endParaRPr lang="en-US" dirty="0">
              <a:solidFill>
                <a:schemeClr val="bg1"/>
              </a:solidFill>
              <a:latin typeface="CVS Health Sans" panose="020B0504020202020204" pitchFamily="34" charset="0"/>
              <a:ea typeface="Times New Roman" panose="02020603050405020304" pitchFamily="18" charset="0"/>
            </a:endParaRPr>
          </a:p>
        </p:txBody>
      </p:sp>
      <p:sp>
        <p:nvSpPr>
          <p:cNvPr id="2" name="Title 1">
            <a:extLst>
              <a:ext uri="{FF2B5EF4-FFF2-40B4-BE49-F238E27FC236}">
                <a16:creationId xmlns:a16="http://schemas.microsoft.com/office/drawing/2014/main" id="{2C647E61-D5B9-5248-B537-73D68EF08687}"/>
              </a:ext>
            </a:extLst>
          </p:cNvPr>
          <p:cNvSpPr>
            <a:spLocks noGrp="1"/>
          </p:cNvSpPr>
          <p:nvPr>
            <p:ph type="title" idx="4294967295"/>
          </p:nvPr>
        </p:nvSpPr>
        <p:spPr>
          <a:xfrm>
            <a:off x="426772" y="1018290"/>
            <a:ext cx="2977115" cy="1745694"/>
          </a:xfrm>
          <a:noFill/>
        </p:spPr>
        <p:txBody>
          <a:bodyPr>
            <a:normAutofit fontScale="90000"/>
          </a:bodyPr>
          <a:lstStyle/>
          <a:p>
            <a:r>
              <a:rPr lang="en-US" dirty="0">
                <a:solidFill>
                  <a:schemeClr val="bg1"/>
                </a:solidFill>
              </a:rPr>
              <a:t>Pay $0 for specialty medications with PrudentRx</a:t>
            </a:r>
          </a:p>
        </p:txBody>
      </p:sp>
      <p:sp>
        <p:nvSpPr>
          <p:cNvPr id="20" name="Text Placeholder 8">
            <a:extLst>
              <a:ext uri="{FF2B5EF4-FFF2-40B4-BE49-F238E27FC236}">
                <a16:creationId xmlns:a16="http://schemas.microsoft.com/office/drawing/2014/main" id="{BC1647EC-4C29-4AF6-B12A-771C224E2F36}"/>
              </a:ext>
            </a:extLst>
          </p:cNvPr>
          <p:cNvSpPr txBox="1">
            <a:spLocks/>
          </p:cNvSpPr>
          <p:nvPr/>
        </p:nvSpPr>
        <p:spPr>
          <a:xfrm>
            <a:off x="1" y="0"/>
            <a:ext cx="2977115"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r>
              <a:rPr lang="en-US" sz="1200" b="1" cap="all" dirty="0">
                <a:solidFill>
                  <a:schemeClr val="accent1">
                    <a:lumMod val="50000"/>
                  </a:schemeClr>
                </a:solidFill>
              </a:rPr>
              <a:t>2025 Prescription Benefits</a:t>
            </a:r>
          </a:p>
        </p:txBody>
      </p:sp>
      <p:pic>
        <p:nvPicPr>
          <p:cNvPr id="4" name="11">
            <a:hlinkClick r:id="" action="ppaction://media"/>
            <a:extLst>
              <a:ext uri="{FF2B5EF4-FFF2-40B4-BE49-F238E27FC236}">
                <a16:creationId xmlns:a16="http://schemas.microsoft.com/office/drawing/2014/main" id="{FAF7057C-2491-716F-81D9-A168798B6724}"/>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405191" y="6148247"/>
            <a:ext cx="609600" cy="609600"/>
          </a:xfrm>
          <a:prstGeom prst="rect">
            <a:avLst/>
          </a:prstGeom>
        </p:spPr>
      </p:pic>
    </p:spTree>
    <p:extLst>
      <p:ext uri="{BB962C8B-B14F-4D97-AF65-F5344CB8AC3E}">
        <p14:creationId xmlns:p14="http://schemas.microsoft.com/office/powerpoint/2010/main" val="657613491"/>
      </p:ext>
    </p:extLst>
  </p:cSld>
  <p:clrMapOvr>
    <a:masterClrMapping/>
  </p:clrMapOvr>
  <mc:AlternateContent xmlns:mc="http://schemas.openxmlformats.org/markup-compatibility/2006" xmlns:p14="http://schemas.microsoft.com/office/powerpoint/2010/main">
    <mc:Choice Requires="p14">
      <p:transition spd="slow" p14:dur="2000" advTm="39974"/>
    </mc:Choice>
    <mc:Fallback xmlns="">
      <p:transition spd="slow" advTm="399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97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6" descr="Two young women jogging on a boardwalk wearing smartphone arm gear and earbuds&#10;&#10;G-1062493112&#10;">
            <a:extLst>
              <a:ext uri="{FF2B5EF4-FFF2-40B4-BE49-F238E27FC236}">
                <a16:creationId xmlns:a16="http://schemas.microsoft.com/office/drawing/2014/main" id="{6A19E152-F8E0-DB15-73A6-04E540B79B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54654" r="-265"/>
          <a:stretch/>
        </p:blipFill>
        <p:spPr>
          <a:xfrm>
            <a:off x="6737497" y="0"/>
            <a:ext cx="5560828" cy="6858000"/>
          </a:xfrm>
          <a:prstGeom prst="rect">
            <a:avLst/>
          </a:prstGeom>
        </p:spPr>
      </p:pic>
      <p:sp>
        <p:nvSpPr>
          <p:cNvPr id="10" name="Title 9">
            <a:extLst>
              <a:ext uri="{FF2B5EF4-FFF2-40B4-BE49-F238E27FC236}">
                <a16:creationId xmlns:a16="http://schemas.microsoft.com/office/drawing/2014/main" id="{BBA83B1B-1E40-0249-977E-88C41E86386C}"/>
              </a:ext>
            </a:extLst>
          </p:cNvPr>
          <p:cNvSpPr>
            <a:spLocks noGrp="1"/>
          </p:cNvSpPr>
          <p:nvPr>
            <p:ph type="title"/>
          </p:nvPr>
        </p:nvSpPr>
        <p:spPr>
          <a:xfrm>
            <a:off x="448113" y="258752"/>
            <a:ext cx="10515600" cy="1325563"/>
          </a:xfrm>
        </p:spPr>
        <p:txBody>
          <a:bodyPr/>
          <a:lstStyle/>
          <a:p>
            <a:r>
              <a:rPr lang="en-US" dirty="0"/>
              <a:t>Thank you</a:t>
            </a:r>
          </a:p>
        </p:txBody>
      </p:sp>
      <p:sp>
        <p:nvSpPr>
          <p:cNvPr id="20" name="Rectangle 19">
            <a:extLst>
              <a:ext uri="{FF2B5EF4-FFF2-40B4-BE49-F238E27FC236}">
                <a16:creationId xmlns:a16="http://schemas.microsoft.com/office/drawing/2014/main" id="{6D821566-494C-C74D-8C77-A17FF06B13F2}"/>
              </a:ext>
            </a:extLst>
          </p:cNvPr>
          <p:cNvSpPr/>
          <p:nvPr/>
        </p:nvSpPr>
        <p:spPr>
          <a:xfrm>
            <a:off x="579480" y="1385823"/>
            <a:ext cx="5768789" cy="4655121"/>
          </a:xfrm>
          <a:prstGeom prst="rect">
            <a:avLst/>
          </a:prstGeom>
        </p:spPr>
        <p:txBody>
          <a:bodyPr wrap="square" lIns="0">
            <a:spAutoFit/>
          </a:bodyPr>
          <a:lstStyle/>
          <a:p>
            <a:pPr>
              <a:spcBef>
                <a:spcPts val="600"/>
              </a:spcBef>
            </a:pPr>
            <a:r>
              <a:rPr lang="en-US" sz="950" b="1" dirty="0">
                <a:solidFill>
                  <a:schemeClr val="tx2"/>
                </a:solidFill>
              </a:rPr>
              <a:t>Legal disclaimers</a:t>
            </a:r>
          </a:p>
          <a:p>
            <a:pPr>
              <a:spcBef>
                <a:spcPts val="600"/>
              </a:spcBef>
            </a:pPr>
            <a:r>
              <a:rPr lang="en-US" sz="950" dirty="0">
                <a:solidFill>
                  <a:schemeClr val="tx2"/>
                </a:solidFill>
                <a:cs typeface="Arial" panose="020B0604020202020204" pitchFamily="34" charset="0"/>
              </a:rPr>
              <a:t>Products that qualify as preventive services may be available at a lower cost share or no cost share, depending upon your plan, and may change from time to time. Please check your plan benefit materials should you have any questions about your coverage.</a:t>
            </a:r>
          </a:p>
          <a:p>
            <a:pPr>
              <a:spcBef>
                <a:spcPts val="600"/>
              </a:spcBef>
            </a:pPr>
            <a:r>
              <a:rPr lang="en-US" sz="950" dirty="0">
                <a:solidFill>
                  <a:schemeClr val="tx2"/>
                </a:solidFill>
                <a:cs typeface="Arial" panose="020B0604020202020204" pitchFamily="34" charset="0"/>
              </a:rPr>
              <a:t>Flu shots and vaccines may not be available in all pharmacies at all times. Call for availability and to make an appointment, if needed. Most vaccines require a prescription (except for the flu shot). Contact your medical carrier directly to find what vaccine benefits are available at other medical facilities such as a doctor’s office, urgent care, etc.</a:t>
            </a:r>
          </a:p>
          <a:p>
            <a:pPr>
              <a:spcBef>
                <a:spcPts val="600"/>
              </a:spcBef>
            </a:pPr>
            <a:r>
              <a:rPr lang="en-US" sz="950" dirty="0">
                <a:solidFill>
                  <a:schemeClr val="tx2"/>
                </a:solidFill>
                <a:cs typeface="Arial" panose="020B0604020202020204" pitchFamily="34" charset="0"/>
              </a:rPr>
              <a:t>Certain drug options identified above may be subject to additional prior authorizations or other plan design restrictions. Please consult your plan for further information.</a:t>
            </a:r>
          </a:p>
          <a:p>
            <a:pPr>
              <a:spcBef>
                <a:spcPts val="600"/>
              </a:spcBef>
            </a:pPr>
            <a:r>
              <a:rPr lang="en-US" sz="950" dirty="0">
                <a:solidFill>
                  <a:schemeClr val="tx2"/>
                </a:solidFill>
                <a:cs typeface="Arial" panose="020B0604020202020204" pitchFamily="34" charset="0"/>
              </a:rPr>
              <a:t>Copayment, copay or coinsurance means the amount a plan member is required to pay for a prescription in accordance with a Plan, which may be a deductible, a percentage of the prescription price, a fixed amount or other charge, with the balance, if any, paid by a Plan.</a:t>
            </a:r>
          </a:p>
          <a:p>
            <a:pPr>
              <a:spcBef>
                <a:spcPts val="600"/>
              </a:spcBef>
            </a:pPr>
            <a:r>
              <a:rPr lang="en-US" sz="950" dirty="0">
                <a:solidFill>
                  <a:schemeClr val="tx2"/>
                </a:solidFill>
                <a:cs typeface="Arial" panose="020B0604020202020204" pitchFamily="34" charset="0"/>
              </a:rPr>
              <a:t>This information is not a substitute for medical advice or treatment. Talk to your doctor or health care provider about this information and any health-related questions you have. CVS Caremark assumes no liability whatsoever for the information provided or for any diagnosis or treatment made as a result of this information. This document may contain references to brand-name prescription medications that are trademarks or registered trademarks of pharmaceutical manufacturers not affiliated with CVS Caremark.</a:t>
            </a:r>
          </a:p>
          <a:p>
            <a:pPr>
              <a:spcBef>
                <a:spcPts val="600"/>
              </a:spcBef>
            </a:pPr>
            <a:r>
              <a:rPr lang="en-US" sz="950" dirty="0">
                <a:solidFill>
                  <a:schemeClr val="tx2"/>
                </a:solidFill>
                <a:cs typeface="Arial" panose="020B0604020202020204" pitchFamily="34" charset="0"/>
              </a:rPr>
              <a:t>Your privacy is important to us. Our employees are trained regarding the appropriate way to handle your private health information.</a:t>
            </a:r>
          </a:p>
          <a:p>
            <a:pPr>
              <a:spcBef>
                <a:spcPts val="600"/>
              </a:spcBef>
            </a:pPr>
            <a:r>
              <a:rPr lang="en-US" sz="950" dirty="0">
                <a:solidFill>
                  <a:schemeClr val="tx2"/>
                </a:solidFill>
                <a:cs typeface="Arial" panose="020B0604020202020204" pitchFamily="34" charset="0"/>
              </a:rPr>
              <a:t>This presentation contains trademarks or registered trademarks of CVS Pharmacy, Inc. or one of its affiliates; it may also contain references to products that are trademarks or registered trademarks of entities not affiliated with CVS Health.</a:t>
            </a:r>
          </a:p>
          <a:p>
            <a:pPr>
              <a:spcBef>
                <a:spcPts val="600"/>
              </a:spcBef>
            </a:pPr>
            <a:r>
              <a:rPr lang="en-US" sz="950" dirty="0">
                <a:solidFill>
                  <a:schemeClr val="tx2"/>
                </a:solidFill>
              </a:rPr>
              <a:t>Accordant Health Services, LLC, is a CVS Caremark company. All rights reserved. Accordant Health Services, LLC is a wholly owned subsidiary of CVS Caremark. Our program, care team and care managers do not provide diagnostic services or direct treatment. We assist you in getting the care you need and our program is not a substitute for the medical diagnosis, treatment and/or instructions provided by your health care providers. </a:t>
            </a:r>
            <a:endParaRPr lang="en-US" sz="950" dirty="0">
              <a:solidFill>
                <a:schemeClr val="tx2"/>
              </a:solidFill>
              <a:latin typeface="CVSHealthSans-Regular" panose="020B0504020202020204" pitchFamily="34" charset="0"/>
            </a:endParaRPr>
          </a:p>
        </p:txBody>
      </p:sp>
      <p:grpSp>
        <p:nvGrpSpPr>
          <p:cNvPr id="21" name="Group 20">
            <a:extLst>
              <a:ext uri="{FF2B5EF4-FFF2-40B4-BE49-F238E27FC236}">
                <a16:creationId xmlns:a16="http://schemas.microsoft.com/office/drawing/2014/main" id="{345E7F97-8345-0042-AC39-A72A168AE374}"/>
              </a:ext>
            </a:extLst>
          </p:cNvPr>
          <p:cNvGrpSpPr>
            <a:grpSpLocks noChangeAspect="1"/>
          </p:cNvGrpSpPr>
          <p:nvPr/>
        </p:nvGrpSpPr>
        <p:grpSpPr bwMode="auto">
          <a:xfrm>
            <a:off x="10345383" y="6384131"/>
            <a:ext cx="1275119" cy="143669"/>
            <a:chOff x="-8" y="1835"/>
            <a:chExt cx="5769" cy="650"/>
          </a:xfrm>
          <a:solidFill>
            <a:srgbClr val="000000"/>
          </a:solidFill>
        </p:grpSpPr>
        <p:sp>
          <p:nvSpPr>
            <p:cNvPr id="22" name="Freeform 21">
              <a:extLst>
                <a:ext uri="{FF2B5EF4-FFF2-40B4-BE49-F238E27FC236}">
                  <a16:creationId xmlns:a16="http://schemas.microsoft.com/office/drawing/2014/main" id="{395E2E4D-D1CF-1044-B4D6-A9E912110E6D}"/>
                </a:ext>
              </a:extLst>
            </p:cNvPr>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id="{D758FA52-BBC0-3B43-AB55-1B0776E7BA22}"/>
                </a:ext>
              </a:extLst>
            </p:cNvPr>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8" name="Straight Connector 27">
            <a:extLst>
              <a:ext uri="{FF2B5EF4-FFF2-40B4-BE49-F238E27FC236}">
                <a16:creationId xmlns:a16="http://schemas.microsoft.com/office/drawing/2014/main" id="{D3818E56-6E77-5E4A-9939-ED879E1163EA}"/>
              </a:ext>
            </a:extLst>
          </p:cNvPr>
          <p:cNvCxnSpPr/>
          <p:nvPr/>
        </p:nvCxnSpPr>
        <p:spPr>
          <a:xfrm>
            <a:off x="559373" y="1241544"/>
            <a:ext cx="539945" cy="0"/>
          </a:xfrm>
          <a:prstGeom prst="line">
            <a:avLst/>
          </a:prstGeom>
          <a:noFill/>
          <a:ln w="25400" cap="flat" cmpd="sng" algn="ctr">
            <a:solidFill>
              <a:schemeClr val="accent2"/>
            </a:solidFill>
            <a:prstDash val="solid"/>
          </a:ln>
          <a:effectLst/>
        </p:spPr>
      </p:cxnSp>
      <p:sp>
        <p:nvSpPr>
          <p:cNvPr id="29" name="Text Placeholder 8">
            <a:extLst>
              <a:ext uri="{FF2B5EF4-FFF2-40B4-BE49-F238E27FC236}">
                <a16:creationId xmlns:a16="http://schemas.microsoft.com/office/drawing/2014/main" id="{942EC3F4-E184-9548-A842-9496D0A2CFC3}"/>
              </a:ext>
            </a:extLst>
          </p:cNvPr>
          <p:cNvSpPr txBox="1">
            <a:spLocks/>
          </p:cNvSpPr>
          <p:nvPr/>
        </p:nvSpPr>
        <p:spPr>
          <a:xfrm>
            <a:off x="458788" y="6949440"/>
            <a:ext cx="8229600" cy="457200"/>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r>
              <a:rPr lang="en-US" dirty="0"/>
              <a:t>Image source: CVS Health Creative Resource Library, accessed 2021, G-925163620. Asset: 244527. No expiration. </a:t>
            </a:r>
            <a:endParaRPr lang="en-US" sz="800" dirty="0"/>
          </a:p>
        </p:txBody>
      </p:sp>
      <p:sp>
        <p:nvSpPr>
          <p:cNvPr id="2" name="TextBox 1">
            <a:extLst>
              <a:ext uri="{FF2B5EF4-FFF2-40B4-BE49-F238E27FC236}">
                <a16:creationId xmlns:a16="http://schemas.microsoft.com/office/drawing/2014/main" id="{9CDF8C0D-2615-523A-94E4-1FF18AF101A0}"/>
              </a:ext>
            </a:extLst>
          </p:cNvPr>
          <p:cNvSpPr txBox="1"/>
          <p:nvPr/>
        </p:nvSpPr>
        <p:spPr>
          <a:xfrm>
            <a:off x="559373" y="6606669"/>
            <a:ext cx="5233840" cy="123111"/>
          </a:xfrm>
          <a:prstGeom prst="rect">
            <a:avLst/>
          </a:prstGeom>
          <a:noFill/>
        </p:spPr>
        <p:txBody>
          <a:bodyPr wrap="square" lIns="0" tIns="0" rIns="0" bIns="0" rtlCol="0" anchor="b">
            <a:spAutoFit/>
          </a:bodyPr>
          <a:lstStyle/>
          <a:p>
            <a:pPr>
              <a:defRPr/>
            </a:pPr>
            <a:r>
              <a:rPr lang="en-US" sz="800" dirty="0">
                <a:solidFill>
                  <a:schemeClr val="tx2"/>
                </a:solidFill>
                <a:latin typeface="CVS Health Sans"/>
              </a:rPr>
              <a:t>©2023 CVS Health and/or one of its affiliates. Confidential and proprietary		</a:t>
            </a:r>
            <a:r>
              <a:rPr lang="en-US" sz="800" dirty="0">
                <a:latin typeface="CVS Health Sans"/>
              </a:rPr>
              <a:t>.</a:t>
            </a:r>
          </a:p>
        </p:txBody>
      </p:sp>
      <p:pic>
        <p:nvPicPr>
          <p:cNvPr id="4" name="12">
            <a:hlinkClick r:id="" action="ppaction://media"/>
            <a:extLst>
              <a:ext uri="{FF2B5EF4-FFF2-40B4-BE49-F238E27FC236}">
                <a16:creationId xmlns:a16="http://schemas.microsoft.com/office/drawing/2014/main" id="{8D4C9D7E-A8B3-F15E-6D9C-1AA6FCBEB64C}"/>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540428" y="5864841"/>
            <a:ext cx="609600" cy="609600"/>
          </a:xfrm>
          <a:prstGeom prst="rect">
            <a:avLst/>
          </a:prstGeom>
        </p:spPr>
      </p:pic>
    </p:spTree>
    <p:extLst>
      <p:ext uri="{BB962C8B-B14F-4D97-AF65-F5344CB8AC3E}">
        <p14:creationId xmlns:p14="http://schemas.microsoft.com/office/powerpoint/2010/main" val="3771231228"/>
      </p:ext>
    </p:extLst>
  </p:cSld>
  <p:clrMapOvr>
    <a:masterClrMapping/>
  </p:clrMapOvr>
  <mc:AlternateContent xmlns:mc="http://schemas.openxmlformats.org/markup-compatibility/2006" xmlns:p14="http://schemas.microsoft.com/office/powerpoint/2010/main">
    <mc:Choice Requires="p14">
      <p:transition spd="slow" p14:dur="2000" advTm="9737"/>
    </mc:Choice>
    <mc:Fallback xmlns="">
      <p:transition spd="slow" advTm="973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73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2265" y="375758"/>
            <a:ext cx="10515600" cy="1325563"/>
          </a:xfrm>
        </p:spPr>
        <p:txBody>
          <a:bodyPr/>
          <a:lstStyle/>
          <a:p>
            <a:r>
              <a:rPr lang="en-US" dirty="0"/>
              <a:t>CVS Health policy statement</a:t>
            </a:r>
          </a:p>
        </p:txBody>
      </p:sp>
      <p:sp>
        <p:nvSpPr>
          <p:cNvPr id="4" name="Content Placeholder 10"/>
          <p:cNvSpPr txBox="1">
            <a:spLocks/>
          </p:cNvSpPr>
          <p:nvPr/>
        </p:nvSpPr>
        <p:spPr>
          <a:xfrm>
            <a:off x="559373" y="2015069"/>
            <a:ext cx="7867025" cy="1026083"/>
          </a:xfrm>
          <a:prstGeom prst="rect">
            <a:avLst/>
          </a:prstGeom>
        </p:spPr>
        <p:txBody>
          <a:bodyPr lIns="0" rIns="0"/>
          <a:lstStyle>
            <a:lvl1pPr marL="0" indent="0" algn="l" defTabSz="457200" rtl="0" eaLnBrk="1" latinLnBrk="0" hangingPunct="1">
              <a:spcBef>
                <a:spcPts val="1800"/>
              </a:spcBef>
              <a:buClr>
                <a:srgbClr val="37BAAB"/>
              </a:buClr>
              <a:buFont typeface="Arial"/>
              <a:buNone/>
              <a:defRPr sz="1800" b="1" kern="1200">
                <a:solidFill>
                  <a:schemeClr val="tx1"/>
                </a:solidFill>
                <a:latin typeface="+mn-lt"/>
                <a:ea typeface="+mn-ea"/>
                <a:cs typeface="+mn-cs"/>
              </a:defRPr>
            </a:lvl1pPr>
            <a:lvl2pPr marL="228600" indent="-228600" algn="l" defTabSz="457200" rtl="0" eaLnBrk="1" latinLnBrk="0" hangingPunct="1">
              <a:spcBef>
                <a:spcPts val="1200"/>
              </a:spcBef>
              <a:buClr>
                <a:srgbClr val="37BAAB"/>
              </a:buClr>
              <a:buFont typeface="Arial"/>
              <a:buChar char="•"/>
              <a:defRPr sz="1800" kern="1200">
                <a:solidFill>
                  <a:schemeClr val="tx1"/>
                </a:solidFill>
                <a:latin typeface="+mn-lt"/>
                <a:ea typeface="+mn-ea"/>
                <a:cs typeface="+mn-cs"/>
              </a:defRPr>
            </a:lvl2pPr>
            <a:lvl3pPr marL="548640" indent="-228600" algn="l" defTabSz="457200" rtl="0" eaLnBrk="1" latinLnBrk="0" hangingPunct="1">
              <a:spcBef>
                <a:spcPts val="600"/>
              </a:spcBef>
              <a:buClr>
                <a:srgbClr val="37BAAB"/>
              </a:buClr>
              <a:buFont typeface="Lucida Grande"/>
              <a:buChar char="–"/>
              <a:defRPr sz="1600" kern="1200">
                <a:solidFill>
                  <a:schemeClr val="tx1">
                    <a:lumMod val="75000"/>
                    <a:lumOff val="25000"/>
                  </a:schemeClr>
                </a:solidFill>
                <a:latin typeface="+mn-lt"/>
                <a:ea typeface="+mn-ea"/>
                <a:cs typeface="+mn-cs"/>
              </a:defRPr>
            </a:lvl3pPr>
            <a:lvl4pPr marL="914400" indent="-228600" algn="l" defTabSz="457200" rtl="0" eaLnBrk="1" latinLnBrk="0" hangingPunct="1">
              <a:spcBef>
                <a:spcPts val="600"/>
              </a:spcBef>
              <a:buClr>
                <a:srgbClr val="37BAAB"/>
              </a:buClr>
              <a:buFont typeface="Arial"/>
              <a:buChar char="•"/>
              <a:defRPr sz="1600" kern="1200">
                <a:solidFill>
                  <a:schemeClr val="tx1">
                    <a:lumMod val="75000"/>
                    <a:lumOff val="25000"/>
                  </a:schemeClr>
                </a:solidFill>
                <a:latin typeface="+mn-lt"/>
                <a:ea typeface="+mn-ea"/>
                <a:cs typeface="+mn-cs"/>
              </a:defRPr>
            </a:lvl4pPr>
            <a:lvl5pPr marL="1234440" indent="-182880" algn="l" defTabSz="457200" rtl="0" eaLnBrk="1" latinLnBrk="0" hangingPunct="1">
              <a:spcBef>
                <a:spcPts val="300"/>
              </a:spcBef>
              <a:buClr>
                <a:srgbClr val="37BAAB"/>
              </a:buClr>
              <a:buFont typeface="Arial"/>
              <a:buChar char="»"/>
              <a:defRPr sz="14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r>
              <a:rPr lang="en-US" b="0" dirty="0">
                <a:solidFill>
                  <a:srgbClr val="3F3F3F"/>
                </a:solidFill>
                <a:latin typeface="CVS Health Sans"/>
              </a:rPr>
              <a:t>All CVS Health presentation materials are confidential and proprietary and may not be copied, distributed, captured, printed or transmitted (in any form) without the written consent/authorization of CVS Pharmacy, Inc.</a:t>
            </a:r>
          </a:p>
        </p:txBody>
      </p:sp>
      <p:cxnSp>
        <p:nvCxnSpPr>
          <p:cNvPr id="6" name="Straight Connector 5">
            <a:extLst>
              <a:ext uri="{FF2B5EF4-FFF2-40B4-BE49-F238E27FC236}">
                <a16:creationId xmlns:a16="http://schemas.microsoft.com/office/drawing/2014/main" id="{4E562D25-309F-4EE7-A015-11A4DA6ED5E2}"/>
              </a:ext>
            </a:extLst>
          </p:cNvPr>
          <p:cNvCxnSpPr/>
          <p:nvPr/>
        </p:nvCxnSpPr>
        <p:spPr>
          <a:xfrm>
            <a:off x="559372" y="1554314"/>
            <a:ext cx="585216" cy="0"/>
          </a:xfrm>
          <a:prstGeom prst="line">
            <a:avLst/>
          </a:prstGeom>
          <a:ln w="25400"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7487642-7DDF-BEBD-1CE4-ACC8BF9315B3}"/>
              </a:ext>
            </a:extLst>
          </p:cNvPr>
          <p:cNvSpPr txBox="1"/>
          <p:nvPr/>
        </p:nvSpPr>
        <p:spPr>
          <a:xfrm>
            <a:off x="559372" y="6615985"/>
            <a:ext cx="5233840" cy="123111"/>
          </a:xfrm>
          <a:prstGeom prst="rect">
            <a:avLst/>
          </a:prstGeom>
          <a:noFill/>
        </p:spPr>
        <p:txBody>
          <a:bodyPr wrap="square" lIns="0" tIns="0" rIns="0" bIns="0" rtlCol="0" anchor="b">
            <a:spAutoFit/>
          </a:bodyPr>
          <a:lstStyle/>
          <a:p>
            <a:pPr>
              <a:defRPr/>
            </a:pPr>
            <a:r>
              <a:rPr lang="en-US" sz="800" dirty="0">
                <a:solidFill>
                  <a:schemeClr val="tx2"/>
                </a:solidFill>
                <a:latin typeface="CVS Health Sans"/>
              </a:rPr>
              <a:t>©2023 CVS Health and/or one of its affiliates. Confidential and proprietary		</a:t>
            </a:r>
            <a:r>
              <a:rPr lang="en-US" sz="800" dirty="0">
                <a:latin typeface="CVS Health Sans"/>
              </a:rPr>
              <a:t>.</a:t>
            </a:r>
          </a:p>
        </p:txBody>
      </p:sp>
    </p:spTree>
    <p:extLst>
      <p:ext uri="{BB962C8B-B14F-4D97-AF65-F5344CB8AC3E}">
        <p14:creationId xmlns:p14="http://schemas.microsoft.com/office/powerpoint/2010/main" val="2306761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corded Sound">
            <a:hlinkClick r:id="" action="ppaction://media"/>
            <a:extLst>
              <a:ext uri="{FF2B5EF4-FFF2-40B4-BE49-F238E27FC236}">
                <a16:creationId xmlns:a16="http://schemas.microsoft.com/office/drawing/2014/main" id="{7B19EE86-3839-7081-8C4D-6E927A4B8D02}"/>
              </a:ext>
            </a:extLst>
          </p:cNvPr>
          <p:cNvPicPr>
            <a:picLocks noChangeAspect="1"/>
          </p:cNvPicPr>
          <p:nvPr>
            <a:audioFile r:link="rId2"/>
            <p:extLst>
              <p:ext uri="{DAA4B4D4-6D71-4841-9C94-3DE7FCFB9230}">
                <p14:media xmlns:p14="http://schemas.microsoft.com/office/powerpoint/2010/main" r:embed="rId1"/>
              </p:ext>
            </p:extLst>
          </p:nvPr>
        </p:nvPicPr>
        <p:blipFill>
          <a:blip r:embed="rId5">
            <a:alphaModFix amt="0"/>
          </a:blip>
          <a:stretch>
            <a:fillRect/>
          </a:stretch>
        </p:blipFill>
        <p:spPr>
          <a:xfrm>
            <a:off x="11249464" y="6148754"/>
            <a:ext cx="609600" cy="609600"/>
          </a:xfrm>
          <a:prstGeom prst="rect">
            <a:avLst/>
          </a:prstGeom>
        </p:spPr>
      </p:pic>
    </p:spTree>
    <p:extLst>
      <p:ext uri="{BB962C8B-B14F-4D97-AF65-F5344CB8AC3E}">
        <p14:creationId xmlns:p14="http://schemas.microsoft.com/office/powerpoint/2010/main" val="3400393850"/>
      </p:ext>
    </p:extLst>
  </p:cSld>
  <p:clrMapOvr>
    <a:masterClrMapping/>
  </p:clrMapOvr>
  <mc:AlternateContent xmlns:mc="http://schemas.openxmlformats.org/markup-compatibility/2006" xmlns:p14="http://schemas.microsoft.com/office/powerpoint/2010/main">
    <mc:Choice Requires="p14">
      <p:transition spd="slow" p14:dur="2000" advTm="988"/>
    </mc:Choice>
    <mc:Fallback xmlns="">
      <p:transition spd="slow" advTm="9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6" descr="Smiling father and daughter comparing vaccine bandaids at home&#10;&#10;20200711_05_Livingroom_06905">
            <a:extLst>
              <a:ext uri="{FF2B5EF4-FFF2-40B4-BE49-F238E27FC236}">
                <a16:creationId xmlns:a16="http://schemas.microsoft.com/office/drawing/2014/main" id="{7C506EE1-D0F8-4193-AC8F-3CEFC8A39661}"/>
              </a:ext>
            </a:extLst>
          </p:cNvPr>
          <p:cNvPicPr>
            <a:picLocks noChangeAspect="1"/>
          </p:cNvPicPr>
          <p:nvPr/>
        </p:nvPicPr>
        <p:blipFill>
          <a:blip r:embed="rId5"/>
          <a:srcRect t="7813" b="7813"/>
          <a:stretch>
            <a:fillRect/>
          </a:stretch>
        </p:blipFill>
        <p:spPr>
          <a:xfrm>
            <a:off x="-1587" y="-10633"/>
            <a:ext cx="12191999" cy="6858000"/>
          </a:xfrm>
          <a:prstGeom prst="rect">
            <a:avLst/>
          </a:prstGeom>
        </p:spPr>
      </p:pic>
      <p:sp>
        <p:nvSpPr>
          <p:cNvPr id="8" name="Rectangle 7">
            <a:extLst>
              <a:ext uri="{FF2B5EF4-FFF2-40B4-BE49-F238E27FC236}">
                <a16:creationId xmlns:a16="http://schemas.microsoft.com/office/drawing/2014/main" id="{AB41683F-77CE-5241-A132-6AA22E55127E}"/>
              </a:ext>
            </a:extLst>
          </p:cNvPr>
          <p:cNvSpPr/>
          <p:nvPr/>
        </p:nvSpPr>
        <p:spPr bwMode="gray">
          <a:xfrm rot="16200000">
            <a:off x="3863625" y="-1561883"/>
            <a:ext cx="4473742" cy="12188825"/>
          </a:xfrm>
          <a:prstGeom prst="rect">
            <a:avLst/>
          </a:prstGeom>
          <a:gradFill>
            <a:gsLst>
              <a:gs pos="39000">
                <a:schemeClr val="tx1">
                  <a:alpha val="49000"/>
                </a:schemeClr>
              </a:gs>
              <a:gs pos="88000">
                <a:schemeClr val="tx2">
                  <a:alpha val="0"/>
                </a:schemeClr>
              </a:gs>
              <a:gs pos="74000">
                <a:schemeClr val="tx2">
                  <a:alpha val="12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13" name="Rectangle 12">
            <a:extLst>
              <a:ext uri="{FF2B5EF4-FFF2-40B4-BE49-F238E27FC236}">
                <a16:creationId xmlns:a16="http://schemas.microsoft.com/office/drawing/2014/main" id="{AB41683F-77CE-5241-A132-6AA22E55127E}"/>
              </a:ext>
            </a:extLst>
          </p:cNvPr>
          <p:cNvSpPr/>
          <p:nvPr/>
        </p:nvSpPr>
        <p:spPr bwMode="gray">
          <a:xfrm rot="16200000">
            <a:off x="4937126" y="-389691"/>
            <a:ext cx="2344382" cy="12188825"/>
          </a:xfrm>
          <a:prstGeom prst="rect">
            <a:avLst/>
          </a:prstGeom>
          <a:gradFill>
            <a:gsLst>
              <a:gs pos="39000">
                <a:schemeClr val="tx1">
                  <a:alpha val="49000"/>
                </a:schemeClr>
              </a:gs>
              <a:gs pos="88000">
                <a:schemeClr val="tx2">
                  <a:alpha val="0"/>
                </a:schemeClr>
              </a:gs>
              <a:gs pos="74000">
                <a:schemeClr val="tx2">
                  <a:alpha val="12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4" name="Rectangle 3"/>
          <p:cNvSpPr/>
          <p:nvPr/>
        </p:nvSpPr>
        <p:spPr>
          <a:xfrm>
            <a:off x="564753" y="4971934"/>
            <a:ext cx="3245140" cy="978729"/>
          </a:xfrm>
          <a:prstGeom prst="rect">
            <a:avLst/>
          </a:prstGeom>
        </p:spPr>
        <p:txBody>
          <a:bodyPr wrap="square">
            <a:spAutoFit/>
          </a:bodyPr>
          <a:lstStyle/>
          <a:p>
            <a:pPr algn="ctr">
              <a:lnSpc>
                <a:spcPct val="90000"/>
              </a:lnSpc>
              <a:spcBef>
                <a:spcPts val="600"/>
              </a:spcBef>
            </a:pPr>
            <a:r>
              <a:rPr lang="en-US" sz="1600" dirty="0">
                <a:solidFill>
                  <a:schemeClr val="bg1"/>
                </a:solidFill>
                <a:latin typeface="CVS Health Sans" panose="020B0504020202020204" pitchFamily="34" charset="0"/>
              </a:rPr>
              <a:t>Manages your prescription benefits like your health insurance company manages your health benefits</a:t>
            </a:r>
          </a:p>
        </p:txBody>
      </p:sp>
      <p:sp>
        <p:nvSpPr>
          <p:cNvPr id="5" name="Rectangle 4"/>
          <p:cNvSpPr/>
          <p:nvPr/>
        </p:nvSpPr>
        <p:spPr>
          <a:xfrm>
            <a:off x="8667386" y="4933631"/>
            <a:ext cx="3122613" cy="978729"/>
          </a:xfrm>
          <a:prstGeom prst="rect">
            <a:avLst/>
          </a:prstGeom>
        </p:spPr>
        <p:txBody>
          <a:bodyPr wrap="square">
            <a:spAutoFit/>
          </a:bodyPr>
          <a:lstStyle/>
          <a:p>
            <a:pPr algn="ctr">
              <a:lnSpc>
                <a:spcPct val="90000"/>
              </a:lnSpc>
              <a:spcBef>
                <a:spcPts val="600"/>
              </a:spcBef>
            </a:pPr>
            <a:r>
              <a:rPr lang="en-US" sz="1600" dirty="0">
                <a:solidFill>
                  <a:schemeClr val="bg1"/>
                </a:solidFill>
                <a:latin typeface="CVS Health Sans" panose="020B0504020202020204" pitchFamily="34" charset="0"/>
              </a:rPr>
              <a:t>Provides tools and services </a:t>
            </a:r>
            <a:br>
              <a:rPr lang="en-US" sz="1600" dirty="0">
                <a:solidFill>
                  <a:schemeClr val="bg1"/>
                </a:solidFill>
                <a:latin typeface="CVS Health Sans" panose="020B0504020202020204" pitchFamily="34" charset="0"/>
              </a:rPr>
            </a:br>
            <a:r>
              <a:rPr lang="en-US" sz="1600" dirty="0">
                <a:solidFill>
                  <a:schemeClr val="bg1"/>
                </a:solidFill>
                <a:latin typeface="CVS Health Sans" panose="020B0504020202020204" pitchFamily="34" charset="0"/>
              </a:rPr>
              <a:t>to help you stay on track with your medications and take care of your health</a:t>
            </a:r>
          </a:p>
        </p:txBody>
      </p:sp>
      <p:grpSp>
        <p:nvGrpSpPr>
          <p:cNvPr id="9" name="Group 8">
            <a:extLst>
              <a:ext uri="{FF2B5EF4-FFF2-40B4-BE49-F238E27FC236}">
                <a16:creationId xmlns:a16="http://schemas.microsoft.com/office/drawing/2014/main" id="{F85B89C7-9F98-5A48-93B9-6622673D310C}"/>
              </a:ext>
            </a:extLst>
          </p:cNvPr>
          <p:cNvGrpSpPr/>
          <p:nvPr/>
        </p:nvGrpSpPr>
        <p:grpSpPr>
          <a:xfrm>
            <a:off x="9930295" y="4259212"/>
            <a:ext cx="493892" cy="480163"/>
            <a:chOff x="3811588" y="1208088"/>
            <a:chExt cx="4568826" cy="4441825"/>
          </a:xfrm>
          <a:solidFill>
            <a:schemeClr val="bg1"/>
          </a:solidFill>
        </p:grpSpPr>
        <p:sp>
          <p:nvSpPr>
            <p:cNvPr id="10" name="Freeform 9">
              <a:extLst>
                <a:ext uri="{FF2B5EF4-FFF2-40B4-BE49-F238E27FC236}">
                  <a16:creationId xmlns:a16="http://schemas.microsoft.com/office/drawing/2014/main" id="{D543BC79-88B8-604D-848C-1FB6C5F9FFED}"/>
                </a:ext>
              </a:extLst>
            </p:cNvPr>
            <p:cNvSpPr>
              <a:spLocks noEditPoints="1"/>
            </p:cNvSpPr>
            <p:nvPr/>
          </p:nvSpPr>
          <p:spPr bwMode="auto">
            <a:xfrm>
              <a:off x="3811588" y="2382838"/>
              <a:ext cx="1951038" cy="3267075"/>
            </a:xfrm>
            <a:custGeom>
              <a:avLst/>
              <a:gdLst>
                <a:gd name="T0" fmla="*/ 204 w 205"/>
                <a:gd name="T1" fmla="*/ 345 h 345"/>
                <a:gd name="T2" fmla="*/ 102 w 205"/>
                <a:gd name="T3" fmla="*/ 345 h 345"/>
                <a:gd name="T4" fmla="*/ 102 w 205"/>
                <a:gd name="T5" fmla="*/ 291 h 345"/>
                <a:gd name="T6" fmla="*/ 99 w 205"/>
                <a:gd name="T7" fmla="*/ 283 h 345"/>
                <a:gd name="T8" fmla="*/ 16 w 205"/>
                <a:gd name="T9" fmla="*/ 194 h 345"/>
                <a:gd name="T10" fmla="*/ 0 w 205"/>
                <a:gd name="T11" fmla="*/ 153 h 345"/>
                <a:gd name="T12" fmla="*/ 0 w 205"/>
                <a:gd name="T13" fmla="*/ 35 h 345"/>
                <a:gd name="T14" fmla="*/ 10 w 205"/>
                <a:gd name="T15" fmla="*/ 10 h 345"/>
                <a:gd name="T16" fmla="*/ 35 w 205"/>
                <a:gd name="T17" fmla="*/ 0 h 345"/>
                <a:gd name="T18" fmla="*/ 70 w 205"/>
                <a:gd name="T19" fmla="*/ 35 h 345"/>
                <a:gd name="T20" fmla="*/ 70 w 205"/>
                <a:gd name="T21" fmla="*/ 104 h 345"/>
                <a:gd name="T22" fmla="*/ 86 w 205"/>
                <a:gd name="T23" fmla="*/ 101 h 345"/>
                <a:gd name="T24" fmla="*/ 112 w 205"/>
                <a:gd name="T25" fmla="*/ 112 h 345"/>
                <a:gd name="T26" fmla="*/ 130 w 205"/>
                <a:gd name="T27" fmla="*/ 132 h 345"/>
                <a:gd name="T28" fmla="*/ 152 w 205"/>
                <a:gd name="T29" fmla="*/ 145 h 345"/>
                <a:gd name="T30" fmla="*/ 161 w 205"/>
                <a:gd name="T31" fmla="*/ 148 h 345"/>
                <a:gd name="T32" fmla="*/ 194 w 205"/>
                <a:gd name="T33" fmla="*/ 170 h 345"/>
                <a:gd name="T34" fmla="*/ 205 w 205"/>
                <a:gd name="T35" fmla="*/ 208 h 345"/>
                <a:gd name="T36" fmla="*/ 204 w 205"/>
                <a:gd name="T37" fmla="*/ 232 h 345"/>
                <a:gd name="T38" fmla="*/ 204 w 205"/>
                <a:gd name="T39" fmla="*/ 345 h 345"/>
                <a:gd name="T40" fmla="*/ 123 w 205"/>
                <a:gd name="T41" fmla="*/ 325 h 345"/>
                <a:gd name="T42" fmla="*/ 183 w 205"/>
                <a:gd name="T43" fmla="*/ 325 h 345"/>
                <a:gd name="T44" fmla="*/ 183 w 205"/>
                <a:gd name="T45" fmla="*/ 232 h 345"/>
                <a:gd name="T46" fmla="*/ 184 w 205"/>
                <a:gd name="T47" fmla="*/ 207 h 345"/>
                <a:gd name="T48" fmla="*/ 156 w 205"/>
                <a:gd name="T49" fmla="*/ 168 h 345"/>
                <a:gd name="T50" fmla="*/ 146 w 205"/>
                <a:gd name="T51" fmla="*/ 165 h 345"/>
                <a:gd name="T52" fmla="*/ 115 w 205"/>
                <a:gd name="T53" fmla="*/ 146 h 345"/>
                <a:gd name="T54" fmla="*/ 97 w 205"/>
                <a:gd name="T55" fmla="*/ 127 h 345"/>
                <a:gd name="T56" fmla="*/ 86 w 205"/>
                <a:gd name="T57" fmla="*/ 122 h 345"/>
                <a:gd name="T58" fmla="*/ 75 w 205"/>
                <a:gd name="T59" fmla="*/ 126 h 345"/>
                <a:gd name="T60" fmla="*/ 70 w 205"/>
                <a:gd name="T61" fmla="*/ 135 h 345"/>
                <a:gd name="T62" fmla="*/ 70 w 205"/>
                <a:gd name="T63" fmla="*/ 140 h 345"/>
                <a:gd name="T64" fmla="*/ 74 w 205"/>
                <a:gd name="T65" fmla="*/ 148 h 345"/>
                <a:gd name="T66" fmla="*/ 121 w 205"/>
                <a:gd name="T67" fmla="*/ 196 h 345"/>
                <a:gd name="T68" fmla="*/ 106 w 205"/>
                <a:gd name="T69" fmla="*/ 210 h 345"/>
                <a:gd name="T70" fmla="*/ 59 w 205"/>
                <a:gd name="T71" fmla="*/ 163 h 345"/>
                <a:gd name="T72" fmla="*/ 50 w 205"/>
                <a:gd name="T73" fmla="*/ 143 h 345"/>
                <a:gd name="T74" fmla="*/ 49 w 205"/>
                <a:gd name="T75" fmla="*/ 143 h 345"/>
                <a:gd name="T76" fmla="*/ 49 w 205"/>
                <a:gd name="T77" fmla="*/ 142 h 345"/>
                <a:gd name="T78" fmla="*/ 49 w 205"/>
                <a:gd name="T79" fmla="*/ 137 h 345"/>
                <a:gd name="T80" fmla="*/ 49 w 205"/>
                <a:gd name="T81" fmla="*/ 133 h 345"/>
                <a:gd name="T82" fmla="*/ 49 w 205"/>
                <a:gd name="T83" fmla="*/ 35 h 345"/>
                <a:gd name="T84" fmla="*/ 35 w 205"/>
                <a:gd name="T85" fmla="*/ 21 h 345"/>
                <a:gd name="T86" fmla="*/ 25 w 205"/>
                <a:gd name="T87" fmla="*/ 25 h 345"/>
                <a:gd name="T88" fmla="*/ 21 w 205"/>
                <a:gd name="T89" fmla="*/ 35 h 345"/>
                <a:gd name="T90" fmla="*/ 21 w 205"/>
                <a:gd name="T91" fmla="*/ 153 h 345"/>
                <a:gd name="T92" fmla="*/ 32 w 205"/>
                <a:gd name="T93" fmla="*/ 179 h 345"/>
                <a:gd name="T94" fmla="*/ 114 w 205"/>
                <a:gd name="T95" fmla="*/ 269 h 345"/>
                <a:gd name="T96" fmla="*/ 123 w 205"/>
                <a:gd name="T97" fmla="*/ 291 h 345"/>
                <a:gd name="T98" fmla="*/ 123 w 205"/>
                <a:gd name="T99" fmla="*/ 3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345">
                  <a:moveTo>
                    <a:pt x="204" y="345"/>
                  </a:moveTo>
                  <a:cubicBezTo>
                    <a:pt x="102" y="345"/>
                    <a:pt x="102" y="345"/>
                    <a:pt x="102" y="345"/>
                  </a:cubicBezTo>
                  <a:cubicBezTo>
                    <a:pt x="102" y="291"/>
                    <a:pt x="102" y="291"/>
                    <a:pt x="102" y="291"/>
                  </a:cubicBezTo>
                  <a:cubicBezTo>
                    <a:pt x="102" y="288"/>
                    <a:pt x="101" y="285"/>
                    <a:pt x="99" y="283"/>
                  </a:cubicBezTo>
                  <a:cubicBezTo>
                    <a:pt x="16" y="194"/>
                    <a:pt x="16" y="194"/>
                    <a:pt x="16" y="194"/>
                  </a:cubicBezTo>
                  <a:cubicBezTo>
                    <a:pt x="6" y="182"/>
                    <a:pt x="0" y="168"/>
                    <a:pt x="0" y="153"/>
                  </a:cubicBezTo>
                  <a:cubicBezTo>
                    <a:pt x="0" y="35"/>
                    <a:pt x="0" y="35"/>
                    <a:pt x="0" y="35"/>
                  </a:cubicBezTo>
                  <a:cubicBezTo>
                    <a:pt x="0" y="26"/>
                    <a:pt x="4" y="17"/>
                    <a:pt x="10" y="10"/>
                  </a:cubicBezTo>
                  <a:cubicBezTo>
                    <a:pt x="17" y="4"/>
                    <a:pt x="26" y="0"/>
                    <a:pt x="35" y="0"/>
                  </a:cubicBezTo>
                  <a:cubicBezTo>
                    <a:pt x="55" y="0"/>
                    <a:pt x="70" y="16"/>
                    <a:pt x="70" y="35"/>
                  </a:cubicBezTo>
                  <a:cubicBezTo>
                    <a:pt x="70" y="104"/>
                    <a:pt x="70" y="104"/>
                    <a:pt x="70" y="104"/>
                  </a:cubicBezTo>
                  <a:cubicBezTo>
                    <a:pt x="75" y="102"/>
                    <a:pt x="80" y="101"/>
                    <a:pt x="86" y="101"/>
                  </a:cubicBezTo>
                  <a:cubicBezTo>
                    <a:pt x="96" y="101"/>
                    <a:pt x="105" y="105"/>
                    <a:pt x="112" y="112"/>
                  </a:cubicBezTo>
                  <a:cubicBezTo>
                    <a:pt x="130" y="132"/>
                    <a:pt x="130" y="132"/>
                    <a:pt x="130" y="132"/>
                  </a:cubicBezTo>
                  <a:cubicBezTo>
                    <a:pt x="136" y="138"/>
                    <a:pt x="144" y="142"/>
                    <a:pt x="152" y="145"/>
                  </a:cubicBezTo>
                  <a:cubicBezTo>
                    <a:pt x="161" y="148"/>
                    <a:pt x="161" y="148"/>
                    <a:pt x="161" y="148"/>
                  </a:cubicBezTo>
                  <a:cubicBezTo>
                    <a:pt x="174" y="151"/>
                    <a:pt x="186" y="159"/>
                    <a:pt x="194" y="170"/>
                  </a:cubicBezTo>
                  <a:cubicBezTo>
                    <a:pt x="201" y="181"/>
                    <a:pt x="205" y="195"/>
                    <a:pt x="205" y="208"/>
                  </a:cubicBezTo>
                  <a:cubicBezTo>
                    <a:pt x="204" y="232"/>
                    <a:pt x="204" y="232"/>
                    <a:pt x="204" y="232"/>
                  </a:cubicBezTo>
                  <a:lnTo>
                    <a:pt x="204" y="345"/>
                  </a:lnTo>
                  <a:close/>
                  <a:moveTo>
                    <a:pt x="123" y="325"/>
                  </a:moveTo>
                  <a:cubicBezTo>
                    <a:pt x="183" y="325"/>
                    <a:pt x="183" y="325"/>
                    <a:pt x="183" y="325"/>
                  </a:cubicBezTo>
                  <a:cubicBezTo>
                    <a:pt x="183" y="232"/>
                    <a:pt x="183" y="232"/>
                    <a:pt x="183" y="232"/>
                  </a:cubicBezTo>
                  <a:cubicBezTo>
                    <a:pt x="184" y="207"/>
                    <a:pt x="184" y="207"/>
                    <a:pt x="184" y="207"/>
                  </a:cubicBezTo>
                  <a:cubicBezTo>
                    <a:pt x="185" y="189"/>
                    <a:pt x="173" y="173"/>
                    <a:pt x="156" y="168"/>
                  </a:cubicBezTo>
                  <a:cubicBezTo>
                    <a:pt x="146" y="165"/>
                    <a:pt x="146" y="165"/>
                    <a:pt x="146" y="165"/>
                  </a:cubicBezTo>
                  <a:cubicBezTo>
                    <a:pt x="134" y="161"/>
                    <a:pt x="124" y="155"/>
                    <a:pt x="115" y="146"/>
                  </a:cubicBezTo>
                  <a:cubicBezTo>
                    <a:pt x="97" y="127"/>
                    <a:pt x="97" y="127"/>
                    <a:pt x="97" y="127"/>
                  </a:cubicBezTo>
                  <a:cubicBezTo>
                    <a:pt x="94" y="124"/>
                    <a:pt x="90" y="122"/>
                    <a:pt x="86" y="122"/>
                  </a:cubicBezTo>
                  <a:cubicBezTo>
                    <a:pt x="81" y="122"/>
                    <a:pt x="78" y="124"/>
                    <a:pt x="75" y="126"/>
                  </a:cubicBezTo>
                  <a:cubicBezTo>
                    <a:pt x="72" y="129"/>
                    <a:pt x="71" y="132"/>
                    <a:pt x="70" y="135"/>
                  </a:cubicBezTo>
                  <a:cubicBezTo>
                    <a:pt x="70" y="140"/>
                    <a:pt x="70" y="140"/>
                    <a:pt x="70" y="140"/>
                  </a:cubicBezTo>
                  <a:cubicBezTo>
                    <a:pt x="71" y="143"/>
                    <a:pt x="72" y="146"/>
                    <a:pt x="74" y="148"/>
                  </a:cubicBezTo>
                  <a:cubicBezTo>
                    <a:pt x="121" y="196"/>
                    <a:pt x="121" y="196"/>
                    <a:pt x="121" y="196"/>
                  </a:cubicBezTo>
                  <a:cubicBezTo>
                    <a:pt x="106" y="210"/>
                    <a:pt x="106" y="210"/>
                    <a:pt x="106" y="210"/>
                  </a:cubicBezTo>
                  <a:cubicBezTo>
                    <a:pt x="59" y="163"/>
                    <a:pt x="59" y="163"/>
                    <a:pt x="59" y="163"/>
                  </a:cubicBezTo>
                  <a:cubicBezTo>
                    <a:pt x="54" y="157"/>
                    <a:pt x="51" y="150"/>
                    <a:pt x="50" y="143"/>
                  </a:cubicBezTo>
                  <a:cubicBezTo>
                    <a:pt x="49" y="143"/>
                    <a:pt x="49" y="143"/>
                    <a:pt x="49" y="143"/>
                  </a:cubicBezTo>
                  <a:cubicBezTo>
                    <a:pt x="49" y="142"/>
                    <a:pt x="49" y="142"/>
                    <a:pt x="49" y="142"/>
                  </a:cubicBezTo>
                  <a:cubicBezTo>
                    <a:pt x="49" y="140"/>
                    <a:pt x="49" y="139"/>
                    <a:pt x="49" y="137"/>
                  </a:cubicBezTo>
                  <a:cubicBezTo>
                    <a:pt x="49" y="136"/>
                    <a:pt x="49" y="135"/>
                    <a:pt x="49" y="133"/>
                  </a:cubicBezTo>
                  <a:cubicBezTo>
                    <a:pt x="49" y="35"/>
                    <a:pt x="49" y="35"/>
                    <a:pt x="49" y="35"/>
                  </a:cubicBezTo>
                  <a:cubicBezTo>
                    <a:pt x="49" y="27"/>
                    <a:pt x="43" y="21"/>
                    <a:pt x="35" y="21"/>
                  </a:cubicBezTo>
                  <a:cubicBezTo>
                    <a:pt x="31" y="21"/>
                    <a:pt x="28" y="22"/>
                    <a:pt x="25" y="25"/>
                  </a:cubicBezTo>
                  <a:cubicBezTo>
                    <a:pt x="22" y="28"/>
                    <a:pt x="21" y="31"/>
                    <a:pt x="21" y="35"/>
                  </a:cubicBezTo>
                  <a:cubicBezTo>
                    <a:pt x="21" y="153"/>
                    <a:pt x="21" y="153"/>
                    <a:pt x="21" y="153"/>
                  </a:cubicBezTo>
                  <a:cubicBezTo>
                    <a:pt x="21" y="163"/>
                    <a:pt x="25" y="172"/>
                    <a:pt x="32" y="179"/>
                  </a:cubicBezTo>
                  <a:cubicBezTo>
                    <a:pt x="114" y="269"/>
                    <a:pt x="114" y="269"/>
                    <a:pt x="114" y="269"/>
                  </a:cubicBezTo>
                  <a:cubicBezTo>
                    <a:pt x="120" y="275"/>
                    <a:pt x="123" y="282"/>
                    <a:pt x="123" y="291"/>
                  </a:cubicBezTo>
                  <a:lnTo>
                    <a:pt x="123"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chemeClr val="bg1"/>
                </a:solidFill>
              </a:endParaRPr>
            </a:p>
          </p:txBody>
        </p:sp>
        <p:sp>
          <p:nvSpPr>
            <p:cNvPr id="11" name="Freeform 10">
              <a:extLst>
                <a:ext uri="{FF2B5EF4-FFF2-40B4-BE49-F238E27FC236}">
                  <a16:creationId xmlns:a16="http://schemas.microsoft.com/office/drawing/2014/main" id="{837BFEAE-59AF-B247-88E4-EE652A7B9D91}"/>
                </a:ext>
              </a:extLst>
            </p:cNvPr>
            <p:cNvSpPr>
              <a:spLocks noEditPoints="1"/>
            </p:cNvSpPr>
            <p:nvPr/>
          </p:nvSpPr>
          <p:spPr bwMode="auto">
            <a:xfrm>
              <a:off x="6429376" y="2382838"/>
              <a:ext cx="1951038" cy="3267075"/>
            </a:xfrm>
            <a:custGeom>
              <a:avLst/>
              <a:gdLst>
                <a:gd name="T0" fmla="*/ 104 w 205"/>
                <a:gd name="T1" fmla="*/ 345 h 345"/>
                <a:gd name="T2" fmla="*/ 2 w 205"/>
                <a:gd name="T3" fmla="*/ 345 h 345"/>
                <a:gd name="T4" fmla="*/ 2 w 205"/>
                <a:gd name="T5" fmla="*/ 232 h 345"/>
                <a:gd name="T6" fmla="*/ 1 w 205"/>
                <a:gd name="T7" fmla="*/ 208 h 345"/>
                <a:gd name="T8" fmla="*/ 12 w 205"/>
                <a:gd name="T9" fmla="*/ 170 h 345"/>
                <a:gd name="T10" fmla="*/ 44 w 205"/>
                <a:gd name="T11" fmla="*/ 148 h 345"/>
                <a:gd name="T12" fmla="*/ 54 w 205"/>
                <a:gd name="T13" fmla="*/ 145 h 345"/>
                <a:gd name="T14" fmla="*/ 75 w 205"/>
                <a:gd name="T15" fmla="*/ 132 h 345"/>
                <a:gd name="T16" fmla="*/ 75 w 205"/>
                <a:gd name="T17" fmla="*/ 132 h 345"/>
                <a:gd name="T18" fmla="*/ 94 w 205"/>
                <a:gd name="T19" fmla="*/ 112 h 345"/>
                <a:gd name="T20" fmla="*/ 120 w 205"/>
                <a:gd name="T21" fmla="*/ 101 h 345"/>
                <a:gd name="T22" fmla="*/ 135 w 205"/>
                <a:gd name="T23" fmla="*/ 104 h 345"/>
                <a:gd name="T24" fmla="*/ 135 w 205"/>
                <a:gd name="T25" fmla="*/ 35 h 345"/>
                <a:gd name="T26" fmla="*/ 170 w 205"/>
                <a:gd name="T27" fmla="*/ 0 h 345"/>
                <a:gd name="T28" fmla="*/ 195 w 205"/>
                <a:gd name="T29" fmla="*/ 10 h 345"/>
                <a:gd name="T30" fmla="*/ 205 w 205"/>
                <a:gd name="T31" fmla="*/ 35 h 345"/>
                <a:gd name="T32" fmla="*/ 205 w 205"/>
                <a:gd name="T33" fmla="*/ 153 h 345"/>
                <a:gd name="T34" fmla="*/ 189 w 205"/>
                <a:gd name="T35" fmla="*/ 194 h 345"/>
                <a:gd name="T36" fmla="*/ 107 w 205"/>
                <a:gd name="T37" fmla="*/ 283 h 345"/>
                <a:gd name="T38" fmla="*/ 104 w 205"/>
                <a:gd name="T39" fmla="*/ 291 h 345"/>
                <a:gd name="T40" fmla="*/ 104 w 205"/>
                <a:gd name="T41" fmla="*/ 345 h 345"/>
                <a:gd name="T42" fmla="*/ 23 w 205"/>
                <a:gd name="T43" fmla="*/ 325 h 345"/>
                <a:gd name="T44" fmla="*/ 83 w 205"/>
                <a:gd name="T45" fmla="*/ 325 h 345"/>
                <a:gd name="T46" fmla="*/ 83 w 205"/>
                <a:gd name="T47" fmla="*/ 291 h 345"/>
                <a:gd name="T48" fmla="*/ 91 w 205"/>
                <a:gd name="T49" fmla="*/ 269 h 345"/>
                <a:gd name="T50" fmla="*/ 174 w 205"/>
                <a:gd name="T51" fmla="*/ 179 h 345"/>
                <a:gd name="T52" fmla="*/ 184 w 205"/>
                <a:gd name="T53" fmla="*/ 153 h 345"/>
                <a:gd name="T54" fmla="*/ 185 w 205"/>
                <a:gd name="T55" fmla="*/ 35 h 345"/>
                <a:gd name="T56" fmla="*/ 180 w 205"/>
                <a:gd name="T57" fmla="*/ 25 h 345"/>
                <a:gd name="T58" fmla="*/ 170 w 205"/>
                <a:gd name="T59" fmla="*/ 21 h 345"/>
                <a:gd name="T60" fmla="*/ 156 w 205"/>
                <a:gd name="T61" fmla="*/ 35 h 345"/>
                <a:gd name="T62" fmla="*/ 156 w 205"/>
                <a:gd name="T63" fmla="*/ 133 h 345"/>
                <a:gd name="T64" fmla="*/ 156 w 205"/>
                <a:gd name="T65" fmla="*/ 137 h 345"/>
                <a:gd name="T66" fmla="*/ 156 w 205"/>
                <a:gd name="T67" fmla="*/ 142 h 345"/>
                <a:gd name="T68" fmla="*/ 156 w 205"/>
                <a:gd name="T69" fmla="*/ 143 h 345"/>
                <a:gd name="T70" fmla="*/ 156 w 205"/>
                <a:gd name="T71" fmla="*/ 143 h 345"/>
                <a:gd name="T72" fmla="*/ 146 w 205"/>
                <a:gd name="T73" fmla="*/ 163 h 345"/>
                <a:gd name="T74" fmla="*/ 100 w 205"/>
                <a:gd name="T75" fmla="*/ 210 h 345"/>
                <a:gd name="T76" fmla="*/ 85 w 205"/>
                <a:gd name="T77" fmla="*/ 196 h 345"/>
                <a:gd name="T78" fmla="*/ 131 w 205"/>
                <a:gd name="T79" fmla="*/ 148 h 345"/>
                <a:gd name="T80" fmla="*/ 135 w 205"/>
                <a:gd name="T81" fmla="*/ 140 h 345"/>
                <a:gd name="T82" fmla="*/ 135 w 205"/>
                <a:gd name="T83" fmla="*/ 135 h 345"/>
                <a:gd name="T84" fmla="*/ 131 w 205"/>
                <a:gd name="T85" fmla="*/ 126 h 345"/>
                <a:gd name="T86" fmla="*/ 120 w 205"/>
                <a:gd name="T87" fmla="*/ 122 h 345"/>
                <a:gd name="T88" fmla="*/ 120 w 205"/>
                <a:gd name="T89" fmla="*/ 122 h 345"/>
                <a:gd name="T90" fmla="*/ 109 w 205"/>
                <a:gd name="T91" fmla="*/ 127 h 345"/>
                <a:gd name="T92" fmla="*/ 90 w 205"/>
                <a:gd name="T93" fmla="*/ 146 h 345"/>
                <a:gd name="T94" fmla="*/ 60 w 205"/>
                <a:gd name="T95" fmla="*/ 165 h 345"/>
                <a:gd name="T96" fmla="*/ 50 w 205"/>
                <a:gd name="T97" fmla="*/ 168 h 345"/>
                <a:gd name="T98" fmla="*/ 22 w 205"/>
                <a:gd name="T99" fmla="*/ 207 h 345"/>
                <a:gd name="T100" fmla="*/ 23 w 205"/>
                <a:gd name="T101" fmla="*/ 232 h 345"/>
                <a:gd name="T102" fmla="*/ 23 w 205"/>
                <a:gd name="T103" fmla="*/ 32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345">
                  <a:moveTo>
                    <a:pt x="104" y="345"/>
                  </a:moveTo>
                  <a:cubicBezTo>
                    <a:pt x="2" y="345"/>
                    <a:pt x="2" y="345"/>
                    <a:pt x="2" y="345"/>
                  </a:cubicBezTo>
                  <a:cubicBezTo>
                    <a:pt x="2" y="232"/>
                    <a:pt x="2" y="232"/>
                    <a:pt x="2" y="232"/>
                  </a:cubicBezTo>
                  <a:cubicBezTo>
                    <a:pt x="1" y="208"/>
                    <a:pt x="1" y="208"/>
                    <a:pt x="1" y="208"/>
                  </a:cubicBezTo>
                  <a:cubicBezTo>
                    <a:pt x="0" y="195"/>
                    <a:pt x="4" y="181"/>
                    <a:pt x="12" y="170"/>
                  </a:cubicBezTo>
                  <a:cubicBezTo>
                    <a:pt x="20" y="159"/>
                    <a:pt x="31" y="151"/>
                    <a:pt x="44" y="148"/>
                  </a:cubicBezTo>
                  <a:cubicBezTo>
                    <a:pt x="54" y="145"/>
                    <a:pt x="54" y="145"/>
                    <a:pt x="54" y="145"/>
                  </a:cubicBezTo>
                  <a:cubicBezTo>
                    <a:pt x="62" y="142"/>
                    <a:pt x="69" y="138"/>
                    <a:pt x="75" y="132"/>
                  </a:cubicBezTo>
                  <a:cubicBezTo>
                    <a:pt x="75" y="132"/>
                    <a:pt x="75" y="132"/>
                    <a:pt x="75" y="132"/>
                  </a:cubicBezTo>
                  <a:cubicBezTo>
                    <a:pt x="94" y="112"/>
                    <a:pt x="94" y="112"/>
                    <a:pt x="94" y="112"/>
                  </a:cubicBezTo>
                  <a:cubicBezTo>
                    <a:pt x="101" y="105"/>
                    <a:pt x="110" y="101"/>
                    <a:pt x="120" y="101"/>
                  </a:cubicBezTo>
                  <a:cubicBezTo>
                    <a:pt x="125" y="101"/>
                    <a:pt x="131" y="102"/>
                    <a:pt x="135" y="104"/>
                  </a:cubicBezTo>
                  <a:cubicBezTo>
                    <a:pt x="135" y="35"/>
                    <a:pt x="135" y="35"/>
                    <a:pt x="135" y="35"/>
                  </a:cubicBezTo>
                  <a:cubicBezTo>
                    <a:pt x="135" y="16"/>
                    <a:pt x="151" y="0"/>
                    <a:pt x="170" y="0"/>
                  </a:cubicBezTo>
                  <a:cubicBezTo>
                    <a:pt x="180" y="0"/>
                    <a:pt x="188" y="4"/>
                    <a:pt x="195" y="10"/>
                  </a:cubicBezTo>
                  <a:cubicBezTo>
                    <a:pt x="202" y="17"/>
                    <a:pt x="205" y="26"/>
                    <a:pt x="205" y="35"/>
                  </a:cubicBezTo>
                  <a:cubicBezTo>
                    <a:pt x="205" y="153"/>
                    <a:pt x="205" y="153"/>
                    <a:pt x="205" y="153"/>
                  </a:cubicBezTo>
                  <a:cubicBezTo>
                    <a:pt x="205" y="168"/>
                    <a:pt x="200" y="182"/>
                    <a:pt x="189" y="194"/>
                  </a:cubicBezTo>
                  <a:cubicBezTo>
                    <a:pt x="107" y="283"/>
                    <a:pt x="107" y="283"/>
                    <a:pt x="107" y="283"/>
                  </a:cubicBezTo>
                  <a:cubicBezTo>
                    <a:pt x="105" y="285"/>
                    <a:pt x="104" y="288"/>
                    <a:pt x="104" y="291"/>
                  </a:cubicBezTo>
                  <a:lnTo>
                    <a:pt x="104" y="345"/>
                  </a:lnTo>
                  <a:close/>
                  <a:moveTo>
                    <a:pt x="23" y="325"/>
                  </a:moveTo>
                  <a:cubicBezTo>
                    <a:pt x="83" y="325"/>
                    <a:pt x="83" y="325"/>
                    <a:pt x="83" y="325"/>
                  </a:cubicBezTo>
                  <a:cubicBezTo>
                    <a:pt x="83" y="291"/>
                    <a:pt x="83" y="291"/>
                    <a:pt x="83" y="291"/>
                  </a:cubicBezTo>
                  <a:cubicBezTo>
                    <a:pt x="83" y="282"/>
                    <a:pt x="86" y="275"/>
                    <a:pt x="91" y="269"/>
                  </a:cubicBezTo>
                  <a:cubicBezTo>
                    <a:pt x="174" y="179"/>
                    <a:pt x="174" y="179"/>
                    <a:pt x="174" y="179"/>
                  </a:cubicBezTo>
                  <a:cubicBezTo>
                    <a:pt x="181" y="172"/>
                    <a:pt x="184" y="163"/>
                    <a:pt x="184" y="153"/>
                  </a:cubicBezTo>
                  <a:cubicBezTo>
                    <a:pt x="185" y="35"/>
                    <a:pt x="185" y="35"/>
                    <a:pt x="185" y="35"/>
                  </a:cubicBezTo>
                  <a:cubicBezTo>
                    <a:pt x="185" y="31"/>
                    <a:pt x="183" y="28"/>
                    <a:pt x="180" y="25"/>
                  </a:cubicBezTo>
                  <a:cubicBezTo>
                    <a:pt x="178" y="22"/>
                    <a:pt x="174" y="21"/>
                    <a:pt x="170" y="21"/>
                  </a:cubicBezTo>
                  <a:cubicBezTo>
                    <a:pt x="163" y="21"/>
                    <a:pt x="156" y="27"/>
                    <a:pt x="156" y="35"/>
                  </a:cubicBezTo>
                  <a:cubicBezTo>
                    <a:pt x="156" y="133"/>
                    <a:pt x="156" y="133"/>
                    <a:pt x="156" y="133"/>
                  </a:cubicBezTo>
                  <a:cubicBezTo>
                    <a:pt x="156" y="135"/>
                    <a:pt x="156" y="136"/>
                    <a:pt x="156" y="137"/>
                  </a:cubicBezTo>
                  <a:cubicBezTo>
                    <a:pt x="156" y="139"/>
                    <a:pt x="156" y="140"/>
                    <a:pt x="156" y="142"/>
                  </a:cubicBezTo>
                  <a:cubicBezTo>
                    <a:pt x="156" y="143"/>
                    <a:pt x="156" y="143"/>
                    <a:pt x="156" y="143"/>
                  </a:cubicBezTo>
                  <a:cubicBezTo>
                    <a:pt x="156" y="143"/>
                    <a:pt x="156" y="143"/>
                    <a:pt x="156" y="143"/>
                  </a:cubicBezTo>
                  <a:cubicBezTo>
                    <a:pt x="155" y="150"/>
                    <a:pt x="151" y="157"/>
                    <a:pt x="146" y="163"/>
                  </a:cubicBezTo>
                  <a:cubicBezTo>
                    <a:pt x="100" y="210"/>
                    <a:pt x="100" y="210"/>
                    <a:pt x="100" y="210"/>
                  </a:cubicBezTo>
                  <a:cubicBezTo>
                    <a:pt x="85" y="196"/>
                    <a:pt x="85" y="196"/>
                    <a:pt x="85" y="196"/>
                  </a:cubicBezTo>
                  <a:cubicBezTo>
                    <a:pt x="131" y="148"/>
                    <a:pt x="131" y="148"/>
                    <a:pt x="131" y="148"/>
                  </a:cubicBezTo>
                  <a:cubicBezTo>
                    <a:pt x="133" y="146"/>
                    <a:pt x="135" y="143"/>
                    <a:pt x="135" y="140"/>
                  </a:cubicBezTo>
                  <a:cubicBezTo>
                    <a:pt x="135" y="135"/>
                    <a:pt x="135" y="135"/>
                    <a:pt x="135" y="135"/>
                  </a:cubicBezTo>
                  <a:cubicBezTo>
                    <a:pt x="135" y="132"/>
                    <a:pt x="133" y="129"/>
                    <a:pt x="131" y="126"/>
                  </a:cubicBezTo>
                  <a:cubicBezTo>
                    <a:pt x="128" y="124"/>
                    <a:pt x="124" y="122"/>
                    <a:pt x="120" y="122"/>
                  </a:cubicBezTo>
                  <a:cubicBezTo>
                    <a:pt x="120" y="122"/>
                    <a:pt x="120" y="122"/>
                    <a:pt x="120" y="122"/>
                  </a:cubicBezTo>
                  <a:cubicBezTo>
                    <a:pt x="116" y="122"/>
                    <a:pt x="112" y="124"/>
                    <a:pt x="109" y="127"/>
                  </a:cubicBezTo>
                  <a:cubicBezTo>
                    <a:pt x="90" y="146"/>
                    <a:pt x="90" y="146"/>
                    <a:pt x="90" y="146"/>
                  </a:cubicBezTo>
                  <a:cubicBezTo>
                    <a:pt x="82" y="155"/>
                    <a:pt x="72" y="161"/>
                    <a:pt x="60" y="165"/>
                  </a:cubicBezTo>
                  <a:cubicBezTo>
                    <a:pt x="50" y="168"/>
                    <a:pt x="50" y="168"/>
                    <a:pt x="50" y="168"/>
                  </a:cubicBezTo>
                  <a:cubicBezTo>
                    <a:pt x="33" y="173"/>
                    <a:pt x="21" y="189"/>
                    <a:pt x="22" y="207"/>
                  </a:cubicBezTo>
                  <a:cubicBezTo>
                    <a:pt x="23" y="232"/>
                    <a:pt x="23" y="232"/>
                    <a:pt x="23" y="232"/>
                  </a:cubicBezTo>
                  <a:lnTo>
                    <a:pt x="23" y="3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chemeClr val="bg1"/>
                </a:solidFill>
              </a:endParaRPr>
            </a:p>
          </p:txBody>
        </p:sp>
        <p:sp>
          <p:nvSpPr>
            <p:cNvPr id="12" name="Freeform 11">
              <a:extLst>
                <a:ext uri="{FF2B5EF4-FFF2-40B4-BE49-F238E27FC236}">
                  <a16:creationId xmlns:a16="http://schemas.microsoft.com/office/drawing/2014/main" id="{A0A262AF-8F07-0146-B625-10C31C76C96A}"/>
                </a:ext>
              </a:extLst>
            </p:cNvPr>
            <p:cNvSpPr>
              <a:spLocks noEditPoints="1"/>
            </p:cNvSpPr>
            <p:nvPr/>
          </p:nvSpPr>
          <p:spPr bwMode="auto">
            <a:xfrm>
              <a:off x="4735513" y="1208088"/>
              <a:ext cx="2730500" cy="2330450"/>
            </a:xfrm>
            <a:custGeom>
              <a:avLst/>
              <a:gdLst>
                <a:gd name="T0" fmla="*/ 143 w 287"/>
                <a:gd name="T1" fmla="*/ 246 h 246"/>
                <a:gd name="T2" fmla="*/ 12 w 287"/>
                <a:gd name="T3" fmla="*/ 115 h 246"/>
                <a:gd name="T4" fmla="*/ 0 w 287"/>
                <a:gd name="T5" fmla="*/ 86 h 246"/>
                <a:gd name="T6" fmla="*/ 12 w 287"/>
                <a:gd name="T7" fmla="*/ 56 h 246"/>
                <a:gd name="T8" fmla="*/ 56 w 287"/>
                <a:gd name="T9" fmla="*/ 12 h 246"/>
                <a:gd name="T10" fmla="*/ 85 w 287"/>
                <a:gd name="T11" fmla="*/ 0 h 246"/>
                <a:gd name="T12" fmla="*/ 114 w 287"/>
                <a:gd name="T13" fmla="*/ 12 h 246"/>
                <a:gd name="T14" fmla="*/ 143 w 287"/>
                <a:gd name="T15" fmla="*/ 41 h 246"/>
                <a:gd name="T16" fmla="*/ 172 w 287"/>
                <a:gd name="T17" fmla="*/ 12 h 246"/>
                <a:gd name="T18" fmla="*/ 201 w 287"/>
                <a:gd name="T19" fmla="*/ 0 h 246"/>
                <a:gd name="T20" fmla="*/ 231 w 287"/>
                <a:gd name="T21" fmla="*/ 12 h 246"/>
                <a:gd name="T22" fmla="*/ 274 w 287"/>
                <a:gd name="T23" fmla="*/ 56 h 246"/>
                <a:gd name="T24" fmla="*/ 287 w 287"/>
                <a:gd name="T25" fmla="*/ 86 h 246"/>
                <a:gd name="T26" fmla="*/ 274 w 287"/>
                <a:gd name="T27" fmla="*/ 115 h 246"/>
                <a:gd name="T28" fmla="*/ 143 w 287"/>
                <a:gd name="T29" fmla="*/ 246 h 246"/>
                <a:gd name="T30" fmla="*/ 85 w 287"/>
                <a:gd name="T31" fmla="*/ 21 h 246"/>
                <a:gd name="T32" fmla="*/ 71 w 287"/>
                <a:gd name="T33" fmla="*/ 27 h 246"/>
                <a:gd name="T34" fmla="*/ 27 w 287"/>
                <a:gd name="T35" fmla="*/ 71 h 246"/>
                <a:gd name="T36" fmla="*/ 21 w 287"/>
                <a:gd name="T37" fmla="*/ 86 h 246"/>
                <a:gd name="T38" fmla="*/ 27 w 287"/>
                <a:gd name="T39" fmla="*/ 100 h 246"/>
                <a:gd name="T40" fmla="*/ 143 w 287"/>
                <a:gd name="T41" fmla="*/ 217 h 246"/>
                <a:gd name="T42" fmla="*/ 260 w 287"/>
                <a:gd name="T43" fmla="*/ 100 h 246"/>
                <a:gd name="T44" fmla="*/ 266 w 287"/>
                <a:gd name="T45" fmla="*/ 86 h 246"/>
                <a:gd name="T46" fmla="*/ 260 w 287"/>
                <a:gd name="T47" fmla="*/ 71 h 246"/>
                <a:gd name="T48" fmla="*/ 216 w 287"/>
                <a:gd name="T49" fmla="*/ 27 h 246"/>
                <a:gd name="T50" fmla="*/ 201 w 287"/>
                <a:gd name="T51" fmla="*/ 21 h 246"/>
                <a:gd name="T52" fmla="*/ 187 w 287"/>
                <a:gd name="T53" fmla="*/ 27 h 246"/>
                <a:gd name="T54" fmla="*/ 143 w 287"/>
                <a:gd name="T55" fmla="*/ 71 h 246"/>
                <a:gd name="T56" fmla="*/ 100 w 287"/>
                <a:gd name="T57" fmla="*/ 27 h 246"/>
                <a:gd name="T58" fmla="*/ 85 w 287"/>
                <a:gd name="T59" fmla="*/ 2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7" h="246">
                  <a:moveTo>
                    <a:pt x="143" y="246"/>
                  </a:moveTo>
                  <a:cubicBezTo>
                    <a:pt x="12" y="115"/>
                    <a:pt x="12" y="115"/>
                    <a:pt x="12" y="115"/>
                  </a:cubicBezTo>
                  <a:cubicBezTo>
                    <a:pt x="4" y="107"/>
                    <a:pt x="0" y="97"/>
                    <a:pt x="0" y="86"/>
                  </a:cubicBezTo>
                  <a:cubicBezTo>
                    <a:pt x="0" y="74"/>
                    <a:pt x="4" y="64"/>
                    <a:pt x="12" y="56"/>
                  </a:cubicBezTo>
                  <a:cubicBezTo>
                    <a:pt x="56" y="12"/>
                    <a:pt x="56" y="12"/>
                    <a:pt x="56" y="12"/>
                  </a:cubicBezTo>
                  <a:cubicBezTo>
                    <a:pt x="64" y="5"/>
                    <a:pt x="74" y="0"/>
                    <a:pt x="85" y="0"/>
                  </a:cubicBezTo>
                  <a:cubicBezTo>
                    <a:pt x="96" y="0"/>
                    <a:pt x="107" y="5"/>
                    <a:pt x="114" y="12"/>
                  </a:cubicBezTo>
                  <a:cubicBezTo>
                    <a:pt x="143" y="41"/>
                    <a:pt x="143" y="41"/>
                    <a:pt x="143" y="41"/>
                  </a:cubicBezTo>
                  <a:cubicBezTo>
                    <a:pt x="172" y="12"/>
                    <a:pt x="172" y="12"/>
                    <a:pt x="172" y="12"/>
                  </a:cubicBezTo>
                  <a:cubicBezTo>
                    <a:pt x="180" y="5"/>
                    <a:pt x="190" y="0"/>
                    <a:pt x="201" y="0"/>
                  </a:cubicBezTo>
                  <a:cubicBezTo>
                    <a:pt x="212" y="0"/>
                    <a:pt x="223" y="5"/>
                    <a:pt x="231" y="12"/>
                  </a:cubicBezTo>
                  <a:cubicBezTo>
                    <a:pt x="274" y="56"/>
                    <a:pt x="274" y="56"/>
                    <a:pt x="274" y="56"/>
                  </a:cubicBezTo>
                  <a:cubicBezTo>
                    <a:pt x="282" y="64"/>
                    <a:pt x="287" y="74"/>
                    <a:pt x="287" y="86"/>
                  </a:cubicBezTo>
                  <a:cubicBezTo>
                    <a:pt x="287" y="97"/>
                    <a:pt x="282" y="107"/>
                    <a:pt x="274" y="115"/>
                  </a:cubicBezTo>
                  <a:lnTo>
                    <a:pt x="143" y="246"/>
                  </a:lnTo>
                  <a:close/>
                  <a:moveTo>
                    <a:pt x="85" y="21"/>
                  </a:moveTo>
                  <a:cubicBezTo>
                    <a:pt x="80" y="21"/>
                    <a:pt x="74" y="23"/>
                    <a:pt x="71" y="27"/>
                  </a:cubicBezTo>
                  <a:cubicBezTo>
                    <a:pt x="27" y="71"/>
                    <a:pt x="27" y="71"/>
                    <a:pt x="27" y="71"/>
                  </a:cubicBezTo>
                  <a:cubicBezTo>
                    <a:pt x="23" y="75"/>
                    <a:pt x="21" y="80"/>
                    <a:pt x="21" y="86"/>
                  </a:cubicBezTo>
                  <a:cubicBezTo>
                    <a:pt x="21" y="91"/>
                    <a:pt x="23" y="96"/>
                    <a:pt x="27" y="100"/>
                  </a:cubicBezTo>
                  <a:cubicBezTo>
                    <a:pt x="143" y="217"/>
                    <a:pt x="143" y="217"/>
                    <a:pt x="143" y="217"/>
                  </a:cubicBezTo>
                  <a:cubicBezTo>
                    <a:pt x="260" y="100"/>
                    <a:pt x="260" y="100"/>
                    <a:pt x="260" y="100"/>
                  </a:cubicBezTo>
                  <a:cubicBezTo>
                    <a:pt x="264" y="96"/>
                    <a:pt x="266" y="91"/>
                    <a:pt x="266" y="86"/>
                  </a:cubicBezTo>
                  <a:cubicBezTo>
                    <a:pt x="266" y="80"/>
                    <a:pt x="264" y="75"/>
                    <a:pt x="260" y="71"/>
                  </a:cubicBezTo>
                  <a:cubicBezTo>
                    <a:pt x="216" y="27"/>
                    <a:pt x="216" y="27"/>
                    <a:pt x="216" y="27"/>
                  </a:cubicBezTo>
                  <a:cubicBezTo>
                    <a:pt x="212" y="23"/>
                    <a:pt x="207" y="21"/>
                    <a:pt x="201" y="21"/>
                  </a:cubicBezTo>
                  <a:cubicBezTo>
                    <a:pt x="196" y="21"/>
                    <a:pt x="191" y="23"/>
                    <a:pt x="187" y="27"/>
                  </a:cubicBezTo>
                  <a:cubicBezTo>
                    <a:pt x="143" y="71"/>
                    <a:pt x="143" y="71"/>
                    <a:pt x="143" y="71"/>
                  </a:cubicBezTo>
                  <a:cubicBezTo>
                    <a:pt x="100" y="27"/>
                    <a:pt x="100" y="27"/>
                    <a:pt x="100" y="27"/>
                  </a:cubicBezTo>
                  <a:cubicBezTo>
                    <a:pt x="96" y="23"/>
                    <a:pt x="91" y="21"/>
                    <a:pt x="8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chemeClr val="bg1"/>
                </a:solidFill>
              </a:endParaRPr>
            </a:p>
          </p:txBody>
        </p:sp>
      </p:grpSp>
      <p:sp>
        <p:nvSpPr>
          <p:cNvPr id="14" name="Rectangle 13"/>
          <p:cNvSpPr/>
          <p:nvPr/>
        </p:nvSpPr>
        <p:spPr>
          <a:xfrm>
            <a:off x="4272730" y="4928441"/>
            <a:ext cx="3994245" cy="978729"/>
          </a:xfrm>
          <a:prstGeom prst="rect">
            <a:avLst/>
          </a:prstGeom>
        </p:spPr>
        <p:txBody>
          <a:bodyPr wrap="square">
            <a:spAutoFit/>
          </a:bodyPr>
          <a:lstStyle/>
          <a:p>
            <a:pPr algn="ctr">
              <a:lnSpc>
                <a:spcPct val="90000"/>
              </a:lnSpc>
              <a:spcBef>
                <a:spcPts val="600"/>
              </a:spcBef>
            </a:pPr>
            <a:r>
              <a:rPr lang="en-US" sz="1600" dirty="0">
                <a:solidFill>
                  <a:schemeClr val="bg1"/>
                </a:solidFill>
                <a:latin typeface="CVS Health Sans" panose="020B0504020202020204" pitchFamily="34" charset="0"/>
              </a:rPr>
              <a:t>Works with the State of New Mexico to determine what medications are covered, what they will cost and </a:t>
            </a:r>
            <a:br>
              <a:rPr lang="en-US" sz="1600" dirty="0">
                <a:solidFill>
                  <a:schemeClr val="bg1"/>
                </a:solidFill>
                <a:latin typeface="CVS Health Sans" panose="020B0504020202020204" pitchFamily="34" charset="0"/>
              </a:rPr>
            </a:br>
            <a:r>
              <a:rPr lang="en-US" sz="1600" dirty="0">
                <a:solidFill>
                  <a:schemeClr val="bg1"/>
                </a:solidFill>
                <a:latin typeface="CVS Health Sans" panose="020B0504020202020204" pitchFamily="34" charset="0"/>
              </a:rPr>
              <a:t>where prescriptions can be filled</a:t>
            </a:r>
          </a:p>
        </p:txBody>
      </p:sp>
      <p:cxnSp>
        <p:nvCxnSpPr>
          <p:cNvPr id="16" name="Straight Connector 15"/>
          <p:cNvCxnSpPr/>
          <p:nvPr/>
        </p:nvCxnSpPr>
        <p:spPr bwMode="gray">
          <a:xfrm>
            <a:off x="4074679" y="4918912"/>
            <a:ext cx="0" cy="577516"/>
          </a:xfrm>
          <a:prstGeom prst="line">
            <a:avLst/>
          </a:prstGeom>
          <a:ln w="12700" cmpd="sng">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bwMode="gray">
          <a:xfrm>
            <a:off x="8423041" y="4919123"/>
            <a:ext cx="0" cy="577516"/>
          </a:xfrm>
          <a:prstGeom prst="line">
            <a:avLst/>
          </a:prstGeom>
          <a:ln w="12700" cmpd="sng">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
        <p:nvSpPr>
          <p:cNvPr id="22" name="Clipboard with Checkmark"/>
          <p:cNvSpPr>
            <a:spLocks noEditPoints="1"/>
          </p:cNvSpPr>
          <p:nvPr/>
        </p:nvSpPr>
        <p:spPr bwMode="auto">
          <a:xfrm>
            <a:off x="1991310" y="4262687"/>
            <a:ext cx="356043" cy="496895"/>
          </a:xfrm>
          <a:custGeom>
            <a:avLst/>
            <a:gdLst>
              <a:gd name="T0" fmla="*/ 2217 w 3540"/>
              <a:gd name="T1" fmla="*/ 330 h 4942"/>
              <a:gd name="T2" fmla="*/ 1323 w 3540"/>
              <a:gd name="T3" fmla="*/ 330 h 4942"/>
              <a:gd name="T4" fmla="*/ 0 w 3540"/>
              <a:gd name="T5" fmla="*/ 760 h 4942"/>
              <a:gd name="T6" fmla="*/ 430 w 3540"/>
              <a:gd name="T7" fmla="*/ 4942 h 4942"/>
              <a:gd name="T8" fmla="*/ 3540 w 3540"/>
              <a:gd name="T9" fmla="*/ 4512 h 4942"/>
              <a:gd name="T10" fmla="*/ 3110 w 3540"/>
              <a:gd name="T11" fmla="*/ 330 h 4942"/>
              <a:gd name="T12" fmla="*/ 2552 w 3540"/>
              <a:gd name="T13" fmla="*/ 1028 h 4942"/>
              <a:gd name="T14" fmla="*/ 2854 w 3540"/>
              <a:gd name="T15" fmla="*/ 1497 h 4942"/>
              <a:gd name="T16" fmla="*/ 991 w 3540"/>
              <a:gd name="T17" fmla="*/ 2020 h 4942"/>
              <a:gd name="T18" fmla="*/ 2527 w 3540"/>
              <a:gd name="T19" fmla="*/ 3559 h 4942"/>
              <a:gd name="T20" fmla="*/ 2854 w 3540"/>
              <a:gd name="T21" fmla="*/ 1844 h 4942"/>
              <a:gd name="T22" fmla="*/ 674 w 3540"/>
              <a:gd name="T23" fmla="*/ 4220 h 4942"/>
              <a:gd name="T24" fmla="*/ 990 w 3540"/>
              <a:gd name="T25" fmla="*/ 1028 h 4942"/>
              <a:gd name="T26" fmla="*/ 930 w 3540"/>
              <a:gd name="T27" fmla="*/ 1258 h 4942"/>
              <a:gd name="T28" fmla="*/ 2611 w 3540"/>
              <a:gd name="T29" fmla="*/ 1498 h 4942"/>
              <a:gd name="T30" fmla="*/ 2609 w 3540"/>
              <a:gd name="T31" fmla="*/ 1242 h 4942"/>
              <a:gd name="T32" fmla="*/ 2307 w 3540"/>
              <a:gd name="T33" fmla="*/ 2511 h 4942"/>
              <a:gd name="T34" fmla="*/ 1211 w 3540"/>
              <a:gd name="T35" fmla="*/ 3339 h 4942"/>
              <a:gd name="T36" fmla="*/ 2244 w 3540"/>
              <a:gd name="T37" fmla="*/ 2240 h 4942"/>
              <a:gd name="T38" fmla="*/ 1563 w 3540"/>
              <a:gd name="T39" fmla="*/ 2571 h 4942"/>
              <a:gd name="T40" fmla="*/ 1746 w 3540"/>
              <a:gd name="T41" fmla="*/ 3195 h 4942"/>
              <a:gd name="T42" fmla="*/ 1151 w 3540"/>
              <a:gd name="T43" fmla="*/ 1278 h 4942"/>
              <a:gd name="T44" fmla="*/ 1346 w 3540"/>
              <a:gd name="T45" fmla="*/ 924 h 4942"/>
              <a:gd name="T46" fmla="*/ 1502 w 3540"/>
              <a:gd name="T47" fmla="*/ 851 h 4942"/>
              <a:gd name="T48" fmla="*/ 2040 w 3540"/>
              <a:gd name="T49" fmla="*/ 850 h 4942"/>
              <a:gd name="T50" fmla="*/ 2196 w 3540"/>
              <a:gd name="T51" fmla="*/ 924 h 4942"/>
              <a:gd name="T52" fmla="*/ 2391 w 3540"/>
              <a:gd name="T53" fmla="*/ 1278 h 4942"/>
              <a:gd name="T54" fmla="*/ 2018 w 3540"/>
              <a:gd name="T55" fmla="*/ 468 h 4942"/>
              <a:gd name="T56" fmla="*/ 1522 w 3540"/>
              <a:gd name="T57" fmla="*/ 468 h 4942"/>
              <a:gd name="T58" fmla="*/ 3320 w 3540"/>
              <a:gd name="T59" fmla="*/ 4512 h 4942"/>
              <a:gd name="T60" fmla="*/ 430 w 3540"/>
              <a:gd name="T61" fmla="*/ 4722 h 4942"/>
              <a:gd name="T62" fmla="*/ 220 w 3540"/>
              <a:gd name="T63" fmla="*/ 760 h 4942"/>
              <a:gd name="T64" fmla="*/ 1309 w 3540"/>
              <a:gd name="T65" fmla="*/ 550 h 4942"/>
              <a:gd name="T66" fmla="*/ 1221 w 3540"/>
              <a:gd name="T67" fmla="*/ 743 h 4942"/>
              <a:gd name="T68" fmla="*/ 454 w 3540"/>
              <a:gd name="T69" fmla="*/ 808 h 4942"/>
              <a:gd name="T70" fmla="*/ 3074 w 3540"/>
              <a:gd name="T71" fmla="*/ 4440 h 4942"/>
              <a:gd name="T72" fmla="*/ 2401 w 3540"/>
              <a:gd name="T73" fmla="*/ 808 h 4942"/>
              <a:gd name="T74" fmla="*/ 2191 w 3540"/>
              <a:gd name="T75" fmla="*/ 672 h 4942"/>
              <a:gd name="T76" fmla="*/ 3110 w 3540"/>
              <a:gd name="T77" fmla="*/ 550 h 4942"/>
              <a:gd name="T78" fmla="*/ 3320 w 3540"/>
              <a:gd name="T79" fmla="*/ 4512 h 4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40" h="4942">
                <a:moveTo>
                  <a:pt x="3110" y="330"/>
                </a:moveTo>
                <a:cubicBezTo>
                  <a:pt x="2217" y="330"/>
                  <a:pt x="2217" y="330"/>
                  <a:pt x="2217" y="330"/>
                </a:cubicBezTo>
                <a:cubicBezTo>
                  <a:pt x="2158" y="139"/>
                  <a:pt x="1980" y="0"/>
                  <a:pt x="1770" y="0"/>
                </a:cubicBezTo>
                <a:cubicBezTo>
                  <a:pt x="1560" y="0"/>
                  <a:pt x="1382" y="139"/>
                  <a:pt x="1323" y="330"/>
                </a:cubicBezTo>
                <a:cubicBezTo>
                  <a:pt x="430" y="330"/>
                  <a:pt x="430" y="330"/>
                  <a:pt x="430" y="330"/>
                </a:cubicBezTo>
                <a:cubicBezTo>
                  <a:pt x="193" y="330"/>
                  <a:pt x="0" y="523"/>
                  <a:pt x="0" y="760"/>
                </a:cubicBezTo>
                <a:cubicBezTo>
                  <a:pt x="0" y="4512"/>
                  <a:pt x="0" y="4512"/>
                  <a:pt x="0" y="4512"/>
                </a:cubicBezTo>
                <a:cubicBezTo>
                  <a:pt x="0" y="4749"/>
                  <a:pt x="193" y="4942"/>
                  <a:pt x="430" y="4942"/>
                </a:cubicBezTo>
                <a:cubicBezTo>
                  <a:pt x="3110" y="4942"/>
                  <a:pt x="3110" y="4942"/>
                  <a:pt x="3110" y="4942"/>
                </a:cubicBezTo>
                <a:cubicBezTo>
                  <a:pt x="3347" y="4942"/>
                  <a:pt x="3540" y="4749"/>
                  <a:pt x="3540" y="4512"/>
                </a:cubicBezTo>
                <a:cubicBezTo>
                  <a:pt x="3540" y="760"/>
                  <a:pt x="3540" y="760"/>
                  <a:pt x="3540" y="760"/>
                </a:cubicBezTo>
                <a:cubicBezTo>
                  <a:pt x="3540" y="523"/>
                  <a:pt x="3347" y="330"/>
                  <a:pt x="3110" y="330"/>
                </a:cubicBezTo>
                <a:close/>
                <a:moveTo>
                  <a:pt x="2609" y="1242"/>
                </a:moveTo>
                <a:cubicBezTo>
                  <a:pt x="2598" y="1164"/>
                  <a:pt x="2579" y="1093"/>
                  <a:pt x="2552" y="1028"/>
                </a:cubicBezTo>
                <a:cubicBezTo>
                  <a:pt x="2854" y="1028"/>
                  <a:pt x="2854" y="1028"/>
                  <a:pt x="2854" y="1028"/>
                </a:cubicBezTo>
                <a:cubicBezTo>
                  <a:pt x="2854" y="1497"/>
                  <a:pt x="2854" y="1497"/>
                  <a:pt x="2854" y="1497"/>
                </a:cubicBezTo>
                <a:cubicBezTo>
                  <a:pt x="2425" y="2020"/>
                  <a:pt x="2425" y="2020"/>
                  <a:pt x="2425" y="2020"/>
                </a:cubicBezTo>
                <a:cubicBezTo>
                  <a:pt x="991" y="2020"/>
                  <a:pt x="991" y="2020"/>
                  <a:pt x="991" y="2020"/>
                </a:cubicBezTo>
                <a:cubicBezTo>
                  <a:pt x="991" y="3559"/>
                  <a:pt x="991" y="3559"/>
                  <a:pt x="991" y="3559"/>
                </a:cubicBezTo>
                <a:cubicBezTo>
                  <a:pt x="2527" y="3559"/>
                  <a:pt x="2527" y="3559"/>
                  <a:pt x="2527" y="3559"/>
                </a:cubicBezTo>
                <a:cubicBezTo>
                  <a:pt x="2527" y="2243"/>
                  <a:pt x="2527" y="2243"/>
                  <a:pt x="2527" y="2243"/>
                </a:cubicBezTo>
                <a:cubicBezTo>
                  <a:pt x="2854" y="1844"/>
                  <a:pt x="2854" y="1844"/>
                  <a:pt x="2854" y="1844"/>
                </a:cubicBezTo>
                <a:cubicBezTo>
                  <a:pt x="2854" y="4220"/>
                  <a:pt x="2854" y="4220"/>
                  <a:pt x="2854" y="4220"/>
                </a:cubicBezTo>
                <a:cubicBezTo>
                  <a:pt x="674" y="4220"/>
                  <a:pt x="674" y="4220"/>
                  <a:pt x="674" y="4220"/>
                </a:cubicBezTo>
                <a:cubicBezTo>
                  <a:pt x="674" y="1028"/>
                  <a:pt x="674" y="1028"/>
                  <a:pt x="674" y="1028"/>
                </a:cubicBezTo>
                <a:cubicBezTo>
                  <a:pt x="990" y="1028"/>
                  <a:pt x="990" y="1028"/>
                  <a:pt x="990" y="1028"/>
                </a:cubicBezTo>
                <a:cubicBezTo>
                  <a:pt x="962" y="1093"/>
                  <a:pt x="943" y="1164"/>
                  <a:pt x="933" y="1241"/>
                </a:cubicBezTo>
                <a:cubicBezTo>
                  <a:pt x="930" y="1258"/>
                  <a:pt x="930" y="1258"/>
                  <a:pt x="930" y="1258"/>
                </a:cubicBezTo>
                <a:cubicBezTo>
                  <a:pt x="935" y="1498"/>
                  <a:pt x="935" y="1498"/>
                  <a:pt x="935" y="1498"/>
                </a:cubicBezTo>
                <a:cubicBezTo>
                  <a:pt x="2611" y="1498"/>
                  <a:pt x="2611" y="1498"/>
                  <a:pt x="2611" y="1498"/>
                </a:cubicBezTo>
                <a:cubicBezTo>
                  <a:pt x="2611" y="1256"/>
                  <a:pt x="2611" y="1256"/>
                  <a:pt x="2611" y="1256"/>
                </a:cubicBezTo>
                <a:lnTo>
                  <a:pt x="2609" y="1242"/>
                </a:lnTo>
                <a:close/>
                <a:moveTo>
                  <a:pt x="1746" y="3195"/>
                </a:moveTo>
                <a:cubicBezTo>
                  <a:pt x="2307" y="2511"/>
                  <a:pt x="2307" y="2511"/>
                  <a:pt x="2307" y="2511"/>
                </a:cubicBezTo>
                <a:cubicBezTo>
                  <a:pt x="2307" y="3339"/>
                  <a:pt x="2307" y="3339"/>
                  <a:pt x="2307" y="3339"/>
                </a:cubicBezTo>
                <a:cubicBezTo>
                  <a:pt x="1211" y="3339"/>
                  <a:pt x="1211" y="3339"/>
                  <a:pt x="1211" y="3339"/>
                </a:cubicBezTo>
                <a:cubicBezTo>
                  <a:pt x="1211" y="2240"/>
                  <a:pt x="1211" y="2240"/>
                  <a:pt x="1211" y="2240"/>
                </a:cubicBezTo>
                <a:cubicBezTo>
                  <a:pt x="2244" y="2240"/>
                  <a:pt x="2244" y="2240"/>
                  <a:pt x="2244" y="2240"/>
                </a:cubicBezTo>
                <a:cubicBezTo>
                  <a:pt x="1756" y="2835"/>
                  <a:pt x="1756" y="2835"/>
                  <a:pt x="1756" y="2835"/>
                </a:cubicBezTo>
                <a:cubicBezTo>
                  <a:pt x="1563" y="2571"/>
                  <a:pt x="1563" y="2571"/>
                  <a:pt x="1563" y="2571"/>
                </a:cubicBezTo>
                <a:cubicBezTo>
                  <a:pt x="1385" y="2701"/>
                  <a:pt x="1385" y="2701"/>
                  <a:pt x="1385" y="2701"/>
                </a:cubicBezTo>
                <a:lnTo>
                  <a:pt x="1746" y="3195"/>
                </a:lnTo>
                <a:close/>
                <a:moveTo>
                  <a:pt x="2391" y="1278"/>
                </a:moveTo>
                <a:cubicBezTo>
                  <a:pt x="1151" y="1278"/>
                  <a:pt x="1151" y="1278"/>
                  <a:pt x="1151" y="1278"/>
                </a:cubicBezTo>
                <a:cubicBezTo>
                  <a:pt x="1151" y="1271"/>
                  <a:pt x="1151" y="1271"/>
                  <a:pt x="1151" y="1271"/>
                </a:cubicBezTo>
                <a:cubicBezTo>
                  <a:pt x="1172" y="1114"/>
                  <a:pt x="1236" y="1000"/>
                  <a:pt x="1346" y="924"/>
                </a:cubicBezTo>
                <a:cubicBezTo>
                  <a:pt x="1391" y="893"/>
                  <a:pt x="1444" y="868"/>
                  <a:pt x="1502" y="852"/>
                </a:cubicBezTo>
                <a:cubicBezTo>
                  <a:pt x="1502" y="851"/>
                  <a:pt x="1502" y="851"/>
                  <a:pt x="1502" y="851"/>
                </a:cubicBezTo>
                <a:cubicBezTo>
                  <a:pt x="1578" y="905"/>
                  <a:pt x="1670" y="936"/>
                  <a:pt x="1770" y="936"/>
                </a:cubicBezTo>
                <a:cubicBezTo>
                  <a:pt x="1871" y="936"/>
                  <a:pt x="1964" y="904"/>
                  <a:pt x="2040" y="850"/>
                </a:cubicBezTo>
                <a:cubicBezTo>
                  <a:pt x="2040" y="852"/>
                  <a:pt x="2040" y="852"/>
                  <a:pt x="2040" y="852"/>
                </a:cubicBezTo>
                <a:cubicBezTo>
                  <a:pt x="2098" y="869"/>
                  <a:pt x="2151" y="893"/>
                  <a:pt x="2196" y="924"/>
                </a:cubicBezTo>
                <a:cubicBezTo>
                  <a:pt x="2304" y="1000"/>
                  <a:pt x="2370" y="1116"/>
                  <a:pt x="2391" y="1271"/>
                </a:cubicBezTo>
                <a:lnTo>
                  <a:pt x="2391" y="1278"/>
                </a:lnTo>
                <a:close/>
                <a:moveTo>
                  <a:pt x="1770" y="220"/>
                </a:moveTo>
                <a:cubicBezTo>
                  <a:pt x="1907" y="220"/>
                  <a:pt x="2018" y="331"/>
                  <a:pt x="2018" y="468"/>
                </a:cubicBezTo>
                <a:cubicBezTo>
                  <a:pt x="2018" y="605"/>
                  <a:pt x="1907" y="716"/>
                  <a:pt x="1770" y="716"/>
                </a:cubicBezTo>
                <a:cubicBezTo>
                  <a:pt x="1633" y="716"/>
                  <a:pt x="1522" y="605"/>
                  <a:pt x="1522" y="468"/>
                </a:cubicBezTo>
                <a:cubicBezTo>
                  <a:pt x="1522" y="331"/>
                  <a:pt x="1633" y="220"/>
                  <a:pt x="1770" y="220"/>
                </a:cubicBezTo>
                <a:close/>
                <a:moveTo>
                  <a:pt x="3320" y="4512"/>
                </a:moveTo>
                <a:cubicBezTo>
                  <a:pt x="3320" y="4628"/>
                  <a:pt x="3226" y="4722"/>
                  <a:pt x="3110" y="4722"/>
                </a:cubicBezTo>
                <a:cubicBezTo>
                  <a:pt x="430" y="4722"/>
                  <a:pt x="430" y="4722"/>
                  <a:pt x="430" y="4722"/>
                </a:cubicBezTo>
                <a:cubicBezTo>
                  <a:pt x="314" y="4722"/>
                  <a:pt x="220" y="4628"/>
                  <a:pt x="220" y="4512"/>
                </a:cubicBezTo>
                <a:cubicBezTo>
                  <a:pt x="220" y="760"/>
                  <a:pt x="220" y="760"/>
                  <a:pt x="220" y="760"/>
                </a:cubicBezTo>
                <a:cubicBezTo>
                  <a:pt x="220" y="644"/>
                  <a:pt x="314" y="550"/>
                  <a:pt x="430" y="550"/>
                </a:cubicBezTo>
                <a:cubicBezTo>
                  <a:pt x="1309" y="550"/>
                  <a:pt x="1309" y="550"/>
                  <a:pt x="1309" y="550"/>
                </a:cubicBezTo>
                <a:cubicBezTo>
                  <a:pt x="1317" y="593"/>
                  <a:pt x="1331" y="634"/>
                  <a:pt x="1349" y="673"/>
                </a:cubicBezTo>
                <a:cubicBezTo>
                  <a:pt x="1303" y="692"/>
                  <a:pt x="1260" y="716"/>
                  <a:pt x="1221" y="743"/>
                </a:cubicBezTo>
                <a:cubicBezTo>
                  <a:pt x="1192" y="763"/>
                  <a:pt x="1165" y="785"/>
                  <a:pt x="1141" y="808"/>
                </a:cubicBezTo>
                <a:cubicBezTo>
                  <a:pt x="454" y="808"/>
                  <a:pt x="454" y="808"/>
                  <a:pt x="454" y="808"/>
                </a:cubicBezTo>
                <a:cubicBezTo>
                  <a:pt x="454" y="4440"/>
                  <a:pt x="454" y="4440"/>
                  <a:pt x="454" y="4440"/>
                </a:cubicBezTo>
                <a:cubicBezTo>
                  <a:pt x="3074" y="4440"/>
                  <a:pt x="3074" y="4440"/>
                  <a:pt x="3074" y="4440"/>
                </a:cubicBezTo>
                <a:cubicBezTo>
                  <a:pt x="3074" y="808"/>
                  <a:pt x="3074" y="808"/>
                  <a:pt x="3074" y="808"/>
                </a:cubicBezTo>
                <a:cubicBezTo>
                  <a:pt x="2401" y="808"/>
                  <a:pt x="2401" y="808"/>
                  <a:pt x="2401" y="808"/>
                </a:cubicBezTo>
                <a:cubicBezTo>
                  <a:pt x="2376" y="785"/>
                  <a:pt x="2350" y="763"/>
                  <a:pt x="2322" y="744"/>
                </a:cubicBezTo>
                <a:cubicBezTo>
                  <a:pt x="2282" y="716"/>
                  <a:pt x="2238" y="692"/>
                  <a:pt x="2191" y="672"/>
                </a:cubicBezTo>
                <a:cubicBezTo>
                  <a:pt x="2210" y="634"/>
                  <a:pt x="2223" y="593"/>
                  <a:pt x="2231" y="550"/>
                </a:cubicBezTo>
                <a:cubicBezTo>
                  <a:pt x="3110" y="550"/>
                  <a:pt x="3110" y="550"/>
                  <a:pt x="3110" y="550"/>
                </a:cubicBezTo>
                <a:cubicBezTo>
                  <a:pt x="3226" y="550"/>
                  <a:pt x="3320" y="644"/>
                  <a:pt x="3320" y="760"/>
                </a:cubicBezTo>
                <a:lnTo>
                  <a:pt x="3320" y="45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3" name="Gears 5 Icon"/>
          <p:cNvGrpSpPr>
            <a:grpSpLocks noChangeAspect="1"/>
          </p:cNvGrpSpPr>
          <p:nvPr/>
        </p:nvGrpSpPr>
        <p:grpSpPr bwMode="auto">
          <a:xfrm>
            <a:off x="6012596" y="4259212"/>
            <a:ext cx="514511" cy="536130"/>
            <a:chOff x="3453" y="917"/>
            <a:chExt cx="357" cy="372"/>
          </a:xfrm>
          <a:solidFill>
            <a:schemeClr val="bg1"/>
          </a:solidFill>
        </p:grpSpPr>
        <p:sp>
          <p:nvSpPr>
            <p:cNvPr id="24" name="Left Teeth"/>
            <p:cNvSpPr>
              <a:spLocks noEditPoints="1"/>
            </p:cNvSpPr>
            <p:nvPr/>
          </p:nvSpPr>
          <p:spPr bwMode="auto">
            <a:xfrm>
              <a:off x="3453" y="917"/>
              <a:ext cx="183" cy="184"/>
            </a:xfrm>
            <a:custGeom>
              <a:avLst/>
              <a:gdLst>
                <a:gd name="T0" fmla="*/ 33 w 76"/>
                <a:gd name="T1" fmla="*/ 76 h 76"/>
                <a:gd name="T2" fmla="*/ 46 w 76"/>
                <a:gd name="T3" fmla="*/ 73 h 76"/>
                <a:gd name="T4" fmla="*/ 52 w 76"/>
                <a:gd name="T5" fmla="*/ 65 h 76"/>
                <a:gd name="T6" fmla="*/ 59 w 76"/>
                <a:gd name="T7" fmla="*/ 69 h 76"/>
                <a:gd name="T8" fmla="*/ 68 w 76"/>
                <a:gd name="T9" fmla="*/ 61 h 76"/>
                <a:gd name="T10" fmla="*/ 65 w 76"/>
                <a:gd name="T11" fmla="*/ 52 h 76"/>
                <a:gd name="T12" fmla="*/ 73 w 76"/>
                <a:gd name="T13" fmla="*/ 46 h 76"/>
                <a:gd name="T14" fmla="*/ 76 w 76"/>
                <a:gd name="T15" fmla="*/ 33 h 76"/>
                <a:gd name="T16" fmla="*/ 67 w 76"/>
                <a:gd name="T17" fmla="*/ 29 h 76"/>
                <a:gd name="T18" fmla="*/ 68 w 76"/>
                <a:gd name="T19" fmla="*/ 19 h 76"/>
                <a:gd name="T20" fmla="*/ 61 w 76"/>
                <a:gd name="T21" fmla="*/ 8 h 76"/>
                <a:gd name="T22" fmla="*/ 57 w 76"/>
                <a:gd name="T23" fmla="*/ 8 h 76"/>
                <a:gd name="T24" fmla="*/ 47 w 76"/>
                <a:gd name="T25" fmla="*/ 9 h 76"/>
                <a:gd name="T26" fmla="*/ 42 w 76"/>
                <a:gd name="T27" fmla="*/ 0 h 76"/>
                <a:gd name="T28" fmla="*/ 30 w 76"/>
                <a:gd name="T29" fmla="*/ 3 h 76"/>
                <a:gd name="T30" fmla="*/ 24 w 76"/>
                <a:gd name="T31" fmla="*/ 11 h 76"/>
                <a:gd name="T32" fmla="*/ 17 w 76"/>
                <a:gd name="T33" fmla="*/ 7 h 76"/>
                <a:gd name="T34" fmla="*/ 8 w 76"/>
                <a:gd name="T35" fmla="*/ 14 h 76"/>
                <a:gd name="T36" fmla="*/ 11 w 76"/>
                <a:gd name="T37" fmla="*/ 24 h 76"/>
                <a:gd name="T38" fmla="*/ 3 w 76"/>
                <a:gd name="T39" fmla="*/ 30 h 76"/>
                <a:gd name="T40" fmla="*/ 0 w 76"/>
                <a:gd name="T41" fmla="*/ 42 h 76"/>
                <a:gd name="T42" fmla="*/ 9 w 76"/>
                <a:gd name="T43" fmla="*/ 47 h 76"/>
                <a:gd name="T44" fmla="*/ 8 w 76"/>
                <a:gd name="T45" fmla="*/ 57 h 76"/>
                <a:gd name="T46" fmla="*/ 14 w 76"/>
                <a:gd name="T47" fmla="*/ 68 h 76"/>
                <a:gd name="T48" fmla="*/ 19 w 76"/>
                <a:gd name="T49" fmla="*/ 68 h 76"/>
                <a:gd name="T50" fmla="*/ 29 w 76"/>
                <a:gd name="T51" fmla="*/ 67 h 76"/>
                <a:gd name="T52" fmla="*/ 23 w 76"/>
                <a:gd name="T53" fmla="*/ 57 h 76"/>
                <a:gd name="T54" fmla="*/ 17 w 76"/>
                <a:gd name="T55" fmla="*/ 61 h 76"/>
                <a:gd name="T56" fmla="*/ 17 w 76"/>
                <a:gd name="T57" fmla="*/ 56 h 76"/>
                <a:gd name="T58" fmla="*/ 17 w 76"/>
                <a:gd name="T59" fmla="*/ 49 h 76"/>
                <a:gd name="T60" fmla="*/ 14 w 76"/>
                <a:gd name="T61" fmla="*/ 41 h 76"/>
                <a:gd name="T62" fmla="*/ 7 w 76"/>
                <a:gd name="T63" fmla="*/ 40 h 76"/>
                <a:gd name="T64" fmla="*/ 10 w 76"/>
                <a:gd name="T65" fmla="*/ 36 h 76"/>
                <a:gd name="T66" fmla="*/ 16 w 76"/>
                <a:gd name="T67" fmla="*/ 31 h 76"/>
                <a:gd name="T68" fmla="*/ 19 w 76"/>
                <a:gd name="T69" fmla="*/ 23 h 76"/>
                <a:gd name="T70" fmla="*/ 15 w 76"/>
                <a:gd name="T71" fmla="*/ 17 h 76"/>
                <a:gd name="T72" fmla="*/ 20 w 76"/>
                <a:gd name="T73" fmla="*/ 17 h 76"/>
                <a:gd name="T74" fmla="*/ 27 w 76"/>
                <a:gd name="T75" fmla="*/ 17 h 76"/>
                <a:gd name="T76" fmla="*/ 35 w 76"/>
                <a:gd name="T77" fmla="*/ 14 h 76"/>
                <a:gd name="T78" fmla="*/ 36 w 76"/>
                <a:gd name="T79" fmla="*/ 7 h 76"/>
                <a:gd name="T80" fmla="*/ 40 w 76"/>
                <a:gd name="T81" fmla="*/ 10 h 76"/>
                <a:gd name="T82" fmla="*/ 45 w 76"/>
                <a:gd name="T83" fmla="*/ 16 h 76"/>
                <a:gd name="T84" fmla="*/ 53 w 76"/>
                <a:gd name="T85" fmla="*/ 19 h 76"/>
                <a:gd name="T86" fmla="*/ 59 w 76"/>
                <a:gd name="T87" fmla="*/ 15 h 76"/>
                <a:gd name="T88" fmla="*/ 59 w 76"/>
                <a:gd name="T89" fmla="*/ 20 h 76"/>
                <a:gd name="T90" fmla="*/ 59 w 76"/>
                <a:gd name="T91" fmla="*/ 27 h 76"/>
                <a:gd name="T92" fmla="*/ 62 w 76"/>
                <a:gd name="T93" fmla="*/ 35 h 76"/>
                <a:gd name="T94" fmla="*/ 69 w 76"/>
                <a:gd name="T95" fmla="*/ 36 h 76"/>
                <a:gd name="T96" fmla="*/ 66 w 76"/>
                <a:gd name="T97" fmla="*/ 40 h 76"/>
                <a:gd name="T98" fmla="*/ 60 w 76"/>
                <a:gd name="T99" fmla="*/ 45 h 76"/>
                <a:gd name="T100" fmla="*/ 57 w 76"/>
                <a:gd name="T101" fmla="*/ 53 h 76"/>
                <a:gd name="T102" fmla="*/ 61 w 76"/>
                <a:gd name="T103" fmla="*/ 59 h 76"/>
                <a:gd name="T104" fmla="*/ 56 w 76"/>
                <a:gd name="T105" fmla="*/ 59 h 76"/>
                <a:gd name="T106" fmla="*/ 49 w 76"/>
                <a:gd name="T107" fmla="*/ 59 h 76"/>
                <a:gd name="T108" fmla="*/ 41 w 76"/>
                <a:gd name="T109" fmla="*/ 62 h 76"/>
                <a:gd name="T110" fmla="*/ 40 w 76"/>
                <a:gd name="T111" fmla="*/ 69 h 76"/>
                <a:gd name="T112" fmla="*/ 36 w 76"/>
                <a:gd name="T113" fmla="*/ 66 h 76"/>
                <a:gd name="T114" fmla="*/ 31 w 76"/>
                <a:gd name="T115" fmla="*/ 60 h 76"/>
                <a:gd name="T116" fmla="*/ 23 w 76"/>
                <a:gd name="T117"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76">
                  <a:moveTo>
                    <a:pt x="30" y="73"/>
                  </a:moveTo>
                  <a:cubicBezTo>
                    <a:pt x="30" y="74"/>
                    <a:pt x="31" y="76"/>
                    <a:pt x="33" y="76"/>
                  </a:cubicBezTo>
                  <a:cubicBezTo>
                    <a:pt x="42" y="76"/>
                    <a:pt x="42" y="76"/>
                    <a:pt x="42" y="76"/>
                  </a:cubicBezTo>
                  <a:cubicBezTo>
                    <a:pt x="44" y="76"/>
                    <a:pt x="46" y="74"/>
                    <a:pt x="46" y="73"/>
                  </a:cubicBezTo>
                  <a:cubicBezTo>
                    <a:pt x="47" y="67"/>
                    <a:pt x="47" y="67"/>
                    <a:pt x="47" y="67"/>
                  </a:cubicBezTo>
                  <a:cubicBezTo>
                    <a:pt x="49" y="66"/>
                    <a:pt x="50" y="66"/>
                    <a:pt x="52" y="65"/>
                  </a:cubicBezTo>
                  <a:cubicBezTo>
                    <a:pt x="57" y="68"/>
                    <a:pt x="57" y="68"/>
                    <a:pt x="57" y="68"/>
                  </a:cubicBezTo>
                  <a:cubicBezTo>
                    <a:pt x="57" y="69"/>
                    <a:pt x="58" y="69"/>
                    <a:pt x="59" y="69"/>
                  </a:cubicBezTo>
                  <a:cubicBezTo>
                    <a:pt x="60" y="69"/>
                    <a:pt x="61" y="69"/>
                    <a:pt x="61" y="68"/>
                  </a:cubicBezTo>
                  <a:cubicBezTo>
                    <a:pt x="68" y="61"/>
                    <a:pt x="68" y="61"/>
                    <a:pt x="68" y="61"/>
                  </a:cubicBezTo>
                  <a:cubicBezTo>
                    <a:pt x="69" y="60"/>
                    <a:pt x="69" y="58"/>
                    <a:pt x="68" y="57"/>
                  </a:cubicBezTo>
                  <a:cubicBezTo>
                    <a:pt x="65" y="52"/>
                    <a:pt x="65" y="52"/>
                    <a:pt x="65" y="52"/>
                  </a:cubicBezTo>
                  <a:cubicBezTo>
                    <a:pt x="66" y="50"/>
                    <a:pt x="66" y="49"/>
                    <a:pt x="67" y="47"/>
                  </a:cubicBezTo>
                  <a:cubicBezTo>
                    <a:pt x="73" y="46"/>
                    <a:pt x="73" y="46"/>
                    <a:pt x="73" y="46"/>
                  </a:cubicBezTo>
                  <a:cubicBezTo>
                    <a:pt x="74" y="46"/>
                    <a:pt x="76" y="44"/>
                    <a:pt x="76" y="42"/>
                  </a:cubicBezTo>
                  <a:cubicBezTo>
                    <a:pt x="76" y="33"/>
                    <a:pt x="76" y="33"/>
                    <a:pt x="76" y="33"/>
                  </a:cubicBezTo>
                  <a:cubicBezTo>
                    <a:pt x="76" y="31"/>
                    <a:pt x="74" y="30"/>
                    <a:pt x="73" y="30"/>
                  </a:cubicBezTo>
                  <a:cubicBezTo>
                    <a:pt x="67" y="29"/>
                    <a:pt x="67" y="29"/>
                    <a:pt x="67" y="29"/>
                  </a:cubicBezTo>
                  <a:cubicBezTo>
                    <a:pt x="66" y="27"/>
                    <a:pt x="66" y="25"/>
                    <a:pt x="65" y="24"/>
                  </a:cubicBezTo>
                  <a:cubicBezTo>
                    <a:pt x="68" y="19"/>
                    <a:pt x="68" y="19"/>
                    <a:pt x="68" y="19"/>
                  </a:cubicBezTo>
                  <a:cubicBezTo>
                    <a:pt x="69" y="18"/>
                    <a:pt x="69" y="16"/>
                    <a:pt x="68" y="14"/>
                  </a:cubicBezTo>
                  <a:cubicBezTo>
                    <a:pt x="61" y="8"/>
                    <a:pt x="61" y="8"/>
                    <a:pt x="61" y="8"/>
                  </a:cubicBezTo>
                  <a:cubicBezTo>
                    <a:pt x="61" y="7"/>
                    <a:pt x="60" y="7"/>
                    <a:pt x="59" y="7"/>
                  </a:cubicBezTo>
                  <a:cubicBezTo>
                    <a:pt x="58" y="7"/>
                    <a:pt x="57" y="7"/>
                    <a:pt x="57" y="8"/>
                  </a:cubicBezTo>
                  <a:cubicBezTo>
                    <a:pt x="52" y="11"/>
                    <a:pt x="52" y="11"/>
                    <a:pt x="52" y="11"/>
                  </a:cubicBezTo>
                  <a:cubicBezTo>
                    <a:pt x="50" y="10"/>
                    <a:pt x="49" y="9"/>
                    <a:pt x="47" y="9"/>
                  </a:cubicBezTo>
                  <a:cubicBezTo>
                    <a:pt x="46" y="3"/>
                    <a:pt x="46" y="3"/>
                    <a:pt x="46" y="3"/>
                  </a:cubicBezTo>
                  <a:cubicBezTo>
                    <a:pt x="46" y="1"/>
                    <a:pt x="44" y="0"/>
                    <a:pt x="42" y="0"/>
                  </a:cubicBezTo>
                  <a:cubicBezTo>
                    <a:pt x="33" y="0"/>
                    <a:pt x="33" y="0"/>
                    <a:pt x="33" y="0"/>
                  </a:cubicBezTo>
                  <a:cubicBezTo>
                    <a:pt x="32" y="0"/>
                    <a:pt x="30" y="1"/>
                    <a:pt x="30" y="3"/>
                  </a:cubicBezTo>
                  <a:cubicBezTo>
                    <a:pt x="29" y="9"/>
                    <a:pt x="29" y="9"/>
                    <a:pt x="29" y="9"/>
                  </a:cubicBezTo>
                  <a:cubicBezTo>
                    <a:pt x="27" y="9"/>
                    <a:pt x="25" y="10"/>
                    <a:pt x="24" y="11"/>
                  </a:cubicBezTo>
                  <a:cubicBezTo>
                    <a:pt x="19" y="8"/>
                    <a:pt x="19" y="8"/>
                    <a:pt x="19" y="8"/>
                  </a:cubicBezTo>
                  <a:cubicBezTo>
                    <a:pt x="18" y="7"/>
                    <a:pt x="18" y="7"/>
                    <a:pt x="17" y="7"/>
                  </a:cubicBezTo>
                  <a:cubicBezTo>
                    <a:pt x="16" y="7"/>
                    <a:pt x="15" y="7"/>
                    <a:pt x="14" y="8"/>
                  </a:cubicBezTo>
                  <a:cubicBezTo>
                    <a:pt x="8" y="14"/>
                    <a:pt x="8" y="14"/>
                    <a:pt x="8" y="14"/>
                  </a:cubicBezTo>
                  <a:cubicBezTo>
                    <a:pt x="7" y="16"/>
                    <a:pt x="6" y="18"/>
                    <a:pt x="8" y="19"/>
                  </a:cubicBezTo>
                  <a:cubicBezTo>
                    <a:pt x="11" y="24"/>
                    <a:pt x="11" y="24"/>
                    <a:pt x="11" y="24"/>
                  </a:cubicBezTo>
                  <a:cubicBezTo>
                    <a:pt x="10" y="25"/>
                    <a:pt x="9" y="27"/>
                    <a:pt x="9" y="29"/>
                  </a:cubicBezTo>
                  <a:cubicBezTo>
                    <a:pt x="3" y="30"/>
                    <a:pt x="3" y="30"/>
                    <a:pt x="3" y="30"/>
                  </a:cubicBezTo>
                  <a:cubicBezTo>
                    <a:pt x="1" y="30"/>
                    <a:pt x="0" y="31"/>
                    <a:pt x="0" y="33"/>
                  </a:cubicBezTo>
                  <a:cubicBezTo>
                    <a:pt x="0" y="42"/>
                    <a:pt x="0" y="42"/>
                    <a:pt x="0" y="42"/>
                  </a:cubicBezTo>
                  <a:cubicBezTo>
                    <a:pt x="0" y="44"/>
                    <a:pt x="1" y="46"/>
                    <a:pt x="3" y="46"/>
                  </a:cubicBezTo>
                  <a:cubicBezTo>
                    <a:pt x="9" y="47"/>
                    <a:pt x="9" y="47"/>
                    <a:pt x="9" y="47"/>
                  </a:cubicBezTo>
                  <a:cubicBezTo>
                    <a:pt x="9" y="49"/>
                    <a:pt x="10" y="50"/>
                    <a:pt x="11" y="52"/>
                  </a:cubicBezTo>
                  <a:cubicBezTo>
                    <a:pt x="8" y="57"/>
                    <a:pt x="8" y="57"/>
                    <a:pt x="8" y="57"/>
                  </a:cubicBezTo>
                  <a:cubicBezTo>
                    <a:pt x="6" y="58"/>
                    <a:pt x="7" y="60"/>
                    <a:pt x="8" y="61"/>
                  </a:cubicBezTo>
                  <a:cubicBezTo>
                    <a:pt x="14" y="68"/>
                    <a:pt x="14" y="68"/>
                    <a:pt x="14" y="68"/>
                  </a:cubicBezTo>
                  <a:cubicBezTo>
                    <a:pt x="15" y="69"/>
                    <a:pt x="16" y="69"/>
                    <a:pt x="17" y="69"/>
                  </a:cubicBezTo>
                  <a:cubicBezTo>
                    <a:pt x="18" y="69"/>
                    <a:pt x="18" y="69"/>
                    <a:pt x="19" y="68"/>
                  </a:cubicBezTo>
                  <a:cubicBezTo>
                    <a:pt x="24" y="65"/>
                    <a:pt x="24" y="65"/>
                    <a:pt x="24" y="65"/>
                  </a:cubicBezTo>
                  <a:cubicBezTo>
                    <a:pt x="25" y="66"/>
                    <a:pt x="27" y="66"/>
                    <a:pt x="29" y="67"/>
                  </a:cubicBezTo>
                  <a:lnTo>
                    <a:pt x="30" y="73"/>
                  </a:lnTo>
                  <a:close/>
                  <a:moveTo>
                    <a:pt x="23" y="57"/>
                  </a:moveTo>
                  <a:cubicBezTo>
                    <a:pt x="20" y="59"/>
                    <a:pt x="20" y="59"/>
                    <a:pt x="20" y="59"/>
                  </a:cubicBezTo>
                  <a:cubicBezTo>
                    <a:pt x="17" y="61"/>
                    <a:pt x="17" y="61"/>
                    <a:pt x="17" y="61"/>
                  </a:cubicBezTo>
                  <a:cubicBezTo>
                    <a:pt x="15" y="59"/>
                    <a:pt x="15" y="59"/>
                    <a:pt x="15" y="59"/>
                  </a:cubicBezTo>
                  <a:cubicBezTo>
                    <a:pt x="17" y="56"/>
                    <a:pt x="17" y="56"/>
                    <a:pt x="17" y="56"/>
                  </a:cubicBezTo>
                  <a:cubicBezTo>
                    <a:pt x="19" y="53"/>
                    <a:pt x="19" y="53"/>
                    <a:pt x="19" y="53"/>
                  </a:cubicBezTo>
                  <a:cubicBezTo>
                    <a:pt x="17" y="49"/>
                    <a:pt x="17" y="49"/>
                    <a:pt x="17" y="49"/>
                  </a:cubicBezTo>
                  <a:cubicBezTo>
                    <a:pt x="16" y="48"/>
                    <a:pt x="16" y="46"/>
                    <a:pt x="16" y="45"/>
                  </a:cubicBezTo>
                  <a:cubicBezTo>
                    <a:pt x="14" y="41"/>
                    <a:pt x="14" y="41"/>
                    <a:pt x="14" y="41"/>
                  </a:cubicBezTo>
                  <a:cubicBezTo>
                    <a:pt x="10" y="40"/>
                    <a:pt x="10" y="40"/>
                    <a:pt x="10" y="40"/>
                  </a:cubicBezTo>
                  <a:cubicBezTo>
                    <a:pt x="7" y="40"/>
                    <a:pt x="7" y="40"/>
                    <a:pt x="7" y="40"/>
                  </a:cubicBezTo>
                  <a:cubicBezTo>
                    <a:pt x="7" y="36"/>
                    <a:pt x="7" y="36"/>
                    <a:pt x="7" y="36"/>
                  </a:cubicBezTo>
                  <a:cubicBezTo>
                    <a:pt x="10" y="36"/>
                    <a:pt x="10" y="36"/>
                    <a:pt x="10" y="36"/>
                  </a:cubicBezTo>
                  <a:cubicBezTo>
                    <a:pt x="14" y="35"/>
                    <a:pt x="14" y="35"/>
                    <a:pt x="14" y="35"/>
                  </a:cubicBezTo>
                  <a:cubicBezTo>
                    <a:pt x="16" y="31"/>
                    <a:pt x="16" y="31"/>
                    <a:pt x="16" y="31"/>
                  </a:cubicBezTo>
                  <a:cubicBezTo>
                    <a:pt x="16" y="30"/>
                    <a:pt x="16" y="28"/>
                    <a:pt x="17" y="27"/>
                  </a:cubicBezTo>
                  <a:cubicBezTo>
                    <a:pt x="19" y="23"/>
                    <a:pt x="19" y="23"/>
                    <a:pt x="19" y="23"/>
                  </a:cubicBezTo>
                  <a:cubicBezTo>
                    <a:pt x="17" y="20"/>
                    <a:pt x="17" y="20"/>
                    <a:pt x="17" y="20"/>
                  </a:cubicBezTo>
                  <a:cubicBezTo>
                    <a:pt x="15" y="17"/>
                    <a:pt x="15" y="17"/>
                    <a:pt x="15" y="17"/>
                  </a:cubicBezTo>
                  <a:cubicBezTo>
                    <a:pt x="17" y="15"/>
                    <a:pt x="17" y="15"/>
                    <a:pt x="17" y="15"/>
                  </a:cubicBezTo>
                  <a:cubicBezTo>
                    <a:pt x="20" y="17"/>
                    <a:pt x="20" y="17"/>
                    <a:pt x="20" y="17"/>
                  </a:cubicBezTo>
                  <a:cubicBezTo>
                    <a:pt x="23" y="19"/>
                    <a:pt x="23" y="19"/>
                    <a:pt x="23" y="19"/>
                  </a:cubicBezTo>
                  <a:cubicBezTo>
                    <a:pt x="27" y="17"/>
                    <a:pt x="27" y="17"/>
                    <a:pt x="27" y="17"/>
                  </a:cubicBezTo>
                  <a:cubicBezTo>
                    <a:pt x="28" y="16"/>
                    <a:pt x="30" y="16"/>
                    <a:pt x="31" y="16"/>
                  </a:cubicBezTo>
                  <a:cubicBezTo>
                    <a:pt x="35" y="14"/>
                    <a:pt x="35" y="14"/>
                    <a:pt x="35" y="14"/>
                  </a:cubicBezTo>
                  <a:cubicBezTo>
                    <a:pt x="36" y="10"/>
                    <a:pt x="36" y="10"/>
                    <a:pt x="36" y="10"/>
                  </a:cubicBezTo>
                  <a:cubicBezTo>
                    <a:pt x="36" y="7"/>
                    <a:pt x="36" y="7"/>
                    <a:pt x="36" y="7"/>
                  </a:cubicBezTo>
                  <a:cubicBezTo>
                    <a:pt x="40" y="7"/>
                    <a:pt x="40" y="7"/>
                    <a:pt x="40" y="7"/>
                  </a:cubicBezTo>
                  <a:cubicBezTo>
                    <a:pt x="40" y="10"/>
                    <a:pt x="40" y="10"/>
                    <a:pt x="40" y="10"/>
                  </a:cubicBezTo>
                  <a:cubicBezTo>
                    <a:pt x="41" y="14"/>
                    <a:pt x="41" y="14"/>
                    <a:pt x="41" y="14"/>
                  </a:cubicBezTo>
                  <a:cubicBezTo>
                    <a:pt x="45" y="16"/>
                    <a:pt x="45" y="16"/>
                    <a:pt x="45" y="16"/>
                  </a:cubicBezTo>
                  <a:cubicBezTo>
                    <a:pt x="46" y="16"/>
                    <a:pt x="48" y="16"/>
                    <a:pt x="49" y="17"/>
                  </a:cubicBezTo>
                  <a:cubicBezTo>
                    <a:pt x="53" y="19"/>
                    <a:pt x="53" y="19"/>
                    <a:pt x="53" y="19"/>
                  </a:cubicBezTo>
                  <a:cubicBezTo>
                    <a:pt x="56" y="17"/>
                    <a:pt x="56" y="17"/>
                    <a:pt x="56" y="17"/>
                  </a:cubicBezTo>
                  <a:cubicBezTo>
                    <a:pt x="59" y="15"/>
                    <a:pt x="59" y="15"/>
                    <a:pt x="59" y="15"/>
                  </a:cubicBezTo>
                  <a:cubicBezTo>
                    <a:pt x="61" y="17"/>
                    <a:pt x="61" y="17"/>
                    <a:pt x="61" y="17"/>
                  </a:cubicBezTo>
                  <a:cubicBezTo>
                    <a:pt x="59" y="20"/>
                    <a:pt x="59" y="20"/>
                    <a:pt x="59" y="20"/>
                  </a:cubicBezTo>
                  <a:cubicBezTo>
                    <a:pt x="57" y="23"/>
                    <a:pt x="57" y="23"/>
                    <a:pt x="57" y="23"/>
                  </a:cubicBezTo>
                  <a:cubicBezTo>
                    <a:pt x="59" y="27"/>
                    <a:pt x="59" y="27"/>
                    <a:pt x="59" y="27"/>
                  </a:cubicBezTo>
                  <a:cubicBezTo>
                    <a:pt x="59" y="28"/>
                    <a:pt x="60" y="30"/>
                    <a:pt x="60" y="31"/>
                  </a:cubicBezTo>
                  <a:cubicBezTo>
                    <a:pt x="62" y="35"/>
                    <a:pt x="62" y="35"/>
                    <a:pt x="62" y="35"/>
                  </a:cubicBezTo>
                  <a:cubicBezTo>
                    <a:pt x="66" y="36"/>
                    <a:pt x="66" y="36"/>
                    <a:pt x="66" y="36"/>
                  </a:cubicBezTo>
                  <a:cubicBezTo>
                    <a:pt x="69" y="36"/>
                    <a:pt x="69" y="36"/>
                    <a:pt x="69" y="36"/>
                  </a:cubicBezTo>
                  <a:cubicBezTo>
                    <a:pt x="69" y="40"/>
                    <a:pt x="69" y="40"/>
                    <a:pt x="69" y="40"/>
                  </a:cubicBezTo>
                  <a:cubicBezTo>
                    <a:pt x="66" y="40"/>
                    <a:pt x="66" y="40"/>
                    <a:pt x="66" y="40"/>
                  </a:cubicBezTo>
                  <a:cubicBezTo>
                    <a:pt x="62" y="41"/>
                    <a:pt x="62" y="41"/>
                    <a:pt x="62" y="41"/>
                  </a:cubicBezTo>
                  <a:cubicBezTo>
                    <a:pt x="60" y="45"/>
                    <a:pt x="60" y="45"/>
                    <a:pt x="60" y="45"/>
                  </a:cubicBezTo>
                  <a:cubicBezTo>
                    <a:pt x="60" y="46"/>
                    <a:pt x="59" y="48"/>
                    <a:pt x="59" y="49"/>
                  </a:cubicBezTo>
                  <a:cubicBezTo>
                    <a:pt x="57" y="53"/>
                    <a:pt x="57" y="53"/>
                    <a:pt x="57" y="53"/>
                  </a:cubicBezTo>
                  <a:cubicBezTo>
                    <a:pt x="59" y="56"/>
                    <a:pt x="59" y="56"/>
                    <a:pt x="59" y="56"/>
                  </a:cubicBezTo>
                  <a:cubicBezTo>
                    <a:pt x="61" y="59"/>
                    <a:pt x="61" y="59"/>
                    <a:pt x="61" y="59"/>
                  </a:cubicBezTo>
                  <a:cubicBezTo>
                    <a:pt x="59" y="61"/>
                    <a:pt x="59" y="61"/>
                    <a:pt x="59" y="61"/>
                  </a:cubicBezTo>
                  <a:cubicBezTo>
                    <a:pt x="56" y="59"/>
                    <a:pt x="56" y="59"/>
                    <a:pt x="56" y="59"/>
                  </a:cubicBezTo>
                  <a:cubicBezTo>
                    <a:pt x="53" y="57"/>
                    <a:pt x="53" y="57"/>
                    <a:pt x="53" y="57"/>
                  </a:cubicBezTo>
                  <a:cubicBezTo>
                    <a:pt x="49" y="59"/>
                    <a:pt x="49" y="59"/>
                    <a:pt x="49" y="59"/>
                  </a:cubicBezTo>
                  <a:cubicBezTo>
                    <a:pt x="48" y="59"/>
                    <a:pt x="46" y="60"/>
                    <a:pt x="45" y="60"/>
                  </a:cubicBezTo>
                  <a:cubicBezTo>
                    <a:pt x="41" y="62"/>
                    <a:pt x="41" y="62"/>
                    <a:pt x="41" y="62"/>
                  </a:cubicBezTo>
                  <a:cubicBezTo>
                    <a:pt x="40" y="66"/>
                    <a:pt x="40" y="66"/>
                    <a:pt x="40" y="66"/>
                  </a:cubicBezTo>
                  <a:cubicBezTo>
                    <a:pt x="40" y="69"/>
                    <a:pt x="40" y="69"/>
                    <a:pt x="40" y="69"/>
                  </a:cubicBezTo>
                  <a:cubicBezTo>
                    <a:pt x="36" y="69"/>
                    <a:pt x="36" y="69"/>
                    <a:pt x="36" y="69"/>
                  </a:cubicBezTo>
                  <a:cubicBezTo>
                    <a:pt x="36" y="66"/>
                    <a:pt x="36" y="66"/>
                    <a:pt x="36" y="66"/>
                  </a:cubicBezTo>
                  <a:cubicBezTo>
                    <a:pt x="35" y="62"/>
                    <a:pt x="35" y="62"/>
                    <a:pt x="35" y="62"/>
                  </a:cubicBezTo>
                  <a:cubicBezTo>
                    <a:pt x="31" y="60"/>
                    <a:pt x="31" y="60"/>
                    <a:pt x="31" y="60"/>
                  </a:cubicBezTo>
                  <a:cubicBezTo>
                    <a:pt x="30" y="60"/>
                    <a:pt x="28" y="59"/>
                    <a:pt x="27" y="59"/>
                  </a:cubicBezTo>
                  <a:lnTo>
                    <a:pt x="23"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Left Circle"/>
            <p:cNvSpPr>
              <a:spLocks noEditPoints="1"/>
            </p:cNvSpPr>
            <p:nvPr/>
          </p:nvSpPr>
          <p:spPr bwMode="auto">
            <a:xfrm>
              <a:off x="3509" y="973"/>
              <a:ext cx="72" cy="72"/>
            </a:xfrm>
            <a:custGeom>
              <a:avLst/>
              <a:gdLst>
                <a:gd name="T0" fmla="*/ 30 w 30"/>
                <a:gd name="T1" fmla="*/ 15 h 30"/>
                <a:gd name="T2" fmla="*/ 15 w 30"/>
                <a:gd name="T3" fmla="*/ 0 h 30"/>
                <a:gd name="T4" fmla="*/ 0 w 30"/>
                <a:gd name="T5" fmla="*/ 15 h 30"/>
                <a:gd name="T6" fmla="*/ 15 w 30"/>
                <a:gd name="T7" fmla="*/ 30 h 30"/>
                <a:gd name="T8" fmla="*/ 30 w 30"/>
                <a:gd name="T9" fmla="*/ 15 h 30"/>
                <a:gd name="T10" fmla="*/ 7 w 30"/>
                <a:gd name="T11" fmla="*/ 15 h 30"/>
                <a:gd name="T12" fmla="*/ 15 w 30"/>
                <a:gd name="T13" fmla="*/ 7 h 30"/>
                <a:gd name="T14" fmla="*/ 23 w 30"/>
                <a:gd name="T15" fmla="*/ 15 h 30"/>
                <a:gd name="T16" fmla="*/ 15 w 30"/>
                <a:gd name="T17" fmla="*/ 23 h 30"/>
                <a:gd name="T18" fmla="*/ 7 w 30"/>
                <a:gd name="T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30" y="15"/>
                  </a:moveTo>
                  <a:cubicBezTo>
                    <a:pt x="30" y="7"/>
                    <a:pt x="23" y="0"/>
                    <a:pt x="15" y="0"/>
                  </a:cubicBezTo>
                  <a:cubicBezTo>
                    <a:pt x="7" y="0"/>
                    <a:pt x="0" y="7"/>
                    <a:pt x="0" y="15"/>
                  </a:cubicBezTo>
                  <a:cubicBezTo>
                    <a:pt x="0" y="23"/>
                    <a:pt x="7" y="30"/>
                    <a:pt x="15" y="30"/>
                  </a:cubicBezTo>
                  <a:cubicBezTo>
                    <a:pt x="23" y="30"/>
                    <a:pt x="30" y="23"/>
                    <a:pt x="30" y="15"/>
                  </a:cubicBezTo>
                  <a:close/>
                  <a:moveTo>
                    <a:pt x="7" y="15"/>
                  </a:moveTo>
                  <a:cubicBezTo>
                    <a:pt x="7" y="10"/>
                    <a:pt x="11" y="7"/>
                    <a:pt x="15" y="7"/>
                  </a:cubicBezTo>
                  <a:cubicBezTo>
                    <a:pt x="19" y="7"/>
                    <a:pt x="23" y="10"/>
                    <a:pt x="23" y="15"/>
                  </a:cubicBezTo>
                  <a:cubicBezTo>
                    <a:pt x="23" y="19"/>
                    <a:pt x="19" y="23"/>
                    <a:pt x="15" y="23"/>
                  </a:cubicBezTo>
                  <a:cubicBezTo>
                    <a:pt x="11" y="23"/>
                    <a:pt x="7" y="19"/>
                    <a:pt x="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ight Teeth"/>
            <p:cNvSpPr>
              <a:spLocks noEditPoints="1"/>
            </p:cNvSpPr>
            <p:nvPr/>
          </p:nvSpPr>
          <p:spPr bwMode="auto">
            <a:xfrm>
              <a:off x="3629" y="961"/>
              <a:ext cx="181" cy="183"/>
            </a:xfrm>
            <a:custGeom>
              <a:avLst/>
              <a:gdLst>
                <a:gd name="T0" fmla="*/ 67 w 75"/>
                <a:gd name="T1" fmla="*/ 29 h 76"/>
                <a:gd name="T2" fmla="*/ 68 w 75"/>
                <a:gd name="T3" fmla="*/ 19 h 76"/>
                <a:gd name="T4" fmla="*/ 61 w 75"/>
                <a:gd name="T5" fmla="*/ 8 h 76"/>
                <a:gd name="T6" fmla="*/ 56 w 75"/>
                <a:gd name="T7" fmla="*/ 7 h 76"/>
                <a:gd name="T8" fmla="*/ 46 w 75"/>
                <a:gd name="T9" fmla="*/ 9 h 76"/>
                <a:gd name="T10" fmla="*/ 42 w 75"/>
                <a:gd name="T11" fmla="*/ 0 h 76"/>
                <a:gd name="T12" fmla="*/ 29 w 75"/>
                <a:gd name="T13" fmla="*/ 3 h 76"/>
                <a:gd name="T14" fmla="*/ 23 w 75"/>
                <a:gd name="T15" fmla="*/ 11 h 76"/>
                <a:gd name="T16" fmla="*/ 16 w 75"/>
                <a:gd name="T17" fmla="*/ 7 h 76"/>
                <a:gd name="T18" fmla="*/ 7 w 75"/>
                <a:gd name="T19" fmla="*/ 14 h 76"/>
                <a:gd name="T20" fmla="*/ 10 w 75"/>
                <a:gd name="T21" fmla="*/ 23 h 76"/>
                <a:gd name="T22" fmla="*/ 3 w 75"/>
                <a:gd name="T23" fmla="*/ 30 h 76"/>
                <a:gd name="T24" fmla="*/ 0 w 75"/>
                <a:gd name="T25" fmla="*/ 42 h 76"/>
                <a:gd name="T26" fmla="*/ 8 w 75"/>
                <a:gd name="T27" fmla="*/ 47 h 76"/>
                <a:gd name="T28" fmla="*/ 7 w 75"/>
                <a:gd name="T29" fmla="*/ 56 h 76"/>
                <a:gd name="T30" fmla="*/ 14 w 75"/>
                <a:gd name="T31" fmla="*/ 68 h 76"/>
                <a:gd name="T32" fmla="*/ 19 w 75"/>
                <a:gd name="T33" fmla="*/ 68 h 76"/>
                <a:gd name="T34" fmla="*/ 28 w 75"/>
                <a:gd name="T35" fmla="*/ 67 h 76"/>
                <a:gd name="T36" fmla="*/ 33 w 75"/>
                <a:gd name="T37" fmla="*/ 76 h 76"/>
                <a:gd name="T38" fmla="*/ 46 w 75"/>
                <a:gd name="T39" fmla="*/ 72 h 76"/>
                <a:gd name="T40" fmla="*/ 52 w 75"/>
                <a:gd name="T41" fmla="*/ 65 h 76"/>
                <a:gd name="T42" fmla="*/ 58 w 75"/>
                <a:gd name="T43" fmla="*/ 69 h 76"/>
                <a:gd name="T44" fmla="*/ 67 w 75"/>
                <a:gd name="T45" fmla="*/ 61 h 76"/>
                <a:gd name="T46" fmla="*/ 64 w 75"/>
                <a:gd name="T47" fmla="*/ 52 h 76"/>
                <a:gd name="T48" fmla="*/ 72 w 75"/>
                <a:gd name="T49" fmla="*/ 46 h 76"/>
                <a:gd name="T50" fmla="*/ 75 w 75"/>
                <a:gd name="T51" fmla="*/ 33 h 76"/>
                <a:gd name="T52" fmla="*/ 68 w 75"/>
                <a:gd name="T53" fmla="*/ 39 h 76"/>
                <a:gd name="T54" fmla="*/ 61 w 75"/>
                <a:gd name="T55" fmla="*/ 41 h 76"/>
                <a:gd name="T56" fmla="*/ 58 w 75"/>
                <a:gd name="T57" fmla="*/ 49 h 76"/>
                <a:gd name="T58" fmla="*/ 59 w 75"/>
                <a:gd name="T59" fmla="*/ 56 h 76"/>
                <a:gd name="T60" fmla="*/ 58 w 75"/>
                <a:gd name="T61" fmla="*/ 61 h 76"/>
                <a:gd name="T62" fmla="*/ 52 w 75"/>
                <a:gd name="T63" fmla="*/ 56 h 76"/>
                <a:gd name="T64" fmla="*/ 44 w 75"/>
                <a:gd name="T65" fmla="*/ 60 h 76"/>
                <a:gd name="T66" fmla="*/ 40 w 75"/>
                <a:gd name="T67" fmla="*/ 66 h 76"/>
                <a:gd name="T68" fmla="*/ 36 w 75"/>
                <a:gd name="T69" fmla="*/ 69 h 76"/>
                <a:gd name="T70" fmla="*/ 35 w 75"/>
                <a:gd name="T71" fmla="*/ 61 h 76"/>
                <a:gd name="T72" fmla="*/ 27 w 75"/>
                <a:gd name="T73" fmla="*/ 58 h 76"/>
                <a:gd name="T74" fmla="*/ 19 w 75"/>
                <a:gd name="T75" fmla="*/ 59 h 76"/>
                <a:gd name="T76" fmla="*/ 14 w 75"/>
                <a:gd name="T77" fmla="*/ 58 h 76"/>
                <a:gd name="T78" fmla="*/ 19 w 75"/>
                <a:gd name="T79" fmla="*/ 52 h 76"/>
                <a:gd name="T80" fmla="*/ 15 w 75"/>
                <a:gd name="T81" fmla="*/ 45 h 76"/>
                <a:gd name="T82" fmla="*/ 10 w 75"/>
                <a:gd name="T83" fmla="*/ 40 h 76"/>
                <a:gd name="T84" fmla="*/ 7 w 75"/>
                <a:gd name="T85" fmla="*/ 36 h 76"/>
                <a:gd name="T86" fmla="*/ 14 w 75"/>
                <a:gd name="T87" fmla="*/ 35 h 76"/>
                <a:gd name="T88" fmla="*/ 17 w 75"/>
                <a:gd name="T89" fmla="*/ 27 h 76"/>
                <a:gd name="T90" fmla="*/ 16 w 75"/>
                <a:gd name="T91" fmla="*/ 19 h 76"/>
                <a:gd name="T92" fmla="*/ 17 w 75"/>
                <a:gd name="T93" fmla="*/ 15 h 76"/>
                <a:gd name="T94" fmla="*/ 23 w 75"/>
                <a:gd name="T95" fmla="*/ 19 h 76"/>
                <a:gd name="T96" fmla="*/ 30 w 75"/>
                <a:gd name="T97" fmla="*/ 15 h 76"/>
                <a:gd name="T98" fmla="*/ 35 w 75"/>
                <a:gd name="T99" fmla="*/ 10 h 76"/>
                <a:gd name="T100" fmla="*/ 39 w 75"/>
                <a:gd name="T101" fmla="*/ 7 h 76"/>
                <a:gd name="T102" fmla="*/ 40 w 75"/>
                <a:gd name="T103" fmla="*/ 14 h 76"/>
                <a:gd name="T104" fmla="*/ 48 w 75"/>
                <a:gd name="T105" fmla="*/ 17 h 76"/>
                <a:gd name="T106" fmla="*/ 56 w 75"/>
                <a:gd name="T107" fmla="*/ 16 h 76"/>
                <a:gd name="T108" fmla="*/ 60 w 75"/>
                <a:gd name="T109" fmla="*/ 17 h 76"/>
                <a:gd name="T110" fmla="*/ 56 w 75"/>
                <a:gd name="T111" fmla="*/ 23 h 76"/>
                <a:gd name="T112" fmla="*/ 60 w 75"/>
                <a:gd name="T113" fmla="*/ 31 h 76"/>
                <a:gd name="T114" fmla="*/ 65 w 75"/>
                <a:gd name="T115" fmla="*/ 36 h 76"/>
                <a:gd name="T116" fmla="*/ 68 w 75"/>
                <a:gd name="T117" fmla="*/ 3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 h="76">
                  <a:moveTo>
                    <a:pt x="72" y="30"/>
                  </a:moveTo>
                  <a:cubicBezTo>
                    <a:pt x="67" y="29"/>
                    <a:pt x="67" y="29"/>
                    <a:pt x="67" y="29"/>
                  </a:cubicBezTo>
                  <a:cubicBezTo>
                    <a:pt x="66" y="27"/>
                    <a:pt x="65" y="25"/>
                    <a:pt x="64" y="23"/>
                  </a:cubicBezTo>
                  <a:cubicBezTo>
                    <a:pt x="68" y="19"/>
                    <a:pt x="68" y="19"/>
                    <a:pt x="68" y="19"/>
                  </a:cubicBezTo>
                  <a:cubicBezTo>
                    <a:pt x="69" y="17"/>
                    <a:pt x="69" y="15"/>
                    <a:pt x="67" y="14"/>
                  </a:cubicBezTo>
                  <a:cubicBezTo>
                    <a:pt x="61" y="8"/>
                    <a:pt x="61" y="8"/>
                    <a:pt x="61" y="8"/>
                  </a:cubicBezTo>
                  <a:cubicBezTo>
                    <a:pt x="60" y="7"/>
                    <a:pt x="59" y="7"/>
                    <a:pt x="59" y="7"/>
                  </a:cubicBezTo>
                  <a:cubicBezTo>
                    <a:pt x="58" y="7"/>
                    <a:pt x="57" y="7"/>
                    <a:pt x="56" y="7"/>
                  </a:cubicBezTo>
                  <a:cubicBezTo>
                    <a:pt x="52" y="11"/>
                    <a:pt x="52" y="11"/>
                    <a:pt x="52" y="11"/>
                  </a:cubicBezTo>
                  <a:cubicBezTo>
                    <a:pt x="50" y="10"/>
                    <a:pt x="48" y="9"/>
                    <a:pt x="46" y="9"/>
                  </a:cubicBezTo>
                  <a:cubicBezTo>
                    <a:pt x="46" y="3"/>
                    <a:pt x="46" y="3"/>
                    <a:pt x="46" y="3"/>
                  </a:cubicBezTo>
                  <a:cubicBezTo>
                    <a:pt x="45" y="1"/>
                    <a:pt x="44" y="0"/>
                    <a:pt x="42" y="0"/>
                  </a:cubicBezTo>
                  <a:cubicBezTo>
                    <a:pt x="33" y="0"/>
                    <a:pt x="33" y="0"/>
                    <a:pt x="33" y="0"/>
                  </a:cubicBezTo>
                  <a:cubicBezTo>
                    <a:pt x="31" y="0"/>
                    <a:pt x="30" y="1"/>
                    <a:pt x="29" y="3"/>
                  </a:cubicBezTo>
                  <a:cubicBezTo>
                    <a:pt x="28" y="9"/>
                    <a:pt x="28" y="9"/>
                    <a:pt x="28" y="9"/>
                  </a:cubicBezTo>
                  <a:cubicBezTo>
                    <a:pt x="27" y="9"/>
                    <a:pt x="25" y="10"/>
                    <a:pt x="23" y="11"/>
                  </a:cubicBezTo>
                  <a:cubicBezTo>
                    <a:pt x="19" y="7"/>
                    <a:pt x="19" y="7"/>
                    <a:pt x="19" y="7"/>
                  </a:cubicBezTo>
                  <a:cubicBezTo>
                    <a:pt x="18" y="7"/>
                    <a:pt x="17" y="7"/>
                    <a:pt x="16" y="7"/>
                  </a:cubicBezTo>
                  <a:cubicBezTo>
                    <a:pt x="15" y="7"/>
                    <a:pt x="15" y="7"/>
                    <a:pt x="14" y="8"/>
                  </a:cubicBezTo>
                  <a:cubicBezTo>
                    <a:pt x="7" y="14"/>
                    <a:pt x="7" y="14"/>
                    <a:pt x="7" y="14"/>
                  </a:cubicBezTo>
                  <a:cubicBezTo>
                    <a:pt x="6" y="15"/>
                    <a:pt x="6" y="17"/>
                    <a:pt x="7" y="19"/>
                  </a:cubicBezTo>
                  <a:cubicBezTo>
                    <a:pt x="10" y="23"/>
                    <a:pt x="10" y="23"/>
                    <a:pt x="10" y="23"/>
                  </a:cubicBezTo>
                  <a:cubicBezTo>
                    <a:pt x="10" y="25"/>
                    <a:pt x="9" y="27"/>
                    <a:pt x="8" y="29"/>
                  </a:cubicBezTo>
                  <a:cubicBezTo>
                    <a:pt x="3" y="30"/>
                    <a:pt x="3" y="30"/>
                    <a:pt x="3" y="30"/>
                  </a:cubicBezTo>
                  <a:cubicBezTo>
                    <a:pt x="1" y="30"/>
                    <a:pt x="0" y="31"/>
                    <a:pt x="0" y="33"/>
                  </a:cubicBezTo>
                  <a:cubicBezTo>
                    <a:pt x="0" y="42"/>
                    <a:pt x="0" y="42"/>
                    <a:pt x="0" y="42"/>
                  </a:cubicBezTo>
                  <a:cubicBezTo>
                    <a:pt x="0" y="44"/>
                    <a:pt x="1" y="46"/>
                    <a:pt x="3" y="46"/>
                  </a:cubicBezTo>
                  <a:cubicBezTo>
                    <a:pt x="8" y="47"/>
                    <a:pt x="8" y="47"/>
                    <a:pt x="8" y="47"/>
                  </a:cubicBezTo>
                  <a:cubicBezTo>
                    <a:pt x="9" y="48"/>
                    <a:pt x="10" y="50"/>
                    <a:pt x="10" y="52"/>
                  </a:cubicBezTo>
                  <a:cubicBezTo>
                    <a:pt x="7" y="56"/>
                    <a:pt x="7" y="56"/>
                    <a:pt x="7" y="56"/>
                  </a:cubicBezTo>
                  <a:cubicBezTo>
                    <a:pt x="6" y="58"/>
                    <a:pt x="6" y="60"/>
                    <a:pt x="7" y="61"/>
                  </a:cubicBezTo>
                  <a:cubicBezTo>
                    <a:pt x="14" y="68"/>
                    <a:pt x="14" y="68"/>
                    <a:pt x="14" y="68"/>
                  </a:cubicBezTo>
                  <a:cubicBezTo>
                    <a:pt x="15" y="68"/>
                    <a:pt x="15" y="69"/>
                    <a:pt x="16" y="69"/>
                  </a:cubicBezTo>
                  <a:cubicBezTo>
                    <a:pt x="17" y="69"/>
                    <a:pt x="18" y="68"/>
                    <a:pt x="19" y="68"/>
                  </a:cubicBezTo>
                  <a:cubicBezTo>
                    <a:pt x="23" y="65"/>
                    <a:pt x="23" y="65"/>
                    <a:pt x="23" y="65"/>
                  </a:cubicBezTo>
                  <a:cubicBezTo>
                    <a:pt x="25" y="65"/>
                    <a:pt x="27" y="66"/>
                    <a:pt x="28" y="67"/>
                  </a:cubicBezTo>
                  <a:cubicBezTo>
                    <a:pt x="29" y="72"/>
                    <a:pt x="29" y="72"/>
                    <a:pt x="29" y="72"/>
                  </a:cubicBezTo>
                  <a:cubicBezTo>
                    <a:pt x="30" y="74"/>
                    <a:pt x="31" y="76"/>
                    <a:pt x="33" y="76"/>
                  </a:cubicBezTo>
                  <a:cubicBezTo>
                    <a:pt x="42" y="76"/>
                    <a:pt x="42" y="76"/>
                    <a:pt x="42" y="76"/>
                  </a:cubicBezTo>
                  <a:cubicBezTo>
                    <a:pt x="44" y="76"/>
                    <a:pt x="45" y="74"/>
                    <a:pt x="46" y="72"/>
                  </a:cubicBezTo>
                  <a:cubicBezTo>
                    <a:pt x="46" y="67"/>
                    <a:pt x="46" y="67"/>
                    <a:pt x="46" y="67"/>
                  </a:cubicBezTo>
                  <a:cubicBezTo>
                    <a:pt x="48" y="66"/>
                    <a:pt x="50" y="65"/>
                    <a:pt x="52" y="65"/>
                  </a:cubicBezTo>
                  <a:cubicBezTo>
                    <a:pt x="56" y="68"/>
                    <a:pt x="56" y="68"/>
                    <a:pt x="56" y="68"/>
                  </a:cubicBezTo>
                  <a:cubicBezTo>
                    <a:pt x="57" y="68"/>
                    <a:pt x="58" y="69"/>
                    <a:pt x="58" y="69"/>
                  </a:cubicBezTo>
                  <a:cubicBezTo>
                    <a:pt x="59" y="69"/>
                    <a:pt x="60" y="68"/>
                    <a:pt x="61" y="68"/>
                  </a:cubicBezTo>
                  <a:cubicBezTo>
                    <a:pt x="67" y="61"/>
                    <a:pt x="67" y="61"/>
                    <a:pt x="67" y="61"/>
                  </a:cubicBezTo>
                  <a:cubicBezTo>
                    <a:pt x="69" y="60"/>
                    <a:pt x="69" y="58"/>
                    <a:pt x="68" y="57"/>
                  </a:cubicBezTo>
                  <a:cubicBezTo>
                    <a:pt x="64" y="52"/>
                    <a:pt x="64" y="52"/>
                    <a:pt x="64" y="52"/>
                  </a:cubicBezTo>
                  <a:cubicBezTo>
                    <a:pt x="65" y="50"/>
                    <a:pt x="66" y="48"/>
                    <a:pt x="67" y="47"/>
                  </a:cubicBezTo>
                  <a:cubicBezTo>
                    <a:pt x="72" y="46"/>
                    <a:pt x="72" y="46"/>
                    <a:pt x="72" y="46"/>
                  </a:cubicBezTo>
                  <a:cubicBezTo>
                    <a:pt x="74" y="46"/>
                    <a:pt x="75" y="44"/>
                    <a:pt x="75" y="42"/>
                  </a:cubicBezTo>
                  <a:cubicBezTo>
                    <a:pt x="75" y="33"/>
                    <a:pt x="75" y="33"/>
                    <a:pt x="75" y="33"/>
                  </a:cubicBezTo>
                  <a:cubicBezTo>
                    <a:pt x="75" y="31"/>
                    <a:pt x="74" y="30"/>
                    <a:pt x="72" y="30"/>
                  </a:cubicBezTo>
                  <a:close/>
                  <a:moveTo>
                    <a:pt x="68" y="39"/>
                  </a:moveTo>
                  <a:cubicBezTo>
                    <a:pt x="65" y="40"/>
                    <a:pt x="65" y="40"/>
                    <a:pt x="65" y="40"/>
                  </a:cubicBezTo>
                  <a:cubicBezTo>
                    <a:pt x="61" y="41"/>
                    <a:pt x="61" y="41"/>
                    <a:pt x="61" y="41"/>
                  </a:cubicBezTo>
                  <a:cubicBezTo>
                    <a:pt x="60" y="45"/>
                    <a:pt x="60" y="45"/>
                    <a:pt x="60" y="45"/>
                  </a:cubicBezTo>
                  <a:cubicBezTo>
                    <a:pt x="59" y="46"/>
                    <a:pt x="59" y="47"/>
                    <a:pt x="58" y="49"/>
                  </a:cubicBezTo>
                  <a:cubicBezTo>
                    <a:pt x="56" y="52"/>
                    <a:pt x="56" y="52"/>
                    <a:pt x="56" y="52"/>
                  </a:cubicBezTo>
                  <a:cubicBezTo>
                    <a:pt x="59" y="56"/>
                    <a:pt x="59" y="56"/>
                    <a:pt x="59" y="56"/>
                  </a:cubicBezTo>
                  <a:cubicBezTo>
                    <a:pt x="60" y="58"/>
                    <a:pt x="60" y="58"/>
                    <a:pt x="60" y="58"/>
                  </a:cubicBezTo>
                  <a:cubicBezTo>
                    <a:pt x="58" y="61"/>
                    <a:pt x="58" y="61"/>
                    <a:pt x="58" y="61"/>
                  </a:cubicBezTo>
                  <a:cubicBezTo>
                    <a:pt x="56" y="59"/>
                    <a:pt x="56" y="59"/>
                    <a:pt x="56" y="59"/>
                  </a:cubicBezTo>
                  <a:cubicBezTo>
                    <a:pt x="52" y="56"/>
                    <a:pt x="52" y="56"/>
                    <a:pt x="52" y="56"/>
                  </a:cubicBezTo>
                  <a:cubicBezTo>
                    <a:pt x="48" y="58"/>
                    <a:pt x="48" y="58"/>
                    <a:pt x="48" y="58"/>
                  </a:cubicBezTo>
                  <a:cubicBezTo>
                    <a:pt x="47" y="59"/>
                    <a:pt x="46" y="60"/>
                    <a:pt x="44" y="60"/>
                  </a:cubicBezTo>
                  <a:cubicBezTo>
                    <a:pt x="40" y="61"/>
                    <a:pt x="40" y="61"/>
                    <a:pt x="40" y="61"/>
                  </a:cubicBezTo>
                  <a:cubicBezTo>
                    <a:pt x="40" y="66"/>
                    <a:pt x="40" y="66"/>
                    <a:pt x="40" y="66"/>
                  </a:cubicBezTo>
                  <a:cubicBezTo>
                    <a:pt x="39" y="69"/>
                    <a:pt x="39" y="69"/>
                    <a:pt x="39" y="69"/>
                  </a:cubicBezTo>
                  <a:cubicBezTo>
                    <a:pt x="36" y="69"/>
                    <a:pt x="36" y="69"/>
                    <a:pt x="36" y="69"/>
                  </a:cubicBezTo>
                  <a:cubicBezTo>
                    <a:pt x="35" y="66"/>
                    <a:pt x="35" y="66"/>
                    <a:pt x="35" y="66"/>
                  </a:cubicBezTo>
                  <a:cubicBezTo>
                    <a:pt x="35" y="61"/>
                    <a:pt x="35" y="61"/>
                    <a:pt x="35" y="61"/>
                  </a:cubicBezTo>
                  <a:cubicBezTo>
                    <a:pt x="30" y="60"/>
                    <a:pt x="30" y="60"/>
                    <a:pt x="30" y="60"/>
                  </a:cubicBezTo>
                  <a:cubicBezTo>
                    <a:pt x="29" y="60"/>
                    <a:pt x="28" y="59"/>
                    <a:pt x="27" y="58"/>
                  </a:cubicBezTo>
                  <a:cubicBezTo>
                    <a:pt x="23" y="56"/>
                    <a:pt x="23" y="56"/>
                    <a:pt x="23" y="56"/>
                  </a:cubicBezTo>
                  <a:cubicBezTo>
                    <a:pt x="19" y="59"/>
                    <a:pt x="19" y="59"/>
                    <a:pt x="19" y="59"/>
                  </a:cubicBezTo>
                  <a:cubicBezTo>
                    <a:pt x="17" y="61"/>
                    <a:pt x="17" y="61"/>
                    <a:pt x="17" y="61"/>
                  </a:cubicBezTo>
                  <a:cubicBezTo>
                    <a:pt x="14" y="58"/>
                    <a:pt x="14" y="58"/>
                    <a:pt x="14" y="58"/>
                  </a:cubicBezTo>
                  <a:cubicBezTo>
                    <a:pt x="16" y="56"/>
                    <a:pt x="16" y="56"/>
                    <a:pt x="16" y="56"/>
                  </a:cubicBezTo>
                  <a:cubicBezTo>
                    <a:pt x="19" y="52"/>
                    <a:pt x="19" y="52"/>
                    <a:pt x="19" y="52"/>
                  </a:cubicBezTo>
                  <a:cubicBezTo>
                    <a:pt x="17" y="49"/>
                    <a:pt x="17" y="49"/>
                    <a:pt x="17" y="49"/>
                  </a:cubicBezTo>
                  <a:cubicBezTo>
                    <a:pt x="16" y="47"/>
                    <a:pt x="15" y="46"/>
                    <a:pt x="15" y="45"/>
                  </a:cubicBezTo>
                  <a:cubicBezTo>
                    <a:pt x="14" y="41"/>
                    <a:pt x="14" y="41"/>
                    <a:pt x="14" y="41"/>
                  </a:cubicBezTo>
                  <a:cubicBezTo>
                    <a:pt x="10" y="40"/>
                    <a:pt x="10" y="40"/>
                    <a:pt x="10" y="40"/>
                  </a:cubicBezTo>
                  <a:cubicBezTo>
                    <a:pt x="7" y="39"/>
                    <a:pt x="7" y="39"/>
                    <a:pt x="7" y="39"/>
                  </a:cubicBezTo>
                  <a:cubicBezTo>
                    <a:pt x="7" y="36"/>
                    <a:pt x="7" y="36"/>
                    <a:pt x="7" y="36"/>
                  </a:cubicBezTo>
                  <a:cubicBezTo>
                    <a:pt x="10" y="36"/>
                    <a:pt x="10" y="36"/>
                    <a:pt x="10" y="36"/>
                  </a:cubicBezTo>
                  <a:cubicBezTo>
                    <a:pt x="14" y="35"/>
                    <a:pt x="14" y="35"/>
                    <a:pt x="14" y="35"/>
                  </a:cubicBezTo>
                  <a:cubicBezTo>
                    <a:pt x="15" y="31"/>
                    <a:pt x="15" y="31"/>
                    <a:pt x="15" y="31"/>
                  </a:cubicBezTo>
                  <a:cubicBezTo>
                    <a:pt x="15" y="29"/>
                    <a:pt x="16" y="28"/>
                    <a:pt x="17" y="27"/>
                  </a:cubicBezTo>
                  <a:cubicBezTo>
                    <a:pt x="19" y="23"/>
                    <a:pt x="19" y="23"/>
                    <a:pt x="19" y="23"/>
                  </a:cubicBezTo>
                  <a:cubicBezTo>
                    <a:pt x="16" y="19"/>
                    <a:pt x="16" y="19"/>
                    <a:pt x="16" y="19"/>
                  </a:cubicBezTo>
                  <a:cubicBezTo>
                    <a:pt x="14" y="17"/>
                    <a:pt x="14" y="17"/>
                    <a:pt x="14" y="17"/>
                  </a:cubicBezTo>
                  <a:cubicBezTo>
                    <a:pt x="17" y="15"/>
                    <a:pt x="17" y="15"/>
                    <a:pt x="17" y="15"/>
                  </a:cubicBezTo>
                  <a:cubicBezTo>
                    <a:pt x="19" y="16"/>
                    <a:pt x="19" y="16"/>
                    <a:pt x="19" y="16"/>
                  </a:cubicBezTo>
                  <a:cubicBezTo>
                    <a:pt x="23" y="19"/>
                    <a:pt x="23" y="19"/>
                    <a:pt x="23" y="19"/>
                  </a:cubicBezTo>
                  <a:cubicBezTo>
                    <a:pt x="27" y="17"/>
                    <a:pt x="27" y="17"/>
                    <a:pt x="27" y="17"/>
                  </a:cubicBezTo>
                  <a:cubicBezTo>
                    <a:pt x="28" y="16"/>
                    <a:pt x="29" y="16"/>
                    <a:pt x="30" y="15"/>
                  </a:cubicBezTo>
                  <a:cubicBezTo>
                    <a:pt x="35" y="14"/>
                    <a:pt x="35" y="14"/>
                    <a:pt x="35" y="14"/>
                  </a:cubicBezTo>
                  <a:cubicBezTo>
                    <a:pt x="35" y="10"/>
                    <a:pt x="35" y="10"/>
                    <a:pt x="35" y="10"/>
                  </a:cubicBezTo>
                  <a:cubicBezTo>
                    <a:pt x="36" y="7"/>
                    <a:pt x="36" y="7"/>
                    <a:pt x="36" y="7"/>
                  </a:cubicBezTo>
                  <a:cubicBezTo>
                    <a:pt x="39" y="7"/>
                    <a:pt x="39" y="7"/>
                    <a:pt x="39" y="7"/>
                  </a:cubicBezTo>
                  <a:cubicBezTo>
                    <a:pt x="40" y="10"/>
                    <a:pt x="40" y="10"/>
                    <a:pt x="40" y="10"/>
                  </a:cubicBezTo>
                  <a:cubicBezTo>
                    <a:pt x="40" y="14"/>
                    <a:pt x="40" y="14"/>
                    <a:pt x="40" y="14"/>
                  </a:cubicBezTo>
                  <a:cubicBezTo>
                    <a:pt x="44" y="15"/>
                    <a:pt x="44" y="15"/>
                    <a:pt x="44" y="15"/>
                  </a:cubicBezTo>
                  <a:cubicBezTo>
                    <a:pt x="46" y="16"/>
                    <a:pt x="47" y="16"/>
                    <a:pt x="48" y="17"/>
                  </a:cubicBezTo>
                  <a:cubicBezTo>
                    <a:pt x="52" y="19"/>
                    <a:pt x="52" y="19"/>
                    <a:pt x="52" y="19"/>
                  </a:cubicBezTo>
                  <a:cubicBezTo>
                    <a:pt x="56" y="16"/>
                    <a:pt x="56" y="16"/>
                    <a:pt x="56" y="16"/>
                  </a:cubicBezTo>
                  <a:cubicBezTo>
                    <a:pt x="58" y="15"/>
                    <a:pt x="58" y="15"/>
                    <a:pt x="58" y="15"/>
                  </a:cubicBezTo>
                  <a:cubicBezTo>
                    <a:pt x="60" y="17"/>
                    <a:pt x="60" y="17"/>
                    <a:pt x="60" y="17"/>
                  </a:cubicBezTo>
                  <a:cubicBezTo>
                    <a:pt x="59" y="19"/>
                    <a:pt x="59" y="19"/>
                    <a:pt x="59" y="19"/>
                  </a:cubicBezTo>
                  <a:cubicBezTo>
                    <a:pt x="56" y="23"/>
                    <a:pt x="56" y="23"/>
                    <a:pt x="56" y="23"/>
                  </a:cubicBezTo>
                  <a:cubicBezTo>
                    <a:pt x="58" y="27"/>
                    <a:pt x="58" y="27"/>
                    <a:pt x="58" y="27"/>
                  </a:cubicBezTo>
                  <a:cubicBezTo>
                    <a:pt x="59" y="28"/>
                    <a:pt x="59" y="29"/>
                    <a:pt x="60" y="31"/>
                  </a:cubicBezTo>
                  <a:cubicBezTo>
                    <a:pt x="61" y="35"/>
                    <a:pt x="61" y="35"/>
                    <a:pt x="61" y="35"/>
                  </a:cubicBezTo>
                  <a:cubicBezTo>
                    <a:pt x="65" y="36"/>
                    <a:pt x="65" y="36"/>
                    <a:pt x="65" y="36"/>
                  </a:cubicBezTo>
                  <a:cubicBezTo>
                    <a:pt x="68" y="36"/>
                    <a:pt x="68" y="36"/>
                    <a:pt x="68" y="36"/>
                  </a:cubicBezTo>
                  <a:lnTo>
                    <a:pt x="6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ight Circle"/>
            <p:cNvSpPr>
              <a:spLocks noEditPoints="1"/>
            </p:cNvSpPr>
            <p:nvPr/>
          </p:nvSpPr>
          <p:spPr bwMode="auto">
            <a:xfrm>
              <a:off x="3682" y="1016"/>
              <a:ext cx="72" cy="73"/>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3 h 30"/>
                <a:gd name="T12" fmla="*/ 7 w 30"/>
                <a:gd name="T13" fmla="*/ 15 h 30"/>
                <a:gd name="T14" fmla="*/ 15 w 30"/>
                <a:gd name="T15" fmla="*/ 7 h 30"/>
                <a:gd name="T16" fmla="*/ 23 w 30"/>
                <a:gd name="T17" fmla="*/ 15 h 30"/>
                <a:gd name="T18" fmla="*/ 15 w 30"/>
                <a:gd name="T1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7" y="0"/>
                    <a:pt x="0" y="6"/>
                    <a:pt x="0" y="15"/>
                  </a:cubicBezTo>
                  <a:cubicBezTo>
                    <a:pt x="0" y="23"/>
                    <a:pt x="7" y="30"/>
                    <a:pt x="15" y="30"/>
                  </a:cubicBezTo>
                  <a:cubicBezTo>
                    <a:pt x="24" y="30"/>
                    <a:pt x="30" y="23"/>
                    <a:pt x="30" y="15"/>
                  </a:cubicBezTo>
                  <a:cubicBezTo>
                    <a:pt x="30" y="6"/>
                    <a:pt x="24" y="0"/>
                    <a:pt x="15" y="0"/>
                  </a:cubicBezTo>
                  <a:close/>
                  <a:moveTo>
                    <a:pt x="15" y="23"/>
                  </a:moveTo>
                  <a:cubicBezTo>
                    <a:pt x="11" y="23"/>
                    <a:pt x="7" y="19"/>
                    <a:pt x="7" y="15"/>
                  </a:cubicBezTo>
                  <a:cubicBezTo>
                    <a:pt x="7" y="10"/>
                    <a:pt x="11" y="7"/>
                    <a:pt x="15" y="7"/>
                  </a:cubicBezTo>
                  <a:cubicBezTo>
                    <a:pt x="20" y="7"/>
                    <a:pt x="23" y="10"/>
                    <a:pt x="23" y="15"/>
                  </a:cubicBezTo>
                  <a:cubicBezTo>
                    <a:pt x="23" y="19"/>
                    <a:pt x="20" y="23"/>
                    <a:pt x="1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Bottom Teeth"/>
            <p:cNvSpPr>
              <a:spLocks noEditPoints="1"/>
            </p:cNvSpPr>
            <p:nvPr/>
          </p:nvSpPr>
          <p:spPr bwMode="auto">
            <a:xfrm>
              <a:off x="3516" y="1103"/>
              <a:ext cx="185" cy="186"/>
            </a:xfrm>
            <a:custGeom>
              <a:avLst/>
              <a:gdLst>
                <a:gd name="T0" fmla="*/ 68 w 77"/>
                <a:gd name="T1" fmla="*/ 35 h 77"/>
                <a:gd name="T2" fmla="*/ 71 w 77"/>
                <a:gd name="T3" fmla="*/ 25 h 77"/>
                <a:gd name="T4" fmla="*/ 67 w 77"/>
                <a:gd name="T5" fmla="*/ 13 h 77"/>
                <a:gd name="T6" fmla="*/ 62 w 77"/>
                <a:gd name="T7" fmla="*/ 12 h 77"/>
                <a:gd name="T8" fmla="*/ 52 w 77"/>
                <a:gd name="T9" fmla="*/ 12 h 77"/>
                <a:gd name="T10" fmla="*/ 49 w 77"/>
                <a:gd name="T11" fmla="*/ 2 h 77"/>
                <a:gd name="T12" fmla="*/ 40 w 77"/>
                <a:gd name="T13" fmla="*/ 0 h 77"/>
                <a:gd name="T14" fmla="*/ 36 w 77"/>
                <a:gd name="T15" fmla="*/ 3 h 77"/>
                <a:gd name="T16" fmla="*/ 29 w 77"/>
                <a:gd name="T17" fmla="*/ 10 h 77"/>
                <a:gd name="T18" fmla="*/ 22 w 77"/>
                <a:gd name="T19" fmla="*/ 4 h 77"/>
                <a:gd name="T20" fmla="*/ 13 w 77"/>
                <a:gd name="T21" fmla="*/ 10 h 77"/>
                <a:gd name="T22" fmla="*/ 14 w 77"/>
                <a:gd name="T23" fmla="*/ 20 h 77"/>
                <a:gd name="T24" fmla="*/ 5 w 77"/>
                <a:gd name="T25" fmla="*/ 25 h 77"/>
                <a:gd name="T26" fmla="*/ 2 w 77"/>
                <a:gd name="T27" fmla="*/ 27 h 77"/>
                <a:gd name="T28" fmla="*/ 2 w 77"/>
                <a:gd name="T29" fmla="*/ 40 h 77"/>
                <a:gd name="T30" fmla="*/ 9 w 77"/>
                <a:gd name="T31" fmla="*/ 48 h 77"/>
                <a:gd name="T32" fmla="*/ 4 w 77"/>
                <a:gd name="T33" fmla="*/ 57 h 77"/>
                <a:gd name="T34" fmla="*/ 13 w 77"/>
                <a:gd name="T35" fmla="*/ 66 h 77"/>
                <a:gd name="T36" fmla="*/ 19 w 77"/>
                <a:gd name="T37" fmla="*/ 63 h 77"/>
                <a:gd name="T38" fmla="*/ 24 w 77"/>
                <a:gd name="T39" fmla="*/ 71 h 77"/>
                <a:gd name="T40" fmla="*/ 36 w 77"/>
                <a:gd name="T41" fmla="*/ 77 h 77"/>
                <a:gd name="T42" fmla="*/ 39 w 77"/>
                <a:gd name="T43" fmla="*/ 76 h 77"/>
                <a:gd name="T44" fmla="*/ 42 w 77"/>
                <a:gd name="T45" fmla="*/ 69 h 77"/>
                <a:gd name="T46" fmla="*/ 51 w 77"/>
                <a:gd name="T47" fmla="*/ 72 h 77"/>
                <a:gd name="T48" fmla="*/ 56 w 77"/>
                <a:gd name="T49" fmla="*/ 72 h 77"/>
                <a:gd name="T50" fmla="*/ 65 w 77"/>
                <a:gd name="T51" fmla="*/ 63 h 77"/>
                <a:gd name="T52" fmla="*/ 65 w 77"/>
                <a:gd name="T53" fmla="*/ 53 h 77"/>
                <a:gd name="T54" fmla="*/ 71 w 77"/>
                <a:gd name="T55" fmla="*/ 53 h 77"/>
                <a:gd name="T56" fmla="*/ 76 w 77"/>
                <a:gd name="T57" fmla="*/ 41 h 77"/>
                <a:gd name="T58" fmla="*/ 68 w 77"/>
                <a:gd name="T59" fmla="*/ 46 h 77"/>
                <a:gd name="T60" fmla="*/ 61 w 77"/>
                <a:gd name="T61" fmla="*/ 46 h 77"/>
                <a:gd name="T62" fmla="*/ 57 w 77"/>
                <a:gd name="T63" fmla="*/ 53 h 77"/>
                <a:gd name="T64" fmla="*/ 56 w 77"/>
                <a:gd name="T65" fmla="*/ 60 h 77"/>
                <a:gd name="T66" fmla="*/ 54 w 77"/>
                <a:gd name="T67" fmla="*/ 65 h 77"/>
                <a:gd name="T68" fmla="*/ 49 w 77"/>
                <a:gd name="T69" fmla="*/ 60 h 77"/>
                <a:gd name="T70" fmla="*/ 41 w 77"/>
                <a:gd name="T71" fmla="*/ 62 h 77"/>
                <a:gd name="T72" fmla="*/ 35 w 77"/>
                <a:gd name="T73" fmla="*/ 67 h 77"/>
                <a:gd name="T74" fmla="*/ 31 w 77"/>
                <a:gd name="T75" fmla="*/ 69 h 77"/>
                <a:gd name="T76" fmla="*/ 31 w 77"/>
                <a:gd name="T77" fmla="*/ 61 h 77"/>
                <a:gd name="T78" fmla="*/ 24 w 77"/>
                <a:gd name="T79" fmla="*/ 57 h 77"/>
                <a:gd name="T80" fmla="*/ 16 w 77"/>
                <a:gd name="T81" fmla="*/ 56 h 77"/>
                <a:gd name="T82" fmla="*/ 12 w 77"/>
                <a:gd name="T83" fmla="*/ 55 h 77"/>
                <a:gd name="T84" fmla="*/ 17 w 77"/>
                <a:gd name="T85" fmla="*/ 50 h 77"/>
                <a:gd name="T86" fmla="*/ 15 w 77"/>
                <a:gd name="T87" fmla="*/ 42 h 77"/>
                <a:gd name="T88" fmla="*/ 10 w 77"/>
                <a:gd name="T89" fmla="*/ 36 h 77"/>
                <a:gd name="T90" fmla="*/ 8 w 77"/>
                <a:gd name="T91" fmla="*/ 32 h 77"/>
                <a:gd name="T92" fmla="*/ 15 w 77"/>
                <a:gd name="T93" fmla="*/ 32 h 77"/>
                <a:gd name="T94" fmla="*/ 20 w 77"/>
                <a:gd name="T95" fmla="*/ 24 h 77"/>
                <a:gd name="T96" fmla="*/ 20 w 77"/>
                <a:gd name="T97" fmla="*/ 17 h 77"/>
                <a:gd name="T98" fmla="*/ 22 w 77"/>
                <a:gd name="T99" fmla="*/ 12 h 77"/>
                <a:gd name="T100" fmla="*/ 27 w 77"/>
                <a:gd name="T101" fmla="*/ 18 h 77"/>
                <a:gd name="T102" fmla="*/ 35 w 77"/>
                <a:gd name="T103" fmla="*/ 15 h 77"/>
                <a:gd name="T104" fmla="*/ 41 w 77"/>
                <a:gd name="T105" fmla="*/ 11 h 77"/>
                <a:gd name="T106" fmla="*/ 45 w 77"/>
                <a:gd name="T107" fmla="*/ 8 h 77"/>
                <a:gd name="T108" fmla="*/ 45 w 77"/>
                <a:gd name="T109" fmla="*/ 16 h 77"/>
                <a:gd name="T110" fmla="*/ 53 w 77"/>
                <a:gd name="T111" fmla="*/ 20 h 77"/>
                <a:gd name="T112" fmla="*/ 60 w 77"/>
                <a:gd name="T113" fmla="*/ 21 h 77"/>
                <a:gd name="T114" fmla="*/ 64 w 77"/>
                <a:gd name="T115" fmla="*/ 22 h 77"/>
                <a:gd name="T116" fmla="*/ 59 w 77"/>
                <a:gd name="T117" fmla="*/ 27 h 77"/>
                <a:gd name="T118" fmla="*/ 61 w 77"/>
                <a:gd name="T119" fmla="*/ 36 h 77"/>
                <a:gd name="T120" fmla="*/ 66 w 77"/>
                <a:gd name="T121" fmla="*/ 41 h 77"/>
                <a:gd name="T122" fmla="*/ 68 w 77"/>
                <a:gd name="T123"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77">
                  <a:moveTo>
                    <a:pt x="74" y="37"/>
                  </a:moveTo>
                  <a:cubicBezTo>
                    <a:pt x="68" y="35"/>
                    <a:pt x="68" y="35"/>
                    <a:pt x="68" y="35"/>
                  </a:cubicBezTo>
                  <a:cubicBezTo>
                    <a:pt x="68" y="33"/>
                    <a:pt x="68" y="31"/>
                    <a:pt x="67" y="29"/>
                  </a:cubicBezTo>
                  <a:cubicBezTo>
                    <a:pt x="71" y="25"/>
                    <a:pt x="71" y="25"/>
                    <a:pt x="71" y="25"/>
                  </a:cubicBezTo>
                  <a:cubicBezTo>
                    <a:pt x="73" y="24"/>
                    <a:pt x="73" y="22"/>
                    <a:pt x="72" y="21"/>
                  </a:cubicBezTo>
                  <a:cubicBezTo>
                    <a:pt x="67" y="13"/>
                    <a:pt x="67" y="13"/>
                    <a:pt x="67" y="13"/>
                  </a:cubicBezTo>
                  <a:cubicBezTo>
                    <a:pt x="66" y="12"/>
                    <a:pt x="65" y="12"/>
                    <a:pt x="64" y="12"/>
                  </a:cubicBezTo>
                  <a:cubicBezTo>
                    <a:pt x="63" y="12"/>
                    <a:pt x="63" y="12"/>
                    <a:pt x="62" y="12"/>
                  </a:cubicBezTo>
                  <a:cubicBezTo>
                    <a:pt x="57" y="15"/>
                    <a:pt x="57" y="15"/>
                    <a:pt x="57" y="15"/>
                  </a:cubicBezTo>
                  <a:cubicBezTo>
                    <a:pt x="55" y="13"/>
                    <a:pt x="54" y="12"/>
                    <a:pt x="52" y="12"/>
                  </a:cubicBezTo>
                  <a:cubicBezTo>
                    <a:pt x="52" y="6"/>
                    <a:pt x="52" y="6"/>
                    <a:pt x="52" y="6"/>
                  </a:cubicBezTo>
                  <a:cubicBezTo>
                    <a:pt x="52" y="4"/>
                    <a:pt x="51" y="2"/>
                    <a:pt x="49" y="2"/>
                  </a:cubicBezTo>
                  <a:cubicBezTo>
                    <a:pt x="40" y="0"/>
                    <a:pt x="40" y="0"/>
                    <a:pt x="40" y="0"/>
                  </a:cubicBezTo>
                  <a:cubicBezTo>
                    <a:pt x="40" y="0"/>
                    <a:pt x="40" y="0"/>
                    <a:pt x="40" y="0"/>
                  </a:cubicBezTo>
                  <a:cubicBezTo>
                    <a:pt x="39" y="0"/>
                    <a:pt x="38" y="1"/>
                    <a:pt x="38" y="1"/>
                  </a:cubicBezTo>
                  <a:cubicBezTo>
                    <a:pt x="37" y="2"/>
                    <a:pt x="36" y="2"/>
                    <a:pt x="36" y="3"/>
                  </a:cubicBezTo>
                  <a:cubicBezTo>
                    <a:pt x="34" y="8"/>
                    <a:pt x="34" y="8"/>
                    <a:pt x="34" y="8"/>
                  </a:cubicBezTo>
                  <a:cubicBezTo>
                    <a:pt x="33" y="9"/>
                    <a:pt x="31" y="9"/>
                    <a:pt x="29" y="10"/>
                  </a:cubicBezTo>
                  <a:cubicBezTo>
                    <a:pt x="25" y="6"/>
                    <a:pt x="25" y="6"/>
                    <a:pt x="25" y="6"/>
                  </a:cubicBezTo>
                  <a:cubicBezTo>
                    <a:pt x="24" y="5"/>
                    <a:pt x="23" y="4"/>
                    <a:pt x="22" y="4"/>
                  </a:cubicBezTo>
                  <a:cubicBezTo>
                    <a:pt x="22" y="4"/>
                    <a:pt x="21" y="4"/>
                    <a:pt x="20" y="5"/>
                  </a:cubicBezTo>
                  <a:cubicBezTo>
                    <a:pt x="13" y="10"/>
                    <a:pt x="13" y="10"/>
                    <a:pt x="13" y="10"/>
                  </a:cubicBezTo>
                  <a:cubicBezTo>
                    <a:pt x="11" y="11"/>
                    <a:pt x="11" y="13"/>
                    <a:pt x="12" y="15"/>
                  </a:cubicBezTo>
                  <a:cubicBezTo>
                    <a:pt x="14" y="20"/>
                    <a:pt x="14" y="20"/>
                    <a:pt x="14" y="20"/>
                  </a:cubicBezTo>
                  <a:cubicBezTo>
                    <a:pt x="13" y="21"/>
                    <a:pt x="12" y="23"/>
                    <a:pt x="11" y="25"/>
                  </a:cubicBezTo>
                  <a:cubicBezTo>
                    <a:pt x="5" y="25"/>
                    <a:pt x="5" y="25"/>
                    <a:pt x="5" y="25"/>
                  </a:cubicBezTo>
                  <a:cubicBezTo>
                    <a:pt x="5" y="25"/>
                    <a:pt x="5" y="25"/>
                    <a:pt x="5" y="25"/>
                  </a:cubicBezTo>
                  <a:cubicBezTo>
                    <a:pt x="3" y="25"/>
                    <a:pt x="2" y="26"/>
                    <a:pt x="2" y="27"/>
                  </a:cubicBezTo>
                  <a:cubicBezTo>
                    <a:pt x="0" y="36"/>
                    <a:pt x="0" y="36"/>
                    <a:pt x="0" y="36"/>
                  </a:cubicBezTo>
                  <a:cubicBezTo>
                    <a:pt x="0" y="38"/>
                    <a:pt x="1" y="40"/>
                    <a:pt x="2" y="40"/>
                  </a:cubicBezTo>
                  <a:cubicBezTo>
                    <a:pt x="8" y="42"/>
                    <a:pt x="8" y="42"/>
                    <a:pt x="8" y="42"/>
                  </a:cubicBezTo>
                  <a:cubicBezTo>
                    <a:pt x="8" y="44"/>
                    <a:pt x="9" y="46"/>
                    <a:pt x="9" y="48"/>
                  </a:cubicBezTo>
                  <a:cubicBezTo>
                    <a:pt x="5" y="52"/>
                    <a:pt x="5" y="52"/>
                    <a:pt x="5" y="52"/>
                  </a:cubicBezTo>
                  <a:cubicBezTo>
                    <a:pt x="4" y="53"/>
                    <a:pt x="3" y="55"/>
                    <a:pt x="4" y="57"/>
                  </a:cubicBezTo>
                  <a:cubicBezTo>
                    <a:pt x="10" y="64"/>
                    <a:pt x="10" y="64"/>
                    <a:pt x="10" y="64"/>
                  </a:cubicBezTo>
                  <a:cubicBezTo>
                    <a:pt x="10" y="65"/>
                    <a:pt x="11" y="66"/>
                    <a:pt x="13" y="66"/>
                  </a:cubicBezTo>
                  <a:cubicBezTo>
                    <a:pt x="13" y="66"/>
                    <a:pt x="14" y="65"/>
                    <a:pt x="14" y="65"/>
                  </a:cubicBezTo>
                  <a:cubicBezTo>
                    <a:pt x="19" y="63"/>
                    <a:pt x="19" y="63"/>
                    <a:pt x="19" y="63"/>
                  </a:cubicBezTo>
                  <a:cubicBezTo>
                    <a:pt x="21" y="64"/>
                    <a:pt x="22" y="65"/>
                    <a:pt x="24" y="66"/>
                  </a:cubicBezTo>
                  <a:cubicBezTo>
                    <a:pt x="24" y="71"/>
                    <a:pt x="24" y="71"/>
                    <a:pt x="24" y="71"/>
                  </a:cubicBezTo>
                  <a:cubicBezTo>
                    <a:pt x="24" y="73"/>
                    <a:pt x="25" y="75"/>
                    <a:pt x="27" y="75"/>
                  </a:cubicBezTo>
                  <a:cubicBezTo>
                    <a:pt x="36" y="77"/>
                    <a:pt x="36" y="77"/>
                    <a:pt x="36" y="77"/>
                  </a:cubicBezTo>
                  <a:cubicBezTo>
                    <a:pt x="36" y="77"/>
                    <a:pt x="36" y="77"/>
                    <a:pt x="37" y="77"/>
                  </a:cubicBezTo>
                  <a:cubicBezTo>
                    <a:pt x="37" y="77"/>
                    <a:pt x="38" y="77"/>
                    <a:pt x="39" y="76"/>
                  </a:cubicBezTo>
                  <a:cubicBezTo>
                    <a:pt x="39" y="76"/>
                    <a:pt x="40" y="75"/>
                    <a:pt x="40" y="74"/>
                  </a:cubicBezTo>
                  <a:cubicBezTo>
                    <a:pt x="42" y="69"/>
                    <a:pt x="42" y="69"/>
                    <a:pt x="42" y="69"/>
                  </a:cubicBezTo>
                  <a:cubicBezTo>
                    <a:pt x="44" y="69"/>
                    <a:pt x="46" y="68"/>
                    <a:pt x="47" y="68"/>
                  </a:cubicBezTo>
                  <a:cubicBezTo>
                    <a:pt x="51" y="72"/>
                    <a:pt x="51" y="72"/>
                    <a:pt x="51" y="72"/>
                  </a:cubicBezTo>
                  <a:cubicBezTo>
                    <a:pt x="52" y="73"/>
                    <a:pt x="53" y="73"/>
                    <a:pt x="54" y="73"/>
                  </a:cubicBezTo>
                  <a:cubicBezTo>
                    <a:pt x="55" y="73"/>
                    <a:pt x="55" y="73"/>
                    <a:pt x="56" y="72"/>
                  </a:cubicBezTo>
                  <a:cubicBezTo>
                    <a:pt x="64" y="67"/>
                    <a:pt x="64" y="67"/>
                    <a:pt x="64" y="67"/>
                  </a:cubicBezTo>
                  <a:cubicBezTo>
                    <a:pt x="65" y="66"/>
                    <a:pt x="66" y="64"/>
                    <a:pt x="65" y="63"/>
                  </a:cubicBezTo>
                  <a:cubicBezTo>
                    <a:pt x="62" y="57"/>
                    <a:pt x="62" y="57"/>
                    <a:pt x="62" y="57"/>
                  </a:cubicBezTo>
                  <a:cubicBezTo>
                    <a:pt x="63" y="56"/>
                    <a:pt x="64" y="54"/>
                    <a:pt x="65" y="53"/>
                  </a:cubicBezTo>
                  <a:cubicBezTo>
                    <a:pt x="71" y="53"/>
                    <a:pt x="71" y="53"/>
                    <a:pt x="71" y="53"/>
                  </a:cubicBezTo>
                  <a:cubicBezTo>
                    <a:pt x="71" y="53"/>
                    <a:pt x="71" y="53"/>
                    <a:pt x="71" y="53"/>
                  </a:cubicBezTo>
                  <a:cubicBezTo>
                    <a:pt x="73" y="53"/>
                    <a:pt x="74" y="51"/>
                    <a:pt x="75" y="50"/>
                  </a:cubicBezTo>
                  <a:cubicBezTo>
                    <a:pt x="76" y="41"/>
                    <a:pt x="76" y="41"/>
                    <a:pt x="76" y="41"/>
                  </a:cubicBezTo>
                  <a:cubicBezTo>
                    <a:pt x="77" y="39"/>
                    <a:pt x="75" y="37"/>
                    <a:pt x="74" y="37"/>
                  </a:cubicBezTo>
                  <a:close/>
                  <a:moveTo>
                    <a:pt x="68" y="46"/>
                  </a:moveTo>
                  <a:cubicBezTo>
                    <a:pt x="65" y="46"/>
                    <a:pt x="65" y="46"/>
                    <a:pt x="65" y="46"/>
                  </a:cubicBezTo>
                  <a:cubicBezTo>
                    <a:pt x="61" y="46"/>
                    <a:pt x="61" y="46"/>
                    <a:pt x="61" y="46"/>
                  </a:cubicBezTo>
                  <a:cubicBezTo>
                    <a:pt x="59" y="49"/>
                    <a:pt x="59" y="49"/>
                    <a:pt x="59" y="49"/>
                  </a:cubicBezTo>
                  <a:cubicBezTo>
                    <a:pt x="58" y="51"/>
                    <a:pt x="58" y="52"/>
                    <a:pt x="57" y="53"/>
                  </a:cubicBezTo>
                  <a:cubicBezTo>
                    <a:pt x="54" y="56"/>
                    <a:pt x="54" y="56"/>
                    <a:pt x="54" y="56"/>
                  </a:cubicBezTo>
                  <a:cubicBezTo>
                    <a:pt x="56" y="60"/>
                    <a:pt x="56" y="60"/>
                    <a:pt x="56" y="60"/>
                  </a:cubicBezTo>
                  <a:cubicBezTo>
                    <a:pt x="57" y="63"/>
                    <a:pt x="57" y="63"/>
                    <a:pt x="57" y="63"/>
                  </a:cubicBezTo>
                  <a:cubicBezTo>
                    <a:pt x="54" y="65"/>
                    <a:pt x="54" y="65"/>
                    <a:pt x="54" y="65"/>
                  </a:cubicBezTo>
                  <a:cubicBezTo>
                    <a:pt x="52" y="63"/>
                    <a:pt x="52" y="63"/>
                    <a:pt x="52" y="63"/>
                  </a:cubicBezTo>
                  <a:cubicBezTo>
                    <a:pt x="49" y="60"/>
                    <a:pt x="49" y="60"/>
                    <a:pt x="49" y="60"/>
                  </a:cubicBezTo>
                  <a:cubicBezTo>
                    <a:pt x="45" y="61"/>
                    <a:pt x="45" y="61"/>
                    <a:pt x="45" y="61"/>
                  </a:cubicBezTo>
                  <a:cubicBezTo>
                    <a:pt x="44" y="61"/>
                    <a:pt x="42" y="62"/>
                    <a:pt x="41" y="62"/>
                  </a:cubicBezTo>
                  <a:cubicBezTo>
                    <a:pt x="37" y="62"/>
                    <a:pt x="37" y="62"/>
                    <a:pt x="37" y="62"/>
                  </a:cubicBezTo>
                  <a:cubicBezTo>
                    <a:pt x="35" y="67"/>
                    <a:pt x="35" y="67"/>
                    <a:pt x="35" y="67"/>
                  </a:cubicBezTo>
                  <a:cubicBezTo>
                    <a:pt x="34" y="69"/>
                    <a:pt x="34" y="69"/>
                    <a:pt x="34" y="69"/>
                  </a:cubicBezTo>
                  <a:cubicBezTo>
                    <a:pt x="31" y="69"/>
                    <a:pt x="31" y="69"/>
                    <a:pt x="31" y="69"/>
                  </a:cubicBezTo>
                  <a:cubicBezTo>
                    <a:pt x="31" y="66"/>
                    <a:pt x="31" y="66"/>
                    <a:pt x="31" y="66"/>
                  </a:cubicBezTo>
                  <a:cubicBezTo>
                    <a:pt x="31" y="61"/>
                    <a:pt x="31" y="61"/>
                    <a:pt x="31" y="61"/>
                  </a:cubicBezTo>
                  <a:cubicBezTo>
                    <a:pt x="27" y="59"/>
                    <a:pt x="27" y="59"/>
                    <a:pt x="27" y="59"/>
                  </a:cubicBezTo>
                  <a:cubicBezTo>
                    <a:pt x="26" y="59"/>
                    <a:pt x="25" y="58"/>
                    <a:pt x="24" y="57"/>
                  </a:cubicBezTo>
                  <a:cubicBezTo>
                    <a:pt x="20" y="55"/>
                    <a:pt x="20" y="55"/>
                    <a:pt x="20" y="55"/>
                  </a:cubicBezTo>
                  <a:cubicBezTo>
                    <a:pt x="16" y="56"/>
                    <a:pt x="16" y="56"/>
                    <a:pt x="16" y="56"/>
                  </a:cubicBezTo>
                  <a:cubicBezTo>
                    <a:pt x="14" y="58"/>
                    <a:pt x="14" y="58"/>
                    <a:pt x="14" y="58"/>
                  </a:cubicBezTo>
                  <a:cubicBezTo>
                    <a:pt x="12" y="55"/>
                    <a:pt x="12" y="55"/>
                    <a:pt x="12" y="55"/>
                  </a:cubicBezTo>
                  <a:cubicBezTo>
                    <a:pt x="14" y="53"/>
                    <a:pt x="14" y="53"/>
                    <a:pt x="14" y="53"/>
                  </a:cubicBezTo>
                  <a:cubicBezTo>
                    <a:pt x="17" y="50"/>
                    <a:pt x="17" y="50"/>
                    <a:pt x="17" y="50"/>
                  </a:cubicBezTo>
                  <a:cubicBezTo>
                    <a:pt x="16" y="46"/>
                    <a:pt x="16" y="46"/>
                    <a:pt x="16" y="46"/>
                  </a:cubicBezTo>
                  <a:cubicBezTo>
                    <a:pt x="15" y="44"/>
                    <a:pt x="15" y="43"/>
                    <a:pt x="15" y="42"/>
                  </a:cubicBezTo>
                  <a:cubicBezTo>
                    <a:pt x="14" y="37"/>
                    <a:pt x="14" y="37"/>
                    <a:pt x="14" y="37"/>
                  </a:cubicBezTo>
                  <a:cubicBezTo>
                    <a:pt x="10" y="36"/>
                    <a:pt x="10" y="36"/>
                    <a:pt x="10" y="36"/>
                  </a:cubicBezTo>
                  <a:cubicBezTo>
                    <a:pt x="7" y="35"/>
                    <a:pt x="7" y="35"/>
                    <a:pt x="7" y="35"/>
                  </a:cubicBezTo>
                  <a:cubicBezTo>
                    <a:pt x="8" y="32"/>
                    <a:pt x="8" y="32"/>
                    <a:pt x="8" y="32"/>
                  </a:cubicBezTo>
                  <a:cubicBezTo>
                    <a:pt x="11" y="32"/>
                    <a:pt x="11" y="32"/>
                    <a:pt x="11" y="32"/>
                  </a:cubicBezTo>
                  <a:cubicBezTo>
                    <a:pt x="15" y="32"/>
                    <a:pt x="15" y="32"/>
                    <a:pt x="15" y="32"/>
                  </a:cubicBezTo>
                  <a:cubicBezTo>
                    <a:pt x="17" y="28"/>
                    <a:pt x="17" y="28"/>
                    <a:pt x="17" y="28"/>
                  </a:cubicBezTo>
                  <a:cubicBezTo>
                    <a:pt x="18" y="27"/>
                    <a:pt x="19" y="25"/>
                    <a:pt x="20" y="24"/>
                  </a:cubicBezTo>
                  <a:cubicBezTo>
                    <a:pt x="22" y="21"/>
                    <a:pt x="22" y="21"/>
                    <a:pt x="22" y="21"/>
                  </a:cubicBezTo>
                  <a:cubicBezTo>
                    <a:pt x="20" y="17"/>
                    <a:pt x="20" y="17"/>
                    <a:pt x="20" y="17"/>
                  </a:cubicBezTo>
                  <a:cubicBezTo>
                    <a:pt x="19" y="14"/>
                    <a:pt x="19" y="14"/>
                    <a:pt x="19" y="14"/>
                  </a:cubicBezTo>
                  <a:cubicBezTo>
                    <a:pt x="22" y="12"/>
                    <a:pt x="22" y="12"/>
                    <a:pt x="22" y="12"/>
                  </a:cubicBezTo>
                  <a:cubicBezTo>
                    <a:pt x="24" y="14"/>
                    <a:pt x="24" y="14"/>
                    <a:pt x="24" y="14"/>
                  </a:cubicBezTo>
                  <a:cubicBezTo>
                    <a:pt x="27" y="18"/>
                    <a:pt x="27" y="18"/>
                    <a:pt x="27" y="18"/>
                  </a:cubicBezTo>
                  <a:cubicBezTo>
                    <a:pt x="31" y="16"/>
                    <a:pt x="31" y="16"/>
                    <a:pt x="31" y="16"/>
                  </a:cubicBezTo>
                  <a:cubicBezTo>
                    <a:pt x="32" y="16"/>
                    <a:pt x="34" y="16"/>
                    <a:pt x="35" y="15"/>
                  </a:cubicBezTo>
                  <a:cubicBezTo>
                    <a:pt x="39" y="15"/>
                    <a:pt x="39" y="15"/>
                    <a:pt x="39" y="15"/>
                  </a:cubicBezTo>
                  <a:cubicBezTo>
                    <a:pt x="41" y="11"/>
                    <a:pt x="41" y="11"/>
                    <a:pt x="41" y="11"/>
                  </a:cubicBezTo>
                  <a:cubicBezTo>
                    <a:pt x="42" y="8"/>
                    <a:pt x="42" y="8"/>
                    <a:pt x="42" y="8"/>
                  </a:cubicBezTo>
                  <a:cubicBezTo>
                    <a:pt x="45" y="8"/>
                    <a:pt x="45" y="8"/>
                    <a:pt x="45" y="8"/>
                  </a:cubicBezTo>
                  <a:cubicBezTo>
                    <a:pt x="45" y="12"/>
                    <a:pt x="45" y="12"/>
                    <a:pt x="45" y="12"/>
                  </a:cubicBezTo>
                  <a:cubicBezTo>
                    <a:pt x="45" y="16"/>
                    <a:pt x="45" y="16"/>
                    <a:pt x="45" y="16"/>
                  </a:cubicBezTo>
                  <a:cubicBezTo>
                    <a:pt x="49" y="18"/>
                    <a:pt x="49" y="18"/>
                    <a:pt x="49" y="18"/>
                  </a:cubicBezTo>
                  <a:cubicBezTo>
                    <a:pt x="50" y="18"/>
                    <a:pt x="51" y="19"/>
                    <a:pt x="53" y="20"/>
                  </a:cubicBezTo>
                  <a:cubicBezTo>
                    <a:pt x="56" y="23"/>
                    <a:pt x="56" y="23"/>
                    <a:pt x="56" y="23"/>
                  </a:cubicBezTo>
                  <a:cubicBezTo>
                    <a:pt x="60" y="21"/>
                    <a:pt x="60" y="21"/>
                    <a:pt x="60" y="21"/>
                  </a:cubicBezTo>
                  <a:cubicBezTo>
                    <a:pt x="63" y="20"/>
                    <a:pt x="63" y="20"/>
                    <a:pt x="63" y="20"/>
                  </a:cubicBezTo>
                  <a:cubicBezTo>
                    <a:pt x="64" y="22"/>
                    <a:pt x="64" y="22"/>
                    <a:pt x="64" y="22"/>
                  </a:cubicBezTo>
                  <a:cubicBezTo>
                    <a:pt x="62" y="24"/>
                    <a:pt x="62" y="24"/>
                    <a:pt x="62" y="24"/>
                  </a:cubicBezTo>
                  <a:cubicBezTo>
                    <a:pt x="59" y="27"/>
                    <a:pt x="59" y="27"/>
                    <a:pt x="59" y="27"/>
                  </a:cubicBezTo>
                  <a:cubicBezTo>
                    <a:pt x="60" y="32"/>
                    <a:pt x="60" y="32"/>
                    <a:pt x="60" y="32"/>
                  </a:cubicBezTo>
                  <a:cubicBezTo>
                    <a:pt x="61" y="33"/>
                    <a:pt x="61" y="34"/>
                    <a:pt x="61" y="36"/>
                  </a:cubicBezTo>
                  <a:cubicBezTo>
                    <a:pt x="62" y="40"/>
                    <a:pt x="62" y="40"/>
                    <a:pt x="62" y="40"/>
                  </a:cubicBezTo>
                  <a:cubicBezTo>
                    <a:pt x="66" y="41"/>
                    <a:pt x="66" y="41"/>
                    <a:pt x="66" y="41"/>
                  </a:cubicBezTo>
                  <a:cubicBezTo>
                    <a:pt x="69" y="42"/>
                    <a:pt x="69" y="42"/>
                    <a:pt x="69" y="42"/>
                  </a:cubicBezTo>
                  <a:lnTo>
                    <a:pt x="6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Bottom Circle"/>
            <p:cNvSpPr>
              <a:spLocks noEditPoints="1"/>
            </p:cNvSpPr>
            <p:nvPr/>
          </p:nvSpPr>
          <p:spPr bwMode="auto">
            <a:xfrm>
              <a:off x="3567" y="1161"/>
              <a:ext cx="81" cy="72"/>
            </a:xfrm>
            <a:custGeom>
              <a:avLst/>
              <a:gdLst>
                <a:gd name="T0" fmla="*/ 17 w 34"/>
                <a:gd name="T1" fmla="*/ 0 h 30"/>
                <a:gd name="T2" fmla="*/ 9 w 34"/>
                <a:gd name="T3" fmla="*/ 2 h 30"/>
                <a:gd name="T4" fmla="*/ 5 w 34"/>
                <a:gd name="T5" fmla="*/ 23 h 30"/>
                <a:gd name="T6" fmla="*/ 17 w 34"/>
                <a:gd name="T7" fmla="*/ 30 h 30"/>
                <a:gd name="T8" fmla="*/ 26 w 34"/>
                <a:gd name="T9" fmla="*/ 27 h 30"/>
                <a:gd name="T10" fmla="*/ 29 w 34"/>
                <a:gd name="T11" fmla="*/ 6 h 30"/>
                <a:gd name="T12" fmla="*/ 17 w 34"/>
                <a:gd name="T13" fmla="*/ 0 h 30"/>
                <a:gd name="T14" fmla="*/ 25 w 34"/>
                <a:gd name="T15" fmla="*/ 16 h 30"/>
                <a:gd name="T16" fmla="*/ 22 w 34"/>
                <a:gd name="T17" fmla="*/ 21 h 30"/>
                <a:gd name="T18" fmla="*/ 17 w 34"/>
                <a:gd name="T19" fmla="*/ 23 h 30"/>
                <a:gd name="T20" fmla="*/ 11 w 34"/>
                <a:gd name="T21" fmla="*/ 19 h 30"/>
                <a:gd name="T22" fmla="*/ 13 w 34"/>
                <a:gd name="T23" fmla="*/ 8 h 30"/>
                <a:gd name="T24" fmla="*/ 17 w 34"/>
                <a:gd name="T25" fmla="*/ 7 h 30"/>
                <a:gd name="T26" fmla="*/ 24 w 34"/>
                <a:gd name="T27" fmla="*/ 10 h 30"/>
                <a:gd name="T28" fmla="*/ 25 w 34"/>
                <a:gd name="T2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0">
                  <a:moveTo>
                    <a:pt x="17" y="0"/>
                  </a:moveTo>
                  <a:cubicBezTo>
                    <a:pt x="14" y="0"/>
                    <a:pt x="11" y="1"/>
                    <a:pt x="9" y="2"/>
                  </a:cubicBezTo>
                  <a:cubicBezTo>
                    <a:pt x="2" y="7"/>
                    <a:pt x="0" y="16"/>
                    <a:pt x="5" y="23"/>
                  </a:cubicBezTo>
                  <a:cubicBezTo>
                    <a:pt x="8" y="27"/>
                    <a:pt x="12" y="30"/>
                    <a:pt x="17" y="30"/>
                  </a:cubicBezTo>
                  <a:cubicBezTo>
                    <a:pt x="20" y="30"/>
                    <a:pt x="23" y="29"/>
                    <a:pt x="26" y="27"/>
                  </a:cubicBezTo>
                  <a:cubicBezTo>
                    <a:pt x="32" y="22"/>
                    <a:pt x="34" y="13"/>
                    <a:pt x="29" y="6"/>
                  </a:cubicBezTo>
                  <a:cubicBezTo>
                    <a:pt x="27" y="2"/>
                    <a:pt x="22" y="0"/>
                    <a:pt x="17" y="0"/>
                  </a:cubicBezTo>
                  <a:close/>
                  <a:moveTo>
                    <a:pt x="25" y="16"/>
                  </a:moveTo>
                  <a:cubicBezTo>
                    <a:pt x="25" y="18"/>
                    <a:pt x="23" y="20"/>
                    <a:pt x="22" y="21"/>
                  </a:cubicBezTo>
                  <a:cubicBezTo>
                    <a:pt x="20" y="22"/>
                    <a:pt x="19" y="23"/>
                    <a:pt x="17" y="23"/>
                  </a:cubicBezTo>
                  <a:cubicBezTo>
                    <a:pt x="15" y="23"/>
                    <a:pt x="12" y="21"/>
                    <a:pt x="11" y="19"/>
                  </a:cubicBezTo>
                  <a:cubicBezTo>
                    <a:pt x="8" y="16"/>
                    <a:pt x="9" y="11"/>
                    <a:pt x="13" y="8"/>
                  </a:cubicBezTo>
                  <a:cubicBezTo>
                    <a:pt x="14" y="7"/>
                    <a:pt x="15" y="7"/>
                    <a:pt x="17" y="7"/>
                  </a:cubicBezTo>
                  <a:cubicBezTo>
                    <a:pt x="20" y="7"/>
                    <a:pt x="22" y="8"/>
                    <a:pt x="24" y="10"/>
                  </a:cubicBezTo>
                  <a:cubicBezTo>
                    <a:pt x="25" y="12"/>
                    <a:pt x="25" y="14"/>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Group 30">
            <a:extLst>
              <a:ext uri="{FF2B5EF4-FFF2-40B4-BE49-F238E27FC236}">
                <a16:creationId xmlns:a16="http://schemas.microsoft.com/office/drawing/2014/main" id="{59A28A4C-ABB5-D84E-9793-C842071196A8}"/>
              </a:ext>
            </a:extLst>
          </p:cNvPr>
          <p:cNvGrpSpPr>
            <a:grpSpLocks noChangeAspect="1"/>
          </p:cNvGrpSpPr>
          <p:nvPr/>
        </p:nvGrpSpPr>
        <p:grpSpPr bwMode="auto">
          <a:xfrm>
            <a:off x="10345383" y="6384131"/>
            <a:ext cx="1275119" cy="143669"/>
            <a:chOff x="-8" y="1835"/>
            <a:chExt cx="5769" cy="650"/>
          </a:xfrm>
          <a:solidFill>
            <a:srgbClr val="000000"/>
          </a:solidFill>
        </p:grpSpPr>
        <p:sp>
          <p:nvSpPr>
            <p:cNvPr id="32" name="Freeform 31">
              <a:extLst>
                <a:ext uri="{FF2B5EF4-FFF2-40B4-BE49-F238E27FC236}">
                  <a16:creationId xmlns:a16="http://schemas.microsoft.com/office/drawing/2014/main" id="{5144F8C0-333C-644D-AF68-27CDBD02F9F2}"/>
                </a:ext>
              </a:extLst>
            </p:cNvPr>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2">
              <a:extLst>
                <a:ext uri="{FF2B5EF4-FFF2-40B4-BE49-F238E27FC236}">
                  <a16:creationId xmlns:a16="http://schemas.microsoft.com/office/drawing/2014/main" id="{74CADA1C-AA64-F648-9A59-71F2117E7EC4}"/>
                </a:ext>
              </a:extLst>
            </p:cNvPr>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TextBox 36">
            <a:extLst>
              <a:ext uri="{FF2B5EF4-FFF2-40B4-BE49-F238E27FC236}">
                <a16:creationId xmlns:a16="http://schemas.microsoft.com/office/drawing/2014/main" id="{22B9F1AC-7982-48A5-A9F4-F49F09D2E693}"/>
              </a:ext>
            </a:extLst>
          </p:cNvPr>
          <p:cNvSpPr txBox="1"/>
          <p:nvPr/>
        </p:nvSpPr>
        <p:spPr>
          <a:xfrm>
            <a:off x="861122" y="6425582"/>
            <a:ext cx="8046720" cy="123111"/>
          </a:xfrm>
          <a:prstGeom prst="rect">
            <a:avLst/>
          </a:prstGeom>
          <a:noFill/>
        </p:spPr>
        <p:txBody>
          <a:bodyPr wrap="square" lIns="0" tIns="0" rIns="0" bIns="0" rtlCol="0" anchor="b">
            <a:spAutoFit/>
          </a:bodyPr>
          <a:lstStyle/>
          <a:p>
            <a:r>
              <a:rPr lang="en-US" sz="800" dirty="0">
                <a:solidFill>
                  <a:schemeClr val="bg1"/>
                </a:solidFill>
              </a:rPr>
              <a:t>©2023 CVS Health and/or one of its affiliates. Confidential and proprietary.</a:t>
            </a:r>
          </a:p>
        </p:txBody>
      </p:sp>
      <p:sp>
        <p:nvSpPr>
          <p:cNvPr id="38" name="Content Placeholder 8"/>
          <p:cNvSpPr txBox="1">
            <a:spLocks/>
          </p:cNvSpPr>
          <p:nvPr/>
        </p:nvSpPr>
        <p:spPr>
          <a:xfrm>
            <a:off x="559373"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endParaRPr lang="en-US" sz="1000" b="1" dirty="0">
              <a:solidFill>
                <a:schemeClr val="bg1"/>
              </a:solidFill>
              <a:latin typeface="+mn-lt"/>
              <a:ea typeface="Open Sans" panose="020B0606030504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DADAAC3-E4E3-4A4F-037B-0A6ED9FAC29D}"/>
              </a:ext>
            </a:extLst>
          </p:cNvPr>
          <p:cNvSpPr/>
          <p:nvPr/>
        </p:nvSpPr>
        <p:spPr bwMode="gray">
          <a:xfrm rot="5400000">
            <a:off x="5437714" y="-5467238"/>
            <a:ext cx="1325564" cy="12227968"/>
          </a:xfrm>
          <a:prstGeom prst="rect">
            <a:avLst/>
          </a:prstGeom>
          <a:gradFill>
            <a:gsLst>
              <a:gs pos="39000">
                <a:schemeClr val="tx1">
                  <a:alpha val="49000"/>
                </a:schemeClr>
              </a:gs>
              <a:gs pos="88000">
                <a:schemeClr val="tx2">
                  <a:alpha val="0"/>
                </a:schemeClr>
              </a:gs>
              <a:gs pos="74000">
                <a:schemeClr val="tx2">
                  <a:alpha val="12000"/>
                </a:schemeClr>
              </a:gs>
            </a:gsLst>
            <a:lin ang="0" scaled="0"/>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2" name="Title 1"/>
          <p:cNvSpPr>
            <a:spLocks noGrp="1"/>
          </p:cNvSpPr>
          <p:nvPr>
            <p:ph type="title"/>
          </p:nvPr>
        </p:nvSpPr>
        <p:spPr>
          <a:xfrm>
            <a:off x="419997" y="145582"/>
            <a:ext cx="10515600" cy="1325563"/>
          </a:xfrm>
        </p:spPr>
        <p:txBody>
          <a:bodyPr/>
          <a:lstStyle/>
          <a:p>
            <a:r>
              <a:rPr lang="en-US" dirty="0">
                <a:solidFill>
                  <a:schemeClr val="bg1"/>
                </a:solidFill>
              </a:rPr>
              <a:t>The CVS Caremark focus</a:t>
            </a:r>
          </a:p>
        </p:txBody>
      </p:sp>
      <p:sp>
        <p:nvSpPr>
          <p:cNvPr id="40" name="Text Placeholder 8">
            <a:extLst>
              <a:ext uri="{FF2B5EF4-FFF2-40B4-BE49-F238E27FC236}">
                <a16:creationId xmlns:a16="http://schemas.microsoft.com/office/drawing/2014/main" id="{A60CE147-A214-469F-BB8F-D35C8205E0B3}"/>
              </a:ext>
            </a:extLst>
          </p:cNvPr>
          <p:cNvSpPr txBox="1">
            <a:spLocks/>
          </p:cNvSpPr>
          <p:nvPr/>
        </p:nvSpPr>
        <p:spPr>
          <a:xfrm>
            <a:off x="13488" y="-27011"/>
            <a:ext cx="6089904"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r>
              <a:rPr lang="en-US" sz="1200" b="1" cap="all" dirty="0">
                <a:solidFill>
                  <a:schemeClr val="bg1"/>
                </a:solidFill>
              </a:rPr>
              <a:t>2025 Prescription Benefits</a:t>
            </a:r>
          </a:p>
        </p:txBody>
      </p:sp>
      <p:sp>
        <p:nvSpPr>
          <p:cNvPr id="20" name="Text Placeholder 8">
            <a:extLst>
              <a:ext uri="{FF2B5EF4-FFF2-40B4-BE49-F238E27FC236}">
                <a16:creationId xmlns:a16="http://schemas.microsoft.com/office/drawing/2014/main" id="{15333012-9B77-9A2F-9896-A3FB8A2B2555}"/>
              </a:ext>
            </a:extLst>
          </p:cNvPr>
          <p:cNvSpPr txBox="1">
            <a:spLocks/>
          </p:cNvSpPr>
          <p:nvPr/>
        </p:nvSpPr>
        <p:spPr>
          <a:xfrm>
            <a:off x="459008" y="7109777"/>
            <a:ext cx="10437577" cy="457081"/>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r>
              <a:rPr lang="en-US" dirty="0"/>
              <a:t>Image source: CVS Health Creative Resource Library, accessed 2021, 20200711_05_Livingroom_06905 </a:t>
            </a:r>
            <a:endParaRPr lang="en-US" altLang="en-US" b="1" dirty="0"/>
          </a:p>
        </p:txBody>
      </p:sp>
      <p:pic>
        <p:nvPicPr>
          <p:cNvPr id="3" name="2">
            <a:hlinkClick r:id="" action="ppaction://media"/>
            <a:extLst>
              <a:ext uri="{FF2B5EF4-FFF2-40B4-BE49-F238E27FC236}">
                <a16:creationId xmlns:a16="http://schemas.microsoft.com/office/drawing/2014/main" id="{5DB19909-0BB0-A046-A499-97C59CE838C8}"/>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536684" y="5971433"/>
            <a:ext cx="609600" cy="609600"/>
          </a:xfrm>
          <a:prstGeom prst="rect">
            <a:avLst/>
          </a:prstGeom>
        </p:spPr>
      </p:pic>
    </p:spTree>
    <p:extLst>
      <p:ext uri="{BB962C8B-B14F-4D97-AF65-F5344CB8AC3E}">
        <p14:creationId xmlns:p14="http://schemas.microsoft.com/office/powerpoint/2010/main" val="3318698433"/>
      </p:ext>
    </p:extLst>
  </p:cSld>
  <p:clrMapOvr>
    <a:masterClrMapping/>
  </p:clrMapOvr>
  <mc:AlternateContent xmlns:mc="http://schemas.openxmlformats.org/markup-compatibility/2006" xmlns:p14="http://schemas.microsoft.com/office/powerpoint/2010/main">
    <mc:Choice Requires="p14">
      <p:transition spd="slow" p14:dur="2000" advTm="25360"/>
    </mc:Choice>
    <mc:Fallback xmlns="">
      <p:transition spd="slow" advTm="253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3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6" descr="Woman refilling prescription sitting on couch at home &#10;&#10;20200820_18_Media_Room_009394&#10;&#10;">
            <a:extLst>
              <a:ext uri="{FF2B5EF4-FFF2-40B4-BE49-F238E27FC236}">
                <a16:creationId xmlns:a16="http://schemas.microsoft.com/office/drawing/2014/main" id="{9E8731FE-6C48-90BD-7654-38FA4FB0F6B8}"/>
              </a:ext>
            </a:extLst>
          </p:cNvPr>
          <p:cNvPicPr>
            <a:picLocks noChangeAspect="1"/>
          </p:cNvPicPr>
          <p:nvPr/>
        </p:nvPicPr>
        <p:blipFill>
          <a:blip r:embed="rId5"/>
          <a:srcRect t="7813" b="7813"/>
          <a:stretch>
            <a:fillRect/>
          </a:stretch>
        </p:blipFill>
        <p:spPr>
          <a:xfrm>
            <a:off x="-3175" y="0"/>
            <a:ext cx="12192000" cy="6858000"/>
          </a:xfrm>
          <a:prstGeom prst="rect">
            <a:avLst/>
          </a:prstGeom>
        </p:spPr>
      </p:pic>
      <p:sp>
        <p:nvSpPr>
          <p:cNvPr id="27" name="Rectangle 26">
            <a:extLst>
              <a:ext uri="{FF2B5EF4-FFF2-40B4-BE49-F238E27FC236}">
                <a16:creationId xmlns:a16="http://schemas.microsoft.com/office/drawing/2014/main" id="{3408314F-A17E-CA46-8C83-2193E8099697}"/>
              </a:ext>
            </a:extLst>
          </p:cNvPr>
          <p:cNvSpPr/>
          <p:nvPr/>
        </p:nvSpPr>
        <p:spPr bwMode="gray">
          <a:xfrm>
            <a:off x="1589" y="2887580"/>
            <a:ext cx="12188824" cy="3970421"/>
          </a:xfrm>
          <a:prstGeom prst="rect">
            <a:avLst/>
          </a:prstGeom>
          <a:gradFill>
            <a:gsLst>
              <a:gs pos="0">
                <a:schemeClr val="tx1">
                  <a:alpha val="0"/>
                </a:schemeClr>
              </a:gs>
              <a:gs pos="55000">
                <a:srgbClr val="202020">
                  <a:alpha val="51000"/>
                </a:srgbClr>
              </a:gs>
              <a:gs pos="99000">
                <a:schemeClr val="tx2">
                  <a:alpha val="29000"/>
                </a:schemeClr>
              </a:gs>
            </a:gsLst>
            <a:lin ang="5400000" scaled="1"/>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2" name="Title 1"/>
          <p:cNvSpPr>
            <a:spLocks noGrp="1"/>
          </p:cNvSpPr>
          <p:nvPr>
            <p:ph type="title"/>
          </p:nvPr>
        </p:nvSpPr>
        <p:spPr>
          <a:xfrm>
            <a:off x="427085" y="382893"/>
            <a:ext cx="6462813" cy="2254806"/>
          </a:xfrm>
        </p:spPr>
        <p:txBody>
          <a:bodyPr>
            <a:normAutofit/>
          </a:bodyPr>
          <a:lstStyle/>
          <a:p>
            <a:r>
              <a:rPr lang="en-US" sz="4000" dirty="0">
                <a:solidFill>
                  <a:schemeClr val="bg1"/>
                </a:solidFill>
                <a:sym typeface="Helvetica Light"/>
              </a:rPr>
              <a:t>Everything you need to manage your medications anytime, anywhere</a:t>
            </a:r>
          </a:p>
        </p:txBody>
      </p:sp>
      <p:sp>
        <p:nvSpPr>
          <p:cNvPr id="61" name="Rectangle 60">
            <a:extLst>
              <a:ext uri="{FF2B5EF4-FFF2-40B4-BE49-F238E27FC236}">
                <a16:creationId xmlns:a16="http://schemas.microsoft.com/office/drawing/2014/main" id="{3408314F-A17E-CA46-8C83-2193E8099697}"/>
              </a:ext>
            </a:extLst>
          </p:cNvPr>
          <p:cNvSpPr/>
          <p:nvPr/>
        </p:nvSpPr>
        <p:spPr bwMode="gray">
          <a:xfrm>
            <a:off x="-4763" y="3358456"/>
            <a:ext cx="12188824" cy="3499545"/>
          </a:xfrm>
          <a:prstGeom prst="rect">
            <a:avLst/>
          </a:prstGeom>
          <a:gradFill>
            <a:gsLst>
              <a:gs pos="0">
                <a:schemeClr val="tx1">
                  <a:alpha val="0"/>
                </a:schemeClr>
              </a:gs>
              <a:gs pos="55000">
                <a:srgbClr val="202020">
                  <a:alpha val="51000"/>
                </a:srgbClr>
              </a:gs>
              <a:gs pos="99000">
                <a:schemeClr val="tx2">
                  <a:alpha val="29000"/>
                </a:schemeClr>
              </a:gs>
            </a:gsLst>
            <a:lin ang="5400000" scaled="1"/>
          </a:gra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38" name="Rectangle 37"/>
          <p:cNvSpPr/>
          <p:nvPr/>
        </p:nvSpPr>
        <p:spPr>
          <a:xfrm>
            <a:off x="422273" y="4621321"/>
            <a:ext cx="1084132" cy="674031"/>
          </a:xfrm>
          <a:prstGeom prst="rect">
            <a:avLst/>
          </a:prstGeom>
        </p:spPr>
        <p:txBody>
          <a:bodyPr wrap="square">
            <a:spAutoFit/>
          </a:bodyPr>
          <a:lstStyle/>
          <a:p>
            <a:pPr marL="19050" lvl="1">
              <a:lnSpc>
                <a:spcPct val="90000"/>
              </a:lnSpc>
            </a:pPr>
            <a:r>
              <a:rPr lang="en-US" sz="1400" b="1" dirty="0">
                <a:solidFill>
                  <a:schemeClr val="bg1"/>
                </a:solidFill>
                <a:latin typeface="CVS Health Sans" panose="020B0504020202020204" pitchFamily="34" charset="0"/>
              </a:rPr>
              <a:t>Review</a:t>
            </a:r>
            <a:r>
              <a:rPr lang="en-US" sz="1400" dirty="0">
                <a:solidFill>
                  <a:schemeClr val="bg1"/>
                </a:solidFill>
                <a:latin typeface="CVS Health Sans" panose="020B0504020202020204" pitchFamily="34" charset="0"/>
              </a:rPr>
              <a:t> </a:t>
            </a:r>
            <a:br>
              <a:rPr lang="en-US" sz="1400" dirty="0">
                <a:solidFill>
                  <a:schemeClr val="bg1"/>
                </a:solidFill>
                <a:latin typeface="CVS Health Sans" panose="020B0504020202020204" pitchFamily="34" charset="0"/>
              </a:rPr>
            </a:br>
            <a:r>
              <a:rPr lang="en-US" sz="1400" dirty="0">
                <a:solidFill>
                  <a:schemeClr val="bg1"/>
                </a:solidFill>
                <a:latin typeface="CVS Health Sans" panose="020B0504020202020204" pitchFamily="34" charset="0"/>
              </a:rPr>
              <a:t>your plan </a:t>
            </a:r>
            <a:br>
              <a:rPr lang="en-US" sz="1400" dirty="0">
                <a:solidFill>
                  <a:schemeClr val="bg1"/>
                </a:solidFill>
                <a:latin typeface="CVS Health Sans" panose="020B0504020202020204" pitchFamily="34" charset="0"/>
              </a:rPr>
            </a:br>
            <a:r>
              <a:rPr lang="en-US" sz="1400" dirty="0">
                <a:solidFill>
                  <a:schemeClr val="bg1"/>
                </a:solidFill>
                <a:latin typeface="CVS Health Sans" panose="020B0504020202020204" pitchFamily="34" charset="0"/>
              </a:rPr>
              <a:t>details</a:t>
            </a:r>
          </a:p>
        </p:txBody>
      </p:sp>
      <p:sp>
        <p:nvSpPr>
          <p:cNvPr id="39" name="Rectangle 38"/>
          <p:cNvSpPr/>
          <p:nvPr/>
        </p:nvSpPr>
        <p:spPr>
          <a:xfrm>
            <a:off x="5211178" y="4623777"/>
            <a:ext cx="1586390" cy="867930"/>
          </a:xfrm>
          <a:prstGeom prst="rect">
            <a:avLst/>
          </a:prstGeom>
        </p:spPr>
        <p:txBody>
          <a:bodyPr wrap="square">
            <a:spAutoFit/>
          </a:bodyPr>
          <a:lstStyle/>
          <a:p>
            <a:pPr>
              <a:lnSpc>
                <a:spcPct val="90000"/>
              </a:lnSpc>
              <a:spcAft>
                <a:spcPts val="600"/>
              </a:spcAft>
            </a:pPr>
            <a:r>
              <a:rPr lang="en-US" sz="1400" b="1" dirty="0">
                <a:solidFill>
                  <a:schemeClr val="bg1"/>
                </a:solidFill>
                <a:latin typeface="CVS Health Sans" panose="020B0504020202020204" pitchFamily="34" charset="0"/>
              </a:rPr>
              <a:t>Order mail service refills </a:t>
            </a:r>
            <a:r>
              <a:rPr lang="en-US" sz="1400" dirty="0">
                <a:solidFill>
                  <a:schemeClr val="bg1"/>
                </a:solidFill>
                <a:latin typeface="CVS Health Sans" panose="020B0504020202020204" pitchFamily="34" charset="0"/>
              </a:rPr>
              <a:t>and track shipments</a:t>
            </a:r>
          </a:p>
        </p:txBody>
      </p:sp>
      <p:sp>
        <p:nvSpPr>
          <p:cNvPr id="40" name="Rectangle 39"/>
          <p:cNvSpPr/>
          <p:nvPr/>
        </p:nvSpPr>
        <p:spPr>
          <a:xfrm>
            <a:off x="3357818" y="4673589"/>
            <a:ext cx="1647170" cy="867930"/>
          </a:xfrm>
          <a:prstGeom prst="rect">
            <a:avLst/>
          </a:prstGeom>
        </p:spPr>
        <p:txBody>
          <a:bodyPr wrap="square">
            <a:spAutoFit/>
          </a:bodyPr>
          <a:lstStyle/>
          <a:p>
            <a:pPr>
              <a:lnSpc>
                <a:spcPct val="90000"/>
              </a:lnSpc>
            </a:pPr>
            <a:r>
              <a:rPr lang="en-US" sz="1400" b="1"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t>Find in-network pharmacies </a:t>
            </a:r>
            <a:r>
              <a:rPr lang="en-US" sz="1400"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t>or start delivery by mail</a:t>
            </a:r>
          </a:p>
        </p:txBody>
      </p:sp>
      <p:sp>
        <p:nvSpPr>
          <p:cNvPr id="43" name="Rectangle 42"/>
          <p:cNvSpPr/>
          <p:nvPr/>
        </p:nvSpPr>
        <p:spPr>
          <a:xfrm>
            <a:off x="6827378" y="4653197"/>
            <a:ext cx="1364808" cy="674031"/>
          </a:xfrm>
          <a:prstGeom prst="rect">
            <a:avLst/>
          </a:prstGeom>
        </p:spPr>
        <p:txBody>
          <a:bodyPr wrap="square">
            <a:spAutoFit/>
          </a:bodyPr>
          <a:lstStyle/>
          <a:p>
            <a:pPr>
              <a:lnSpc>
                <a:spcPct val="90000"/>
              </a:lnSpc>
              <a:spcAft>
                <a:spcPts val="600"/>
              </a:spcAft>
            </a:pPr>
            <a:r>
              <a:rPr lang="en-US" sz="1400" b="1" dirty="0">
                <a:solidFill>
                  <a:schemeClr val="bg1"/>
                </a:solidFill>
                <a:latin typeface="CVS Health Sans" panose="020B0504020202020204" pitchFamily="34" charset="0"/>
              </a:rPr>
              <a:t>View history </a:t>
            </a:r>
            <a:r>
              <a:rPr lang="en-US" sz="1400" dirty="0">
                <a:solidFill>
                  <a:schemeClr val="bg1"/>
                </a:solidFill>
                <a:latin typeface="CVS Health Sans" panose="020B0504020202020204" pitchFamily="34" charset="0"/>
              </a:rPr>
              <a:t>of  your prescriptions</a:t>
            </a:r>
          </a:p>
        </p:txBody>
      </p:sp>
      <p:sp>
        <p:nvSpPr>
          <p:cNvPr id="44" name="Rectangle 43"/>
          <p:cNvSpPr/>
          <p:nvPr/>
        </p:nvSpPr>
        <p:spPr>
          <a:xfrm>
            <a:off x="1547567" y="4639559"/>
            <a:ext cx="1727927" cy="1061829"/>
          </a:xfrm>
          <a:prstGeom prst="rect">
            <a:avLst/>
          </a:prstGeom>
        </p:spPr>
        <p:txBody>
          <a:bodyPr wrap="square">
            <a:spAutoFit/>
          </a:bodyPr>
          <a:lstStyle/>
          <a:p>
            <a:pPr>
              <a:lnSpc>
                <a:spcPct val="90000"/>
              </a:lnSpc>
            </a:pPr>
            <a:r>
              <a:rPr lang="en-US" sz="1400" b="1"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t>Check medication </a:t>
            </a:r>
            <a:r>
              <a:rPr lang="en-US" sz="1400"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t>costs and find </a:t>
            </a:r>
            <a:br>
              <a:rPr lang="en-US" sz="1400"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br>
            <a:r>
              <a:rPr lang="en-US" sz="1400" dirty="0">
                <a:solidFill>
                  <a:schemeClr val="bg1"/>
                </a:solidFill>
                <a:latin typeface="CVS Health Sans" panose="020B0504020202020204" pitchFamily="34" charset="0"/>
                <a:ea typeface="Calibri" panose="020F0502020204030204" pitchFamily="34" charset="0"/>
                <a:cs typeface="Times New Roman" panose="02020603050405020304" pitchFamily="18" charset="0"/>
              </a:rPr>
              <a:t>ways to save</a:t>
            </a:r>
          </a:p>
          <a:p>
            <a:pPr>
              <a:lnSpc>
                <a:spcPct val="90000"/>
              </a:lnSpc>
            </a:pPr>
            <a:endParaRPr lang="en-US" sz="1400" dirty="0">
              <a:solidFill>
                <a:schemeClr val="bg1"/>
              </a:solidFill>
              <a:ea typeface="Calibri" panose="020F0502020204030204" pitchFamily="34" charset="0"/>
              <a:cs typeface="Times New Roman" panose="02020603050405020304" pitchFamily="18" charset="0"/>
            </a:endParaRPr>
          </a:p>
        </p:txBody>
      </p:sp>
      <p:sp>
        <p:nvSpPr>
          <p:cNvPr id="42" name="Rectangle 41"/>
          <p:cNvSpPr/>
          <p:nvPr/>
        </p:nvSpPr>
        <p:spPr>
          <a:xfrm>
            <a:off x="8259851" y="4642803"/>
            <a:ext cx="2159994" cy="867930"/>
          </a:xfrm>
          <a:prstGeom prst="rect">
            <a:avLst/>
          </a:prstGeom>
        </p:spPr>
        <p:txBody>
          <a:bodyPr wrap="square">
            <a:spAutoFit/>
          </a:bodyPr>
          <a:lstStyle/>
          <a:p>
            <a:pPr>
              <a:lnSpc>
                <a:spcPct val="90000"/>
              </a:lnSpc>
              <a:spcAft>
                <a:spcPts val="600"/>
              </a:spcAft>
            </a:pPr>
            <a:r>
              <a:rPr lang="en-US" sz="1400" b="1" dirty="0">
                <a:solidFill>
                  <a:schemeClr val="bg1"/>
                </a:solidFill>
                <a:latin typeface="CVS Health Sans" panose="020B0504020202020204" pitchFamily="34" charset="0"/>
              </a:rPr>
              <a:t>Track progress </a:t>
            </a:r>
            <a:r>
              <a:rPr lang="en-US" sz="1400" dirty="0">
                <a:solidFill>
                  <a:schemeClr val="bg1"/>
                </a:solidFill>
                <a:latin typeface="CVS Health Sans" panose="020B0504020202020204" pitchFamily="34" charset="0"/>
              </a:rPr>
              <a:t>toward your deductible or </a:t>
            </a:r>
            <a:br>
              <a:rPr lang="en-US" sz="1400" dirty="0">
                <a:solidFill>
                  <a:schemeClr val="bg1"/>
                </a:solidFill>
                <a:latin typeface="CVS Health Sans" panose="020B0504020202020204" pitchFamily="34" charset="0"/>
              </a:rPr>
            </a:br>
            <a:r>
              <a:rPr lang="en-US" sz="1400" dirty="0">
                <a:solidFill>
                  <a:schemeClr val="bg1"/>
                </a:solidFill>
                <a:latin typeface="CVS Health Sans" panose="020B0504020202020204" pitchFamily="34" charset="0"/>
              </a:rPr>
              <a:t>out-of-pocket maximum</a:t>
            </a:r>
          </a:p>
        </p:txBody>
      </p:sp>
      <p:sp>
        <p:nvSpPr>
          <p:cNvPr id="47" name="Rectangle 46"/>
          <p:cNvSpPr/>
          <p:nvPr/>
        </p:nvSpPr>
        <p:spPr>
          <a:xfrm>
            <a:off x="10474622" y="4604988"/>
            <a:ext cx="1411971" cy="867930"/>
          </a:xfrm>
          <a:prstGeom prst="rect">
            <a:avLst/>
          </a:prstGeom>
        </p:spPr>
        <p:txBody>
          <a:bodyPr wrap="square">
            <a:spAutoFit/>
          </a:bodyPr>
          <a:lstStyle/>
          <a:p>
            <a:pPr>
              <a:lnSpc>
                <a:spcPct val="90000"/>
              </a:lnSpc>
              <a:spcAft>
                <a:spcPts val="600"/>
              </a:spcAft>
            </a:pPr>
            <a:r>
              <a:rPr lang="en-US" sz="1400" b="1" dirty="0">
                <a:solidFill>
                  <a:schemeClr val="bg1"/>
                </a:solidFill>
                <a:latin typeface="CVS Health Sans" panose="020B0504020202020204" pitchFamily="34" charset="0"/>
              </a:rPr>
              <a:t>Set alerts and reminders</a:t>
            </a:r>
            <a:r>
              <a:rPr lang="en-US" sz="1400" dirty="0">
                <a:solidFill>
                  <a:schemeClr val="bg1"/>
                </a:solidFill>
                <a:latin typeface="CVS Health Sans" panose="020B0504020202020204" pitchFamily="34" charset="0"/>
              </a:rPr>
              <a:t> to help you stay on track</a:t>
            </a:r>
          </a:p>
        </p:txBody>
      </p:sp>
      <p:sp>
        <p:nvSpPr>
          <p:cNvPr id="3" name="Rectangle 2"/>
          <p:cNvSpPr/>
          <p:nvPr/>
        </p:nvSpPr>
        <p:spPr>
          <a:xfrm>
            <a:off x="571501" y="5720672"/>
            <a:ext cx="11049000" cy="590931"/>
          </a:xfrm>
          <a:prstGeom prst="rect">
            <a:avLst/>
          </a:prstGeom>
        </p:spPr>
        <p:txBody>
          <a:bodyPr wrap="square">
            <a:spAutoFit/>
          </a:bodyPr>
          <a:lstStyle/>
          <a:p>
            <a:pPr algn="ctr" defTabSz="342892">
              <a:lnSpc>
                <a:spcPct val="90000"/>
              </a:lnSpc>
              <a:spcBef>
                <a:spcPct val="0"/>
              </a:spcBef>
              <a:defRPr/>
            </a:pPr>
            <a:r>
              <a:rPr lang="en-US" b="1" dirty="0">
                <a:solidFill>
                  <a:schemeClr val="bg1"/>
                </a:solidFill>
                <a:ea typeface="Open Sans"/>
                <a:cs typeface="Open Sans"/>
                <a:sym typeface="Open Sans"/>
              </a:rPr>
              <a:t>Once you’re registered, download the CVS Caremark app from your preferred app store </a:t>
            </a:r>
            <a:br>
              <a:rPr lang="en-US" b="1" dirty="0">
                <a:solidFill>
                  <a:schemeClr val="bg1"/>
                </a:solidFill>
                <a:ea typeface="Open Sans"/>
                <a:cs typeface="Open Sans"/>
                <a:sym typeface="Open Sans"/>
              </a:rPr>
            </a:br>
            <a:r>
              <a:rPr lang="en-US" b="1" dirty="0">
                <a:solidFill>
                  <a:schemeClr val="bg1"/>
                </a:solidFill>
                <a:ea typeface="Open Sans"/>
                <a:cs typeface="Open Sans"/>
                <a:sym typeface="Open Sans"/>
              </a:rPr>
              <a:t>to manage your medications on your smart phone</a:t>
            </a:r>
          </a:p>
        </p:txBody>
      </p:sp>
      <p:grpSp>
        <p:nvGrpSpPr>
          <p:cNvPr id="58" name="Magnifiying Glass Icon"/>
          <p:cNvGrpSpPr>
            <a:grpSpLocks noChangeAspect="1"/>
          </p:cNvGrpSpPr>
          <p:nvPr/>
        </p:nvGrpSpPr>
        <p:grpSpPr bwMode="auto">
          <a:xfrm>
            <a:off x="564139" y="4202927"/>
            <a:ext cx="323223" cy="312962"/>
            <a:chOff x="4155" y="3143"/>
            <a:chExt cx="315" cy="305"/>
          </a:xfrm>
          <a:solidFill>
            <a:schemeClr val="bg1"/>
          </a:solidFill>
        </p:grpSpPr>
        <p:sp>
          <p:nvSpPr>
            <p:cNvPr id="59" name="Freeform 5"/>
            <p:cNvSpPr>
              <a:spLocks/>
            </p:cNvSpPr>
            <p:nvPr/>
          </p:nvSpPr>
          <p:spPr bwMode="auto">
            <a:xfrm>
              <a:off x="4194" y="3197"/>
              <a:ext cx="34" cy="79"/>
            </a:xfrm>
            <a:custGeom>
              <a:avLst/>
              <a:gdLst>
                <a:gd name="T0" fmla="*/ 9 w 14"/>
                <a:gd name="T1" fmla="*/ 0 h 33"/>
                <a:gd name="T2" fmla="*/ 9 w 14"/>
                <a:gd name="T3" fmla="*/ 33 h 33"/>
                <a:gd name="T4" fmla="*/ 14 w 14"/>
                <a:gd name="T5" fmla="*/ 28 h 33"/>
                <a:gd name="T6" fmla="*/ 14 w 14"/>
                <a:gd name="T7" fmla="*/ 5 h 33"/>
                <a:gd name="T8" fmla="*/ 9 w 14"/>
                <a:gd name="T9" fmla="*/ 0 h 33"/>
              </a:gdLst>
              <a:ahLst/>
              <a:cxnLst>
                <a:cxn ang="0">
                  <a:pos x="T0" y="T1"/>
                </a:cxn>
                <a:cxn ang="0">
                  <a:pos x="T2" y="T3"/>
                </a:cxn>
                <a:cxn ang="0">
                  <a:pos x="T4" y="T5"/>
                </a:cxn>
                <a:cxn ang="0">
                  <a:pos x="T6" y="T7"/>
                </a:cxn>
                <a:cxn ang="0">
                  <a:pos x="T8" y="T9"/>
                </a:cxn>
              </a:cxnLst>
              <a:rect l="0" t="0" r="r" b="b"/>
              <a:pathLst>
                <a:path w="14" h="33">
                  <a:moveTo>
                    <a:pt x="9" y="0"/>
                  </a:moveTo>
                  <a:cubicBezTo>
                    <a:pt x="0" y="9"/>
                    <a:pt x="0" y="23"/>
                    <a:pt x="9" y="33"/>
                  </a:cubicBezTo>
                  <a:cubicBezTo>
                    <a:pt x="14" y="28"/>
                    <a:pt x="14" y="28"/>
                    <a:pt x="14" y="28"/>
                  </a:cubicBezTo>
                  <a:cubicBezTo>
                    <a:pt x="8" y="21"/>
                    <a:pt x="8" y="11"/>
                    <a:pt x="14" y="5"/>
                  </a:cubicBez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6"/>
            <p:cNvSpPr>
              <a:spLocks noEditPoints="1"/>
            </p:cNvSpPr>
            <p:nvPr/>
          </p:nvSpPr>
          <p:spPr bwMode="auto">
            <a:xfrm>
              <a:off x="4155" y="3143"/>
              <a:ext cx="315" cy="305"/>
            </a:xfrm>
            <a:custGeom>
              <a:avLst/>
              <a:gdLst>
                <a:gd name="T0" fmla="*/ 84 w 130"/>
                <a:gd name="T1" fmla="*/ 65 h 126"/>
                <a:gd name="T2" fmla="*/ 79 w 130"/>
                <a:gd name="T3" fmla="*/ 70 h 126"/>
                <a:gd name="T4" fmla="*/ 72 w 130"/>
                <a:gd name="T5" fmla="*/ 64 h 126"/>
                <a:gd name="T6" fmla="*/ 70 w 130"/>
                <a:gd name="T7" fmla="*/ 11 h 126"/>
                <a:gd name="T8" fmla="*/ 42 w 130"/>
                <a:gd name="T9" fmla="*/ 0 h 126"/>
                <a:gd name="T10" fmla="*/ 15 w 130"/>
                <a:gd name="T11" fmla="*/ 11 h 126"/>
                <a:gd name="T12" fmla="*/ 15 w 130"/>
                <a:gd name="T13" fmla="*/ 66 h 126"/>
                <a:gd name="T14" fmla="*/ 42 w 130"/>
                <a:gd name="T15" fmla="*/ 78 h 126"/>
                <a:gd name="T16" fmla="*/ 67 w 130"/>
                <a:gd name="T17" fmla="*/ 69 h 126"/>
                <a:gd name="T18" fmla="*/ 74 w 130"/>
                <a:gd name="T19" fmla="*/ 75 h 126"/>
                <a:gd name="T20" fmla="*/ 68 w 130"/>
                <a:gd name="T21" fmla="*/ 81 h 126"/>
                <a:gd name="T22" fmla="*/ 114 w 130"/>
                <a:gd name="T23" fmla="*/ 126 h 126"/>
                <a:gd name="T24" fmla="*/ 130 w 130"/>
                <a:gd name="T25" fmla="*/ 110 h 126"/>
                <a:gd name="T26" fmla="*/ 84 w 130"/>
                <a:gd name="T27" fmla="*/ 65 h 126"/>
                <a:gd name="T28" fmla="*/ 20 w 130"/>
                <a:gd name="T29" fmla="*/ 61 h 126"/>
                <a:gd name="T30" fmla="*/ 20 w 130"/>
                <a:gd name="T31" fmla="*/ 16 h 126"/>
                <a:gd name="T32" fmla="*/ 42 w 130"/>
                <a:gd name="T33" fmla="*/ 7 h 126"/>
                <a:gd name="T34" fmla="*/ 65 w 130"/>
                <a:gd name="T35" fmla="*/ 16 h 126"/>
                <a:gd name="T36" fmla="*/ 65 w 130"/>
                <a:gd name="T37" fmla="*/ 61 h 126"/>
                <a:gd name="T38" fmla="*/ 42 w 130"/>
                <a:gd name="T39" fmla="*/ 71 h 126"/>
                <a:gd name="T40" fmla="*/ 20 w 130"/>
                <a:gd name="T41" fmla="*/ 61 h 126"/>
                <a:gd name="T42" fmla="*/ 114 w 130"/>
                <a:gd name="T43" fmla="*/ 116 h 126"/>
                <a:gd name="T44" fmla="*/ 78 w 130"/>
                <a:gd name="T45" fmla="*/ 81 h 126"/>
                <a:gd name="T46" fmla="*/ 84 w 130"/>
                <a:gd name="T47" fmla="*/ 75 h 126"/>
                <a:gd name="T48" fmla="*/ 120 w 130"/>
                <a:gd name="T49" fmla="*/ 110 h 126"/>
                <a:gd name="T50" fmla="*/ 114 w 130"/>
                <a:gd name="T51"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0" h="126">
                  <a:moveTo>
                    <a:pt x="84" y="65"/>
                  </a:moveTo>
                  <a:cubicBezTo>
                    <a:pt x="79" y="70"/>
                    <a:pt x="79" y="70"/>
                    <a:pt x="79" y="70"/>
                  </a:cubicBezTo>
                  <a:cubicBezTo>
                    <a:pt x="72" y="64"/>
                    <a:pt x="72" y="64"/>
                    <a:pt x="72" y="64"/>
                  </a:cubicBezTo>
                  <a:cubicBezTo>
                    <a:pt x="85" y="48"/>
                    <a:pt x="84" y="26"/>
                    <a:pt x="70" y="11"/>
                  </a:cubicBezTo>
                  <a:cubicBezTo>
                    <a:pt x="62" y="4"/>
                    <a:pt x="53" y="0"/>
                    <a:pt x="42" y="0"/>
                  </a:cubicBezTo>
                  <a:cubicBezTo>
                    <a:pt x="32" y="0"/>
                    <a:pt x="22" y="4"/>
                    <a:pt x="15" y="11"/>
                  </a:cubicBezTo>
                  <a:cubicBezTo>
                    <a:pt x="0" y="26"/>
                    <a:pt x="0" y="51"/>
                    <a:pt x="15" y="66"/>
                  </a:cubicBezTo>
                  <a:cubicBezTo>
                    <a:pt x="22" y="74"/>
                    <a:pt x="32" y="78"/>
                    <a:pt x="42" y="78"/>
                  </a:cubicBezTo>
                  <a:cubicBezTo>
                    <a:pt x="51" y="78"/>
                    <a:pt x="60" y="74"/>
                    <a:pt x="67" y="69"/>
                  </a:cubicBezTo>
                  <a:cubicBezTo>
                    <a:pt x="74" y="75"/>
                    <a:pt x="74" y="75"/>
                    <a:pt x="74" y="75"/>
                  </a:cubicBezTo>
                  <a:cubicBezTo>
                    <a:pt x="68" y="81"/>
                    <a:pt x="68" y="81"/>
                    <a:pt x="68" y="81"/>
                  </a:cubicBezTo>
                  <a:cubicBezTo>
                    <a:pt x="114" y="126"/>
                    <a:pt x="114" y="126"/>
                    <a:pt x="114" y="126"/>
                  </a:cubicBezTo>
                  <a:cubicBezTo>
                    <a:pt x="130" y="110"/>
                    <a:pt x="130" y="110"/>
                    <a:pt x="130" y="110"/>
                  </a:cubicBezTo>
                  <a:lnTo>
                    <a:pt x="84" y="65"/>
                  </a:lnTo>
                  <a:close/>
                  <a:moveTo>
                    <a:pt x="20" y="61"/>
                  </a:moveTo>
                  <a:cubicBezTo>
                    <a:pt x="7" y="49"/>
                    <a:pt x="7" y="29"/>
                    <a:pt x="20" y="16"/>
                  </a:cubicBezTo>
                  <a:cubicBezTo>
                    <a:pt x="26" y="10"/>
                    <a:pt x="34" y="7"/>
                    <a:pt x="42" y="7"/>
                  </a:cubicBezTo>
                  <a:cubicBezTo>
                    <a:pt x="51" y="7"/>
                    <a:pt x="59" y="10"/>
                    <a:pt x="65" y="16"/>
                  </a:cubicBezTo>
                  <a:cubicBezTo>
                    <a:pt x="77" y="29"/>
                    <a:pt x="77" y="49"/>
                    <a:pt x="65" y="61"/>
                  </a:cubicBezTo>
                  <a:cubicBezTo>
                    <a:pt x="59" y="67"/>
                    <a:pt x="51" y="71"/>
                    <a:pt x="42" y="71"/>
                  </a:cubicBezTo>
                  <a:cubicBezTo>
                    <a:pt x="34" y="71"/>
                    <a:pt x="26" y="67"/>
                    <a:pt x="20" y="61"/>
                  </a:cubicBezTo>
                  <a:close/>
                  <a:moveTo>
                    <a:pt x="114" y="116"/>
                  </a:moveTo>
                  <a:cubicBezTo>
                    <a:pt x="78" y="81"/>
                    <a:pt x="78" y="81"/>
                    <a:pt x="78" y="81"/>
                  </a:cubicBezTo>
                  <a:cubicBezTo>
                    <a:pt x="84" y="75"/>
                    <a:pt x="84" y="75"/>
                    <a:pt x="84" y="75"/>
                  </a:cubicBezTo>
                  <a:cubicBezTo>
                    <a:pt x="120" y="110"/>
                    <a:pt x="120" y="110"/>
                    <a:pt x="120" y="110"/>
                  </a:cubicBezTo>
                  <a:lnTo>
                    <a:pt x="114"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2" name="Dollar Symbol Icon"/>
          <p:cNvSpPr>
            <a:spLocks noChangeAspect="1" noEditPoints="1"/>
          </p:cNvSpPr>
          <p:nvPr/>
        </p:nvSpPr>
        <p:spPr bwMode="auto">
          <a:xfrm>
            <a:off x="1697828" y="4176756"/>
            <a:ext cx="157380" cy="308535"/>
          </a:xfrm>
          <a:custGeom>
            <a:avLst/>
            <a:gdLst>
              <a:gd name="T0" fmla="*/ 63 w 72"/>
              <a:gd name="T1" fmla="*/ 78 h 144"/>
              <a:gd name="T2" fmla="*/ 42 w 72"/>
              <a:gd name="T3" fmla="*/ 70 h 144"/>
              <a:gd name="T4" fmla="*/ 39 w 72"/>
              <a:gd name="T5" fmla="*/ 69 h 144"/>
              <a:gd name="T6" fmla="*/ 39 w 72"/>
              <a:gd name="T7" fmla="*/ 23 h 144"/>
              <a:gd name="T8" fmla="*/ 42 w 72"/>
              <a:gd name="T9" fmla="*/ 23 h 144"/>
              <a:gd name="T10" fmla="*/ 65 w 72"/>
              <a:gd name="T11" fmla="*/ 46 h 144"/>
              <a:gd name="T12" fmla="*/ 72 w 72"/>
              <a:gd name="T13" fmla="*/ 46 h 144"/>
              <a:gd name="T14" fmla="*/ 63 w 72"/>
              <a:gd name="T15" fmla="*/ 25 h 144"/>
              <a:gd name="T16" fmla="*/ 42 w 72"/>
              <a:gd name="T17" fmla="*/ 16 h 144"/>
              <a:gd name="T18" fmla="*/ 39 w 72"/>
              <a:gd name="T19" fmla="*/ 16 h 144"/>
              <a:gd name="T20" fmla="*/ 39 w 72"/>
              <a:gd name="T21" fmla="*/ 0 h 144"/>
              <a:gd name="T22" fmla="*/ 33 w 72"/>
              <a:gd name="T23" fmla="*/ 0 h 144"/>
              <a:gd name="T24" fmla="*/ 33 w 72"/>
              <a:gd name="T25" fmla="*/ 16 h 144"/>
              <a:gd name="T26" fmla="*/ 30 w 72"/>
              <a:gd name="T27" fmla="*/ 16 h 144"/>
              <a:gd name="T28" fmla="*/ 9 w 72"/>
              <a:gd name="T29" fmla="*/ 25 h 144"/>
              <a:gd name="T30" fmla="*/ 1 w 72"/>
              <a:gd name="T31" fmla="*/ 46 h 144"/>
              <a:gd name="T32" fmla="*/ 10 w 72"/>
              <a:gd name="T33" fmla="*/ 66 h 144"/>
              <a:gd name="T34" fmla="*/ 30 w 72"/>
              <a:gd name="T35" fmla="*/ 74 h 144"/>
              <a:gd name="T36" fmla="*/ 33 w 72"/>
              <a:gd name="T37" fmla="*/ 75 h 144"/>
              <a:gd name="T38" fmla="*/ 33 w 72"/>
              <a:gd name="T39" fmla="*/ 121 h 144"/>
              <a:gd name="T40" fmla="*/ 30 w 72"/>
              <a:gd name="T41" fmla="*/ 121 h 144"/>
              <a:gd name="T42" fmla="*/ 7 w 72"/>
              <a:gd name="T43" fmla="*/ 98 h 144"/>
              <a:gd name="T44" fmla="*/ 0 w 72"/>
              <a:gd name="T45" fmla="*/ 98 h 144"/>
              <a:gd name="T46" fmla="*/ 9 w 72"/>
              <a:gd name="T47" fmla="*/ 119 h 144"/>
              <a:gd name="T48" fmla="*/ 30 w 72"/>
              <a:gd name="T49" fmla="*/ 128 h 144"/>
              <a:gd name="T50" fmla="*/ 33 w 72"/>
              <a:gd name="T51" fmla="*/ 128 h 144"/>
              <a:gd name="T52" fmla="*/ 33 w 72"/>
              <a:gd name="T53" fmla="*/ 144 h 144"/>
              <a:gd name="T54" fmla="*/ 39 w 72"/>
              <a:gd name="T55" fmla="*/ 144 h 144"/>
              <a:gd name="T56" fmla="*/ 39 w 72"/>
              <a:gd name="T57" fmla="*/ 128 h 144"/>
              <a:gd name="T58" fmla="*/ 42 w 72"/>
              <a:gd name="T59" fmla="*/ 128 h 144"/>
              <a:gd name="T60" fmla="*/ 63 w 72"/>
              <a:gd name="T61" fmla="*/ 119 h 144"/>
              <a:gd name="T62" fmla="*/ 72 w 72"/>
              <a:gd name="T63" fmla="*/ 98 h 144"/>
              <a:gd name="T64" fmla="*/ 63 w 72"/>
              <a:gd name="T65" fmla="*/ 78 h 144"/>
              <a:gd name="T66" fmla="*/ 31 w 72"/>
              <a:gd name="T67" fmla="*/ 68 h 144"/>
              <a:gd name="T68" fmla="*/ 14 w 72"/>
              <a:gd name="T69" fmla="*/ 61 h 144"/>
              <a:gd name="T70" fmla="*/ 7 w 72"/>
              <a:gd name="T71" fmla="*/ 46 h 144"/>
              <a:gd name="T72" fmla="*/ 30 w 72"/>
              <a:gd name="T73" fmla="*/ 23 h 144"/>
              <a:gd name="T74" fmla="*/ 33 w 72"/>
              <a:gd name="T75" fmla="*/ 23 h 144"/>
              <a:gd name="T76" fmla="*/ 33 w 72"/>
              <a:gd name="T77" fmla="*/ 68 h 144"/>
              <a:gd name="T78" fmla="*/ 31 w 72"/>
              <a:gd name="T79" fmla="*/ 68 h 144"/>
              <a:gd name="T80" fmla="*/ 42 w 72"/>
              <a:gd name="T81" fmla="*/ 121 h 144"/>
              <a:gd name="T82" fmla="*/ 39 w 72"/>
              <a:gd name="T83" fmla="*/ 121 h 144"/>
              <a:gd name="T84" fmla="*/ 39 w 72"/>
              <a:gd name="T85" fmla="*/ 76 h 144"/>
              <a:gd name="T86" fmla="*/ 42 w 72"/>
              <a:gd name="T87" fmla="*/ 76 h 144"/>
              <a:gd name="T88" fmla="*/ 58 w 72"/>
              <a:gd name="T89" fmla="*/ 83 h 144"/>
              <a:gd name="T90" fmla="*/ 65 w 72"/>
              <a:gd name="T91" fmla="*/ 98 h 144"/>
              <a:gd name="T92" fmla="*/ 42 w 72"/>
              <a:gd name="T9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44">
                <a:moveTo>
                  <a:pt x="63" y="78"/>
                </a:moveTo>
                <a:cubicBezTo>
                  <a:pt x="58" y="74"/>
                  <a:pt x="51" y="71"/>
                  <a:pt x="42" y="70"/>
                </a:cubicBezTo>
                <a:cubicBezTo>
                  <a:pt x="39" y="69"/>
                  <a:pt x="39" y="69"/>
                  <a:pt x="39" y="69"/>
                </a:cubicBezTo>
                <a:cubicBezTo>
                  <a:pt x="39" y="23"/>
                  <a:pt x="39" y="23"/>
                  <a:pt x="39" y="23"/>
                </a:cubicBezTo>
                <a:cubicBezTo>
                  <a:pt x="42" y="23"/>
                  <a:pt x="42" y="23"/>
                  <a:pt x="42" y="23"/>
                </a:cubicBezTo>
                <a:cubicBezTo>
                  <a:pt x="55" y="23"/>
                  <a:pt x="65" y="33"/>
                  <a:pt x="65" y="46"/>
                </a:cubicBezTo>
                <a:cubicBezTo>
                  <a:pt x="72" y="46"/>
                  <a:pt x="72" y="46"/>
                  <a:pt x="72" y="46"/>
                </a:cubicBezTo>
                <a:cubicBezTo>
                  <a:pt x="72" y="38"/>
                  <a:pt x="68" y="31"/>
                  <a:pt x="63" y="25"/>
                </a:cubicBezTo>
                <a:cubicBezTo>
                  <a:pt x="57" y="19"/>
                  <a:pt x="50" y="16"/>
                  <a:pt x="42" y="16"/>
                </a:cubicBezTo>
                <a:cubicBezTo>
                  <a:pt x="39" y="16"/>
                  <a:pt x="39" y="16"/>
                  <a:pt x="39" y="16"/>
                </a:cubicBezTo>
                <a:cubicBezTo>
                  <a:pt x="39" y="0"/>
                  <a:pt x="39" y="0"/>
                  <a:pt x="39" y="0"/>
                </a:cubicBezTo>
                <a:cubicBezTo>
                  <a:pt x="33" y="0"/>
                  <a:pt x="33" y="0"/>
                  <a:pt x="33" y="0"/>
                </a:cubicBezTo>
                <a:cubicBezTo>
                  <a:pt x="33" y="16"/>
                  <a:pt x="33" y="16"/>
                  <a:pt x="33" y="16"/>
                </a:cubicBezTo>
                <a:cubicBezTo>
                  <a:pt x="30" y="16"/>
                  <a:pt x="30" y="16"/>
                  <a:pt x="30" y="16"/>
                </a:cubicBezTo>
                <a:cubicBezTo>
                  <a:pt x="22" y="16"/>
                  <a:pt x="15" y="19"/>
                  <a:pt x="9" y="25"/>
                </a:cubicBezTo>
                <a:cubicBezTo>
                  <a:pt x="4" y="31"/>
                  <a:pt x="1" y="38"/>
                  <a:pt x="1" y="46"/>
                </a:cubicBezTo>
                <a:cubicBezTo>
                  <a:pt x="1" y="54"/>
                  <a:pt x="4" y="60"/>
                  <a:pt x="10" y="66"/>
                </a:cubicBezTo>
                <a:cubicBezTo>
                  <a:pt x="15" y="70"/>
                  <a:pt x="22" y="73"/>
                  <a:pt x="30" y="74"/>
                </a:cubicBezTo>
                <a:cubicBezTo>
                  <a:pt x="33" y="75"/>
                  <a:pt x="33" y="75"/>
                  <a:pt x="33" y="75"/>
                </a:cubicBezTo>
                <a:cubicBezTo>
                  <a:pt x="33" y="121"/>
                  <a:pt x="33" y="121"/>
                  <a:pt x="33" y="121"/>
                </a:cubicBezTo>
                <a:cubicBezTo>
                  <a:pt x="30" y="121"/>
                  <a:pt x="30" y="121"/>
                  <a:pt x="30" y="121"/>
                </a:cubicBezTo>
                <a:cubicBezTo>
                  <a:pt x="17" y="121"/>
                  <a:pt x="7" y="111"/>
                  <a:pt x="7" y="98"/>
                </a:cubicBezTo>
                <a:cubicBezTo>
                  <a:pt x="0" y="98"/>
                  <a:pt x="0" y="98"/>
                  <a:pt x="0" y="98"/>
                </a:cubicBezTo>
                <a:cubicBezTo>
                  <a:pt x="0" y="106"/>
                  <a:pt x="4" y="113"/>
                  <a:pt x="9" y="119"/>
                </a:cubicBezTo>
                <a:cubicBezTo>
                  <a:pt x="15" y="125"/>
                  <a:pt x="22" y="128"/>
                  <a:pt x="30" y="128"/>
                </a:cubicBezTo>
                <a:cubicBezTo>
                  <a:pt x="33" y="128"/>
                  <a:pt x="33" y="128"/>
                  <a:pt x="33" y="128"/>
                </a:cubicBezTo>
                <a:cubicBezTo>
                  <a:pt x="33" y="144"/>
                  <a:pt x="33" y="144"/>
                  <a:pt x="33" y="144"/>
                </a:cubicBezTo>
                <a:cubicBezTo>
                  <a:pt x="39" y="144"/>
                  <a:pt x="39" y="144"/>
                  <a:pt x="39" y="144"/>
                </a:cubicBezTo>
                <a:cubicBezTo>
                  <a:pt x="39" y="128"/>
                  <a:pt x="39" y="128"/>
                  <a:pt x="39" y="128"/>
                </a:cubicBezTo>
                <a:cubicBezTo>
                  <a:pt x="42" y="128"/>
                  <a:pt x="42" y="128"/>
                  <a:pt x="42" y="128"/>
                </a:cubicBezTo>
                <a:cubicBezTo>
                  <a:pt x="50" y="128"/>
                  <a:pt x="57" y="125"/>
                  <a:pt x="63" y="119"/>
                </a:cubicBezTo>
                <a:cubicBezTo>
                  <a:pt x="68" y="113"/>
                  <a:pt x="72" y="106"/>
                  <a:pt x="72" y="98"/>
                </a:cubicBezTo>
                <a:cubicBezTo>
                  <a:pt x="72" y="90"/>
                  <a:pt x="68" y="84"/>
                  <a:pt x="63" y="78"/>
                </a:cubicBezTo>
                <a:close/>
                <a:moveTo>
                  <a:pt x="31" y="68"/>
                </a:moveTo>
                <a:cubicBezTo>
                  <a:pt x="24" y="67"/>
                  <a:pt x="18" y="64"/>
                  <a:pt x="14" y="61"/>
                </a:cubicBezTo>
                <a:cubicBezTo>
                  <a:pt x="9" y="57"/>
                  <a:pt x="7" y="52"/>
                  <a:pt x="7" y="46"/>
                </a:cubicBezTo>
                <a:cubicBezTo>
                  <a:pt x="7" y="33"/>
                  <a:pt x="18" y="23"/>
                  <a:pt x="30" y="23"/>
                </a:cubicBezTo>
                <a:cubicBezTo>
                  <a:pt x="33" y="23"/>
                  <a:pt x="33" y="23"/>
                  <a:pt x="33" y="23"/>
                </a:cubicBezTo>
                <a:cubicBezTo>
                  <a:pt x="33" y="68"/>
                  <a:pt x="33" y="68"/>
                  <a:pt x="33" y="68"/>
                </a:cubicBezTo>
                <a:lnTo>
                  <a:pt x="31" y="68"/>
                </a:lnTo>
                <a:close/>
                <a:moveTo>
                  <a:pt x="42" y="121"/>
                </a:moveTo>
                <a:cubicBezTo>
                  <a:pt x="39" y="121"/>
                  <a:pt x="39" y="121"/>
                  <a:pt x="39" y="121"/>
                </a:cubicBezTo>
                <a:cubicBezTo>
                  <a:pt x="39" y="76"/>
                  <a:pt x="39" y="76"/>
                  <a:pt x="39" y="76"/>
                </a:cubicBezTo>
                <a:cubicBezTo>
                  <a:pt x="42" y="76"/>
                  <a:pt x="42" y="76"/>
                  <a:pt x="42" y="76"/>
                </a:cubicBezTo>
                <a:cubicBezTo>
                  <a:pt x="48" y="77"/>
                  <a:pt x="54" y="80"/>
                  <a:pt x="58" y="83"/>
                </a:cubicBezTo>
                <a:cubicBezTo>
                  <a:pt x="63" y="87"/>
                  <a:pt x="65" y="92"/>
                  <a:pt x="65" y="98"/>
                </a:cubicBezTo>
                <a:cubicBezTo>
                  <a:pt x="65" y="111"/>
                  <a:pt x="55" y="121"/>
                  <a:pt x="42" y="1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Location Icon"/>
          <p:cNvSpPr>
            <a:spLocks noChangeAspect="1" noEditPoints="1"/>
          </p:cNvSpPr>
          <p:nvPr/>
        </p:nvSpPr>
        <p:spPr bwMode="auto">
          <a:xfrm>
            <a:off x="3546680" y="4220930"/>
            <a:ext cx="200806" cy="282408"/>
          </a:xfrm>
          <a:custGeom>
            <a:avLst/>
            <a:gdLst>
              <a:gd name="T0" fmla="*/ 99 w 103"/>
              <a:gd name="T1" fmla="*/ 32 h 146"/>
              <a:gd name="T2" fmla="*/ 88 w 103"/>
              <a:gd name="T3" fmla="*/ 15 h 146"/>
              <a:gd name="T4" fmla="*/ 72 w 103"/>
              <a:gd name="T5" fmla="*/ 4 h 146"/>
              <a:gd name="T6" fmla="*/ 52 w 103"/>
              <a:gd name="T7" fmla="*/ 0 h 146"/>
              <a:gd name="T8" fmla="*/ 32 w 103"/>
              <a:gd name="T9" fmla="*/ 4 h 146"/>
              <a:gd name="T10" fmla="*/ 15 w 103"/>
              <a:gd name="T11" fmla="*/ 15 h 146"/>
              <a:gd name="T12" fmla="*/ 4 w 103"/>
              <a:gd name="T13" fmla="*/ 32 h 146"/>
              <a:gd name="T14" fmla="*/ 0 w 103"/>
              <a:gd name="T15" fmla="*/ 52 h 146"/>
              <a:gd name="T16" fmla="*/ 7 w 103"/>
              <a:gd name="T17" fmla="*/ 78 h 146"/>
              <a:gd name="T18" fmla="*/ 7 w 103"/>
              <a:gd name="T19" fmla="*/ 78 h 146"/>
              <a:gd name="T20" fmla="*/ 49 w 103"/>
              <a:gd name="T21" fmla="*/ 146 h 146"/>
              <a:gd name="T22" fmla="*/ 54 w 103"/>
              <a:gd name="T23" fmla="*/ 146 h 146"/>
              <a:gd name="T24" fmla="*/ 93 w 103"/>
              <a:gd name="T25" fmla="*/ 82 h 146"/>
              <a:gd name="T26" fmla="*/ 93 w 103"/>
              <a:gd name="T27" fmla="*/ 82 h 146"/>
              <a:gd name="T28" fmla="*/ 101 w 103"/>
              <a:gd name="T29" fmla="*/ 68 h 146"/>
              <a:gd name="T30" fmla="*/ 103 w 103"/>
              <a:gd name="T31" fmla="*/ 52 h 146"/>
              <a:gd name="T32" fmla="*/ 99 w 103"/>
              <a:gd name="T33" fmla="*/ 32 h 146"/>
              <a:gd name="T34" fmla="*/ 94 w 103"/>
              <a:gd name="T35" fmla="*/ 65 h 146"/>
              <a:gd name="T36" fmla="*/ 88 w 103"/>
              <a:gd name="T37" fmla="*/ 79 h 146"/>
              <a:gd name="T38" fmla="*/ 51 w 103"/>
              <a:gd name="T39" fmla="*/ 138 h 146"/>
              <a:gd name="T40" fmla="*/ 13 w 103"/>
              <a:gd name="T41" fmla="*/ 74 h 146"/>
              <a:gd name="T42" fmla="*/ 6 w 103"/>
              <a:gd name="T43" fmla="*/ 52 h 146"/>
              <a:gd name="T44" fmla="*/ 20 w 103"/>
              <a:gd name="T45" fmla="*/ 20 h 146"/>
              <a:gd name="T46" fmla="*/ 52 w 103"/>
              <a:gd name="T47" fmla="*/ 7 h 146"/>
              <a:gd name="T48" fmla="*/ 84 w 103"/>
              <a:gd name="T49" fmla="*/ 20 h 146"/>
              <a:gd name="T50" fmla="*/ 97 w 103"/>
              <a:gd name="T51" fmla="*/ 52 h 146"/>
              <a:gd name="T52" fmla="*/ 94 w 103"/>
              <a:gd name="T53" fmla="*/ 65 h 146"/>
              <a:gd name="T54" fmla="*/ 70 w 103"/>
              <a:gd name="T55" fmla="*/ 31 h 146"/>
              <a:gd name="T56" fmla="*/ 63 w 103"/>
              <a:gd name="T57" fmla="*/ 28 h 146"/>
              <a:gd name="T58" fmla="*/ 57 w 103"/>
              <a:gd name="T59" fmla="*/ 31 h 146"/>
              <a:gd name="T60" fmla="*/ 52 w 103"/>
              <a:gd name="T61" fmla="*/ 36 h 146"/>
              <a:gd name="T62" fmla="*/ 47 w 103"/>
              <a:gd name="T63" fmla="*/ 31 h 146"/>
              <a:gd name="T64" fmla="*/ 40 w 103"/>
              <a:gd name="T65" fmla="*/ 28 h 146"/>
              <a:gd name="T66" fmla="*/ 33 w 103"/>
              <a:gd name="T67" fmla="*/ 31 h 146"/>
              <a:gd name="T68" fmla="*/ 24 w 103"/>
              <a:gd name="T69" fmla="*/ 39 h 146"/>
              <a:gd name="T70" fmla="*/ 21 w 103"/>
              <a:gd name="T71" fmla="*/ 46 h 146"/>
              <a:gd name="T72" fmla="*/ 24 w 103"/>
              <a:gd name="T73" fmla="*/ 53 h 146"/>
              <a:gd name="T74" fmla="*/ 52 w 103"/>
              <a:gd name="T75" fmla="*/ 81 h 146"/>
              <a:gd name="T76" fmla="*/ 79 w 103"/>
              <a:gd name="T77" fmla="*/ 53 h 146"/>
              <a:gd name="T78" fmla="*/ 82 w 103"/>
              <a:gd name="T79" fmla="*/ 46 h 146"/>
              <a:gd name="T80" fmla="*/ 79 w 103"/>
              <a:gd name="T81" fmla="*/ 39 h 146"/>
              <a:gd name="T82" fmla="*/ 70 w 103"/>
              <a:gd name="T83" fmla="*/ 31 h 146"/>
              <a:gd name="T84" fmla="*/ 74 w 103"/>
              <a:gd name="T85" fmla="*/ 49 h 146"/>
              <a:gd name="T86" fmla="*/ 52 w 103"/>
              <a:gd name="T87" fmla="*/ 71 h 146"/>
              <a:gd name="T88" fmla="*/ 29 w 103"/>
              <a:gd name="T89" fmla="*/ 49 h 146"/>
              <a:gd name="T90" fmla="*/ 28 w 103"/>
              <a:gd name="T91" fmla="*/ 46 h 146"/>
              <a:gd name="T92" fmla="*/ 29 w 103"/>
              <a:gd name="T93" fmla="*/ 44 h 146"/>
              <a:gd name="T94" fmla="*/ 38 w 103"/>
              <a:gd name="T95" fmla="*/ 35 h 146"/>
              <a:gd name="T96" fmla="*/ 40 w 103"/>
              <a:gd name="T97" fmla="*/ 34 h 146"/>
              <a:gd name="T98" fmla="*/ 42 w 103"/>
              <a:gd name="T99" fmla="*/ 35 h 146"/>
              <a:gd name="T100" fmla="*/ 52 w 103"/>
              <a:gd name="T101" fmla="*/ 45 h 146"/>
              <a:gd name="T102" fmla="*/ 61 w 103"/>
              <a:gd name="T103" fmla="*/ 35 h 146"/>
              <a:gd name="T104" fmla="*/ 63 w 103"/>
              <a:gd name="T105" fmla="*/ 34 h 146"/>
              <a:gd name="T106" fmla="*/ 66 w 103"/>
              <a:gd name="T107" fmla="*/ 35 h 146"/>
              <a:gd name="T108" fmla="*/ 74 w 103"/>
              <a:gd name="T109" fmla="*/ 44 h 146"/>
              <a:gd name="T110" fmla="*/ 75 w 103"/>
              <a:gd name="T111" fmla="*/ 46 h 146"/>
              <a:gd name="T112" fmla="*/ 74 w 103"/>
              <a:gd name="T113" fmla="*/ 4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 h="146">
                <a:moveTo>
                  <a:pt x="99" y="32"/>
                </a:moveTo>
                <a:cubicBezTo>
                  <a:pt x="97" y="25"/>
                  <a:pt x="93" y="20"/>
                  <a:pt x="88" y="15"/>
                </a:cubicBezTo>
                <a:cubicBezTo>
                  <a:pt x="84" y="10"/>
                  <a:pt x="78" y="7"/>
                  <a:pt x="72" y="4"/>
                </a:cubicBezTo>
                <a:cubicBezTo>
                  <a:pt x="65" y="1"/>
                  <a:pt x="59" y="0"/>
                  <a:pt x="52" y="0"/>
                </a:cubicBezTo>
                <a:cubicBezTo>
                  <a:pt x="45" y="0"/>
                  <a:pt x="38" y="1"/>
                  <a:pt x="32" y="4"/>
                </a:cubicBezTo>
                <a:cubicBezTo>
                  <a:pt x="25" y="7"/>
                  <a:pt x="20" y="10"/>
                  <a:pt x="15" y="15"/>
                </a:cubicBezTo>
                <a:cubicBezTo>
                  <a:pt x="10" y="20"/>
                  <a:pt x="7" y="25"/>
                  <a:pt x="4" y="32"/>
                </a:cubicBezTo>
                <a:cubicBezTo>
                  <a:pt x="1" y="38"/>
                  <a:pt x="0" y="45"/>
                  <a:pt x="0" y="52"/>
                </a:cubicBezTo>
                <a:cubicBezTo>
                  <a:pt x="0" y="61"/>
                  <a:pt x="2" y="70"/>
                  <a:pt x="7" y="78"/>
                </a:cubicBezTo>
                <a:cubicBezTo>
                  <a:pt x="7" y="78"/>
                  <a:pt x="7" y="78"/>
                  <a:pt x="7" y="78"/>
                </a:cubicBezTo>
                <a:cubicBezTo>
                  <a:pt x="49" y="146"/>
                  <a:pt x="49" y="146"/>
                  <a:pt x="49" y="146"/>
                </a:cubicBezTo>
                <a:cubicBezTo>
                  <a:pt x="54" y="146"/>
                  <a:pt x="54" y="146"/>
                  <a:pt x="54" y="146"/>
                </a:cubicBezTo>
                <a:cubicBezTo>
                  <a:pt x="93" y="82"/>
                  <a:pt x="93" y="82"/>
                  <a:pt x="93" y="82"/>
                </a:cubicBezTo>
                <a:cubicBezTo>
                  <a:pt x="93" y="82"/>
                  <a:pt x="93" y="82"/>
                  <a:pt x="93" y="82"/>
                </a:cubicBezTo>
                <a:cubicBezTo>
                  <a:pt x="96" y="78"/>
                  <a:pt x="99" y="73"/>
                  <a:pt x="101" y="68"/>
                </a:cubicBezTo>
                <a:cubicBezTo>
                  <a:pt x="102" y="62"/>
                  <a:pt x="103" y="57"/>
                  <a:pt x="103" y="52"/>
                </a:cubicBezTo>
                <a:cubicBezTo>
                  <a:pt x="103" y="45"/>
                  <a:pt x="102" y="38"/>
                  <a:pt x="99" y="32"/>
                </a:cubicBezTo>
                <a:moveTo>
                  <a:pt x="94" y="65"/>
                </a:moveTo>
                <a:cubicBezTo>
                  <a:pt x="93" y="70"/>
                  <a:pt x="90" y="75"/>
                  <a:pt x="88" y="79"/>
                </a:cubicBezTo>
                <a:cubicBezTo>
                  <a:pt x="51" y="138"/>
                  <a:pt x="51" y="138"/>
                  <a:pt x="51" y="138"/>
                </a:cubicBezTo>
                <a:cubicBezTo>
                  <a:pt x="13" y="74"/>
                  <a:pt x="13" y="74"/>
                  <a:pt x="13" y="74"/>
                </a:cubicBezTo>
                <a:cubicBezTo>
                  <a:pt x="9" y="67"/>
                  <a:pt x="6" y="60"/>
                  <a:pt x="6" y="52"/>
                </a:cubicBezTo>
                <a:cubicBezTo>
                  <a:pt x="6" y="40"/>
                  <a:pt x="11" y="28"/>
                  <a:pt x="20" y="20"/>
                </a:cubicBezTo>
                <a:cubicBezTo>
                  <a:pt x="28" y="11"/>
                  <a:pt x="40" y="7"/>
                  <a:pt x="52" y="7"/>
                </a:cubicBezTo>
                <a:cubicBezTo>
                  <a:pt x="64" y="7"/>
                  <a:pt x="75" y="11"/>
                  <a:pt x="84" y="20"/>
                </a:cubicBezTo>
                <a:cubicBezTo>
                  <a:pt x="92" y="28"/>
                  <a:pt x="97" y="40"/>
                  <a:pt x="97" y="52"/>
                </a:cubicBezTo>
                <a:cubicBezTo>
                  <a:pt x="97" y="56"/>
                  <a:pt x="96" y="61"/>
                  <a:pt x="94" y="65"/>
                </a:cubicBezTo>
                <a:moveTo>
                  <a:pt x="70" y="31"/>
                </a:moveTo>
                <a:cubicBezTo>
                  <a:pt x="68" y="29"/>
                  <a:pt x="66" y="28"/>
                  <a:pt x="63" y="28"/>
                </a:cubicBezTo>
                <a:cubicBezTo>
                  <a:pt x="61" y="28"/>
                  <a:pt x="58" y="29"/>
                  <a:pt x="57" y="31"/>
                </a:cubicBezTo>
                <a:cubicBezTo>
                  <a:pt x="52" y="36"/>
                  <a:pt x="52" y="36"/>
                  <a:pt x="52" y="36"/>
                </a:cubicBezTo>
                <a:cubicBezTo>
                  <a:pt x="47" y="31"/>
                  <a:pt x="47" y="31"/>
                  <a:pt x="47" y="31"/>
                </a:cubicBezTo>
                <a:cubicBezTo>
                  <a:pt x="45" y="29"/>
                  <a:pt x="42" y="28"/>
                  <a:pt x="40" y="28"/>
                </a:cubicBezTo>
                <a:cubicBezTo>
                  <a:pt x="37" y="28"/>
                  <a:pt x="35" y="29"/>
                  <a:pt x="33" y="31"/>
                </a:cubicBezTo>
                <a:cubicBezTo>
                  <a:pt x="24" y="39"/>
                  <a:pt x="24" y="39"/>
                  <a:pt x="24" y="39"/>
                </a:cubicBezTo>
                <a:cubicBezTo>
                  <a:pt x="22" y="41"/>
                  <a:pt x="21" y="44"/>
                  <a:pt x="21" y="46"/>
                </a:cubicBezTo>
                <a:cubicBezTo>
                  <a:pt x="21" y="49"/>
                  <a:pt x="22" y="51"/>
                  <a:pt x="24" y="53"/>
                </a:cubicBezTo>
                <a:cubicBezTo>
                  <a:pt x="52" y="81"/>
                  <a:pt x="52" y="81"/>
                  <a:pt x="52" y="81"/>
                </a:cubicBezTo>
                <a:cubicBezTo>
                  <a:pt x="79" y="53"/>
                  <a:pt x="79" y="53"/>
                  <a:pt x="79" y="53"/>
                </a:cubicBezTo>
                <a:cubicBezTo>
                  <a:pt x="81" y="51"/>
                  <a:pt x="82" y="49"/>
                  <a:pt x="82" y="46"/>
                </a:cubicBezTo>
                <a:cubicBezTo>
                  <a:pt x="82" y="44"/>
                  <a:pt x="81" y="41"/>
                  <a:pt x="79" y="39"/>
                </a:cubicBezTo>
                <a:lnTo>
                  <a:pt x="70" y="31"/>
                </a:lnTo>
                <a:close/>
                <a:moveTo>
                  <a:pt x="74" y="49"/>
                </a:moveTo>
                <a:cubicBezTo>
                  <a:pt x="52" y="71"/>
                  <a:pt x="52" y="71"/>
                  <a:pt x="52" y="71"/>
                </a:cubicBezTo>
                <a:cubicBezTo>
                  <a:pt x="29" y="49"/>
                  <a:pt x="29" y="49"/>
                  <a:pt x="29" y="49"/>
                </a:cubicBezTo>
                <a:cubicBezTo>
                  <a:pt x="28" y="48"/>
                  <a:pt x="28" y="47"/>
                  <a:pt x="28" y="46"/>
                </a:cubicBezTo>
                <a:cubicBezTo>
                  <a:pt x="28" y="45"/>
                  <a:pt x="28" y="45"/>
                  <a:pt x="29" y="44"/>
                </a:cubicBezTo>
                <a:cubicBezTo>
                  <a:pt x="38" y="35"/>
                  <a:pt x="38" y="35"/>
                  <a:pt x="38" y="35"/>
                </a:cubicBezTo>
                <a:cubicBezTo>
                  <a:pt x="38" y="35"/>
                  <a:pt x="39" y="34"/>
                  <a:pt x="40" y="34"/>
                </a:cubicBezTo>
                <a:cubicBezTo>
                  <a:pt x="41" y="34"/>
                  <a:pt x="41" y="35"/>
                  <a:pt x="42" y="35"/>
                </a:cubicBezTo>
                <a:cubicBezTo>
                  <a:pt x="52" y="45"/>
                  <a:pt x="52" y="45"/>
                  <a:pt x="52" y="45"/>
                </a:cubicBezTo>
                <a:cubicBezTo>
                  <a:pt x="61" y="35"/>
                  <a:pt x="61" y="35"/>
                  <a:pt x="61" y="35"/>
                </a:cubicBezTo>
                <a:cubicBezTo>
                  <a:pt x="62" y="35"/>
                  <a:pt x="63" y="34"/>
                  <a:pt x="63" y="34"/>
                </a:cubicBezTo>
                <a:cubicBezTo>
                  <a:pt x="64" y="34"/>
                  <a:pt x="65" y="35"/>
                  <a:pt x="66" y="35"/>
                </a:cubicBezTo>
                <a:cubicBezTo>
                  <a:pt x="74" y="44"/>
                  <a:pt x="74" y="44"/>
                  <a:pt x="74" y="44"/>
                </a:cubicBezTo>
                <a:cubicBezTo>
                  <a:pt x="75" y="45"/>
                  <a:pt x="75" y="45"/>
                  <a:pt x="75" y="46"/>
                </a:cubicBezTo>
                <a:cubicBezTo>
                  <a:pt x="75" y="47"/>
                  <a:pt x="75" y="48"/>
                  <a:pt x="74" y="4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Mailbox Icon"/>
          <p:cNvSpPr>
            <a:spLocks noChangeAspect="1" noEditPoints="1"/>
          </p:cNvSpPr>
          <p:nvPr/>
        </p:nvSpPr>
        <p:spPr bwMode="auto">
          <a:xfrm>
            <a:off x="5273555" y="4244292"/>
            <a:ext cx="332000" cy="238037"/>
          </a:xfrm>
          <a:custGeom>
            <a:avLst/>
            <a:gdLst>
              <a:gd name="T0" fmla="*/ 314 w 401"/>
              <a:gd name="T1" fmla="*/ 30 h 286"/>
              <a:gd name="T2" fmla="*/ 203 w 401"/>
              <a:gd name="T3" fmla="*/ 0 h 286"/>
              <a:gd name="T4" fmla="*/ 84 w 401"/>
              <a:gd name="T5" fmla="*/ 30 h 286"/>
              <a:gd name="T6" fmla="*/ 0 w 401"/>
              <a:gd name="T7" fmla="*/ 286 h 286"/>
              <a:gd name="T8" fmla="*/ 169 w 401"/>
              <a:gd name="T9" fmla="*/ 286 h 286"/>
              <a:gd name="T10" fmla="*/ 401 w 401"/>
              <a:gd name="T11" fmla="*/ 115 h 286"/>
              <a:gd name="T12" fmla="*/ 215 w 401"/>
              <a:gd name="T13" fmla="*/ 15 h 286"/>
              <a:gd name="T14" fmla="*/ 302 w 401"/>
              <a:gd name="T15" fmla="*/ 59 h 286"/>
              <a:gd name="T16" fmla="*/ 244 w 401"/>
              <a:gd name="T17" fmla="*/ 143 h 286"/>
              <a:gd name="T18" fmla="*/ 215 w 401"/>
              <a:gd name="T19" fmla="*/ 143 h 286"/>
              <a:gd name="T20" fmla="*/ 215 w 401"/>
              <a:gd name="T21" fmla="*/ 15 h 286"/>
              <a:gd name="T22" fmla="*/ 84 w 401"/>
              <a:gd name="T23" fmla="*/ 43 h 286"/>
              <a:gd name="T24" fmla="*/ 157 w 401"/>
              <a:gd name="T25" fmla="*/ 274 h 286"/>
              <a:gd name="T26" fmla="*/ 12 w 401"/>
              <a:gd name="T27" fmla="*/ 115 h 286"/>
              <a:gd name="T28" fmla="*/ 389 w 401"/>
              <a:gd name="T29" fmla="*/ 274 h 286"/>
              <a:gd name="T30" fmla="*/ 169 w 401"/>
              <a:gd name="T31" fmla="*/ 115 h 286"/>
              <a:gd name="T32" fmla="*/ 203 w 401"/>
              <a:gd name="T33" fmla="*/ 43 h 286"/>
              <a:gd name="T34" fmla="*/ 229 w 401"/>
              <a:gd name="T35" fmla="*/ 170 h 286"/>
              <a:gd name="T36" fmla="*/ 256 w 401"/>
              <a:gd name="T37" fmla="*/ 71 h 286"/>
              <a:gd name="T38" fmla="*/ 314 w 401"/>
              <a:gd name="T39" fmla="*/ 43 h 286"/>
              <a:gd name="T40" fmla="*/ 389 w 401"/>
              <a:gd name="T41" fmla="*/ 115 h 286"/>
              <a:gd name="T42" fmla="*/ 389 w 401"/>
              <a:gd name="T43" fmla="*/ 274 h 286"/>
              <a:gd name="T44" fmla="*/ 100 w 401"/>
              <a:gd name="T45" fmla="*/ 108 h 286"/>
              <a:gd name="T46" fmla="*/ 84 w 401"/>
              <a:gd name="T47" fmla="*/ 117 h 286"/>
              <a:gd name="T48" fmla="*/ 69 w 401"/>
              <a:gd name="T49" fmla="*/ 108 h 286"/>
              <a:gd name="T50" fmla="*/ 46 w 401"/>
              <a:gd name="T51" fmla="*/ 124 h 286"/>
              <a:gd name="T52" fmla="*/ 46 w 401"/>
              <a:gd name="T53" fmla="*/ 145 h 286"/>
              <a:gd name="T54" fmla="*/ 88 w 401"/>
              <a:gd name="T55" fmla="*/ 180 h 286"/>
              <a:gd name="T56" fmla="*/ 127 w 401"/>
              <a:gd name="T57" fmla="*/ 134 h 286"/>
              <a:gd name="T58" fmla="*/ 111 w 401"/>
              <a:gd name="T59" fmla="*/ 112 h 286"/>
              <a:gd name="T60" fmla="*/ 115 w 401"/>
              <a:gd name="T61" fmla="*/ 136 h 286"/>
              <a:gd name="T62" fmla="*/ 54 w 401"/>
              <a:gd name="T63" fmla="*/ 136 h 286"/>
              <a:gd name="T64" fmla="*/ 54 w 401"/>
              <a:gd name="T65" fmla="*/ 133 h 286"/>
              <a:gd name="T66" fmla="*/ 69 w 401"/>
              <a:gd name="T67" fmla="*/ 120 h 286"/>
              <a:gd name="T68" fmla="*/ 84 w 401"/>
              <a:gd name="T69" fmla="*/ 134 h 286"/>
              <a:gd name="T70" fmla="*/ 100 w 401"/>
              <a:gd name="T71" fmla="*/ 120 h 286"/>
              <a:gd name="T72" fmla="*/ 115 w 401"/>
              <a:gd name="T73" fmla="*/ 133 h 286"/>
              <a:gd name="T74" fmla="*/ 115 w 401"/>
              <a:gd name="T75" fmla="*/ 13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1" h="286">
                <a:moveTo>
                  <a:pt x="316" y="30"/>
                </a:moveTo>
                <a:cubicBezTo>
                  <a:pt x="314" y="30"/>
                  <a:pt x="314" y="30"/>
                  <a:pt x="314" y="30"/>
                </a:cubicBezTo>
                <a:cubicBezTo>
                  <a:pt x="314" y="0"/>
                  <a:pt x="314" y="0"/>
                  <a:pt x="314" y="0"/>
                </a:cubicBezTo>
                <a:cubicBezTo>
                  <a:pt x="203" y="0"/>
                  <a:pt x="203" y="0"/>
                  <a:pt x="203" y="0"/>
                </a:cubicBezTo>
                <a:cubicBezTo>
                  <a:pt x="203" y="30"/>
                  <a:pt x="203" y="30"/>
                  <a:pt x="203" y="30"/>
                </a:cubicBezTo>
                <a:cubicBezTo>
                  <a:pt x="84" y="30"/>
                  <a:pt x="84" y="30"/>
                  <a:pt x="84" y="30"/>
                </a:cubicBezTo>
                <a:cubicBezTo>
                  <a:pt x="39" y="30"/>
                  <a:pt x="0" y="67"/>
                  <a:pt x="0" y="115"/>
                </a:cubicBezTo>
                <a:cubicBezTo>
                  <a:pt x="0" y="286"/>
                  <a:pt x="0" y="286"/>
                  <a:pt x="0" y="286"/>
                </a:cubicBezTo>
                <a:cubicBezTo>
                  <a:pt x="162" y="286"/>
                  <a:pt x="162" y="286"/>
                  <a:pt x="162" y="286"/>
                </a:cubicBezTo>
                <a:cubicBezTo>
                  <a:pt x="169" y="286"/>
                  <a:pt x="169" y="286"/>
                  <a:pt x="169" y="286"/>
                </a:cubicBezTo>
                <a:cubicBezTo>
                  <a:pt x="401" y="286"/>
                  <a:pt x="401" y="286"/>
                  <a:pt x="401" y="286"/>
                </a:cubicBezTo>
                <a:cubicBezTo>
                  <a:pt x="401" y="115"/>
                  <a:pt x="401" y="115"/>
                  <a:pt x="401" y="115"/>
                </a:cubicBezTo>
                <a:cubicBezTo>
                  <a:pt x="401" y="67"/>
                  <a:pt x="364" y="30"/>
                  <a:pt x="316" y="30"/>
                </a:cubicBezTo>
                <a:moveTo>
                  <a:pt x="215" y="15"/>
                </a:moveTo>
                <a:cubicBezTo>
                  <a:pt x="302" y="15"/>
                  <a:pt x="302" y="15"/>
                  <a:pt x="302" y="15"/>
                </a:cubicBezTo>
                <a:cubicBezTo>
                  <a:pt x="302" y="59"/>
                  <a:pt x="302" y="59"/>
                  <a:pt x="302" y="59"/>
                </a:cubicBezTo>
                <a:cubicBezTo>
                  <a:pt x="244" y="59"/>
                  <a:pt x="244" y="59"/>
                  <a:pt x="244" y="59"/>
                </a:cubicBezTo>
                <a:cubicBezTo>
                  <a:pt x="244" y="143"/>
                  <a:pt x="244" y="143"/>
                  <a:pt x="244" y="143"/>
                </a:cubicBezTo>
                <a:cubicBezTo>
                  <a:pt x="244" y="150"/>
                  <a:pt x="237" y="157"/>
                  <a:pt x="229" y="157"/>
                </a:cubicBezTo>
                <a:cubicBezTo>
                  <a:pt x="222" y="157"/>
                  <a:pt x="215" y="150"/>
                  <a:pt x="215" y="143"/>
                </a:cubicBezTo>
                <a:cubicBezTo>
                  <a:pt x="215" y="15"/>
                  <a:pt x="215" y="15"/>
                  <a:pt x="215" y="15"/>
                </a:cubicBezTo>
                <a:cubicBezTo>
                  <a:pt x="215" y="15"/>
                  <a:pt x="215" y="15"/>
                  <a:pt x="215" y="15"/>
                </a:cubicBezTo>
                <a:close/>
                <a:moveTo>
                  <a:pt x="12" y="115"/>
                </a:moveTo>
                <a:cubicBezTo>
                  <a:pt x="12" y="74"/>
                  <a:pt x="46" y="43"/>
                  <a:pt x="84" y="43"/>
                </a:cubicBezTo>
                <a:cubicBezTo>
                  <a:pt x="125" y="43"/>
                  <a:pt x="157" y="74"/>
                  <a:pt x="157" y="115"/>
                </a:cubicBezTo>
                <a:cubicBezTo>
                  <a:pt x="157" y="274"/>
                  <a:pt x="157" y="274"/>
                  <a:pt x="157" y="274"/>
                </a:cubicBezTo>
                <a:cubicBezTo>
                  <a:pt x="12" y="274"/>
                  <a:pt x="12" y="274"/>
                  <a:pt x="12" y="274"/>
                </a:cubicBezTo>
                <a:cubicBezTo>
                  <a:pt x="12" y="115"/>
                  <a:pt x="12" y="115"/>
                  <a:pt x="12" y="115"/>
                </a:cubicBezTo>
                <a:cubicBezTo>
                  <a:pt x="12" y="115"/>
                  <a:pt x="12" y="115"/>
                  <a:pt x="12" y="115"/>
                </a:cubicBezTo>
                <a:close/>
                <a:moveTo>
                  <a:pt x="389" y="274"/>
                </a:moveTo>
                <a:cubicBezTo>
                  <a:pt x="169" y="274"/>
                  <a:pt x="169" y="274"/>
                  <a:pt x="169" y="274"/>
                </a:cubicBezTo>
                <a:cubicBezTo>
                  <a:pt x="169" y="115"/>
                  <a:pt x="169" y="115"/>
                  <a:pt x="169" y="115"/>
                </a:cubicBezTo>
                <a:cubicBezTo>
                  <a:pt x="169" y="85"/>
                  <a:pt x="153" y="57"/>
                  <a:pt x="129" y="43"/>
                </a:cubicBezTo>
                <a:cubicBezTo>
                  <a:pt x="203" y="43"/>
                  <a:pt x="203" y="43"/>
                  <a:pt x="203" y="43"/>
                </a:cubicBezTo>
                <a:cubicBezTo>
                  <a:pt x="203" y="143"/>
                  <a:pt x="203" y="143"/>
                  <a:pt x="203" y="143"/>
                </a:cubicBezTo>
                <a:cubicBezTo>
                  <a:pt x="203" y="157"/>
                  <a:pt x="215" y="170"/>
                  <a:pt x="229" y="170"/>
                </a:cubicBezTo>
                <a:cubicBezTo>
                  <a:pt x="244" y="170"/>
                  <a:pt x="256" y="157"/>
                  <a:pt x="256" y="143"/>
                </a:cubicBezTo>
                <a:cubicBezTo>
                  <a:pt x="256" y="71"/>
                  <a:pt x="256" y="71"/>
                  <a:pt x="256" y="71"/>
                </a:cubicBezTo>
                <a:cubicBezTo>
                  <a:pt x="314" y="71"/>
                  <a:pt x="314" y="71"/>
                  <a:pt x="314" y="71"/>
                </a:cubicBezTo>
                <a:cubicBezTo>
                  <a:pt x="314" y="43"/>
                  <a:pt x="314" y="43"/>
                  <a:pt x="314" y="43"/>
                </a:cubicBezTo>
                <a:cubicBezTo>
                  <a:pt x="316" y="43"/>
                  <a:pt x="316" y="43"/>
                  <a:pt x="316" y="43"/>
                </a:cubicBezTo>
                <a:cubicBezTo>
                  <a:pt x="357" y="43"/>
                  <a:pt x="389" y="74"/>
                  <a:pt x="389" y="115"/>
                </a:cubicBezTo>
                <a:cubicBezTo>
                  <a:pt x="389" y="274"/>
                  <a:pt x="389" y="274"/>
                  <a:pt x="389" y="274"/>
                </a:cubicBezTo>
                <a:cubicBezTo>
                  <a:pt x="389" y="274"/>
                  <a:pt x="389" y="274"/>
                  <a:pt x="389" y="274"/>
                </a:cubicBezTo>
                <a:close/>
                <a:moveTo>
                  <a:pt x="111" y="112"/>
                </a:moveTo>
                <a:cubicBezTo>
                  <a:pt x="109" y="108"/>
                  <a:pt x="104" y="108"/>
                  <a:pt x="100" y="108"/>
                </a:cubicBezTo>
                <a:cubicBezTo>
                  <a:pt x="97" y="108"/>
                  <a:pt x="93" y="108"/>
                  <a:pt x="90" y="112"/>
                </a:cubicBezTo>
                <a:cubicBezTo>
                  <a:pt x="84" y="117"/>
                  <a:pt x="84" y="117"/>
                  <a:pt x="84" y="117"/>
                </a:cubicBezTo>
                <a:cubicBezTo>
                  <a:pt x="79" y="112"/>
                  <a:pt x="79" y="112"/>
                  <a:pt x="79" y="112"/>
                </a:cubicBezTo>
                <a:cubicBezTo>
                  <a:pt x="76" y="108"/>
                  <a:pt x="72" y="108"/>
                  <a:pt x="69" y="108"/>
                </a:cubicBezTo>
                <a:cubicBezTo>
                  <a:pt x="65" y="108"/>
                  <a:pt x="61" y="108"/>
                  <a:pt x="58" y="112"/>
                </a:cubicBezTo>
                <a:cubicBezTo>
                  <a:pt x="46" y="124"/>
                  <a:pt x="46" y="124"/>
                  <a:pt x="46" y="124"/>
                </a:cubicBezTo>
                <a:cubicBezTo>
                  <a:pt x="44" y="126"/>
                  <a:pt x="42" y="129"/>
                  <a:pt x="42" y="134"/>
                </a:cubicBezTo>
                <a:cubicBezTo>
                  <a:pt x="42" y="138"/>
                  <a:pt x="44" y="141"/>
                  <a:pt x="46" y="145"/>
                </a:cubicBezTo>
                <a:cubicBezTo>
                  <a:pt x="83" y="180"/>
                  <a:pt x="83" y="180"/>
                  <a:pt x="83" y="180"/>
                </a:cubicBezTo>
                <a:cubicBezTo>
                  <a:pt x="88" y="180"/>
                  <a:pt x="88" y="180"/>
                  <a:pt x="88" y="180"/>
                </a:cubicBezTo>
                <a:cubicBezTo>
                  <a:pt x="123" y="145"/>
                  <a:pt x="123" y="145"/>
                  <a:pt x="123" y="145"/>
                </a:cubicBezTo>
                <a:cubicBezTo>
                  <a:pt x="125" y="141"/>
                  <a:pt x="127" y="138"/>
                  <a:pt x="127" y="134"/>
                </a:cubicBezTo>
                <a:cubicBezTo>
                  <a:pt x="127" y="129"/>
                  <a:pt x="125" y="126"/>
                  <a:pt x="123" y="124"/>
                </a:cubicBezTo>
                <a:cubicBezTo>
                  <a:pt x="111" y="112"/>
                  <a:pt x="111" y="112"/>
                  <a:pt x="111" y="112"/>
                </a:cubicBezTo>
                <a:cubicBezTo>
                  <a:pt x="111" y="112"/>
                  <a:pt x="111" y="112"/>
                  <a:pt x="111" y="112"/>
                </a:cubicBezTo>
                <a:close/>
                <a:moveTo>
                  <a:pt x="115" y="136"/>
                </a:moveTo>
                <a:cubicBezTo>
                  <a:pt x="84" y="164"/>
                  <a:pt x="84" y="164"/>
                  <a:pt x="84" y="164"/>
                </a:cubicBezTo>
                <a:cubicBezTo>
                  <a:pt x="54" y="136"/>
                  <a:pt x="54" y="136"/>
                  <a:pt x="54" y="136"/>
                </a:cubicBezTo>
                <a:cubicBezTo>
                  <a:pt x="54" y="134"/>
                  <a:pt x="54" y="134"/>
                  <a:pt x="54" y="134"/>
                </a:cubicBezTo>
                <a:cubicBezTo>
                  <a:pt x="54" y="133"/>
                  <a:pt x="54" y="133"/>
                  <a:pt x="54" y="133"/>
                </a:cubicBezTo>
                <a:cubicBezTo>
                  <a:pt x="67" y="120"/>
                  <a:pt x="67" y="120"/>
                  <a:pt x="67" y="120"/>
                </a:cubicBezTo>
                <a:cubicBezTo>
                  <a:pt x="69" y="120"/>
                  <a:pt x="69" y="120"/>
                  <a:pt x="69" y="120"/>
                </a:cubicBezTo>
                <a:cubicBezTo>
                  <a:pt x="70" y="120"/>
                  <a:pt x="70" y="120"/>
                  <a:pt x="70" y="120"/>
                </a:cubicBezTo>
                <a:cubicBezTo>
                  <a:pt x="84" y="134"/>
                  <a:pt x="84" y="134"/>
                  <a:pt x="84" y="134"/>
                </a:cubicBezTo>
                <a:cubicBezTo>
                  <a:pt x="99" y="120"/>
                  <a:pt x="99" y="120"/>
                  <a:pt x="99" y="120"/>
                </a:cubicBezTo>
                <a:cubicBezTo>
                  <a:pt x="100" y="120"/>
                  <a:pt x="100" y="120"/>
                  <a:pt x="100" y="120"/>
                </a:cubicBezTo>
                <a:cubicBezTo>
                  <a:pt x="102" y="120"/>
                  <a:pt x="102" y="120"/>
                  <a:pt x="102" y="120"/>
                </a:cubicBezTo>
                <a:cubicBezTo>
                  <a:pt x="115" y="133"/>
                  <a:pt x="115" y="133"/>
                  <a:pt x="115" y="133"/>
                </a:cubicBezTo>
                <a:cubicBezTo>
                  <a:pt x="115" y="133"/>
                  <a:pt x="115" y="133"/>
                  <a:pt x="115" y="134"/>
                </a:cubicBezTo>
                <a:cubicBezTo>
                  <a:pt x="115" y="134"/>
                  <a:pt x="115" y="134"/>
                  <a:pt x="115" y="1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Smartphone Text Icon"/>
          <p:cNvSpPr>
            <a:spLocks noChangeAspect="1" noEditPoints="1"/>
          </p:cNvSpPr>
          <p:nvPr/>
        </p:nvSpPr>
        <p:spPr bwMode="auto">
          <a:xfrm>
            <a:off x="10568534" y="4198265"/>
            <a:ext cx="427652" cy="334195"/>
          </a:xfrm>
          <a:custGeom>
            <a:avLst/>
            <a:gdLst>
              <a:gd name="T0" fmla="*/ 141 w 367"/>
              <a:gd name="T1" fmla="*/ 0 h 286"/>
              <a:gd name="T2" fmla="*/ 7 w 367"/>
              <a:gd name="T3" fmla="*/ 9 h 286"/>
              <a:gd name="T4" fmla="*/ 0 w 367"/>
              <a:gd name="T5" fmla="*/ 28 h 286"/>
              <a:gd name="T6" fmla="*/ 7 w 367"/>
              <a:gd name="T7" fmla="*/ 277 h 286"/>
              <a:gd name="T8" fmla="*/ 143 w 367"/>
              <a:gd name="T9" fmla="*/ 286 h 286"/>
              <a:gd name="T10" fmla="*/ 169 w 367"/>
              <a:gd name="T11" fmla="*/ 260 h 286"/>
              <a:gd name="T12" fmla="*/ 169 w 367"/>
              <a:gd name="T13" fmla="*/ 28 h 286"/>
              <a:gd name="T14" fmla="*/ 155 w 367"/>
              <a:gd name="T15" fmla="*/ 260 h 286"/>
              <a:gd name="T16" fmla="*/ 143 w 367"/>
              <a:gd name="T17" fmla="*/ 274 h 286"/>
              <a:gd name="T18" fmla="*/ 16 w 367"/>
              <a:gd name="T19" fmla="*/ 269 h 286"/>
              <a:gd name="T20" fmla="*/ 12 w 367"/>
              <a:gd name="T21" fmla="*/ 28 h 286"/>
              <a:gd name="T22" fmla="*/ 16 w 367"/>
              <a:gd name="T23" fmla="*/ 18 h 286"/>
              <a:gd name="T24" fmla="*/ 141 w 367"/>
              <a:gd name="T25" fmla="*/ 14 h 286"/>
              <a:gd name="T26" fmla="*/ 155 w 367"/>
              <a:gd name="T27" fmla="*/ 27 h 286"/>
              <a:gd name="T28" fmla="*/ 155 w 367"/>
              <a:gd name="T29" fmla="*/ 260 h 286"/>
              <a:gd name="T30" fmla="*/ 84 w 367"/>
              <a:gd name="T31" fmla="*/ 226 h 286"/>
              <a:gd name="T32" fmla="*/ 84 w 367"/>
              <a:gd name="T33" fmla="*/ 267 h 286"/>
              <a:gd name="T34" fmla="*/ 84 w 367"/>
              <a:gd name="T35" fmla="*/ 226 h 286"/>
              <a:gd name="T36" fmla="*/ 76 w 367"/>
              <a:gd name="T37" fmla="*/ 247 h 286"/>
              <a:gd name="T38" fmla="*/ 93 w 367"/>
              <a:gd name="T39" fmla="*/ 247 h 286"/>
              <a:gd name="T40" fmla="*/ 23 w 367"/>
              <a:gd name="T41" fmla="*/ 219 h 286"/>
              <a:gd name="T42" fmla="*/ 144 w 367"/>
              <a:gd name="T43" fmla="*/ 27 h 286"/>
              <a:gd name="T44" fmla="*/ 23 w 367"/>
              <a:gd name="T45" fmla="*/ 219 h 286"/>
              <a:gd name="T46" fmla="*/ 35 w 367"/>
              <a:gd name="T47" fmla="*/ 39 h 286"/>
              <a:gd name="T48" fmla="*/ 132 w 367"/>
              <a:gd name="T49" fmla="*/ 207 h 286"/>
              <a:gd name="T50" fmla="*/ 35 w 367"/>
              <a:gd name="T51" fmla="*/ 39 h 286"/>
              <a:gd name="T52" fmla="*/ 236 w 367"/>
              <a:gd name="T53" fmla="*/ 43 h 286"/>
              <a:gd name="T54" fmla="*/ 326 w 367"/>
              <a:gd name="T55" fmla="*/ 55 h 286"/>
              <a:gd name="T56" fmla="*/ 236 w 367"/>
              <a:gd name="T57" fmla="*/ 43 h 286"/>
              <a:gd name="T58" fmla="*/ 236 w 367"/>
              <a:gd name="T59" fmla="*/ 80 h 286"/>
              <a:gd name="T60" fmla="*/ 326 w 367"/>
              <a:gd name="T61" fmla="*/ 92 h 286"/>
              <a:gd name="T62" fmla="*/ 236 w 367"/>
              <a:gd name="T63" fmla="*/ 80 h 286"/>
              <a:gd name="T64" fmla="*/ 236 w 367"/>
              <a:gd name="T65" fmla="*/ 120 h 286"/>
              <a:gd name="T66" fmla="*/ 282 w 367"/>
              <a:gd name="T67" fmla="*/ 133 h 286"/>
              <a:gd name="T68" fmla="*/ 236 w 367"/>
              <a:gd name="T69" fmla="*/ 120 h 286"/>
              <a:gd name="T70" fmla="*/ 338 w 367"/>
              <a:gd name="T71" fmla="*/ 0 h 286"/>
              <a:gd name="T72" fmla="*/ 197 w 367"/>
              <a:gd name="T73" fmla="*/ 28 h 286"/>
              <a:gd name="T74" fmla="*/ 203 w 367"/>
              <a:gd name="T75" fmla="*/ 216 h 286"/>
              <a:gd name="T76" fmla="*/ 338 w 367"/>
              <a:gd name="T77" fmla="*/ 175 h 286"/>
              <a:gd name="T78" fmla="*/ 367 w 367"/>
              <a:gd name="T79" fmla="*/ 28 h 286"/>
              <a:gd name="T80" fmla="*/ 352 w 367"/>
              <a:gd name="T81" fmla="*/ 149 h 286"/>
              <a:gd name="T82" fmla="*/ 238 w 367"/>
              <a:gd name="T83" fmla="*/ 163 h 286"/>
              <a:gd name="T84" fmla="*/ 210 w 367"/>
              <a:gd name="T85" fmla="*/ 203 h 286"/>
              <a:gd name="T86" fmla="*/ 224 w 367"/>
              <a:gd name="T87" fmla="*/ 14 h 286"/>
              <a:gd name="T88" fmla="*/ 352 w 367"/>
              <a:gd name="T89" fmla="*/ 28 h 286"/>
              <a:gd name="T90" fmla="*/ 352 w 367"/>
              <a:gd name="T91" fmla="*/ 1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7" h="286">
                <a:moveTo>
                  <a:pt x="160" y="9"/>
                </a:moveTo>
                <a:cubicBezTo>
                  <a:pt x="155" y="4"/>
                  <a:pt x="150" y="0"/>
                  <a:pt x="141" y="0"/>
                </a:cubicBezTo>
                <a:cubicBezTo>
                  <a:pt x="26" y="0"/>
                  <a:pt x="26" y="0"/>
                  <a:pt x="26" y="0"/>
                </a:cubicBezTo>
                <a:cubicBezTo>
                  <a:pt x="17" y="0"/>
                  <a:pt x="12" y="4"/>
                  <a:pt x="7" y="9"/>
                </a:cubicBezTo>
                <a:cubicBezTo>
                  <a:pt x="2" y="14"/>
                  <a:pt x="0" y="20"/>
                  <a:pt x="0" y="27"/>
                </a:cubicBezTo>
                <a:cubicBezTo>
                  <a:pt x="0" y="27"/>
                  <a:pt x="0" y="27"/>
                  <a:pt x="0" y="28"/>
                </a:cubicBezTo>
                <a:cubicBezTo>
                  <a:pt x="0" y="260"/>
                  <a:pt x="0" y="260"/>
                  <a:pt x="0" y="260"/>
                </a:cubicBezTo>
                <a:cubicBezTo>
                  <a:pt x="0" y="267"/>
                  <a:pt x="2" y="272"/>
                  <a:pt x="7" y="277"/>
                </a:cubicBezTo>
                <a:cubicBezTo>
                  <a:pt x="12" y="283"/>
                  <a:pt x="19" y="286"/>
                  <a:pt x="26" y="286"/>
                </a:cubicBezTo>
                <a:cubicBezTo>
                  <a:pt x="143" y="286"/>
                  <a:pt x="143" y="286"/>
                  <a:pt x="143" y="286"/>
                </a:cubicBezTo>
                <a:cubicBezTo>
                  <a:pt x="150" y="286"/>
                  <a:pt x="157" y="283"/>
                  <a:pt x="160" y="277"/>
                </a:cubicBezTo>
                <a:cubicBezTo>
                  <a:pt x="166" y="272"/>
                  <a:pt x="169" y="267"/>
                  <a:pt x="169" y="260"/>
                </a:cubicBezTo>
                <a:cubicBezTo>
                  <a:pt x="169" y="28"/>
                  <a:pt x="169" y="28"/>
                  <a:pt x="169" y="28"/>
                </a:cubicBezTo>
                <a:cubicBezTo>
                  <a:pt x="169" y="28"/>
                  <a:pt x="169" y="28"/>
                  <a:pt x="169" y="28"/>
                </a:cubicBezTo>
                <a:cubicBezTo>
                  <a:pt x="169" y="21"/>
                  <a:pt x="166" y="14"/>
                  <a:pt x="160" y="9"/>
                </a:cubicBezTo>
                <a:moveTo>
                  <a:pt x="155" y="260"/>
                </a:moveTo>
                <a:cubicBezTo>
                  <a:pt x="155" y="263"/>
                  <a:pt x="155" y="267"/>
                  <a:pt x="151" y="269"/>
                </a:cubicBezTo>
                <a:cubicBezTo>
                  <a:pt x="150" y="272"/>
                  <a:pt x="146" y="274"/>
                  <a:pt x="143" y="274"/>
                </a:cubicBezTo>
                <a:cubicBezTo>
                  <a:pt x="26" y="274"/>
                  <a:pt x="26" y="274"/>
                  <a:pt x="26" y="274"/>
                </a:cubicBezTo>
                <a:cubicBezTo>
                  <a:pt x="23" y="274"/>
                  <a:pt x="19" y="272"/>
                  <a:pt x="16" y="269"/>
                </a:cubicBezTo>
                <a:cubicBezTo>
                  <a:pt x="14" y="267"/>
                  <a:pt x="12" y="263"/>
                  <a:pt x="12" y="260"/>
                </a:cubicBezTo>
                <a:cubicBezTo>
                  <a:pt x="12" y="28"/>
                  <a:pt x="12" y="28"/>
                  <a:pt x="12" y="28"/>
                </a:cubicBezTo>
                <a:cubicBezTo>
                  <a:pt x="12" y="28"/>
                  <a:pt x="12" y="28"/>
                  <a:pt x="12" y="28"/>
                </a:cubicBezTo>
                <a:cubicBezTo>
                  <a:pt x="12" y="23"/>
                  <a:pt x="14" y="20"/>
                  <a:pt x="16" y="18"/>
                </a:cubicBezTo>
                <a:cubicBezTo>
                  <a:pt x="19" y="14"/>
                  <a:pt x="21" y="14"/>
                  <a:pt x="26" y="14"/>
                </a:cubicBezTo>
                <a:cubicBezTo>
                  <a:pt x="141" y="14"/>
                  <a:pt x="141" y="14"/>
                  <a:pt x="141" y="14"/>
                </a:cubicBezTo>
                <a:cubicBezTo>
                  <a:pt x="146" y="14"/>
                  <a:pt x="150" y="14"/>
                  <a:pt x="151" y="18"/>
                </a:cubicBezTo>
                <a:cubicBezTo>
                  <a:pt x="153" y="20"/>
                  <a:pt x="155" y="23"/>
                  <a:pt x="155" y="27"/>
                </a:cubicBezTo>
                <a:cubicBezTo>
                  <a:pt x="155" y="28"/>
                  <a:pt x="155" y="28"/>
                  <a:pt x="155" y="28"/>
                </a:cubicBezTo>
                <a:cubicBezTo>
                  <a:pt x="155" y="260"/>
                  <a:pt x="155" y="260"/>
                  <a:pt x="155" y="260"/>
                </a:cubicBezTo>
                <a:cubicBezTo>
                  <a:pt x="155" y="260"/>
                  <a:pt x="155" y="260"/>
                  <a:pt x="155" y="260"/>
                </a:cubicBezTo>
                <a:close/>
                <a:moveTo>
                  <a:pt x="84" y="226"/>
                </a:moveTo>
                <a:cubicBezTo>
                  <a:pt x="72" y="226"/>
                  <a:pt x="63" y="235"/>
                  <a:pt x="63" y="247"/>
                </a:cubicBezTo>
                <a:cubicBezTo>
                  <a:pt x="63" y="258"/>
                  <a:pt x="72" y="267"/>
                  <a:pt x="84" y="267"/>
                </a:cubicBezTo>
                <a:cubicBezTo>
                  <a:pt x="95" y="267"/>
                  <a:pt x="104" y="258"/>
                  <a:pt x="104" y="247"/>
                </a:cubicBezTo>
                <a:cubicBezTo>
                  <a:pt x="104" y="235"/>
                  <a:pt x="95" y="226"/>
                  <a:pt x="84" y="226"/>
                </a:cubicBezTo>
                <a:moveTo>
                  <a:pt x="84" y="256"/>
                </a:moveTo>
                <a:cubicBezTo>
                  <a:pt x="79" y="256"/>
                  <a:pt x="76" y="251"/>
                  <a:pt x="76" y="247"/>
                </a:cubicBezTo>
                <a:cubicBezTo>
                  <a:pt x="76" y="242"/>
                  <a:pt x="79" y="239"/>
                  <a:pt x="84" y="239"/>
                </a:cubicBezTo>
                <a:cubicBezTo>
                  <a:pt x="88" y="239"/>
                  <a:pt x="93" y="242"/>
                  <a:pt x="93" y="247"/>
                </a:cubicBezTo>
                <a:cubicBezTo>
                  <a:pt x="93" y="251"/>
                  <a:pt x="88" y="256"/>
                  <a:pt x="84" y="256"/>
                </a:cubicBezTo>
                <a:moveTo>
                  <a:pt x="23" y="219"/>
                </a:moveTo>
                <a:cubicBezTo>
                  <a:pt x="144" y="219"/>
                  <a:pt x="144" y="219"/>
                  <a:pt x="144" y="219"/>
                </a:cubicBezTo>
                <a:cubicBezTo>
                  <a:pt x="144" y="27"/>
                  <a:pt x="144" y="27"/>
                  <a:pt x="144" y="27"/>
                </a:cubicBezTo>
                <a:cubicBezTo>
                  <a:pt x="23" y="27"/>
                  <a:pt x="23" y="27"/>
                  <a:pt x="23" y="27"/>
                </a:cubicBezTo>
                <a:cubicBezTo>
                  <a:pt x="23" y="219"/>
                  <a:pt x="23" y="219"/>
                  <a:pt x="23" y="219"/>
                </a:cubicBezTo>
                <a:cubicBezTo>
                  <a:pt x="23" y="219"/>
                  <a:pt x="23" y="219"/>
                  <a:pt x="23" y="219"/>
                </a:cubicBezTo>
                <a:close/>
                <a:moveTo>
                  <a:pt x="35" y="39"/>
                </a:moveTo>
                <a:cubicBezTo>
                  <a:pt x="132" y="39"/>
                  <a:pt x="132" y="39"/>
                  <a:pt x="132" y="39"/>
                </a:cubicBezTo>
                <a:cubicBezTo>
                  <a:pt x="132" y="207"/>
                  <a:pt x="132" y="207"/>
                  <a:pt x="132" y="207"/>
                </a:cubicBezTo>
                <a:cubicBezTo>
                  <a:pt x="35" y="207"/>
                  <a:pt x="35" y="207"/>
                  <a:pt x="35" y="207"/>
                </a:cubicBezTo>
                <a:cubicBezTo>
                  <a:pt x="35" y="39"/>
                  <a:pt x="35" y="39"/>
                  <a:pt x="35" y="39"/>
                </a:cubicBezTo>
                <a:cubicBezTo>
                  <a:pt x="35" y="39"/>
                  <a:pt x="35" y="39"/>
                  <a:pt x="35" y="39"/>
                </a:cubicBezTo>
                <a:close/>
                <a:moveTo>
                  <a:pt x="236" y="43"/>
                </a:moveTo>
                <a:cubicBezTo>
                  <a:pt x="326" y="43"/>
                  <a:pt x="326" y="43"/>
                  <a:pt x="326" y="43"/>
                </a:cubicBezTo>
                <a:cubicBezTo>
                  <a:pt x="326" y="55"/>
                  <a:pt x="326" y="55"/>
                  <a:pt x="326" y="55"/>
                </a:cubicBezTo>
                <a:cubicBezTo>
                  <a:pt x="236" y="55"/>
                  <a:pt x="236" y="55"/>
                  <a:pt x="236" y="55"/>
                </a:cubicBezTo>
                <a:cubicBezTo>
                  <a:pt x="236" y="43"/>
                  <a:pt x="236" y="43"/>
                  <a:pt x="236" y="43"/>
                </a:cubicBezTo>
                <a:cubicBezTo>
                  <a:pt x="236" y="43"/>
                  <a:pt x="236" y="43"/>
                  <a:pt x="236" y="43"/>
                </a:cubicBezTo>
                <a:close/>
                <a:moveTo>
                  <a:pt x="236" y="80"/>
                </a:moveTo>
                <a:cubicBezTo>
                  <a:pt x="326" y="80"/>
                  <a:pt x="326" y="80"/>
                  <a:pt x="326" y="80"/>
                </a:cubicBezTo>
                <a:cubicBezTo>
                  <a:pt x="326" y="92"/>
                  <a:pt x="326" y="92"/>
                  <a:pt x="326" y="92"/>
                </a:cubicBezTo>
                <a:cubicBezTo>
                  <a:pt x="236" y="92"/>
                  <a:pt x="236" y="92"/>
                  <a:pt x="236" y="92"/>
                </a:cubicBezTo>
                <a:cubicBezTo>
                  <a:pt x="236" y="80"/>
                  <a:pt x="236" y="80"/>
                  <a:pt x="236" y="80"/>
                </a:cubicBezTo>
                <a:cubicBezTo>
                  <a:pt x="236" y="80"/>
                  <a:pt x="236" y="80"/>
                  <a:pt x="236" y="80"/>
                </a:cubicBezTo>
                <a:close/>
                <a:moveTo>
                  <a:pt x="236" y="120"/>
                </a:moveTo>
                <a:cubicBezTo>
                  <a:pt x="282" y="120"/>
                  <a:pt x="282" y="120"/>
                  <a:pt x="282" y="120"/>
                </a:cubicBezTo>
                <a:cubicBezTo>
                  <a:pt x="282" y="133"/>
                  <a:pt x="282" y="133"/>
                  <a:pt x="282" y="133"/>
                </a:cubicBezTo>
                <a:cubicBezTo>
                  <a:pt x="236" y="133"/>
                  <a:pt x="236" y="133"/>
                  <a:pt x="236" y="133"/>
                </a:cubicBezTo>
                <a:cubicBezTo>
                  <a:pt x="236" y="120"/>
                  <a:pt x="236" y="120"/>
                  <a:pt x="236" y="120"/>
                </a:cubicBezTo>
                <a:cubicBezTo>
                  <a:pt x="236" y="120"/>
                  <a:pt x="236" y="120"/>
                  <a:pt x="236" y="120"/>
                </a:cubicBezTo>
                <a:close/>
                <a:moveTo>
                  <a:pt x="338" y="0"/>
                </a:moveTo>
                <a:cubicBezTo>
                  <a:pt x="224" y="0"/>
                  <a:pt x="224" y="0"/>
                  <a:pt x="224" y="0"/>
                </a:cubicBezTo>
                <a:cubicBezTo>
                  <a:pt x="208" y="0"/>
                  <a:pt x="197" y="13"/>
                  <a:pt x="197" y="28"/>
                </a:cubicBezTo>
                <a:cubicBezTo>
                  <a:pt x="197" y="216"/>
                  <a:pt x="197" y="216"/>
                  <a:pt x="197" y="216"/>
                </a:cubicBezTo>
                <a:cubicBezTo>
                  <a:pt x="203" y="216"/>
                  <a:pt x="203" y="216"/>
                  <a:pt x="203" y="216"/>
                </a:cubicBezTo>
                <a:cubicBezTo>
                  <a:pt x="227" y="216"/>
                  <a:pt x="247" y="198"/>
                  <a:pt x="250" y="175"/>
                </a:cubicBezTo>
                <a:cubicBezTo>
                  <a:pt x="338" y="175"/>
                  <a:pt x="338" y="175"/>
                  <a:pt x="338" y="175"/>
                </a:cubicBezTo>
                <a:cubicBezTo>
                  <a:pt x="354" y="175"/>
                  <a:pt x="367" y="163"/>
                  <a:pt x="367" y="149"/>
                </a:cubicBezTo>
                <a:cubicBezTo>
                  <a:pt x="367" y="28"/>
                  <a:pt x="367" y="28"/>
                  <a:pt x="367" y="28"/>
                </a:cubicBezTo>
                <a:cubicBezTo>
                  <a:pt x="367" y="13"/>
                  <a:pt x="354" y="0"/>
                  <a:pt x="338" y="0"/>
                </a:cubicBezTo>
                <a:moveTo>
                  <a:pt x="352" y="149"/>
                </a:moveTo>
                <a:cubicBezTo>
                  <a:pt x="352" y="156"/>
                  <a:pt x="347" y="163"/>
                  <a:pt x="338" y="163"/>
                </a:cubicBezTo>
                <a:cubicBezTo>
                  <a:pt x="238" y="163"/>
                  <a:pt x="238" y="163"/>
                  <a:pt x="238" y="163"/>
                </a:cubicBezTo>
                <a:cubicBezTo>
                  <a:pt x="238" y="168"/>
                  <a:pt x="238" y="168"/>
                  <a:pt x="238" y="168"/>
                </a:cubicBezTo>
                <a:cubicBezTo>
                  <a:pt x="238" y="186"/>
                  <a:pt x="226" y="200"/>
                  <a:pt x="210" y="203"/>
                </a:cubicBezTo>
                <a:cubicBezTo>
                  <a:pt x="210" y="28"/>
                  <a:pt x="210" y="28"/>
                  <a:pt x="210" y="28"/>
                </a:cubicBezTo>
                <a:cubicBezTo>
                  <a:pt x="210" y="20"/>
                  <a:pt x="215" y="14"/>
                  <a:pt x="224" y="14"/>
                </a:cubicBezTo>
                <a:cubicBezTo>
                  <a:pt x="338" y="14"/>
                  <a:pt x="338" y="14"/>
                  <a:pt x="338" y="14"/>
                </a:cubicBezTo>
                <a:cubicBezTo>
                  <a:pt x="347" y="14"/>
                  <a:pt x="352" y="20"/>
                  <a:pt x="352" y="28"/>
                </a:cubicBezTo>
                <a:cubicBezTo>
                  <a:pt x="352" y="149"/>
                  <a:pt x="352" y="149"/>
                  <a:pt x="352" y="149"/>
                </a:cubicBezTo>
                <a:cubicBezTo>
                  <a:pt x="352" y="149"/>
                  <a:pt x="352" y="149"/>
                  <a:pt x="352" y="1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Scrip Bottle Icon"/>
          <p:cNvSpPr>
            <a:spLocks noChangeAspect="1" noEditPoints="1"/>
          </p:cNvSpPr>
          <p:nvPr/>
        </p:nvSpPr>
        <p:spPr bwMode="auto">
          <a:xfrm>
            <a:off x="6913925" y="4202775"/>
            <a:ext cx="220948" cy="300281"/>
          </a:xfrm>
          <a:custGeom>
            <a:avLst/>
            <a:gdLst>
              <a:gd name="T0" fmla="*/ 106 w 106"/>
              <a:gd name="T1" fmla="*/ 11 h 144"/>
              <a:gd name="T2" fmla="*/ 96 w 106"/>
              <a:gd name="T3" fmla="*/ 0 h 144"/>
              <a:gd name="T4" fmla="*/ 10 w 106"/>
              <a:gd name="T5" fmla="*/ 11 h 144"/>
              <a:gd name="T6" fmla="*/ 0 w 106"/>
              <a:gd name="T7" fmla="*/ 32 h 144"/>
              <a:gd name="T8" fmla="*/ 10 w 106"/>
              <a:gd name="T9" fmla="*/ 130 h 144"/>
              <a:gd name="T10" fmla="*/ 24 w 106"/>
              <a:gd name="T11" fmla="*/ 144 h 144"/>
              <a:gd name="T12" fmla="*/ 92 w 106"/>
              <a:gd name="T13" fmla="*/ 140 h 144"/>
              <a:gd name="T14" fmla="*/ 96 w 106"/>
              <a:gd name="T15" fmla="*/ 127 h 144"/>
              <a:gd name="T16" fmla="*/ 96 w 106"/>
              <a:gd name="T17" fmla="*/ 121 h 144"/>
              <a:gd name="T18" fmla="*/ 96 w 106"/>
              <a:gd name="T19" fmla="*/ 49 h 144"/>
              <a:gd name="T20" fmla="*/ 96 w 106"/>
              <a:gd name="T21" fmla="*/ 43 h 144"/>
              <a:gd name="T22" fmla="*/ 96 w 106"/>
              <a:gd name="T23" fmla="*/ 32 h 144"/>
              <a:gd name="T24" fmla="*/ 7 w 106"/>
              <a:gd name="T25" fmla="*/ 26 h 144"/>
              <a:gd name="T26" fmla="*/ 17 w 106"/>
              <a:gd name="T27" fmla="*/ 17 h 144"/>
              <a:gd name="T28" fmla="*/ 28 w 106"/>
              <a:gd name="T29" fmla="*/ 6 h 144"/>
              <a:gd name="T30" fmla="*/ 34 w 106"/>
              <a:gd name="T31" fmla="*/ 17 h 144"/>
              <a:gd name="T32" fmla="*/ 50 w 106"/>
              <a:gd name="T33" fmla="*/ 6 h 144"/>
              <a:gd name="T34" fmla="*/ 56 w 106"/>
              <a:gd name="T35" fmla="*/ 17 h 144"/>
              <a:gd name="T36" fmla="*/ 72 w 106"/>
              <a:gd name="T37" fmla="*/ 6 h 144"/>
              <a:gd name="T38" fmla="*/ 78 w 106"/>
              <a:gd name="T39" fmla="*/ 17 h 144"/>
              <a:gd name="T40" fmla="*/ 89 w 106"/>
              <a:gd name="T41" fmla="*/ 6 h 144"/>
              <a:gd name="T42" fmla="*/ 99 w 106"/>
              <a:gd name="T43" fmla="*/ 17 h 144"/>
              <a:gd name="T44" fmla="*/ 7 w 106"/>
              <a:gd name="T45" fmla="*/ 26 h 144"/>
              <a:gd name="T46" fmla="*/ 42 w 106"/>
              <a:gd name="T47" fmla="*/ 121 h 144"/>
              <a:gd name="T48" fmla="*/ 35 w 106"/>
              <a:gd name="T49" fmla="*/ 56 h 144"/>
              <a:gd name="T50" fmla="*/ 89 w 106"/>
              <a:gd name="T51" fmla="*/ 49 h 144"/>
              <a:gd name="T52" fmla="*/ 42 w 106"/>
              <a:gd name="T53" fmla="*/ 43 h 144"/>
              <a:gd name="T54" fmla="*/ 28 w 106"/>
              <a:gd name="T55" fmla="*/ 113 h 144"/>
              <a:gd name="T56" fmla="*/ 89 w 106"/>
              <a:gd name="T57" fmla="*/ 127 h 144"/>
              <a:gd name="T58" fmla="*/ 87 w 106"/>
              <a:gd name="T59" fmla="*/ 136 h 144"/>
              <a:gd name="T60" fmla="*/ 24 w 106"/>
              <a:gd name="T61" fmla="*/ 138 h 144"/>
              <a:gd name="T62" fmla="*/ 17 w 106"/>
              <a:gd name="T63" fmla="*/ 130 h 144"/>
              <a:gd name="T64" fmla="*/ 89 w 106"/>
              <a:gd name="T65" fmla="*/ 32 h 144"/>
              <a:gd name="T66" fmla="*/ 42 w 106"/>
              <a:gd name="T67" fmla="*/ 43 h 144"/>
              <a:gd name="T68" fmla="*/ 79 w 106"/>
              <a:gd name="T69" fmla="*/ 86 h 144"/>
              <a:gd name="T70" fmla="*/ 62 w 106"/>
              <a:gd name="T71" fmla="*/ 85 h 144"/>
              <a:gd name="T72" fmla="*/ 56 w 106"/>
              <a:gd name="T73" fmla="*/ 59 h 144"/>
              <a:gd name="T74" fmla="*/ 43 w 106"/>
              <a:gd name="T75" fmla="*/ 98 h 144"/>
              <a:gd name="T76" fmla="*/ 49 w 106"/>
              <a:gd name="T77" fmla="*/ 86 h 144"/>
              <a:gd name="T78" fmla="*/ 67 w 106"/>
              <a:gd name="T79" fmla="*/ 98 h 144"/>
              <a:gd name="T80" fmla="*/ 64 w 106"/>
              <a:gd name="T81" fmla="*/ 110 h 144"/>
              <a:gd name="T82" fmla="*/ 79 w 106"/>
              <a:gd name="T83" fmla="*/ 110 h 144"/>
              <a:gd name="T84" fmla="*/ 76 w 106"/>
              <a:gd name="T85" fmla="*/ 98 h 144"/>
              <a:gd name="T86" fmla="*/ 49 w 106"/>
              <a:gd name="T87" fmla="*/ 66 h 144"/>
              <a:gd name="T88" fmla="*/ 64 w 106"/>
              <a:gd name="T89" fmla="*/ 73 h 144"/>
              <a:gd name="T90" fmla="*/ 49 w 106"/>
              <a:gd name="T91" fmla="*/ 8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44">
                <a:moveTo>
                  <a:pt x="106" y="32"/>
                </a:moveTo>
                <a:cubicBezTo>
                  <a:pt x="106" y="11"/>
                  <a:pt x="106" y="11"/>
                  <a:pt x="106" y="11"/>
                </a:cubicBezTo>
                <a:cubicBezTo>
                  <a:pt x="96" y="11"/>
                  <a:pt x="96" y="11"/>
                  <a:pt x="96" y="11"/>
                </a:cubicBezTo>
                <a:cubicBezTo>
                  <a:pt x="96" y="0"/>
                  <a:pt x="96" y="0"/>
                  <a:pt x="96" y="0"/>
                </a:cubicBezTo>
                <a:cubicBezTo>
                  <a:pt x="10" y="0"/>
                  <a:pt x="10" y="0"/>
                  <a:pt x="10" y="0"/>
                </a:cubicBezTo>
                <a:cubicBezTo>
                  <a:pt x="10" y="11"/>
                  <a:pt x="10" y="11"/>
                  <a:pt x="10" y="11"/>
                </a:cubicBezTo>
                <a:cubicBezTo>
                  <a:pt x="0" y="11"/>
                  <a:pt x="0" y="11"/>
                  <a:pt x="0" y="11"/>
                </a:cubicBezTo>
                <a:cubicBezTo>
                  <a:pt x="0" y="32"/>
                  <a:pt x="0" y="32"/>
                  <a:pt x="0" y="32"/>
                </a:cubicBezTo>
                <a:cubicBezTo>
                  <a:pt x="10" y="32"/>
                  <a:pt x="10" y="32"/>
                  <a:pt x="10" y="32"/>
                </a:cubicBezTo>
                <a:cubicBezTo>
                  <a:pt x="10" y="130"/>
                  <a:pt x="10" y="130"/>
                  <a:pt x="10" y="130"/>
                </a:cubicBezTo>
                <a:cubicBezTo>
                  <a:pt x="10" y="134"/>
                  <a:pt x="12" y="137"/>
                  <a:pt x="14" y="140"/>
                </a:cubicBezTo>
                <a:cubicBezTo>
                  <a:pt x="17" y="143"/>
                  <a:pt x="20" y="144"/>
                  <a:pt x="24" y="144"/>
                </a:cubicBezTo>
                <a:cubicBezTo>
                  <a:pt x="83" y="144"/>
                  <a:pt x="83" y="144"/>
                  <a:pt x="83" y="144"/>
                </a:cubicBezTo>
                <a:cubicBezTo>
                  <a:pt x="86" y="144"/>
                  <a:pt x="90" y="143"/>
                  <a:pt x="92" y="140"/>
                </a:cubicBezTo>
                <a:cubicBezTo>
                  <a:pt x="94" y="137"/>
                  <a:pt x="96" y="134"/>
                  <a:pt x="96" y="130"/>
                </a:cubicBezTo>
                <a:cubicBezTo>
                  <a:pt x="96" y="127"/>
                  <a:pt x="96" y="127"/>
                  <a:pt x="96" y="127"/>
                </a:cubicBezTo>
                <a:cubicBezTo>
                  <a:pt x="96" y="127"/>
                  <a:pt x="96" y="127"/>
                  <a:pt x="96" y="127"/>
                </a:cubicBezTo>
                <a:cubicBezTo>
                  <a:pt x="96" y="121"/>
                  <a:pt x="96" y="121"/>
                  <a:pt x="96" y="121"/>
                </a:cubicBezTo>
                <a:cubicBezTo>
                  <a:pt x="96" y="121"/>
                  <a:pt x="96" y="121"/>
                  <a:pt x="96" y="121"/>
                </a:cubicBezTo>
                <a:cubicBezTo>
                  <a:pt x="96" y="49"/>
                  <a:pt x="96" y="49"/>
                  <a:pt x="96" y="49"/>
                </a:cubicBezTo>
                <a:cubicBezTo>
                  <a:pt x="96" y="49"/>
                  <a:pt x="96" y="49"/>
                  <a:pt x="96" y="49"/>
                </a:cubicBezTo>
                <a:cubicBezTo>
                  <a:pt x="96" y="43"/>
                  <a:pt x="96" y="43"/>
                  <a:pt x="96" y="43"/>
                </a:cubicBezTo>
                <a:cubicBezTo>
                  <a:pt x="96" y="43"/>
                  <a:pt x="96" y="43"/>
                  <a:pt x="96" y="43"/>
                </a:cubicBezTo>
                <a:cubicBezTo>
                  <a:pt x="96" y="32"/>
                  <a:pt x="96" y="32"/>
                  <a:pt x="96" y="32"/>
                </a:cubicBezTo>
                <a:lnTo>
                  <a:pt x="106" y="32"/>
                </a:lnTo>
                <a:close/>
                <a:moveTo>
                  <a:pt x="7" y="26"/>
                </a:moveTo>
                <a:cubicBezTo>
                  <a:pt x="7" y="17"/>
                  <a:pt x="7" y="17"/>
                  <a:pt x="7" y="17"/>
                </a:cubicBezTo>
                <a:cubicBezTo>
                  <a:pt x="17" y="17"/>
                  <a:pt x="17" y="17"/>
                  <a:pt x="17" y="17"/>
                </a:cubicBezTo>
                <a:cubicBezTo>
                  <a:pt x="17" y="6"/>
                  <a:pt x="17" y="6"/>
                  <a:pt x="17" y="6"/>
                </a:cubicBezTo>
                <a:cubicBezTo>
                  <a:pt x="28" y="6"/>
                  <a:pt x="28" y="6"/>
                  <a:pt x="28" y="6"/>
                </a:cubicBezTo>
                <a:cubicBezTo>
                  <a:pt x="28" y="17"/>
                  <a:pt x="28" y="17"/>
                  <a:pt x="28" y="17"/>
                </a:cubicBezTo>
                <a:cubicBezTo>
                  <a:pt x="34" y="17"/>
                  <a:pt x="34" y="17"/>
                  <a:pt x="34" y="17"/>
                </a:cubicBezTo>
                <a:cubicBezTo>
                  <a:pt x="34" y="6"/>
                  <a:pt x="34" y="6"/>
                  <a:pt x="34" y="6"/>
                </a:cubicBezTo>
                <a:cubicBezTo>
                  <a:pt x="50" y="6"/>
                  <a:pt x="50" y="6"/>
                  <a:pt x="50" y="6"/>
                </a:cubicBezTo>
                <a:cubicBezTo>
                  <a:pt x="50" y="17"/>
                  <a:pt x="50" y="17"/>
                  <a:pt x="50" y="17"/>
                </a:cubicBezTo>
                <a:cubicBezTo>
                  <a:pt x="56" y="17"/>
                  <a:pt x="56" y="17"/>
                  <a:pt x="56" y="17"/>
                </a:cubicBezTo>
                <a:cubicBezTo>
                  <a:pt x="56" y="6"/>
                  <a:pt x="56" y="6"/>
                  <a:pt x="56" y="6"/>
                </a:cubicBezTo>
                <a:cubicBezTo>
                  <a:pt x="72" y="6"/>
                  <a:pt x="72" y="6"/>
                  <a:pt x="72" y="6"/>
                </a:cubicBezTo>
                <a:cubicBezTo>
                  <a:pt x="72" y="17"/>
                  <a:pt x="72" y="17"/>
                  <a:pt x="72" y="17"/>
                </a:cubicBezTo>
                <a:cubicBezTo>
                  <a:pt x="78" y="17"/>
                  <a:pt x="78" y="17"/>
                  <a:pt x="78" y="17"/>
                </a:cubicBezTo>
                <a:cubicBezTo>
                  <a:pt x="78" y="6"/>
                  <a:pt x="78" y="6"/>
                  <a:pt x="78" y="6"/>
                </a:cubicBezTo>
                <a:cubicBezTo>
                  <a:pt x="89" y="6"/>
                  <a:pt x="89" y="6"/>
                  <a:pt x="89" y="6"/>
                </a:cubicBezTo>
                <a:cubicBezTo>
                  <a:pt x="89" y="17"/>
                  <a:pt x="89" y="17"/>
                  <a:pt x="89" y="17"/>
                </a:cubicBezTo>
                <a:cubicBezTo>
                  <a:pt x="99" y="17"/>
                  <a:pt x="99" y="17"/>
                  <a:pt x="99" y="17"/>
                </a:cubicBezTo>
                <a:cubicBezTo>
                  <a:pt x="99" y="26"/>
                  <a:pt x="99" y="26"/>
                  <a:pt x="99" y="26"/>
                </a:cubicBezTo>
                <a:lnTo>
                  <a:pt x="7" y="26"/>
                </a:lnTo>
                <a:close/>
                <a:moveTo>
                  <a:pt x="89" y="121"/>
                </a:moveTo>
                <a:cubicBezTo>
                  <a:pt x="42" y="121"/>
                  <a:pt x="42" y="121"/>
                  <a:pt x="42" y="121"/>
                </a:cubicBezTo>
                <a:cubicBezTo>
                  <a:pt x="38" y="121"/>
                  <a:pt x="35" y="117"/>
                  <a:pt x="35" y="113"/>
                </a:cubicBezTo>
                <a:cubicBezTo>
                  <a:pt x="35" y="56"/>
                  <a:pt x="35" y="56"/>
                  <a:pt x="35" y="56"/>
                </a:cubicBezTo>
                <a:cubicBezTo>
                  <a:pt x="35" y="52"/>
                  <a:pt x="38" y="49"/>
                  <a:pt x="42" y="49"/>
                </a:cubicBezTo>
                <a:cubicBezTo>
                  <a:pt x="89" y="49"/>
                  <a:pt x="89" y="49"/>
                  <a:pt x="89" y="49"/>
                </a:cubicBezTo>
                <a:lnTo>
                  <a:pt x="89" y="121"/>
                </a:lnTo>
                <a:close/>
                <a:moveTo>
                  <a:pt x="42" y="43"/>
                </a:moveTo>
                <a:cubicBezTo>
                  <a:pt x="34" y="43"/>
                  <a:pt x="28" y="49"/>
                  <a:pt x="28" y="56"/>
                </a:cubicBezTo>
                <a:cubicBezTo>
                  <a:pt x="28" y="113"/>
                  <a:pt x="28" y="113"/>
                  <a:pt x="28" y="113"/>
                </a:cubicBezTo>
                <a:cubicBezTo>
                  <a:pt x="28" y="121"/>
                  <a:pt x="34" y="127"/>
                  <a:pt x="42" y="127"/>
                </a:cubicBezTo>
                <a:cubicBezTo>
                  <a:pt x="89" y="127"/>
                  <a:pt x="89" y="127"/>
                  <a:pt x="89" y="127"/>
                </a:cubicBezTo>
                <a:cubicBezTo>
                  <a:pt x="89" y="130"/>
                  <a:pt x="89" y="130"/>
                  <a:pt x="89" y="130"/>
                </a:cubicBezTo>
                <a:cubicBezTo>
                  <a:pt x="89" y="132"/>
                  <a:pt x="89" y="134"/>
                  <a:pt x="87" y="136"/>
                </a:cubicBezTo>
                <a:cubicBezTo>
                  <a:pt x="86" y="137"/>
                  <a:pt x="84" y="138"/>
                  <a:pt x="83" y="138"/>
                </a:cubicBezTo>
                <a:cubicBezTo>
                  <a:pt x="24" y="138"/>
                  <a:pt x="24" y="138"/>
                  <a:pt x="24" y="138"/>
                </a:cubicBezTo>
                <a:cubicBezTo>
                  <a:pt x="22" y="138"/>
                  <a:pt x="20" y="137"/>
                  <a:pt x="19" y="135"/>
                </a:cubicBezTo>
                <a:cubicBezTo>
                  <a:pt x="17" y="134"/>
                  <a:pt x="17" y="132"/>
                  <a:pt x="17" y="130"/>
                </a:cubicBezTo>
                <a:cubicBezTo>
                  <a:pt x="17" y="32"/>
                  <a:pt x="17" y="32"/>
                  <a:pt x="17" y="32"/>
                </a:cubicBezTo>
                <a:cubicBezTo>
                  <a:pt x="89" y="32"/>
                  <a:pt x="89" y="32"/>
                  <a:pt x="89" y="32"/>
                </a:cubicBezTo>
                <a:cubicBezTo>
                  <a:pt x="89" y="43"/>
                  <a:pt x="89" y="43"/>
                  <a:pt x="89" y="43"/>
                </a:cubicBezTo>
                <a:lnTo>
                  <a:pt x="42" y="43"/>
                </a:lnTo>
                <a:close/>
                <a:moveTo>
                  <a:pt x="83" y="91"/>
                </a:moveTo>
                <a:cubicBezTo>
                  <a:pt x="79" y="86"/>
                  <a:pt x="79" y="86"/>
                  <a:pt x="79" y="86"/>
                </a:cubicBezTo>
                <a:cubicBezTo>
                  <a:pt x="71" y="94"/>
                  <a:pt x="71" y="94"/>
                  <a:pt x="71" y="94"/>
                </a:cubicBezTo>
                <a:cubicBezTo>
                  <a:pt x="62" y="85"/>
                  <a:pt x="62" y="85"/>
                  <a:pt x="62" y="85"/>
                </a:cubicBezTo>
                <a:cubicBezTo>
                  <a:pt x="67" y="83"/>
                  <a:pt x="70" y="78"/>
                  <a:pt x="70" y="73"/>
                </a:cubicBezTo>
                <a:cubicBezTo>
                  <a:pt x="70" y="65"/>
                  <a:pt x="64" y="59"/>
                  <a:pt x="56" y="59"/>
                </a:cubicBezTo>
                <a:cubicBezTo>
                  <a:pt x="43" y="59"/>
                  <a:pt x="43" y="59"/>
                  <a:pt x="43" y="59"/>
                </a:cubicBezTo>
                <a:cubicBezTo>
                  <a:pt x="43" y="98"/>
                  <a:pt x="43" y="98"/>
                  <a:pt x="43" y="98"/>
                </a:cubicBezTo>
                <a:cubicBezTo>
                  <a:pt x="49" y="98"/>
                  <a:pt x="49" y="98"/>
                  <a:pt x="49" y="98"/>
                </a:cubicBezTo>
                <a:cubicBezTo>
                  <a:pt x="49" y="86"/>
                  <a:pt x="49" y="86"/>
                  <a:pt x="49" y="86"/>
                </a:cubicBezTo>
                <a:cubicBezTo>
                  <a:pt x="55" y="86"/>
                  <a:pt x="55" y="86"/>
                  <a:pt x="55" y="86"/>
                </a:cubicBezTo>
                <a:cubicBezTo>
                  <a:pt x="67" y="98"/>
                  <a:pt x="67" y="98"/>
                  <a:pt x="67" y="98"/>
                </a:cubicBezTo>
                <a:cubicBezTo>
                  <a:pt x="59" y="106"/>
                  <a:pt x="59" y="106"/>
                  <a:pt x="59" y="106"/>
                </a:cubicBezTo>
                <a:cubicBezTo>
                  <a:pt x="64" y="110"/>
                  <a:pt x="64" y="110"/>
                  <a:pt x="64" y="110"/>
                </a:cubicBezTo>
                <a:cubicBezTo>
                  <a:pt x="71" y="103"/>
                  <a:pt x="71" y="103"/>
                  <a:pt x="71" y="103"/>
                </a:cubicBezTo>
                <a:cubicBezTo>
                  <a:pt x="79" y="110"/>
                  <a:pt x="79" y="110"/>
                  <a:pt x="79" y="110"/>
                </a:cubicBezTo>
                <a:cubicBezTo>
                  <a:pt x="83" y="106"/>
                  <a:pt x="83" y="106"/>
                  <a:pt x="83" y="106"/>
                </a:cubicBezTo>
                <a:cubicBezTo>
                  <a:pt x="76" y="98"/>
                  <a:pt x="76" y="98"/>
                  <a:pt x="76" y="98"/>
                </a:cubicBezTo>
                <a:lnTo>
                  <a:pt x="83" y="91"/>
                </a:lnTo>
                <a:close/>
                <a:moveTo>
                  <a:pt x="49" y="66"/>
                </a:moveTo>
                <a:cubicBezTo>
                  <a:pt x="56" y="66"/>
                  <a:pt x="56" y="66"/>
                  <a:pt x="56" y="66"/>
                </a:cubicBezTo>
                <a:cubicBezTo>
                  <a:pt x="60" y="66"/>
                  <a:pt x="64" y="69"/>
                  <a:pt x="64" y="73"/>
                </a:cubicBezTo>
                <a:cubicBezTo>
                  <a:pt x="64" y="77"/>
                  <a:pt x="60" y="80"/>
                  <a:pt x="56" y="80"/>
                </a:cubicBezTo>
                <a:cubicBezTo>
                  <a:pt x="49" y="80"/>
                  <a:pt x="49" y="80"/>
                  <a:pt x="49" y="80"/>
                </a:cubicBezTo>
                <a:lnTo>
                  <a:pt x="49" y="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0" name="Bar Chart Icon"/>
          <p:cNvGrpSpPr>
            <a:grpSpLocks noChangeAspect="1"/>
          </p:cNvGrpSpPr>
          <p:nvPr/>
        </p:nvGrpSpPr>
        <p:grpSpPr bwMode="auto">
          <a:xfrm>
            <a:off x="8397891" y="4229928"/>
            <a:ext cx="275158" cy="310855"/>
            <a:chOff x="3348" y="271"/>
            <a:chExt cx="370" cy="418"/>
          </a:xfrm>
          <a:solidFill>
            <a:schemeClr val="bg1"/>
          </a:solidFill>
        </p:grpSpPr>
        <p:sp>
          <p:nvSpPr>
            <p:cNvPr id="71" name="Freeform 5"/>
            <p:cNvSpPr>
              <a:spLocks noEditPoints="1"/>
            </p:cNvSpPr>
            <p:nvPr/>
          </p:nvSpPr>
          <p:spPr bwMode="auto">
            <a:xfrm>
              <a:off x="3408" y="473"/>
              <a:ext cx="86" cy="187"/>
            </a:xfrm>
            <a:custGeom>
              <a:avLst/>
              <a:gdLst>
                <a:gd name="T0" fmla="*/ 86 w 86"/>
                <a:gd name="T1" fmla="*/ 0 h 187"/>
                <a:gd name="T2" fmla="*/ 0 w 86"/>
                <a:gd name="T3" fmla="*/ 0 h 187"/>
                <a:gd name="T4" fmla="*/ 0 w 86"/>
                <a:gd name="T5" fmla="*/ 187 h 187"/>
                <a:gd name="T6" fmla="*/ 86 w 86"/>
                <a:gd name="T7" fmla="*/ 187 h 187"/>
                <a:gd name="T8" fmla="*/ 86 w 86"/>
                <a:gd name="T9" fmla="*/ 0 h 187"/>
                <a:gd name="T10" fmla="*/ 67 w 86"/>
                <a:gd name="T11" fmla="*/ 168 h 187"/>
                <a:gd name="T12" fmla="*/ 19 w 86"/>
                <a:gd name="T13" fmla="*/ 168 h 187"/>
                <a:gd name="T14" fmla="*/ 19 w 86"/>
                <a:gd name="T15" fmla="*/ 19 h 187"/>
                <a:gd name="T16" fmla="*/ 67 w 86"/>
                <a:gd name="T17" fmla="*/ 19 h 187"/>
                <a:gd name="T18" fmla="*/ 67 w 86"/>
                <a:gd name="T19"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87">
                  <a:moveTo>
                    <a:pt x="86" y="0"/>
                  </a:moveTo>
                  <a:lnTo>
                    <a:pt x="0" y="0"/>
                  </a:lnTo>
                  <a:lnTo>
                    <a:pt x="0" y="187"/>
                  </a:lnTo>
                  <a:lnTo>
                    <a:pt x="86" y="187"/>
                  </a:lnTo>
                  <a:lnTo>
                    <a:pt x="86" y="0"/>
                  </a:lnTo>
                  <a:close/>
                  <a:moveTo>
                    <a:pt x="67" y="168"/>
                  </a:moveTo>
                  <a:lnTo>
                    <a:pt x="19" y="168"/>
                  </a:lnTo>
                  <a:lnTo>
                    <a:pt x="19" y="19"/>
                  </a:lnTo>
                  <a:lnTo>
                    <a:pt x="67" y="19"/>
                  </a:lnTo>
                  <a:lnTo>
                    <a:pt x="67"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
            <p:cNvSpPr>
              <a:spLocks noEditPoints="1"/>
            </p:cNvSpPr>
            <p:nvPr/>
          </p:nvSpPr>
          <p:spPr bwMode="auto">
            <a:xfrm>
              <a:off x="3610" y="271"/>
              <a:ext cx="86" cy="389"/>
            </a:xfrm>
            <a:custGeom>
              <a:avLst/>
              <a:gdLst>
                <a:gd name="T0" fmla="*/ 86 w 86"/>
                <a:gd name="T1" fmla="*/ 0 h 389"/>
                <a:gd name="T2" fmla="*/ 0 w 86"/>
                <a:gd name="T3" fmla="*/ 0 h 389"/>
                <a:gd name="T4" fmla="*/ 0 w 86"/>
                <a:gd name="T5" fmla="*/ 389 h 389"/>
                <a:gd name="T6" fmla="*/ 86 w 86"/>
                <a:gd name="T7" fmla="*/ 389 h 389"/>
                <a:gd name="T8" fmla="*/ 86 w 86"/>
                <a:gd name="T9" fmla="*/ 0 h 389"/>
                <a:gd name="T10" fmla="*/ 67 w 86"/>
                <a:gd name="T11" fmla="*/ 370 h 389"/>
                <a:gd name="T12" fmla="*/ 19 w 86"/>
                <a:gd name="T13" fmla="*/ 370 h 389"/>
                <a:gd name="T14" fmla="*/ 19 w 86"/>
                <a:gd name="T15" fmla="*/ 19 h 389"/>
                <a:gd name="T16" fmla="*/ 67 w 86"/>
                <a:gd name="T17" fmla="*/ 19 h 389"/>
                <a:gd name="T18" fmla="*/ 67 w 86"/>
                <a:gd name="T19" fmla="*/ 37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89">
                  <a:moveTo>
                    <a:pt x="86" y="0"/>
                  </a:moveTo>
                  <a:lnTo>
                    <a:pt x="0" y="0"/>
                  </a:lnTo>
                  <a:lnTo>
                    <a:pt x="0" y="389"/>
                  </a:lnTo>
                  <a:lnTo>
                    <a:pt x="86" y="389"/>
                  </a:lnTo>
                  <a:lnTo>
                    <a:pt x="86" y="0"/>
                  </a:lnTo>
                  <a:close/>
                  <a:moveTo>
                    <a:pt x="67" y="370"/>
                  </a:moveTo>
                  <a:lnTo>
                    <a:pt x="19" y="370"/>
                  </a:lnTo>
                  <a:lnTo>
                    <a:pt x="19" y="19"/>
                  </a:lnTo>
                  <a:lnTo>
                    <a:pt x="67" y="19"/>
                  </a:lnTo>
                  <a:lnTo>
                    <a:pt x="67"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7"/>
            <p:cNvSpPr>
              <a:spLocks noEditPoints="1"/>
            </p:cNvSpPr>
            <p:nvPr/>
          </p:nvSpPr>
          <p:spPr bwMode="auto">
            <a:xfrm>
              <a:off x="3509" y="372"/>
              <a:ext cx="86" cy="288"/>
            </a:xfrm>
            <a:custGeom>
              <a:avLst/>
              <a:gdLst>
                <a:gd name="T0" fmla="*/ 86 w 86"/>
                <a:gd name="T1" fmla="*/ 0 h 288"/>
                <a:gd name="T2" fmla="*/ 0 w 86"/>
                <a:gd name="T3" fmla="*/ 0 h 288"/>
                <a:gd name="T4" fmla="*/ 0 w 86"/>
                <a:gd name="T5" fmla="*/ 288 h 288"/>
                <a:gd name="T6" fmla="*/ 86 w 86"/>
                <a:gd name="T7" fmla="*/ 288 h 288"/>
                <a:gd name="T8" fmla="*/ 86 w 86"/>
                <a:gd name="T9" fmla="*/ 0 h 288"/>
                <a:gd name="T10" fmla="*/ 67 w 86"/>
                <a:gd name="T11" fmla="*/ 269 h 288"/>
                <a:gd name="T12" fmla="*/ 19 w 86"/>
                <a:gd name="T13" fmla="*/ 269 h 288"/>
                <a:gd name="T14" fmla="*/ 19 w 86"/>
                <a:gd name="T15" fmla="*/ 19 h 288"/>
                <a:gd name="T16" fmla="*/ 67 w 86"/>
                <a:gd name="T17" fmla="*/ 19 h 288"/>
                <a:gd name="T18" fmla="*/ 67 w 86"/>
                <a:gd name="T19" fmla="*/ 26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288">
                  <a:moveTo>
                    <a:pt x="86" y="0"/>
                  </a:moveTo>
                  <a:lnTo>
                    <a:pt x="0" y="0"/>
                  </a:lnTo>
                  <a:lnTo>
                    <a:pt x="0" y="288"/>
                  </a:lnTo>
                  <a:lnTo>
                    <a:pt x="86" y="288"/>
                  </a:lnTo>
                  <a:lnTo>
                    <a:pt x="86" y="0"/>
                  </a:lnTo>
                  <a:close/>
                  <a:moveTo>
                    <a:pt x="67" y="269"/>
                  </a:moveTo>
                  <a:lnTo>
                    <a:pt x="19" y="269"/>
                  </a:lnTo>
                  <a:lnTo>
                    <a:pt x="19" y="19"/>
                  </a:lnTo>
                  <a:lnTo>
                    <a:pt x="67" y="19"/>
                  </a:lnTo>
                  <a:lnTo>
                    <a:pt x="67" y="2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8"/>
            <p:cNvSpPr>
              <a:spLocks/>
            </p:cNvSpPr>
            <p:nvPr/>
          </p:nvSpPr>
          <p:spPr bwMode="auto">
            <a:xfrm>
              <a:off x="3348" y="271"/>
              <a:ext cx="370" cy="418"/>
            </a:xfrm>
            <a:custGeom>
              <a:avLst/>
              <a:gdLst>
                <a:gd name="T0" fmla="*/ 19 w 370"/>
                <a:gd name="T1" fmla="*/ 399 h 418"/>
                <a:gd name="T2" fmla="*/ 19 w 370"/>
                <a:gd name="T3" fmla="*/ 324 h 418"/>
                <a:gd name="T4" fmla="*/ 38 w 370"/>
                <a:gd name="T5" fmla="*/ 324 h 418"/>
                <a:gd name="T6" fmla="*/ 38 w 370"/>
                <a:gd name="T7" fmla="*/ 305 h 418"/>
                <a:gd name="T8" fmla="*/ 19 w 370"/>
                <a:gd name="T9" fmla="*/ 305 h 418"/>
                <a:gd name="T10" fmla="*/ 19 w 370"/>
                <a:gd name="T11" fmla="*/ 228 h 418"/>
                <a:gd name="T12" fmla="*/ 38 w 370"/>
                <a:gd name="T13" fmla="*/ 228 h 418"/>
                <a:gd name="T14" fmla="*/ 38 w 370"/>
                <a:gd name="T15" fmla="*/ 209 h 418"/>
                <a:gd name="T16" fmla="*/ 19 w 370"/>
                <a:gd name="T17" fmla="*/ 209 h 418"/>
                <a:gd name="T18" fmla="*/ 19 w 370"/>
                <a:gd name="T19" fmla="*/ 134 h 418"/>
                <a:gd name="T20" fmla="*/ 38 w 370"/>
                <a:gd name="T21" fmla="*/ 134 h 418"/>
                <a:gd name="T22" fmla="*/ 38 w 370"/>
                <a:gd name="T23" fmla="*/ 115 h 418"/>
                <a:gd name="T24" fmla="*/ 19 w 370"/>
                <a:gd name="T25" fmla="*/ 115 h 418"/>
                <a:gd name="T26" fmla="*/ 19 w 370"/>
                <a:gd name="T27" fmla="*/ 38 h 418"/>
                <a:gd name="T28" fmla="*/ 38 w 370"/>
                <a:gd name="T29" fmla="*/ 38 h 418"/>
                <a:gd name="T30" fmla="*/ 38 w 370"/>
                <a:gd name="T31" fmla="*/ 19 h 418"/>
                <a:gd name="T32" fmla="*/ 19 w 370"/>
                <a:gd name="T33" fmla="*/ 19 h 418"/>
                <a:gd name="T34" fmla="*/ 19 w 370"/>
                <a:gd name="T35" fmla="*/ 0 h 418"/>
                <a:gd name="T36" fmla="*/ 0 w 370"/>
                <a:gd name="T37" fmla="*/ 0 h 418"/>
                <a:gd name="T38" fmla="*/ 0 w 370"/>
                <a:gd name="T39" fmla="*/ 418 h 418"/>
                <a:gd name="T40" fmla="*/ 370 w 370"/>
                <a:gd name="T41" fmla="*/ 418 h 418"/>
                <a:gd name="T42" fmla="*/ 370 w 370"/>
                <a:gd name="T43" fmla="*/ 399 h 418"/>
                <a:gd name="T44" fmla="*/ 19 w 370"/>
                <a:gd name="T45" fmla="*/ 39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0" h="418">
                  <a:moveTo>
                    <a:pt x="19" y="399"/>
                  </a:moveTo>
                  <a:lnTo>
                    <a:pt x="19" y="324"/>
                  </a:lnTo>
                  <a:lnTo>
                    <a:pt x="38" y="324"/>
                  </a:lnTo>
                  <a:lnTo>
                    <a:pt x="38" y="305"/>
                  </a:lnTo>
                  <a:lnTo>
                    <a:pt x="19" y="305"/>
                  </a:lnTo>
                  <a:lnTo>
                    <a:pt x="19" y="228"/>
                  </a:lnTo>
                  <a:lnTo>
                    <a:pt x="38" y="228"/>
                  </a:lnTo>
                  <a:lnTo>
                    <a:pt x="38" y="209"/>
                  </a:lnTo>
                  <a:lnTo>
                    <a:pt x="19" y="209"/>
                  </a:lnTo>
                  <a:lnTo>
                    <a:pt x="19" y="134"/>
                  </a:lnTo>
                  <a:lnTo>
                    <a:pt x="38" y="134"/>
                  </a:lnTo>
                  <a:lnTo>
                    <a:pt x="38" y="115"/>
                  </a:lnTo>
                  <a:lnTo>
                    <a:pt x="19" y="115"/>
                  </a:lnTo>
                  <a:lnTo>
                    <a:pt x="19" y="38"/>
                  </a:lnTo>
                  <a:lnTo>
                    <a:pt x="38" y="38"/>
                  </a:lnTo>
                  <a:lnTo>
                    <a:pt x="38" y="19"/>
                  </a:lnTo>
                  <a:lnTo>
                    <a:pt x="19" y="19"/>
                  </a:lnTo>
                  <a:lnTo>
                    <a:pt x="19" y="0"/>
                  </a:lnTo>
                  <a:lnTo>
                    <a:pt x="0" y="0"/>
                  </a:lnTo>
                  <a:lnTo>
                    <a:pt x="0" y="418"/>
                  </a:lnTo>
                  <a:lnTo>
                    <a:pt x="370" y="418"/>
                  </a:lnTo>
                  <a:lnTo>
                    <a:pt x="370" y="399"/>
                  </a:lnTo>
                  <a:lnTo>
                    <a:pt x="19"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5" name="Title 1"/>
          <p:cNvSpPr txBox="1">
            <a:spLocks/>
          </p:cNvSpPr>
          <p:nvPr/>
        </p:nvSpPr>
        <p:spPr>
          <a:xfrm>
            <a:off x="504059" y="2574493"/>
            <a:ext cx="5702383" cy="534082"/>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b="1" kern="1200">
                <a:solidFill>
                  <a:schemeClr val="tx2"/>
                </a:solidFill>
                <a:latin typeface="+mj-lt"/>
                <a:ea typeface="+mj-ea"/>
                <a:cs typeface="+mj-cs"/>
              </a:defRPr>
            </a:lvl1pPr>
          </a:lstStyle>
          <a:p>
            <a:r>
              <a:rPr lang="en-US" sz="1800" dirty="0"/>
              <a:t>Caremark.com and the </a:t>
            </a:r>
            <a:br>
              <a:rPr lang="en-US" sz="1800" dirty="0"/>
            </a:br>
            <a:r>
              <a:rPr lang="en-US" sz="1800" dirty="0"/>
              <a:t>CVS Caremark app</a:t>
            </a:r>
            <a:br>
              <a:rPr lang="en-US" sz="2000" dirty="0">
                <a:solidFill>
                  <a:schemeClr val="accent2"/>
                </a:solidFill>
              </a:rPr>
            </a:br>
            <a:r>
              <a:rPr lang="en-US" sz="2000" dirty="0">
                <a:solidFill>
                  <a:schemeClr val="accent2"/>
                </a:solidFill>
              </a:rPr>
              <a:t> </a:t>
            </a:r>
          </a:p>
        </p:txBody>
      </p:sp>
      <p:cxnSp>
        <p:nvCxnSpPr>
          <p:cNvPr id="48" name="Straight Connector 47">
            <a:extLst>
              <a:ext uri="{FF2B5EF4-FFF2-40B4-BE49-F238E27FC236}">
                <a16:creationId xmlns:a16="http://schemas.microsoft.com/office/drawing/2014/main" id="{677DDEB7-6458-5541-A011-6807844163EE}"/>
              </a:ext>
            </a:extLst>
          </p:cNvPr>
          <p:cNvCxnSpPr/>
          <p:nvPr/>
        </p:nvCxnSpPr>
        <p:spPr>
          <a:xfrm>
            <a:off x="504059" y="2469060"/>
            <a:ext cx="539945" cy="0"/>
          </a:xfrm>
          <a:prstGeom prst="line">
            <a:avLst/>
          </a:prstGeom>
          <a:ln/>
        </p:spPr>
        <p:style>
          <a:lnRef idx="1">
            <a:schemeClr val="dk1"/>
          </a:lnRef>
          <a:fillRef idx="0">
            <a:schemeClr val="dk1"/>
          </a:fillRef>
          <a:effectRef idx="0">
            <a:schemeClr val="dk1"/>
          </a:effectRef>
          <a:fontRef idx="minor">
            <a:schemeClr val="tx1"/>
          </a:fontRef>
        </p:style>
      </p:cxnSp>
      <p:grpSp>
        <p:nvGrpSpPr>
          <p:cNvPr id="49" name="Group 48">
            <a:extLst>
              <a:ext uri="{FF2B5EF4-FFF2-40B4-BE49-F238E27FC236}">
                <a16:creationId xmlns:a16="http://schemas.microsoft.com/office/drawing/2014/main" id="{59A28A4C-ABB5-D84E-9793-C842071196A8}"/>
              </a:ext>
            </a:extLst>
          </p:cNvPr>
          <p:cNvGrpSpPr>
            <a:grpSpLocks noChangeAspect="1"/>
          </p:cNvGrpSpPr>
          <p:nvPr/>
        </p:nvGrpSpPr>
        <p:grpSpPr bwMode="auto">
          <a:xfrm>
            <a:off x="10345383" y="6384131"/>
            <a:ext cx="1275119" cy="143669"/>
            <a:chOff x="-8" y="1835"/>
            <a:chExt cx="5769" cy="650"/>
          </a:xfrm>
          <a:solidFill>
            <a:srgbClr val="000000"/>
          </a:solidFill>
        </p:grpSpPr>
        <p:sp>
          <p:nvSpPr>
            <p:cNvPr id="50" name="Freeform 49">
              <a:extLst>
                <a:ext uri="{FF2B5EF4-FFF2-40B4-BE49-F238E27FC236}">
                  <a16:creationId xmlns:a16="http://schemas.microsoft.com/office/drawing/2014/main" id="{5144F8C0-333C-644D-AF68-27CDBD02F9F2}"/>
                </a:ext>
              </a:extLst>
            </p:cNvPr>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0">
              <a:extLst>
                <a:ext uri="{FF2B5EF4-FFF2-40B4-BE49-F238E27FC236}">
                  <a16:creationId xmlns:a16="http://schemas.microsoft.com/office/drawing/2014/main" id="{74CADA1C-AA64-F648-9A59-71F2117E7EC4}"/>
                </a:ext>
              </a:extLst>
            </p:cNvPr>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6" name="TextBox 45">
            <a:extLst>
              <a:ext uri="{FF2B5EF4-FFF2-40B4-BE49-F238E27FC236}">
                <a16:creationId xmlns:a16="http://schemas.microsoft.com/office/drawing/2014/main" id="{22B9F1AC-7982-48A5-A9F4-F49F09D2E693}"/>
              </a:ext>
            </a:extLst>
          </p:cNvPr>
          <p:cNvSpPr txBox="1"/>
          <p:nvPr/>
        </p:nvSpPr>
        <p:spPr>
          <a:xfrm>
            <a:off x="427769" y="6435106"/>
            <a:ext cx="8046720" cy="123111"/>
          </a:xfrm>
          <a:prstGeom prst="rect">
            <a:avLst/>
          </a:prstGeom>
          <a:noFill/>
        </p:spPr>
        <p:txBody>
          <a:bodyPr wrap="square" lIns="0" tIns="0" rIns="0" bIns="0" rtlCol="0" anchor="b">
            <a:spAutoFit/>
          </a:bodyPr>
          <a:lstStyle/>
          <a:p>
            <a:r>
              <a:rPr lang="en-US" sz="800" dirty="0">
                <a:solidFill>
                  <a:schemeClr val="bg1"/>
                </a:solidFill>
              </a:rPr>
              <a:t>©2023 CVS Health and/or one of its affiliates. Confidential and proprietary.</a:t>
            </a:r>
          </a:p>
        </p:txBody>
      </p:sp>
      <p:sp>
        <p:nvSpPr>
          <p:cNvPr id="45" name="Text Placeholder 8">
            <a:extLst>
              <a:ext uri="{FF2B5EF4-FFF2-40B4-BE49-F238E27FC236}">
                <a16:creationId xmlns:a16="http://schemas.microsoft.com/office/drawing/2014/main" id="{F4C47724-F36A-4B2C-A624-24FFBB9166C4}"/>
              </a:ext>
            </a:extLst>
          </p:cNvPr>
          <p:cNvSpPr txBox="1">
            <a:spLocks/>
          </p:cNvSpPr>
          <p:nvPr/>
        </p:nvSpPr>
        <p:spPr>
          <a:xfrm>
            <a:off x="1588" y="-1"/>
            <a:ext cx="6089904"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r>
              <a:rPr lang="en-US" sz="1200" b="1" cap="all" dirty="0"/>
              <a:t>2025 Prescription Benefits</a:t>
            </a:r>
          </a:p>
        </p:txBody>
      </p:sp>
      <p:sp>
        <p:nvSpPr>
          <p:cNvPr id="13" name="Text Placeholder 8">
            <a:extLst>
              <a:ext uri="{FF2B5EF4-FFF2-40B4-BE49-F238E27FC236}">
                <a16:creationId xmlns:a16="http://schemas.microsoft.com/office/drawing/2014/main" id="{5CD4A11C-1D94-CD91-6857-3B56DA4AC818}"/>
              </a:ext>
            </a:extLst>
          </p:cNvPr>
          <p:cNvSpPr txBox="1">
            <a:spLocks/>
          </p:cNvSpPr>
          <p:nvPr/>
        </p:nvSpPr>
        <p:spPr>
          <a:xfrm>
            <a:off x="427085" y="7019583"/>
            <a:ext cx="10437577" cy="457081"/>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r>
              <a:rPr lang="en-US" dirty="0"/>
              <a:t>Image source: CVS Health Creative Resource Library, accessed 2021, 20200820_18_Media_Room_009394 </a:t>
            </a:r>
            <a:endParaRPr lang="en-US" altLang="en-US" b="1" dirty="0"/>
          </a:p>
        </p:txBody>
      </p:sp>
      <p:pic>
        <p:nvPicPr>
          <p:cNvPr id="4" name="4Recorded Sound">
            <a:hlinkClick r:id="" action="ppaction://media"/>
            <a:extLst>
              <a:ext uri="{FF2B5EF4-FFF2-40B4-BE49-F238E27FC236}">
                <a16:creationId xmlns:a16="http://schemas.microsoft.com/office/drawing/2014/main" id="{92185D8F-A8F3-68AD-90E6-F4579323894D}"/>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551441" y="5911942"/>
            <a:ext cx="609600" cy="609600"/>
          </a:xfrm>
          <a:prstGeom prst="rect">
            <a:avLst/>
          </a:prstGeom>
        </p:spPr>
      </p:pic>
    </p:spTree>
    <p:extLst>
      <p:ext uri="{BB962C8B-B14F-4D97-AF65-F5344CB8AC3E}">
        <p14:creationId xmlns:p14="http://schemas.microsoft.com/office/powerpoint/2010/main" val="3914810991"/>
      </p:ext>
    </p:extLst>
  </p:cSld>
  <p:clrMapOvr>
    <a:masterClrMapping/>
  </p:clrMapOvr>
  <mc:AlternateContent xmlns:mc="http://schemas.openxmlformats.org/markup-compatibility/2006" xmlns:p14="http://schemas.microsoft.com/office/powerpoint/2010/main">
    <mc:Choice Requires="p14">
      <p:transition spd="slow" p14:dur="2000" advTm="31824"/>
    </mc:Choice>
    <mc:Fallback xmlns="">
      <p:transition spd="slow" advTm="318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82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27968" y="3372"/>
          <a:ext cx="1588" cy="1588"/>
        </p:xfrm>
        <a:graphic>
          <a:graphicData uri="http://schemas.openxmlformats.org/presentationml/2006/ole">
            <mc:AlternateContent xmlns:mc="http://schemas.openxmlformats.org/markup-compatibility/2006">
              <mc:Choice xmlns:v="urn:schemas-microsoft-com:vml" Requires="v">
                <p:oleObj name="think-cell Slide" r:id="rId7" imgW="353" imgH="363" progId="TCLayout.ActiveDocument.1">
                  <p:embed/>
                </p:oleObj>
              </mc:Choice>
              <mc:Fallback>
                <p:oleObj name="think-cell Slide" r:id="rId7" imgW="353" imgH="363" progId="TCLayout.ActiveDocument.1">
                  <p:embed/>
                  <p:pic>
                    <p:nvPicPr>
                      <p:cNvPr id="6" name="Object 5" hidden="1"/>
                      <p:cNvPicPr/>
                      <p:nvPr/>
                    </p:nvPicPr>
                    <p:blipFill>
                      <a:blip r:embed="rId8"/>
                      <a:stretch>
                        <a:fillRect/>
                      </a:stretch>
                    </p:blipFill>
                    <p:spPr>
                      <a:xfrm>
                        <a:off x="1527968" y="3372"/>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526382" y="1787"/>
            <a:ext cx="158668" cy="1586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798" b="1" dirty="0">
              <a:solidFill>
                <a:prstClr val="white"/>
              </a:solidFill>
              <a:sym typeface="Arial"/>
            </a:endParaRPr>
          </a:p>
        </p:txBody>
      </p:sp>
      <p:sp>
        <p:nvSpPr>
          <p:cNvPr id="21" name="Rectangle 20"/>
          <p:cNvSpPr/>
          <p:nvPr/>
        </p:nvSpPr>
        <p:spPr>
          <a:xfrm>
            <a:off x="324759" y="7020022"/>
            <a:ext cx="4569619" cy="246093"/>
          </a:xfrm>
          <a:prstGeom prst="rect">
            <a:avLst/>
          </a:prstGeom>
        </p:spPr>
        <p:txBody>
          <a:bodyPr>
            <a:spAutoFit/>
          </a:bodyPr>
          <a:lstStyle/>
          <a:p>
            <a:r>
              <a:rPr lang="en-US" sz="1000" dirty="0">
                <a:solidFill>
                  <a:srgbClr val="000000"/>
                </a:solidFill>
                <a:ea typeface="Calibri" panose="020F0502020204030204" pitchFamily="34" charset="0"/>
                <a:cs typeface="Times New Roman" panose="02020603050405020304" pitchFamily="18" charset="0"/>
              </a:rPr>
              <a:t>Image source: CVS Health Creative Resource Library, accessed 2019.</a:t>
            </a:r>
          </a:p>
        </p:txBody>
      </p:sp>
      <p:sp>
        <p:nvSpPr>
          <p:cNvPr id="14" name="Title 6">
            <a:extLst>
              <a:ext uri="{FF2B5EF4-FFF2-40B4-BE49-F238E27FC236}">
                <a16:creationId xmlns:a16="http://schemas.microsoft.com/office/drawing/2014/main" id="{59F932D9-9CDA-B045-B269-6DD7357FF582}"/>
              </a:ext>
            </a:extLst>
          </p:cNvPr>
          <p:cNvSpPr txBox="1">
            <a:spLocks noChangeArrowheads="1"/>
          </p:cNvSpPr>
          <p:nvPr/>
        </p:nvSpPr>
        <p:spPr bwMode="auto">
          <a:xfrm>
            <a:off x="561686" y="650740"/>
            <a:ext cx="4879020" cy="71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a:spcBef>
                <a:spcPts val="1800"/>
              </a:spcBef>
              <a:buFont typeface="Arial" panose="020B0604020202020204" pitchFamily="34" charset="0"/>
              <a:defRPr sz="1600">
                <a:solidFill>
                  <a:schemeClr val="tx2"/>
                </a:solidFill>
                <a:latin typeface="Arial" panose="020B0604020202020204" pitchFamily="34" charset="0"/>
              </a:defRPr>
            </a:lvl1pPr>
            <a:lvl2pPr marL="742950" indent="-285750" defTabSz="457200">
              <a:spcBef>
                <a:spcPts val="1200"/>
              </a:spcBef>
              <a:buFont typeface="Arial" panose="020B0604020202020204" pitchFamily="34" charset="0"/>
              <a:buChar char="•"/>
              <a:defRPr sz="1600">
                <a:solidFill>
                  <a:schemeClr val="tx2"/>
                </a:solidFill>
                <a:latin typeface="Arial" panose="020B0604020202020204" pitchFamily="34" charset="0"/>
              </a:defRPr>
            </a:lvl2pPr>
            <a:lvl3pPr marL="1143000" indent="-228600" defTabSz="457200">
              <a:spcBef>
                <a:spcPts val="600"/>
              </a:spcBef>
              <a:buFont typeface="Lucida Grande" panose="020B0600040502020204" pitchFamily="34" charset="0"/>
              <a:defRPr sz="1600">
                <a:solidFill>
                  <a:schemeClr val="tx2"/>
                </a:solidFill>
                <a:latin typeface="Arial" panose="020B0604020202020204" pitchFamily="34" charset="0"/>
              </a:defRPr>
            </a:lvl3pPr>
            <a:lvl4pPr marL="1600200" indent="-228600" defTabSz="457200">
              <a:spcBef>
                <a:spcPts val="600"/>
              </a:spcBef>
              <a:buFont typeface="Arial" panose="020B0604020202020204" pitchFamily="34" charset="0"/>
              <a:buChar char="•"/>
              <a:defRPr sz="1600">
                <a:solidFill>
                  <a:schemeClr val="tx2"/>
                </a:solidFill>
                <a:latin typeface="Arial" panose="020B0604020202020204" pitchFamily="34" charset="0"/>
              </a:defRPr>
            </a:lvl4pPr>
            <a:lvl5pPr marL="2057400" indent="-228600" defTabSz="457200">
              <a:spcBef>
                <a:spcPts val="600"/>
              </a:spcBef>
              <a:buFont typeface="Arial" panose="020B0604020202020204" pitchFamily="34" charset="0"/>
              <a:buChar char="–"/>
              <a:defRPr sz="1600">
                <a:solidFill>
                  <a:schemeClr val="tx2"/>
                </a:solidFill>
                <a:latin typeface="Arial" panose="020B0604020202020204" pitchFamily="34" charset="0"/>
              </a:defRPr>
            </a:lvl5pPr>
            <a:lvl6pPr marL="2514600" indent="-228600" defTabSz="457200" eaLnBrk="0" fontAlgn="base" hangingPunct="0">
              <a:spcBef>
                <a:spcPts val="600"/>
              </a:spcBef>
              <a:spcAft>
                <a:spcPct val="0"/>
              </a:spcAft>
              <a:buFont typeface="Arial" panose="020B0604020202020204" pitchFamily="34" charset="0"/>
              <a:buChar char="–"/>
              <a:defRPr sz="1600">
                <a:solidFill>
                  <a:schemeClr val="tx2"/>
                </a:solidFill>
                <a:latin typeface="Arial" panose="020B0604020202020204" pitchFamily="34" charset="0"/>
              </a:defRPr>
            </a:lvl6pPr>
            <a:lvl7pPr marL="2971800" indent="-228600" defTabSz="457200" eaLnBrk="0" fontAlgn="base" hangingPunct="0">
              <a:spcBef>
                <a:spcPts val="600"/>
              </a:spcBef>
              <a:spcAft>
                <a:spcPct val="0"/>
              </a:spcAft>
              <a:buFont typeface="Arial" panose="020B0604020202020204" pitchFamily="34" charset="0"/>
              <a:buChar char="–"/>
              <a:defRPr sz="1600">
                <a:solidFill>
                  <a:schemeClr val="tx2"/>
                </a:solidFill>
                <a:latin typeface="Arial" panose="020B0604020202020204" pitchFamily="34" charset="0"/>
              </a:defRPr>
            </a:lvl7pPr>
            <a:lvl8pPr marL="3429000" indent="-228600" defTabSz="457200" eaLnBrk="0" fontAlgn="base" hangingPunct="0">
              <a:spcBef>
                <a:spcPts val="600"/>
              </a:spcBef>
              <a:spcAft>
                <a:spcPct val="0"/>
              </a:spcAft>
              <a:buFont typeface="Arial" panose="020B0604020202020204" pitchFamily="34" charset="0"/>
              <a:buChar char="–"/>
              <a:defRPr sz="1600">
                <a:solidFill>
                  <a:schemeClr val="tx2"/>
                </a:solidFill>
                <a:latin typeface="Arial" panose="020B0604020202020204" pitchFamily="34" charset="0"/>
              </a:defRPr>
            </a:lvl8pPr>
            <a:lvl9pPr marL="3886200" indent="-228600" defTabSz="457200" eaLnBrk="0" fontAlgn="base" hangingPunct="0">
              <a:spcBef>
                <a:spcPts val="600"/>
              </a:spcBef>
              <a:spcAft>
                <a:spcPct val="0"/>
              </a:spcAft>
              <a:buFont typeface="Arial" panose="020B0604020202020204" pitchFamily="34" charset="0"/>
              <a:buChar char="–"/>
              <a:defRPr sz="1600">
                <a:solidFill>
                  <a:schemeClr val="tx2"/>
                </a:solidFill>
                <a:latin typeface="Arial" panose="020B0604020202020204" pitchFamily="34" charset="0"/>
              </a:defRPr>
            </a:lvl9pPr>
          </a:lstStyle>
          <a:p>
            <a:pPr>
              <a:lnSpc>
                <a:spcPct val="90000"/>
              </a:lnSpc>
              <a:spcBef>
                <a:spcPct val="0"/>
              </a:spcBef>
              <a:buFontTx/>
              <a:buNone/>
            </a:pPr>
            <a:endParaRPr lang="en-US" altLang="en-US" sz="2798" b="1" dirty="0">
              <a:solidFill>
                <a:srgbClr val="3F3F3F"/>
              </a:solidFill>
            </a:endParaRPr>
          </a:p>
        </p:txBody>
      </p:sp>
      <p:sp>
        <p:nvSpPr>
          <p:cNvPr id="61" name="Rectangle 60"/>
          <p:cNvSpPr/>
          <p:nvPr/>
        </p:nvSpPr>
        <p:spPr>
          <a:xfrm>
            <a:off x="3293432" y="2460973"/>
            <a:ext cx="2956359" cy="244618"/>
          </a:xfrm>
          <a:prstGeom prst="rect">
            <a:avLst/>
          </a:prstGeom>
        </p:spPr>
        <p:txBody>
          <a:bodyPr wrap="square">
            <a:spAutoFit/>
          </a:bodyPr>
          <a:lstStyle/>
          <a:p>
            <a:pPr>
              <a:lnSpc>
                <a:spcPct val="90000"/>
              </a:lnSpc>
              <a:spcBef>
                <a:spcPts val="600"/>
              </a:spcBef>
            </a:pPr>
            <a:endParaRPr lang="en-US" sz="1100" b="1" dirty="0"/>
          </a:p>
        </p:txBody>
      </p:sp>
      <p:sp>
        <p:nvSpPr>
          <p:cNvPr id="62" name="Title 1"/>
          <p:cNvSpPr txBox="1">
            <a:spLocks/>
          </p:cNvSpPr>
          <p:nvPr/>
        </p:nvSpPr>
        <p:spPr>
          <a:xfrm>
            <a:off x="560670" y="650672"/>
            <a:ext cx="5156019" cy="71286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r>
              <a:rPr lang="en-US" sz="2599" dirty="0"/>
              <a:t>Tools help members get what they need, when they need it </a:t>
            </a:r>
          </a:p>
        </p:txBody>
      </p:sp>
      <p:sp>
        <p:nvSpPr>
          <p:cNvPr id="3" name="Rectangle 2"/>
          <p:cNvSpPr/>
          <p:nvPr/>
        </p:nvSpPr>
        <p:spPr bwMode="gray">
          <a:xfrm>
            <a:off x="10030390" y="6114352"/>
            <a:ext cx="1914026" cy="609441"/>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sp>
        <p:nvSpPr>
          <p:cNvPr id="56" name="Rectangle 55">
            <a:extLst>
              <a:ext uri="{FF2B5EF4-FFF2-40B4-BE49-F238E27FC236}">
                <a16:creationId xmlns:a16="http://schemas.microsoft.com/office/drawing/2014/main" id="{54024230-2453-6D40-A42A-02F11F36F499}"/>
              </a:ext>
            </a:extLst>
          </p:cNvPr>
          <p:cNvSpPr/>
          <p:nvPr/>
        </p:nvSpPr>
        <p:spPr bwMode="gray">
          <a:xfrm>
            <a:off x="5716689" y="893"/>
            <a:ext cx="6472138" cy="6856214"/>
          </a:xfrm>
          <a:prstGeom prst="rect">
            <a:avLst/>
          </a:prstGeom>
          <a:solidFill>
            <a:srgbClr val="E3F0FA">
              <a:alpha val="50000"/>
            </a:srgb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ndParaRPr>
          </a:p>
        </p:txBody>
      </p:sp>
      <p:grpSp>
        <p:nvGrpSpPr>
          <p:cNvPr id="31" name="Group 30"/>
          <p:cNvGrpSpPr/>
          <p:nvPr/>
        </p:nvGrpSpPr>
        <p:grpSpPr>
          <a:xfrm>
            <a:off x="10312609" y="457976"/>
            <a:ext cx="1253310" cy="2228912"/>
            <a:chOff x="3250941" y="1589789"/>
            <a:chExt cx="1677540" cy="3417711"/>
          </a:xfrm>
        </p:grpSpPr>
        <p:grpSp>
          <p:nvGrpSpPr>
            <p:cNvPr id="32" name="Group 31"/>
            <p:cNvGrpSpPr/>
            <p:nvPr/>
          </p:nvGrpSpPr>
          <p:grpSpPr>
            <a:xfrm>
              <a:off x="3250941" y="1589789"/>
              <a:ext cx="1677540" cy="3417711"/>
              <a:chOff x="3250941" y="1589789"/>
              <a:chExt cx="1677540" cy="3417711"/>
            </a:xfrm>
          </p:grpSpPr>
          <p:pic>
            <p:nvPicPr>
              <p:cNvPr id="38" name="Picture 37" descr="iphon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250941" y="1589789"/>
                <a:ext cx="1677540" cy="3417711"/>
              </a:xfrm>
              <a:prstGeom prst="rect">
                <a:avLst/>
              </a:prstGeom>
              <a:effectLst>
                <a:outerShdw blurRad="50800" dist="38100" dir="5400000" algn="t" rotWithShape="0">
                  <a:prstClr val="black">
                    <a:alpha val="40000"/>
                  </a:prstClr>
                </a:outerShdw>
              </a:effectLst>
            </p:spPr>
          </p:pic>
          <p:pic>
            <p:nvPicPr>
              <p:cNvPr id="39" name="Picture 3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368505" y="2010833"/>
                <a:ext cx="1430222" cy="2529417"/>
              </a:xfrm>
              <a:prstGeom prst="rect">
                <a:avLst/>
              </a:prstGeom>
            </p:spPr>
          </p:pic>
        </p:grpSp>
        <p:pic>
          <p:nvPicPr>
            <p:cNvPr id="36" name="Picture 35"/>
            <p:cNvPicPr>
              <a:picLocks noChangeAspect="1"/>
            </p:cNvPicPr>
            <p:nvPr/>
          </p:nvPicPr>
          <p:blipFill>
            <a:blip r:embed="rId11" cstate="email">
              <a:extLst>
                <a:ext uri="{BEBA8EAE-BF5A-486C-A8C5-ECC9F3942E4B}">
                  <a14:imgProps xmlns:a14="http://schemas.microsoft.com/office/drawing/2010/main">
                    <a14:imgLayer r:embed="rId12">
                      <a14:imgEffect>
                        <a14:sharpenSoften amount="25000"/>
                      </a14:imgEffect>
                    </a14:imgLayer>
                  </a14:imgProps>
                </a:ext>
                <a:ext uri="{28A0092B-C50C-407E-A947-70E740481C1C}">
                  <a14:useLocalDpi xmlns:a14="http://schemas.microsoft.com/office/drawing/2010/main"/>
                </a:ext>
              </a:extLst>
            </a:blip>
            <a:stretch>
              <a:fillRect/>
            </a:stretch>
          </p:blipFill>
          <p:spPr>
            <a:xfrm>
              <a:off x="3370472" y="2066654"/>
              <a:ext cx="1429823" cy="1766025"/>
            </a:xfrm>
            <a:prstGeom prst="rect">
              <a:avLst/>
            </a:prstGeom>
          </p:spPr>
        </p:pic>
        <p:sp>
          <p:nvSpPr>
            <p:cNvPr id="37" name="Rectangle 36"/>
            <p:cNvSpPr/>
            <p:nvPr/>
          </p:nvSpPr>
          <p:spPr>
            <a:xfrm>
              <a:off x="3370036" y="3828143"/>
              <a:ext cx="1428750" cy="716643"/>
            </a:xfrm>
            <a:prstGeom prst="rect">
              <a:avLst/>
            </a:prstGeom>
            <a:solidFill>
              <a:srgbClr val="ADDEE8"/>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99" b="1" dirty="0">
                <a:solidFill>
                  <a:schemeClr val="bg1"/>
                </a:solidFill>
              </a:endParaRPr>
            </a:p>
          </p:txBody>
        </p:sp>
      </p:grpSp>
      <p:grpSp>
        <p:nvGrpSpPr>
          <p:cNvPr id="50" name="Group 49"/>
          <p:cNvGrpSpPr/>
          <p:nvPr/>
        </p:nvGrpSpPr>
        <p:grpSpPr>
          <a:xfrm>
            <a:off x="8410321" y="458988"/>
            <a:ext cx="1253310" cy="2209359"/>
            <a:chOff x="1800076" y="1657525"/>
            <a:chExt cx="1661614" cy="3385266"/>
          </a:xfrm>
        </p:grpSpPr>
        <p:pic>
          <p:nvPicPr>
            <p:cNvPr id="51" name="Picture 50" descr="iphon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800076" y="1657525"/>
              <a:ext cx="1661614" cy="3385266"/>
            </a:xfrm>
            <a:prstGeom prst="rect">
              <a:avLst/>
            </a:prstGeom>
            <a:effectLst>
              <a:outerShdw blurRad="50800" dist="38100" dir="5400000" algn="t" rotWithShape="0">
                <a:prstClr val="black">
                  <a:alpha val="40000"/>
                </a:prstClr>
              </a:outerShdw>
            </a:effectLst>
          </p:spPr>
        </p:pic>
        <p:pic>
          <p:nvPicPr>
            <p:cNvPr id="52" name="Picture 51"/>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910904" y="2066731"/>
              <a:ext cx="1436107" cy="2558130"/>
            </a:xfrm>
            <a:prstGeom prst="rect">
              <a:avLst/>
            </a:prstGeom>
            <a:ln w="6350" cmpd="sng">
              <a:solidFill>
                <a:schemeClr val="tx1"/>
              </a:solidFill>
            </a:ln>
          </p:spPr>
        </p:pic>
      </p:grpSp>
      <p:grpSp>
        <p:nvGrpSpPr>
          <p:cNvPr id="58" name="Group 57"/>
          <p:cNvGrpSpPr/>
          <p:nvPr/>
        </p:nvGrpSpPr>
        <p:grpSpPr>
          <a:xfrm>
            <a:off x="6422057" y="459866"/>
            <a:ext cx="1255998" cy="2207845"/>
            <a:chOff x="589226" y="1772243"/>
            <a:chExt cx="1493003" cy="3041748"/>
          </a:xfrm>
        </p:grpSpPr>
        <p:pic>
          <p:nvPicPr>
            <p:cNvPr id="59" name="Picture 58" descr="iphon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9226" y="1772243"/>
              <a:ext cx="1493003" cy="3041748"/>
            </a:xfrm>
            <a:prstGeom prst="rect">
              <a:avLst/>
            </a:prstGeom>
            <a:effectLst>
              <a:outerShdw blurRad="50800" dist="38100" dir="5400000" algn="t" rotWithShape="0">
                <a:prstClr val="black">
                  <a:alpha val="40000"/>
                </a:prstClr>
              </a:outerShdw>
            </a:effectLst>
          </p:spPr>
        </p:pic>
        <p:pic>
          <p:nvPicPr>
            <p:cNvPr id="60" name="Picture 59">
              <a:extLst>
                <a:ext uri="{FF2B5EF4-FFF2-40B4-BE49-F238E27FC236}">
                  <a16:creationId xmlns:a16="http://schemas.microsoft.com/office/drawing/2014/main" id="{6D49F8D9-05E1-EB40-ABB5-27A5C5AA907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99581" y="2144491"/>
              <a:ext cx="1278422" cy="2284712"/>
            </a:xfrm>
            <a:prstGeom prst="rect">
              <a:avLst/>
            </a:prstGeom>
          </p:spPr>
        </p:pic>
      </p:grpSp>
      <p:cxnSp>
        <p:nvCxnSpPr>
          <p:cNvPr id="67" name="Straight Connector 66">
            <a:extLst>
              <a:ext uri="{FF2B5EF4-FFF2-40B4-BE49-F238E27FC236}">
                <a16:creationId xmlns:a16="http://schemas.microsoft.com/office/drawing/2014/main" id="{E02648C9-831A-7A4D-B292-ACFAA2D11821}"/>
              </a:ext>
            </a:extLst>
          </p:cNvPr>
          <p:cNvCxnSpPr>
            <a:cxnSpLocks/>
          </p:cNvCxnSpPr>
          <p:nvPr/>
        </p:nvCxnSpPr>
        <p:spPr>
          <a:xfrm>
            <a:off x="6847154" y="2882433"/>
            <a:ext cx="405391" cy="0"/>
          </a:xfrm>
          <a:prstGeom prst="line">
            <a:avLst/>
          </a:prstGeom>
          <a:ln w="25400" cmpd="sng">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5908493" y="3017432"/>
            <a:ext cx="2306230" cy="538982"/>
          </a:xfrm>
          <a:prstGeom prst="rect">
            <a:avLst/>
          </a:prstGeom>
          <a:noFill/>
        </p:spPr>
        <p:txBody>
          <a:bodyPr wrap="square" lIns="0" tIns="0" rIns="0" bIns="0" rtlCol="0">
            <a:spAutoFit/>
          </a:bodyPr>
          <a:lstStyle/>
          <a:p>
            <a:pPr algn="ctr">
              <a:lnSpc>
                <a:spcPct val="90000"/>
              </a:lnSpc>
              <a:spcAft>
                <a:spcPts val="100"/>
              </a:spcAft>
            </a:pPr>
            <a:r>
              <a:rPr lang="en-US" sz="1400" b="1" dirty="0">
                <a:solidFill>
                  <a:schemeClr val="accent1">
                    <a:lumMod val="50000"/>
                  </a:schemeClr>
                </a:solidFill>
              </a:rPr>
              <a:t>Secure messaging</a:t>
            </a:r>
          </a:p>
          <a:p>
            <a:pPr algn="ctr">
              <a:lnSpc>
                <a:spcPct val="90000"/>
              </a:lnSpc>
              <a:spcAft>
                <a:spcPts val="100"/>
              </a:spcAft>
            </a:pPr>
            <a:r>
              <a:rPr lang="en-US" sz="1200" dirty="0"/>
              <a:t>1-on-1 CareTeam support where and when patients need it</a:t>
            </a:r>
          </a:p>
        </p:txBody>
      </p:sp>
      <p:sp>
        <p:nvSpPr>
          <p:cNvPr id="69" name="TextBox 68"/>
          <p:cNvSpPr txBox="1"/>
          <p:nvPr/>
        </p:nvSpPr>
        <p:spPr>
          <a:xfrm>
            <a:off x="8480253" y="3022640"/>
            <a:ext cx="1157588" cy="551802"/>
          </a:xfrm>
          <a:prstGeom prst="rect">
            <a:avLst/>
          </a:prstGeom>
          <a:noFill/>
        </p:spPr>
        <p:txBody>
          <a:bodyPr wrap="square" lIns="0" tIns="0" rIns="0" bIns="0" rtlCol="0">
            <a:spAutoFit/>
          </a:bodyPr>
          <a:lstStyle/>
          <a:p>
            <a:pPr algn="ctr">
              <a:lnSpc>
                <a:spcPct val="90000"/>
              </a:lnSpc>
              <a:spcAft>
                <a:spcPts val="100"/>
              </a:spcAft>
            </a:pPr>
            <a:r>
              <a:rPr lang="en-US" sz="1400" b="1" dirty="0">
                <a:solidFill>
                  <a:schemeClr val="accent1">
                    <a:lumMod val="50000"/>
                  </a:schemeClr>
                </a:solidFill>
              </a:rPr>
              <a:t>Mobile app</a:t>
            </a:r>
          </a:p>
          <a:p>
            <a:pPr algn="ctr">
              <a:lnSpc>
                <a:spcPct val="90000"/>
              </a:lnSpc>
              <a:spcAft>
                <a:spcPts val="100"/>
              </a:spcAft>
            </a:pPr>
            <a:r>
              <a:rPr lang="en-US" sz="1200" dirty="0"/>
              <a:t>Manage refills, </a:t>
            </a:r>
          </a:p>
          <a:p>
            <a:pPr algn="ctr">
              <a:lnSpc>
                <a:spcPct val="90000"/>
              </a:lnSpc>
              <a:spcAft>
                <a:spcPts val="100"/>
              </a:spcAft>
            </a:pPr>
            <a:r>
              <a:rPr lang="en-US" sz="1200" dirty="0"/>
              <a:t>set reminders</a:t>
            </a:r>
          </a:p>
        </p:txBody>
      </p:sp>
      <p:sp>
        <p:nvSpPr>
          <p:cNvPr id="74" name="TextBox 73"/>
          <p:cNvSpPr txBox="1"/>
          <p:nvPr/>
        </p:nvSpPr>
        <p:spPr>
          <a:xfrm>
            <a:off x="10331938" y="3028362"/>
            <a:ext cx="1214732" cy="551802"/>
          </a:xfrm>
          <a:prstGeom prst="rect">
            <a:avLst/>
          </a:prstGeom>
          <a:noFill/>
        </p:spPr>
        <p:txBody>
          <a:bodyPr wrap="square" lIns="0" tIns="0" rIns="0" bIns="0" rtlCol="0">
            <a:spAutoFit/>
          </a:bodyPr>
          <a:lstStyle/>
          <a:p>
            <a:pPr algn="ctr">
              <a:lnSpc>
                <a:spcPct val="90000"/>
              </a:lnSpc>
              <a:spcAft>
                <a:spcPts val="100"/>
              </a:spcAft>
            </a:pPr>
            <a:r>
              <a:rPr lang="en-US" sz="1400" b="1" dirty="0">
                <a:solidFill>
                  <a:schemeClr val="accent1">
                    <a:lumMod val="50000"/>
                  </a:schemeClr>
                </a:solidFill>
              </a:rPr>
              <a:t>Secure email</a:t>
            </a:r>
            <a:endParaRPr lang="en-US" sz="1400" dirty="0">
              <a:solidFill>
                <a:schemeClr val="accent1">
                  <a:lumMod val="50000"/>
                </a:schemeClr>
              </a:solidFill>
            </a:endParaRPr>
          </a:p>
          <a:p>
            <a:pPr algn="ctr">
              <a:lnSpc>
                <a:spcPct val="90000"/>
              </a:lnSpc>
              <a:spcAft>
                <a:spcPts val="100"/>
              </a:spcAft>
            </a:pPr>
            <a:r>
              <a:rPr lang="en-US" sz="1200" dirty="0"/>
              <a:t>Track orders,</a:t>
            </a:r>
          </a:p>
          <a:p>
            <a:pPr algn="ctr">
              <a:lnSpc>
                <a:spcPct val="90000"/>
              </a:lnSpc>
              <a:spcAft>
                <a:spcPts val="100"/>
              </a:spcAft>
            </a:pPr>
            <a:r>
              <a:rPr lang="en-US" sz="1200" dirty="0"/>
              <a:t>refill reminders</a:t>
            </a:r>
          </a:p>
        </p:txBody>
      </p:sp>
      <p:cxnSp>
        <p:nvCxnSpPr>
          <p:cNvPr id="92" name="Straight Connector 91">
            <a:extLst>
              <a:ext uri="{FF2B5EF4-FFF2-40B4-BE49-F238E27FC236}">
                <a16:creationId xmlns:a16="http://schemas.microsoft.com/office/drawing/2014/main" id="{E02648C9-831A-7A4D-B292-ACFAA2D11821}"/>
              </a:ext>
            </a:extLst>
          </p:cNvPr>
          <p:cNvCxnSpPr>
            <a:cxnSpLocks/>
          </p:cNvCxnSpPr>
          <p:nvPr/>
        </p:nvCxnSpPr>
        <p:spPr>
          <a:xfrm>
            <a:off x="8837903" y="2882296"/>
            <a:ext cx="405391" cy="0"/>
          </a:xfrm>
          <a:prstGeom prst="line">
            <a:avLst/>
          </a:prstGeom>
          <a:ln w="25400" cmpd="sng">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02648C9-831A-7A4D-B292-ACFAA2D11821}"/>
              </a:ext>
            </a:extLst>
          </p:cNvPr>
          <p:cNvCxnSpPr>
            <a:cxnSpLocks/>
          </p:cNvCxnSpPr>
          <p:nvPr/>
        </p:nvCxnSpPr>
        <p:spPr>
          <a:xfrm>
            <a:off x="10728021" y="2883621"/>
            <a:ext cx="405391" cy="0"/>
          </a:xfrm>
          <a:prstGeom prst="line">
            <a:avLst/>
          </a:prstGeom>
          <a:ln w="25400" cmpd="sng">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478964" y="3190355"/>
            <a:ext cx="4397983" cy="1341557"/>
          </a:xfrm>
          <a:prstGeom prst="rect">
            <a:avLst/>
          </a:prstGeom>
        </p:spPr>
        <p:txBody>
          <a:bodyPr wrap="square">
            <a:spAutoFit/>
          </a:bodyPr>
          <a:lstStyle/>
          <a:p>
            <a:pPr>
              <a:lnSpc>
                <a:spcPct val="85000"/>
              </a:lnSpc>
              <a:spcAft>
                <a:spcPts val="600"/>
              </a:spcAft>
            </a:pPr>
            <a:r>
              <a:rPr lang="en-US" sz="1600" b="1" dirty="0">
                <a:solidFill>
                  <a:schemeClr val="accent1">
                    <a:lumMod val="50000"/>
                  </a:schemeClr>
                </a:solidFill>
              </a:rPr>
              <a:t>Convenience, savings and ease of use</a:t>
            </a:r>
          </a:p>
          <a:p>
            <a:pPr marL="169812" indent="-169812">
              <a:lnSpc>
                <a:spcPct val="85000"/>
              </a:lnSpc>
              <a:spcAft>
                <a:spcPts val="600"/>
              </a:spcAft>
              <a:buFont typeface="Arial" panose="020B0604020202020204" pitchFamily="34" charset="0"/>
              <a:buChar char="•"/>
            </a:pPr>
            <a:r>
              <a:rPr lang="en-US" sz="1400" dirty="0"/>
              <a:t>Mobile prescription pick up and pay </a:t>
            </a:r>
          </a:p>
          <a:p>
            <a:pPr marL="169812" indent="-169812">
              <a:lnSpc>
                <a:spcPct val="85000"/>
              </a:lnSpc>
              <a:spcAft>
                <a:spcPts val="600"/>
              </a:spcAft>
              <a:buFont typeface="Arial" panose="020B0604020202020204" pitchFamily="34" charset="0"/>
              <a:buChar char="•"/>
            </a:pPr>
            <a:r>
              <a:rPr lang="en-US" sz="1400" dirty="0"/>
              <a:t>Two-way text </a:t>
            </a:r>
          </a:p>
          <a:p>
            <a:pPr marL="169812" indent="-169812">
              <a:lnSpc>
                <a:spcPct val="85000"/>
              </a:lnSpc>
              <a:spcAft>
                <a:spcPts val="600"/>
              </a:spcAft>
              <a:buFont typeface="Arial" panose="020B0604020202020204" pitchFamily="34" charset="0"/>
              <a:buChar char="•"/>
            </a:pPr>
            <a:r>
              <a:rPr lang="en-US" sz="1400" dirty="0"/>
              <a:t>Scan to refill</a:t>
            </a:r>
          </a:p>
          <a:p>
            <a:pPr marL="169812" indent="-169812">
              <a:lnSpc>
                <a:spcPct val="85000"/>
              </a:lnSpc>
              <a:spcAft>
                <a:spcPts val="600"/>
              </a:spcAft>
              <a:buFont typeface="Arial" panose="020B0604020202020204" pitchFamily="34" charset="0"/>
              <a:buChar char="•"/>
            </a:pPr>
            <a:r>
              <a:rPr lang="en-US" sz="1400" dirty="0"/>
              <a:t>Refill text reminders</a:t>
            </a:r>
          </a:p>
        </p:txBody>
      </p:sp>
      <p:sp>
        <p:nvSpPr>
          <p:cNvPr id="23" name="Rectangle 22"/>
          <p:cNvSpPr/>
          <p:nvPr/>
        </p:nvSpPr>
        <p:spPr>
          <a:xfrm>
            <a:off x="478964" y="4704509"/>
            <a:ext cx="4889025" cy="1264633"/>
          </a:xfrm>
          <a:prstGeom prst="rect">
            <a:avLst/>
          </a:prstGeom>
        </p:spPr>
        <p:txBody>
          <a:bodyPr wrap="square">
            <a:spAutoFit/>
          </a:bodyPr>
          <a:lstStyle/>
          <a:p>
            <a:pPr>
              <a:lnSpc>
                <a:spcPct val="85000"/>
              </a:lnSpc>
              <a:spcAft>
                <a:spcPts val="600"/>
              </a:spcAft>
            </a:pPr>
            <a:r>
              <a:rPr lang="en-US" sz="1600" b="1" dirty="0">
                <a:solidFill>
                  <a:schemeClr val="accent1">
                    <a:lumMod val="50000"/>
                  </a:schemeClr>
                </a:solidFill>
              </a:rPr>
              <a:t>Benefit access and transparency</a:t>
            </a:r>
          </a:p>
          <a:p>
            <a:pPr marL="169812" indent="-169812">
              <a:lnSpc>
                <a:spcPct val="85000"/>
              </a:lnSpc>
              <a:spcAft>
                <a:spcPts val="600"/>
              </a:spcAft>
              <a:buFont typeface="Arial" panose="020B0604020202020204" pitchFamily="34" charset="0"/>
              <a:buChar char="•"/>
            </a:pPr>
            <a:r>
              <a:rPr lang="en-US" sz="1400" dirty="0"/>
              <a:t>Real-time benefits information through EHR</a:t>
            </a:r>
          </a:p>
          <a:p>
            <a:pPr marL="169812" indent="-169812">
              <a:lnSpc>
                <a:spcPct val="85000"/>
              </a:lnSpc>
              <a:spcAft>
                <a:spcPts val="600"/>
              </a:spcAft>
              <a:buFont typeface="Arial" panose="020B0604020202020204" pitchFamily="34" charset="0"/>
              <a:buChar char="•"/>
            </a:pPr>
            <a:r>
              <a:rPr lang="en-US" sz="1400" dirty="0"/>
              <a:t>Check drug cost and coverage</a:t>
            </a:r>
          </a:p>
          <a:p>
            <a:pPr marL="169812" indent="-169812">
              <a:lnSpc>
                <a:spcPct val="85000"/>
              </a:lnSpc>
              <a:spcAft>
                <a:spcPts val="600"/>
              </a:spcAft>
              <a:buFont typeface="Arial" panose="020B0604020202020204" pitchFamily="34" charset="0"/>
              <a:buChar char="•"/>
            </a:pPr>
            <a:r>
              <a:rPr lang="en-US" sz="1400" dirty="0"/>
              <a:t>Early registration at Caremark.com </a:t>
            </a:r>
            <a:br>
              <a:rPr lang="en-US" sz="1400" dirty="0"/>
            </a:br>
            <a:r>
              <a:rPr lang="en-US" sz="1400" dirty="0"/>
              <a:t>to provide access before effective date</a:t>
            </a:r>
          </a:p>
        </p:txBody>
      </p:sp>
      <p:sp>
        <p:nvSpPr>
          <p:cNvPr id="29" name="Rectangle 28"/>
          <p:cNvSpPr/>
          <p:nvPr/>
        </p:nvSpPr>
        <p:spPr>
          <a:xfrm>
            <a:off x="467949" y="1671954"/>
            <a:ext cx="4686666" cy="1341557"/>
          </a:xfrm>
          <a:prstGeom prst="rect">
            <a:avLst/>
          </a:prstGeom>
        </p:spPr>
        <p:txBody>
          <a:bodyPr wrap="square">
            <a:spAutoFit/>
          </a:bodyPr>
          <a:lstStyle/>
          <a:p>
            <a:pPr>
              <a:lnSpc>
                <a:spcPct val="85000"/>
              </a:lnSpc>
              <a:spcAft>
                <a:spcPts val="600"/>
              </a:spcAft>
            </a:pPr>
            <a:r>
              <a:rPr lang="en-US" sz="1600" b="1" dirty="0">
                <a:solidFill>
                  <a:schemeClr val="accent1">
                    <a:lumMod val="50000"/>
                  </a:schemeClr>
                </a:solidFill>
              </a:rPr>
              <a:t>Connections to care</a:t>
            </a:r>
          </a:p>
          <a:p>
            <a:pPr marL="169812" indent="-169812">
              <a:lnSpc>
                <a:spcPct val="85000"/>
              </a:lnSpc>
              <a:spcAft>
                <a:spcPts val="600"/>
              </a:spcAft>
              <a:buFont typeface="Arial" panose="020B0604020202020204" pitchFamily="34" charset="0"/>
              <a:buChar char="•"/>
            </a:pPr>
            <a:r>
              <a:rPr lang="en-US" sz="1400" dirty="0"/>
              <a:t>Secure messaging</a:t>
            </a:r>
          </a:p>
          <a:p>
            <a:pPr marL="169812" indent="-169812">
              <a:lnSpc>
                <a:spcPct val="85000"/>
              </a:lnSpc>
              <a:spcAft>
                <a:spcPts val="600"/>
              </a:spcAft>
              <a:buFont typeface="Arial" panose="020B0604020202020204" pitchFamily="34" charset="0"/>
              <a:buChar char="•"/>
            </a:pPr>
            <a:r>
              <a:rPr lang="en-US" sz="1400" dirty="0"/>
              <a:t>Connected glucose meters</a:t>
            </a:r>
          </a:p>
          <a:p>
            <a:pPr marL="169812" indent="-169812">
              <a:lnSpc>
                <a:spcPct val="85000"/>
              </a:lnSpc>
              <a:spcAft>
                <a:spcPts val="600"/>
              </a:spcAft>
              <a:buFont typeface="Arial" panose="020B0604020202020204" pitchFamily="34" charset="0"/>
              <a:buChar char="•"/>
            </a:pPr>
            <a:r>
              <a:rPr lang="en-US" sz="1400" dirty="0"/>
              <a:t>MinuteClinic hold-my-place-in-line app</a:t>
            </a:r>
          </a:p>
          <a:p>
            <a:pPr marL="169812" indent="-169812">
              <a:lnSpc>
                <a:spcPct val="85000"/>
              </a:lnSpc>
              <a:spcAft>
                <a:spcPts val="600"/>
              </a:spcAft>
              <a:buFont typeface="Arial" panose="020B0604020202020204" pitchFamily="34" charset="0"/>
              <a:buChar char="•"/>
            </a:pPr>
            <a:r>
              <a:rPr lang="en-US" sz="1400" dirty="0"/>
              <a:t>MinuteClinic video visits</a:t>
            </a:r>
          </a:p>
        </p:txBody>
      </p:sp>
      <p:cxnSp>
        <p:nvCxnSpPr>
          <p:cNvPr id="80" name="Straight Connector 79">
            <a:extLst>
              <a:ext uri="{FF2B5EF4-FFF2-40B4-BE49-F238E27FC236}">
                <a16:creationId xmlns:a16="http://schemas.microsoft.com/office/drawing/2014/main" id="{E02648C9-831A-7A4D-B292-ACFAA2D11821}"/>
              </a:ext>
            </a:extLst>
          </p:cNvPr>
          <p:cNvCxnSpPr>
            <a:cxnSpLocks/>
          </p:cNvCxnSpPr>
          <p:nvPr/>
        </p:nvCxnSpPr>
        <p:spPr>
          <a:xfrm>
            <a:off x="8832829" y="5447378"/>
            <a:ext cx="405391" cy="0"/>
          </a:xfrm>
          <a:prstGeom prst="line">
            <a:avLst/>
          </a:prstGeom>
          <a:ln w="25400" cmpd="sng">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7594356" y="5609608"/>
            <a:ext cx="2882332" cy="538982"/>
          </a:xfrm>
          <a:prstGeom prst="rect">
            <a:avLst/>
          </a:prstGeom>
          <a:noFill/>
        </p:spPr>
        <p:txBody>
          <a:bodyPr wrap="square" lIns="0" tIns="0" rIns="0" bIns="0" rtlCol="0">
            <a:spAutoFit/>
          </a:bodyPr>
          <a:lstStyle/>
          <a:p>
            <a:pPr algn="ctr">
              <a:lnSpc>
                <a:spcPct val="90000"/>
              </a:lnSpc>
              <a:spcAft>
                <a:spcPts val="100"/>
              </a:spcAft>
            </a:pPr>
            <a:r>
              <a:rPr lang="en-US" sz="1400" b="1" dirty="0">
                <a:solidFill>
                  <a:schemeClr val="accent1">
                    <a:lumMod val="50000"/>
                  </a:schemeClr>
                </a:solidFill>
              </a:rPr>
              <a:t>Website</a:t>
            </a:r>
          </a:p>
          <a:p>
            <a:pPr algn="ctr">
              <a:lnSpc>
                <a:spcPct val="90000"/>
              </a:lnSpc>
              <a:spcAft>
                <a:spcPts val="100"/>
              </a:spcAft>
            </a:pPr>
            <a:r>
              <a:rPr lang="en-US" sz="1200" dirty="0"/>
              <a:t>Condition education, registration, refills, payments, account management</a:t>
            </a:r>
          </a:p>
        </p:txBody>
      </p:sp>
      <p:grpSp>
        <p:nvGrpSpPr>
          <p:cNvPr id="84" name="Group 83">
            <a:extLst>
              <a:ext uri="{FF2B5EF4-FFF2-40B4-BE49-F238E27FC236}">
                <a16:creationId xmlns:a16="http://schemas.microsoft.com/office/drawing/2014/main" id="{94F02B14-26DC-47C5-BE74-75AB1C1533A3}"/>
              </a:ext>
            </a:extLst>
          </p:cNvPr>
          <p:cNvGrpSpPr>
            <a:grpSpLocks noChangeAspect="1"/>
          </p:cNvGrpSpPr>
          <p:nvPr/>
        </p:nvGrpSpPr>
        <p:grpSpPr bwMode="gray">
          <a:xfrm>
            <a:off x="10353062" y="6372550"/>
            <a:ext cx="1278847" cy="157097"/>
            <a:chOff x="1011652" y="1504398"/>
            <a:chExt cx="10028238" cy="1231900"/>
          </a:xfrm>
          <a:solidFill>
            <a:schemeClr val="tx1"/>
          </a:solidFill>
        </p:grpSpPr>
        <p:sp>
          <p:nvSpPr>
            <p:cNvPr id="85" name="Freeform 4">
              <a:extLst>
                <a:ext uri="{FF2B5EF4-FFF2-40B4-BE49-F238E27FC236}">
                  <a16:creationId xmlns:a16="http://schemas.microsoft.com/office/drawing/2014/main" id="{C03C60BD-E208-4793-B163-0391E0673CC6}"/>
                </a:ext>
              </a:extLst>
            </p:cNvPr>
            <p:cNvSpPr>
              <a:spLocks noEditPoints="1"/>
            </p:cNvSpPr>
            <p:nvPr/>
          </p:nvSpPr>
          <p:spPr bwMode="gray">
            <a:xfrm>
              <a:off x="5917027" y="1539323"/>
              <a:ext cx="4808538" cy="1189038"/>
            </a:xfrm>
            <a:custGeom>
              <a:avLst/>
              <a:gdLst>
                <a:gd name="T0" fmla="*/ 701 w 1134"/>
                <a:gd name="T1" fmla="*/ 273 h 278"/>
                <a:gd name="T2" fmla="*/ 675 w 1134"/>
                <a:gd name="T3" fmla="*/ 248 h 278"/>
                <a:gd name="T4" fmla="*/ 701 w 1134"/>
                <a:gd name="T5" fmla="*/ 109 h 278"/>
                <a:gd name="T6" fmla="*/ 645 w 1134"/>
                <a:gd name="T7" fmla="*/ 84 h 278"/>
                <a:gd name="T8" fmla="*/ 576 w 1134"/>
                <a:gd name="T9" fmla="*/ 79 h 278"/>
                <a:gd name="T10" fmla="*/ 576 w 1134"/>
                <a:gd name="T11" fmla="*/ 278 h 278"/>
                <a:gd name="T12" fmla="*/ 645 w 1134"/>
                <a:gd name="T13" fmla="*/ 273 h 278"/>
                <a:gd name="T14" fmla="*/ 426 w 1134"/>
                <a:gd name="T15" fmla="*/ 222 h 278"/>
                <a:gd name="T16" fmla="*/ 299 w 1134"/>
                <a:gd name="T17" fmla="*/ 189 h 278"/>
                <a:gd name="T18" fmla="*/ 461 w 1134"/>
                <a:gd name="T19" fmla="*/ 175 h 278"/>
                <a:gd name="T20" fmla="*/ 267 w 1134"/>
                <a:gd name="T21" fmla="*/ 178 h 278"/>
                <a:gd name="T22" fmla="*/ 456 w 1134"/>
                <a:gd name="T23" fmla="*/ 222 h 278"/>
                <a:gd name="T24" fmla="*/ 59 w 1134"/>
                <a:gd name="T25" fmla="*/ 25 h 278"/>
                <a:gd name="T26" fmla="*/ 86 w 1134"/>
                <a:gd name="T27" fmla="*/ 0 h 278"/>
                <a:gd name="T28" fmla="*/ 0 w 1134"/>
                <a:gd name="T29" fmla="*/ 25 h 278"/>
                <a:gd name="T30" fmla="*/ 27 w 1134"/>
                <a:gd name="T31" fmla="*/ 247 h 278"/>
                <a:gd name="T32" fmla="*/ 0 w 1134"/>
                <a:gd name="T33" fmla="*/ 273 h 278"/>
                <a:gd name="T34" fmla="*/ 86 w 1134"/>
                <a:gd name="T35" fmla="*/ 247 h 278"/>
                <a:gd name="T36" fmla="*/ 59 w 1134"/>
                <a:gd name="T37" fmla="*/ 138 h 278"/>
                <a:gd name="T38" fmla="*/ 196 w 1134"/>
                <a:gd name="T39" fmla="*/ 247 h 278"/>
                <a:gd name="T40" fmla="*/ 168 w 1134"/>
                <a:gd name="T41" fmla="*/ 273 h 278"/>
                <a:gd name="T42" fmla="*/ 255 w 1134"/>
                <a:gd name="T43" fmla="*/ 247 h 278"/>
                <a:gd name="T44" fmla="*/ 227 w 1134"/>
                <a:gd name="T45" fmla="*/ 25 h 278"/>
                <a:gd name="T46" fmla="*/ 255 w 1134"/>
                <a:gd name="T47" fmla="*/ 0 h 278"/>
                <a:gd name="T48" fmla="*/ 168 w 1134"/>
                <a:gd name="T49" fmla="*/ 25 h 278"/>
                <a:gd name="T50" fmla="*/ 196 w 1134"/>
                <a:gd name="T51" fmla="*/ 114 h 278"/>
                <a:gd name="T52" fmla="*/ 996 w 1134"/>
                <a:gd name="T53" fmla="*/ 248 h 278"/>
                <a:gd name="T54" fmla="*/ 971 w 1134"/>
                <a:gd name="T55" fmla="*/ 163 h 278"/>
                <a:gd name="T56" fmla="*/ 1078 w 1134"/>
                <a:gd name="T57" fmla="*/ 163 h 278"/>
                <a:gd name="T58" fmla="*/ 1053 w 1134"/>
                <a:gd name="T59" fmla="*/ 248 h 278"/>
                <a:gd name="T60" fmla="*/ 1134 w 1134"/>
                <a:gd name="T61" fmla="*/ 273 h 278"/>
                <a:gd name="T62" fmla="*/ 1109 w 1134"/>
                <a:gd name="T63" fmla="*/ 248 h 278"/>
                <a:gd name="T64" fmla="*/ 1030 w 1134"/>
                <a:gd name="T65" fmla="*/ 79 h 278"/>
                <a:gd name="T66" fmla="*/ 971 w 1134"/>
                <a:gd name="T67" fmla="*/ 0 h 278"/>
                <a:gd name="T68" fmla="*/ 915 w 1134"/>
                <a:gd name="T69" fmla="*/ 24 h 278"/>
                <a:gd name="T70" fmla="*/ 940 w 1134"/>
                <a:gd name="T71" fmla="*/ 248 h 278"/>
                <a:gd name="T72" fmla="*/ 915 w 1134"/>
                <a:gd name="T73" fmla="*/ 273 h 278"/>
                <a:gd name="T74" fmla="*/ 996 w 1134"/>
                <a:gd name="T75" fmla="*/ 248 h 278"/>
                <a:gd name="T76" fmla="*/ 580 w 1134"/>
                <a:gd name="T77" fmla="*/ 104 h 278"/>
                <a:gd name="T78" fmla="*/ 580 w 1134"/>
                <a:gd name="T79" fmla="*/ 252 h 278"/>
                <a:gd name="T80" fmla="*/ 366 w 1134"/>
                <a:gd name="T81" fmla="*/ 104 h 278"/>
                <a:gd name="T82" fmla="*/ 299 w 1134"/>
                <a:gd name="T83" fmla="*/ 164 h 278"/>
                <a:gd name="T84" fmla="*/ 859 w 1134"/>
                <a:gd name="T85" fmla="*/ 224 h 278"/>
                <a:gd name="T86" fmla="*/ 897 w 1134"/>
                <a:gd name="T87" fmla="*/ 109 h 278"/>
                <a:gd name="T88" fmla="*/ 859 w 1134"/>
                <a:gd name="T89" fmla="*/ 84 h 278"/>
                <a:gd name="T90" fmla="*/ 829 w 1134"/>
                <a:gd name="T91" fmla="*/ 36 h 278"/>
                <a:gd name="T92" fmla="*/ 799 w 1134"/>
                <a:gd name="T93" fmla="*/ 84 h 278"/>
                <a:gd name="T94" fmla="*/ 829 w 1134"/>
                <a:gd name="T95" fmla="*/ 109 h 278"/>
                <a:gd name="T96" fmla="*/ 879 w 1134"/>
                <a:gd name="T97" fmla="*/ 275 h 278"/>
                <a:gd name="T98" fmla="*/ 897 w 1134"/>
                <a:gd name="T99" fmla="*/ 248 h 278"/>
                <a:gd name="T100" fmla="*/ 859 w 1134"/>
                <a:gd name="T101" fmla="*/ 224 h 278"/>
                <a:gd name="T102" fmla="*/ 801 w 1134"/>
                <a:gd name="T103" fmla="*/ 273 h 278"/>
                <a:gd name="T104" fmla="*/ 787 w 1134"/>
                <a:gd name="T105" fmla="*/ 249 h 278"/>
                <a:gd name="T106" fmla="*/ 768 w 1134"/>
                <a:gd name="T107" fmla="*/ 0 h 278"/>
                <a:gd name="T108" fmla="*/ 712 w 1134"/>
                <a:gd name="T109" fmla="*/ 24 h 278"/>
                <a:gd name="T110" fmla="*/ 737 w 1134"/>
                <a:gd name="T111" fmla="*/ 22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78">
                  <a:moveTo>
                    <a:pt x="645" y="273"/>
                  </a:moveTo>
                  <a:cubicBezTo>
                    <a:pt x="701" y="273"/>
                    <a:pt x="701" y="273"/>
                    <a:pt x="701" y="273"/>
                  </a:cubicBezTo>
                  <a:cubicBezTo>
                    <a:pt x="701" y="248"/>
                    <a:pt x="701" y="248"/>
                    <a:pt x="701" y="248"/>
                  </a:cubicBezTo>
                  <a:cubicBezTo>
                    <a:pt x="675" y="248"/>
                    <a:pt x="675" y="248"/>
                    <a:pt x="675" y="248"/>
                  </a:cubicBezTo>
                  <a:cubicBezTo>
                    <a:pt x="675" y="109"/>
                    <a:pt x="675" y="109"/>
                    <a:pt x="675" y="109"/>
                  </a:cubicBezTo>
                  <a:cubicBezTo>
                    <a:pt x="701" y="109"/>
                    <a:pt x="701" y="109"/>
                    <a:pt x="701" y="109"/>
                  </a:cubicBezTo>
                  <a:cubicBezTo>
                    <a:pt x="701" y="84"/>
                    <a:pt x="701" y="84"/>
                    <a:pt x="701" y="84"/>
                  </a:cubicBezTo>
                  <a:cubicBezTo>
                    <a:pt x="645" y="84"/>
                    <a:pt x="645" y="84"/>
                    <a:pt x="645" y="84"/>
                  </a:cubicBezTo>
                  <a:cubicBezTo>
                    <a:pt x="645" y="112"/>
                    <a:pt x="645" y="112"/>
                    <a:pt x="645" y="112"/>
                  </a:cubicBezTo>
                  <a:cubicBezTo>
                    <a:pt x="629" y="91"/>
                    <a:pt x="605" y="79"/>
                    <a:pt x="576" y="79"/>
                  </a:cubicBezTo>
                  <a:cubicBezTo>
                    <a:pt x="523" y="79"/>
                    <a:pt x="483" y="122"/>
                    <a:pt x="483" y="178"/>
                  </a:cubicBezTo>
                  <a:cubicBezTo>
                    <a:pt x="483" y="235"/>
                    <a:pt x="523" y="278"/>
                    <a:pt x="576" y="278"/>
                  </a:cubicBezTo>
                  <a:cubicBezTo>
                    <a:pt x="605" y="278"/>
                    <a:pt x="629" y="265"/>
                    <a:pt x="645" y="245"/>
                  </a:cubicBezTo>
                  <a:lnTo>
                    <a:pt x="645" y="273"/>
                  </a:lnTo>
                  <a:close/>
                  <a:moveTo>
                    <a:pt x="456" y="222"/>
                  </a:moveTo>
                  <a:cubicBezTo>
                    <a:pt x="426" y="222"/>
                    <a:pt x="426" y="222"/>
                    <a:pt x="426" y="222"/>
                  </a:cubicBezTo>
                  <a:cubicBezTo>
                    <a:pt x="415" y="241"/>
                    <a:pt x="395" y="253"/>
                    <a:pt x="367" y="253"/>
                  </a:cubicBezTo>
                  <a:cubicBezTo>
                    <a:pt x="325" y="253"/>
                    <a:pt x="302" y="227"/>
                    <a:pt x="299" y="189"/>
                  </a:cubicBezTo>
                  <a:cubicBezTo>
                    <a:pt x="461" y="189"/>
                    <a:pt x="461" y="189"/>
                    <a:pt x="461" y="189"/>
                  </a:cubicBezTo>
                  <a:cubicBezTo>
                    <a:pt x="461" y="175"/>
                    <a:pt x="461" y="175"/>
                    <a:pt x="461" y="175"/>
                  </a:cubicBezTo>
                  <a:cubicBezTo>
                    <a:pt x="461" y="118"/>
                    <a:pt x="424" y="79"/>
                    <a:pt x="366" y="79"/>
                  </a:cubicBezTo>
                  <a:cubicBezTo>
                    <a:pt x="308" y="79"/>
                    <a:pt x="267" y="120"/>
                    <a:pt x="267" y="178"/>
                  </a:cubicBezTo>
                  <a:cubicBezTo>
                    <a:pt x="267" y="237"/>
                    <a:pt x="308" y="278"/>
                    <a:pt x="366" y="278"/>
                  </a:cubicBezTo>
                  <a:cubicBezTo>
                    <a:pt x="409" y="278"/>
                    <a:pt x="442" y="257"/>
                    <a:pt x="456" y="222"/>
                  </a:cubicBezTo>
                  <a:moveTo>
                    <a:pt x="59" y="114"/>
                  </a:moveTo>
                  <a:cubicBezTo>
                    <a:pt x="59" y="25"/>
                    <a:pt x="59" y="25"/>
                    <a:pt x="59" y="25"/>
                  </a:cubicBezTo>
                  <a:cubicBezTo>
                    <a:pt x="86" y="25"/>
                    <a:pt x="86" y="25"/>
                    <a:pt x="86" y="25"/>
                  </a:cubicBezTo>
                  <a:cubicBezTo>
                    <a:pt x="86" y="0"/>
                    <a:pt x="86" y="0"/>
                    <a:pt x="86" y="0"/>
                  </a:cubicBezTo>
                  <a:cubicBezTo>
                    <a:pt x="0" y="0"/>
                    <a:pt x="0" y="0"/>
                    <a:pt x="0" y="0"/>
                  </a:cubicBezTo>
                  <a:cubicBezTo>
                    <a:pt x="0" y="25"/>
                    <a:pt x="0" y="25"/>
                    <a:pt x="0" y="25"/>
                  </a:cubicBezTo>
                  <a:cubicBezTo>
                    <a:pt x="27" y="25"/>
                    <a:pt x="27" y="25"/>
                    <a:pt x="27" y="25"/>
                  </a:cubicBezTo>
                  <a:cubicBezTo>
                    <a:pt x="27" y="247"/>
                    <a:pt x="27" y="247"/>
                    <a:pt x="27" y="247"/>
                  </a:cubicBezTo>
                  <a:cubicBezTo>
                    <a:pt x="0" y="247"/>
                    <a:pt x="0" y="247"/>
                    <a:pt x="0" y="247"/>
                  </a:cubicBezTo>
                  <a:cubicBezTo>
                    <a:pt x="0" y="273"/>
                    <a:pt x="0" y="273"/>
                    <a:pt x="0" y="273"/>
                  </a:cubicBezTo>
                  <a:cubicBezTo>
                    <a:pt x="86" y="273"/>
                    <a:pt x="86" y="273"/>
                    <a:pt x="86" y="273"/>
                  </a:cubicBezTo>
                  <a:cubicBezTo>
                    <a:pt x="86" y="247"/>
                    <a:pt x="86" y="247"/>
                    <a:pt x="86" y="247"/>
                  </a:cubicBezTo>
                  <a:cubicBezTo>
                    <a:pt x="59" y="247"/>
                    <a:pt x="59" y="247"/>
                    <a:pt x="59" y="247"/>
                  </a:cubicBezTo>
                  <a:cubicBezTo>
                    <a:pt x="59" y="138"/>
                    <a:pt x="59" y="138"/>
                    <a:pt x="59" y="138"/>
                  </a:cubicBezTo>
                  <a:cubicBezTo>
                    <a:pt x="196" y="138"/>
                    <a:pt x="196" y="138"/>
                    <a:pt x="196" y="138"/>
                  </a:cubicBezTo>
                  <a:cubicBezTo>
                    <a:pt x="196" y="247"/>
                    <a:pt x="196" y="247"/>
                    <a:pt x="196" y="247"/>
                  </a:cubicBezTo>
                  <a:cubicBezTo>
                    <a:pt x="168" y="247"/>
                    <a:pt x="168" y="247"/>
                    <a:pt x="168" y="247"/>
                  </a:cubicBezTo>
                  <a:cubicBezTo>
                    <a:pt x="168" y="273"/>
                    <a:pt x="168" y="273"/>
                    <a:pt x="168" y="273"/>
                  </a:cubicBezTo>
                  <a:cubicBezTo>
                    <a:pt x="255" y="273"/>
                    <a:pt x="255" y="273"/>
                    <a:pt x="255" y="273"/>
                  </a:cubicBezTo>
                  <a:cubicBezTo>
                    <a:pt x="255" y="247"/>
                    <a:pt x="255" y="247"/>
                    <a:pt x="255" y="247"/>
                  </a:cubicBezTo>
                  <a:cubicBezTo>
                    <a:pt x="227" y="247"/>
                    <a:pt x="227" y="247"/>
                    <a:pt x="227" y="247"/>
                  </a:cubicBezTo>
                  <a:cubicBezTo>
                    <a:pt x="227" y="25"/>
                    <a:pt x="227" y="25"/>
                    <a:pt x="227" y="25"/>
                  </a:cubicBezTo>
                  <a:cubicBezTo>
                    <a:pt x="255" y="25"/>
                    <a:pt x="255" y="25"/>
                    <a:pt x="255" y="25"/>
                  </a:cubicBezTo>
                  <a:cubicBezTo>
                    <a:pt x="255" y="0"/>
                    <a:pt x="255" y="0"/>
                    <a:pt x="255" y="0"/>
                  </a:cubicBezTo>
                  <a:cubicBezTo>
                    <a:pt x="168" y="0"/>
                    <a:pt x="168" y="0"/>
                    <a:pt x="168" y="0"/>
                  </a:cubicBezTo>
                  <a:cubicBezTo>
                    <a:pt x="168" y="25"/>
                    <a:pt x="168" y="25"/>
                    <a:pt x="168" y="25"/>
                  </a:cubicBezTo>
                  <a:cubicBezTo>
                    <a:pt x="196" y="25"/>
                    <a:pt x="196" y="25"/>
                    <a:pt x="196" y="25"/>
                  </a:cubicBezTo>
                  <a:cubicBezTo>
                    <a:pt x="196" y="114"/>
                    <a:pt x="196" y="114"/>
                    <a:pt x="196" y="114"/>
                  </a:cubicBezTo>
                  <a:lnTo>
                    <a:pt x="59" y="114"/>
                  </a:lnTo>
                  <a:close/>
                  <a:moveTo>
                    <a:pt x="996" y="248"/>
                  </a:moveTo>
                  <a:cubicBezTo>
                    <a:pt x="971" y="248"/>
                    <a:pt x="971" y="248"/>
                    <a:pt x="971" y="248"/>
                  </a:cubicBezTo>
                  <a:cubicBezTo>
                    <a:pt x="971" y="163"/>
                    <a:pt x="971" y="163"/>
                    <a:pt x="971" y="163"/>
                  </a:cubicBezTo>
                  <a:cubicBezTo>
                    <a:pt x="971" y="124"/>
                    <a:pt x="991" y="104"/>
                    <a:pt x="1026" y="104"/>
                  </a:cubicBezTo>
                  <a:cubicBezTo>
                    <a:pt x="1058" y="104"/>
                    <a:pt x="1078" y="124"/>
                    <a:pt x="1078" y="163"/>
                  </a:cubicBezTo>
                  <a:cubicBezTo>
                    <a:pt x="1078" y="248"/>
                    <a:pt x="1078" y="248"/>
                    <a:pt x="1078" y="248"/>
                  </a:cubicBezTo>
                  <a:cubicBezTo>
                    <a:pt x="1053" y="248"/>
                    <a:pt x="1053" y="248"/>
                    <a:pt x="1053" y="248"/>
                  </a:cubicBezTo>
                  <a:cubicBezTo>
                    <a:pt x="1053" y="273"/>
                    <a:pt x="1053" y="273"/>
                    <a:pt x="1053" y="273"/>
                  </a:cubicBezTo>
                  <a:cubicBezTo>
                    <a:pt x="1134" y="273"/>
                    <a:pt x="1134" y="273"/>
                    <a:pt x="1134" y="273"/>
                  </a:cubicBezTo>
                  <a:cubicBezTo>
                    <a:pt x="1134" y="248"/>
                    <a:pt x="1134" y="248"/>
                    <a:pt x="1134" y="248"/>
                  </a:cubicBezTo>
                  <a:cubicBezTo>
                    <a:pt x="1109" y="248"/>
                    <a:pt x="1109" y="248"/>
                    <a:pt x="1109" y="248"/>
                  </a:cubicBezTo>
                  <a:cubicBezTo>
                    <a:pt x="1109" y="163"/>
                    <a:pt x="1109" y="163"/>
                    <a:pt x="1109" y="163"/>
                  </a:cubicBezTo>
                  <a:cubicBezTo>
                    <a:pt x="1109" y="117"/>
                    <a:pt x="1081" y="79"/>
                    <a:pt x="1030" y="79"/>
                  </a:cubicBezTo>
                  <a:cubicBezTo>
                    <a:pt x="1003" y="79"/>
                    <a:pt x="983" y="89"/>
                    <a:pt x="971" y="105"/>
                  </a:cubicBezTo>
                  <a:cubicBezTo>
                    <a:pt x="971" y="0"/>
                    <a:pt x="971" y="0"/>
                    <a:pt x="971" y="0"/>
                  </a:cubicBezTo>
                  <a:cubicBezTo>
                    <a:pt x="915" y="0"/>
                    <a:pt x="915" y="0"/>
                    <a:pt x="915" y="0"/>
                  </a:cubicBezTo>
                  <a:cubicBezTo>
                    <a:pt x="915" y="24"/>
                    <a:pt x="915" y="24"/>
                    <a:pt x="915" y="24"/>
                  </a:cubicBezTo>
                  <a:cubicBezTo>
                    <a:pt x="940" y="24"/>
                    <a:pt x="940" y="24"/>
                    <a:pt x="940" y="24"/>
                  </a:cubicBezTo>
                  <a:cubicBezTo>
                    <a:pt x="940" y="248"/>
                    <a:pt x="940" y="248"/>
                    <a:pt x="940" y="248"/>
                  </a:cubicBezTo>
                  <a:cubicBezTo>
                    <a:pt x="915" y="248"/>
                    <a:pt x="915" y="248"/>
                    <a:pt x="915" y="248"/>
                  </a:cubicBezTo>
                  <a:cubicBezTo>
                    <a:pt x="915" y="273"/>
                    <a:pt x="915" y="273"/>
                    <a:pt x="915" y="273"/>
                  </a:cubicBezTo>
                  <a:cubicBezTo>
                    <a:pt x="996" y="273"/>
                    <a:pt x="996" y="273"/>
                    <a:pt x="996" y="273"/>
                  </a:cubicBezTo>
                  <a:lnTo>
                    <a:pt x="996" y="248"/>
                  </a:lnTo>
                  <a:close/>
                  <a:moveTo>
                    <a:pt x="514" y="178"/>
                  </a:moveTo>
                  <a:cubicBezTo>
                    <a:pt x="514" y="135"/>
                    <a:pt x="542" y="104"/>
                    <a:pt x="580" y="104"/>
                  </a:cubicBezTo>
                  <a:cubicBezTo>
                    <a:pt x="619" y="104"/>
                    <a:pt x="646" y="136"/>
                    <a:pt x="646" y="178"/>
                  </a:cubicBezTo>
                  <a:cubicBezTo>
                    <a:pt x="646" y="221"/>
                    <a:pt x="619" y="252"/>
                    <a:pt x="580" y="252"/>
                  </a:cubicBezTo>
                  <a:cubicBezTo>
                    <a:pt x="542" y="252"/>
                    <a:pt x="514" y="221"/>
                    <a:pt x="514" y="178"/>
                  </a:cubicBezTo>
                  <a:moveTo>
                    <a:pt x="366" y="104"/>
                  </a:moveTo>
                  <a:cubicBezTo>
                    <a:pt x="406" y="104"/>
                    <a:pt x="427" y="133"/>
                    <a:pt x="430" y="164"/>
                  </a:cubicBezTo>
                  <a:cubicBezTo>
                    <a:pt x="299" y="164"/>
                    <a:pt x="299" y="164"/>
                    <a:pt x="299" y="164"/>
                  </a:cubicBezTo>
                  <a:cubicBezTo>
                    <a:pt x="302" y="130"/>
                    <a:pt x="326" y="104"/>
                    <a:pt x="366" y="104"/>
                  </a:cubicBezTo>
                  <a:moveTo>
                    <a:pt x="859" y="224"/>
                  </a:moveTo>
                  <a:cubicBezTo>
                    <a:pt x="859" y="109"/>
                    <a:pt x="859" y="109"/>
                    <a:pt x="859" y="109"/>
                  </a:cubicBezTo>
                  <a:cubicBezTo>
                    <a:pt x="897" y="109"/>
                    <a:pt x="897" y="109"/>
                    <a:pt x="897" y="109"/>
                  </a:cubicBezTo>
                  <a:cubicBezTo>
                    <a:pt x="897" y="84"/>
                    <a:pt x="897" y="84"/>
                    <a:pt x="897" y="84"/>
                  </a:cubicBezTo>
                  <a:cubicBezTo>
                    <a:pt x="859" y="84"/>
                    <a:pt x="859" y="84"/>
                    <a:pt x="859" y="84"/>
                  </a:cubicBezTo>
                  <a:cubicBezTo>
                    <a:pt x="859" y="36"/>
                    <a:pt x="859" y="36"/>
                    <a:pt x="859" y="36"/>
                  </a:cubicBezTo>
                  <a:cubicBezTo>
                    <a:pt x="829" y="36"/>
                    <a:pt x="829" y="36"/>
                    <a:pt x="829" y="36"/>
                  </a:cubicBezTo>
                  <a:cubicBezTo>
                    <a:pt x="829" y="84"/>
                    <a:pt x="829" y="84"/>
                    <a:pt x="829" y="84"/>
                  </a:cubicBezTo>
                  <a:cubicBezTo>
                    <a:pt x="799" y="84"/>
                    <a:pt x="799" y="84"/>
                    <a:pt x="799" y="84"/>
                  </a:cubicBezTo>
                  <a:cubicBezTo>
                    <a:pt x="799" y="109"/>
                    <a:pt x="799" y="109"/>
                    <a:pt x="799" y="109"/>
                  </a:cubicBezTo>
                  <a:cubicBezTo>
                    <a:pt x="829" y="109"/>
                    <a:pt x="829" y="109"/>
                    <a:pt x="829" y="109"/>
                  </a:cubicBezTo>
                  <a:cubicBezTo>
                    <a:pt x="829" y="225"/>
                    <a:pt x="829" y="225"/>
                    <a:pt x="829" y="225"/>
                  </a:cubicBezTo>
                  <a:cubicBezTo>
                    <a:pt x="829" y="259"/>
                    <a:pt x="844" y="275"/>
                    <a:pt x="879" y="275"/>
                  </a:cubicBezTo>
                  <a:cubicBezTo>
                    <a:pt x="884" y="275"/>
                    <a:pt x="893" y="274"/>
                    <a:pt x="897" y="273"/>
                  </a:cubicBezTo>
                  <a:cubicBezTo>
                    <a:pt x="897" y="248"/>
                    <a:pt x="897" y="248"/>
                    <a:pt x="897" y="248"/>
                  </a:cubicBezTo>
                  <a:cubicBezTo>
                    <a:pt x="892" y="249"/>
                    <a:pt x="886" y="249"/>
                    <a:pt x="882" y="249"/>
                  </a:cubicBezTo>
                  <a:cubicBezTo>
                    <a:pt x="866" y="249"/>
                    <a:pt x="859" y="244"/>
                    <a:pt x="859" y="224"/>
                  </a:cubicBezTo>
                  <a:moveTo>
                    <a:pt x="783" y="275"/>
                  </a:moveTo>
                  <a:cubicBezTo>
                    <a:pt x="789" y="275"/>
                    <a:pt x="797" y="274"/>
                    <a:pt x="801" y="273"/>
                  </a:cubicBezTo>
                  <a:cubicBezTo>
                    <a:pt x="801" y="248"/>
                    <a:pt x="801" y="248"/>
                    <a:pt x="801" y="248"/>
                  </a:cubicBezTo>
                  <a:cubicBezTo>
                    <a:pt x="795" y="249"/>
                    <a:pt x="791" y="249"/>
                    <a:pt x="787" y="249"/>
                  </a:cubicBezTo>
                  <a:cubicBezTo>
                    <a:pt x="774" y="249"/>
                    <a:pt x="768" y="243"/>
                    <a:pt x="768" y="222"/>
                  </a:cubicBezTo>
                  <a:cubicBezTo>
                    <a:pt x="768" y="0"/>
                    <a:pt x="768" y="0"/>
                    <a:pt x="768" y="0"/>
                  </a:cubicBezTo>
                  <a:cubicBezTo>
                    <a:pt x="712" y="0"/>
                    <a:pt x="712" y="0"/>
                    <a:pt x="712" y="0"/>
                  </a:cubicBezTo>
                  <a:cubicBezTo>
                    <a:pt x="712" y="24"/>
                    <a:pt x="712" y="24"/>
                    <a:pt x="712" y="24"/>
                  </a:cubicBezTo>
                  <a:cubicBezTo>
                    <a:pt x="737" y="24"/>
                    <a:pt x="737" y="24"/>
                    <a:pt x="737" y="24"/>
                  </a:cubicBezTo>
                  <a:cubicBezTo>
                    <a:pt x="737" y="224"/>
                    <a:pt x="737" y="224"/>
                    <a:pt x="737" y="224"/>
                  </a:cubicBezTo>
                  <a:cubicBezTo>
                    <a:pt x="737" y="257"/>
                    <a:pt x="751" y="275"/>
                    <a:pt x="783" y="27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sp>
          <p:nvSpPr>
            <p:cNvPr id="86" name="Freeform 5">
              <a:extLst>
                <a:ext uri="{FF2B5EF4-FFF2-40B4-BE49-F238E27FC236}">
                  <a16:creationId xmlns:a16="http://schemas.microsoft.com/office/drawing/2014/main" id="{EAC11C27-7E62-4B31-9680-B59D24D0A57F}"/>
                </a:ext>
              </a:extLst>
            </p:cNvPr>
            <p:cNvSpPr>
              <a:spLocks/>
            </p:cNvSpPr>
            <p:nvPr/>
          </p:nvSpPr>
          <p:spPr bwMode="gray">
            <a:xfrm>
              <a:off x="4777202" y="1504398"/>
              <a:ext cx="1030288" cy="1231900"/>
            </a:xfrm>
            <a:custGeom>
              <a:avLst/>
              <a:gdLst>
                <a:gd name="T0" fmla="*/ 85 w 243"/>
                <a:gd name="T1" fmla="*/ 195 h 288"/>
                <a:gd name="T2" fmla="*/ 125 w 243"/>
                <a:gd name="T3" fmla="*/ 223 h 288"/>
                <a:gd name="T4" fmla="*/ 158 w 243"/>
                <a:gd name="T5" fmla="*/ 203 h 288"/>
                <a:gd name="T6" fmla="*/ 110 w 243"/>
                <a:gd name="T7" fmla="*/ 176 h 288"/>
                <a:gd name="T8" fmla="*/ 36 w 243"/>
                <a:gd name="T9" fmla="*/ 150 h 288"/>
                <a:gd name="T10" fmla="*/ 5 w 243"/>
                <a:gd name="T11" fmla="*/ 87 h 288"/>
                <a:gd name="T12" fmla="*/ 119 w 243"/>
                <a:gd name="T13" fmla="*/ 0 h 288"/>
                <a:gd name="T14" fmla="*/ 236 w 243"/>
                <a:gd name="T15" fmla="*/ 86 h 288"/>
                <a:gd name="T16" fmla="*/ 153 w 243"/>
                <a:gd name="T17" fmla="*/ 86 h 288"/>
                <a:gd name="T18" fmla="*/ 118 w 243"/>
                <a:gd name="T19" fmla="*/ 62 h 288"/>
                <a:gd name="T20" fmla="*/ 90 w 243"/>
                <a:gd name="T21" fmla="*/ 80 h 288"/>
                <a:gd name="T22" fmla="*/ 130 w 243"/>
                <a:gd name="T23" fmla="*/ 104 h 288"/>
                <a:gd name="T24" fmla="*/ 208 w 243"/>
                <a:gd name="T25" fmla="*/ 130 h 288"/>
                <a:gd name="T26" fmla="*/ 243 w 243"/>
                <a:gd name="T27" fmla="*/ 194 h 288"/>
                <a:gd name="T28" fmla="*/ 122 w 243"/>
                <a:gd name="T29" fmla="*/ 288 h 288"/>
                <a:gd name="T30" fmla="*/ 0 w 243"/>
                <a:gd name="T31" fmla="*/ 195 h 288"/>
                <a:gd name="T32" fmla="*/ 85 w 243"/>
                <a:gd name="T33" fmla="*/ 19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88">
                  <a:moveTo>
                    <a:pt x="85" y="195"/>
                  </a:moveTo>
                  <a:cubicBezTo>
                    <a:pt x="90" y="216"/>
                    <a:pt x="101" y="223"/>
                    <a:pt x="125" y="223"/>
                  </a:cubicBezTo>
                  <a:cubicBezTo>
                    <a:pt x="146" y="223"/>
                    <a:pt x="158" y="215"/>
                    <a:pt x="158" y="203"/>
                  </a:cubicBezTo>
                  <a:cubicBezTo>
                    <a:pt x="158" y="186"/>
                    <a:pt x="142" y="185"/>
                    <a:pt x="110" y="176"/>
                  </a:cubicBezTo>
                  <a:cubicBezTo>
                    <a:pt x="72" y="166"/>
                    <a:pt x="48" y="158"/>
                    <a:pt x="36" y="150"/>
                  </a:cubicBezTo>
                  <a:cubicBezTo>
                    <a:pt x="15" y="135"/>
                    <a:pt x="5" y="114"/>
                    <a:pt x="5" y="87"/>
                  </a:cubicBezTo>
                  <a:cubicBezTo>
                    <a:pt x="5" y="34"/>
                    <a:pt x="47" y="0"/>
                    <a:pt x="119" y="0"/>
                  </a:cubicBezTo>
                  <a:cubicBezTo>
                    <a:pt x="189" y="0"/>
                    <a:pt x="231" y="31"/>
                    <a:pt x="236" y="86"/>
                  </a:cubicBezTo>
                  <a:cubicBezTo>
                    <a:pt x="153" y="86"/>
                    <a:pt x="153" y="86"/>
                    <a:pt x="153" y="86"/>
                  </a:cubicBezTo>
                  <a:cubicBezTo>
                    <a:pt x="150" y="70"/>
                    <a:pt x="139" y="62"/>
                    <a:pt x="118" y="62"/>
                  </a:cubicBezTo>
                  <a:cubicBezTo>
                    <a:pt x="99" y="62"/>
                    <a:pt x="90" y="68"/>
                    <a:pt x="90" y="80"/>
                  </a:cubicBezTo>
                  <a:cubicBezTo>
                    <a:pt x="90" y="95"/>
                    <a:pt x="104" y="98"/>
                    <a:pt x="130" y="104"/>
                  </a:cubicBezTo>
                  <a:cubicBezTo>
                    <a:pt x="164" y="113"/>
                    <a:pt x="191" y="119"/>
                    <a:pt x="208" y="130"/>
                  </a:cubicBezTo>
                  <a:cubicBezTo>
                    <a:pt x="232" y="146"/>
                    <a:pt x="243" y="166"/>
                    <a:pt x="243" y="194"/>
                  </a:cubicBezTo>
                  <a:cubicBezTo>
                    <a:pt x="243" y="253"/>
                    <a:pt x="201" y="288"/>
                    <a:pt x="122" y="288"/>
                  </a:cubicBezTo>
                  <a:cubicBezTo>
                    <a:pt x="48" y="288"/>
                    <a:pt x="6" y="253"/>
                    <a:pt x="0" y="195"/>
                  </a:cubicBezTo>
                  <a:lnTo>
                    <a:pt x="85" y="19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sp>
          <p:nvSpPr>
            <p:cNvPr id="87" name="Freeform 6">
              <a:extLst>
                <a:ext uri="{FF2B5EF4-FFF2-40B4-BE49-F238E27FC236}">
                  <a16:creationId xmlns:a16="http://schemas.microsoft.com/office/drawing/2014/main" id="{FA0788F6-B4B0-4834-AFB4-98F21B43FEB6}"/>
                </a:ext>
              </a:extLst>
            </p:cNvPr>
            <p:cNvSpPr>
              <a:spLocks/>
            </p:cNvSpPr>
            <p:nvPr/>
          </p:nvSpPr>
          <p:spPr bwMode="gray">
            <a:xfrm>
              <a:off x="2627727" y="1504398"/>
              <a:ext cx="1147763" cy="1231900"/>
            </a:xfrm>
            <a:custGeom>
              <a:avLst/>
              <a:gdLst>
                <a:gd name="T0" fmla="*/ 271 w 271"/>
                <a:gd name="T1" fmla="*/ 174 h 288"/>
                <a:gd name="T2" fmla="*/ 140 w 271"/>
                <a:gd name="T3" fmla="*/ 288 h 288"/>
                <a:gd name="T4" fmla="*/ 0 w 271"/>
                <a:gd name="T5" fmla="*/ 144 h 288"/>
                <a:gd name="T6" fmla="*/ 139 w 271"/>
                <a:gd name="T7" fmla="*/ 0 h 288"/>
                <a:gd name="T8" fmla="*/ 269 w 271"/>
                <a:gd name="T9" fmla="*/ 111 h 288"/>
                <a:gd name="T10" fmla="*/ 186 w 271"/>
                <a:gd name="T11" fmla="*/ 111 h 288"/>
                <a:gd name="T12" fmla="*/ 140 w 271"/>
                <a:gd name="T13" fmla="*/ 68 h 288"/>
                <a:gd name="T14" fmla="*/ 88 w 271"/>
                <a:gd name="T15" fmla="*/ 144 h 288"/>
                <a:gd name="T16" fmla="*/ 142 w 271"/>
                <a:gd name="T17" fmla="*/ 220 h 288"/>
                <a:gd name="T18" fmla="*/ 188 w 271"/>
                <a:gd name="T19" fmla="*/ 174 h 288"/>
                <a:gd name="T20" fmla="*/ 271 w 271"/>
                <a:gd name="T21" fmla="*/ 17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1" h="288">
                  <a:moveTo>
                    <a:pt x="271" y="174"/>
                  </a:moveTo>
                  <a:cubicBezTo>
                    <a:pt x="266" y="246"/>
                    <a:pt x="219" y="288"/>
                    <a:pt x="140" y="288"/>
                  </a:cubicBezTo>
                  <a:cubicBezTo>
                    <a:pt x="53" y="288"/>
                    <a:pt x="0" y="233"/>
                    <a:pt x="0" y="144"/>
                  </a:cubicBezTo>
                  <a:cubicBezTo>
                    <a:pt x="0" y="55"/>
                    <a:pt x="54" y="0"/>
                    <a:pt x="139" y="0"/>
                  </a:cubicBezTo>
                  <a:cubicBezTo>
                    <a:pt x="218" y="0"/>
                    <a:pt x="264" y="40"/>
                    <a:pt x="269" y="111"/>
                  </a:cubicBezTo>
                  <a:cubicBezTo>
                    <a:pt x="186" y="111"/>
                    <a:pt x="186" y="111"/>
                    <a:pt x="186" y="111"/>
                  </a:cubicBezTo>
                  <a:cubicBezTo>
                    <a:pt x="183" y="83"/>
                    <a:pt x="168" y="68"/>
                    <a:pt x="140" y="68"/>
                  </a:cubicBezTo>
                  <a:cubicBezTo>
                    <a:pt x="105" y="68"/>
                    <a:pt x="88" y="94"/>
                    <a:pt x="88" y="144"/>
                  </a:cubicBezTo>
                  <a:cubicBezTo>
                    <a:pt x="88" y="194"/>
                    <a:pt x="107" y="220"/>
                    <a:pt x="142" y="220"/>
                  </a:cubicBezTo>
                  <a:cubicBezTo>
                    <a:pt x="169" y="220"/>
                    <a:pt x="186" y="204"/>
                    <a:pt x="188" y="174"/>
                  </a:cubicBezTo>
                  <a:lnTo>
                    <a:pt x="271" y="174"/>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sp>
          <p:nvSpPr>
            <p:cNvPr id="88" name="Freeform 7">
              <a:extLst>
                <a:ext uri="{FF2B5EF4-FFF2-40B4-BE49-F238E27FC236}">
                  <a16:creationId xmlns:a16="http://schemas.microsoft.com/office/drawing/2014/main" id="{F754B0DD-7999-4250-A4C0-0C3C14069271}"/>
                </a:ext>
              </a:extLst>
            </p:cNvPr>
            <p:cNvSpPr>
              <a:spLocks/>
            </p:cNvSpPr>
            <p:nvPr/>
          </p:nvSpPr>
          <p:spPr bwMode="gray">
            <a:xfrm>
              <a:off x="3696115" y="1539323"/>
              <a:ext cx="1144588" cy="1163638"/>
            </a:xfrm>
            <a:custGeom>
              <a:avLst/>
              <a:gdLst>
                <a:gd name="T0" fmla="*/ 0 w 721"/>
                <a:gd name="T1" fmla="*/ 0 h 733"/>
                <a:gd name="T2" fmla="*/ 237 w 721"/>
                <a:gd name="T3" fmla="*/ 0 h 733"/>
                <a:gd name="T4" fmla="*/ 360 w 721"/>
                <a:gd name="T5" fmla="*/ 474 h 733"/>
                <a:gd name="T6" fmla="*/ 491 w 721"/>
                <a:gd name="T7" fmla="*/ 0 h 733"/>
                <a:gd name="T8" fmla="*/ 721 w 721"/>
                <a:gd name="T9" fmla="*/ 0 h 733"/>
                <a:gd name="T10" fmla="*/ 478 w 721"/>
                <a:gd name="T11" fmla="*/ 733 h 733"/>
                <a:gd name="T12" fmla="*/ 245 w 721"/>
                <a:gd name="T13" fmla="*/ 733 h 733"/>
                <a:gd name="T14" fmla="*/ 0 w 721"/>
                <a:gd name="T15" fmla="*/ 0 h 7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733">
                  <a:moveTo>
                    <a:pt x="0" y="0"/>
                  </a:moveTo>
                  <a:lnTo>
                    <a:pt x="237" y="0"/>
                  </a:lnTo>
                  <a:lnTo>
                    <a:pt x="360" y="474"/>
                  </a:lnTo>
                  <a:lnTo>
                    <a:pt x="491" y="0"/>
                  </a:lnTo>
                  <a:lnTo>
                    <a:pt x="721" y="0"/>
                  </a:lnTo>
                  <a:lnTo>
                    <a:pt x="478" y="733"/>
                  </a:lnTo>
                  <a:lnTo>
                    <a:pt x="245" y="733"/>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sp>
          <p:nvSpPr>
            <p:cNvPr id="89" name="Freeform 8">
              <a:extLst>
                <a:ext uri="{FF2B5EF4-FFF2-40B4-BE49-F238E27FC236}">
                  <a16:creationId xmlns:a16="http://schemas.microsoft.com/office/drawing/2014/main" id="{50CBFC8A-B083-42B9-9504-2364FACEC55E}"/>
                </a:ext>
              </a:extLst>
            </p:cNvPr>
            <p:cNvSpPr>
              <a:spLocks/>
            </p:cNvSpPr>
            <p:nvPr/>
          </p:nvSpPr>
          <p:spPr bwMode="gray">
            <a:xfrm>
              <a:off x="1011652" y="1504398"/>
              <a:ext cx="1500188" cy="1231900"/>
            </a:xfrm>
            <a:custGeom>
              <a:avLst/>
              <a:gdLst>
                <a:gd name="T0" fmla="*/ 101 w 354"/>
                <a:gd name="T1" fmla="*/ 0 h 288"/>
                <a:gd name="T2" fmla="*/ 73 w 354"/>
                <a:gd name="T3" fmla="*/ 12 h 288"/>
                <a:gd name="T4" fmla="*/ 15 w 354"/>
                <a:gd name="T5" fmla="*/ 69 h 288"/>
                <a:gd name="T6" fmla="*/ 15 w 354"/>
                <a:gd name="T7" fmla="*/ 127 h 288"/>
                <a:gd name="T8" fmla="*/ 177 w 354"/>
                <a:gd name="T9" fmla="*/ 288 h 288"/>
                <a:gd name="T10" fmla="*/ 338 w 354"/>
                <a:gd name="T11" fmla="*/ 127 h 288"/>
                <a:gd name="T12" fmla="*/ 338 w 354"/>
                <a:gd name="T13" fmla="*/ 69 h 288"/>
                <a:gd name="T14" fmla="*/ 281 w 354"/>
                <a:gd name="T15" fmla="*/ 12 h 288"/>
                <a:gd name="T16" fmla="*/ 252 w 354"/>
                <a:gd name="T17" fmla="*/ 0 h 288"/>
                <a:gd name="T18" fmla="*/ 224 w 354"/>
                <a:gd name="T19" fmla="*/ 12 h 288"/>
                <a:gd name="T20" fmla="*/ 177 w 354"/>
                <a:gd name="T21" fmla="*/ 59 h 288"/>
                <a:gd name="T22" fmla="*/ 130 w 354"/>
                <a:gd name="T23" fmla="*/ 12 h 288"/>
                <a:gd name="T24" fmla="*/ 101 w 354"/>
                <a:gd name="T25"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4" h="288">
                  <a:moveTo>
                    <a:pt x="101" y="0"/>
                  </a:moveTo>
                  <a:cubicBezTo>
                    <a:pt x="91" y="0"/>
                    <a:pt x="80" y="4"/>
                    <a:pt x="73" y="12"/>
                  </a:cubicBezTo>
                  <a:cubicBezTo>
                    <a:pt x="15" y="69"/>
                    <a:pt x="15" y="69"/>
                    <a:pt x="15" y="69"/>
                  </a:cubicBezTo>
                  <a:cubicBezTo>
                    <a:pt x="0" y="85"/>
                    <a:pt x="0" y="111"/>
                    <a:pt x="15" y="127"/>
                  </a:cubicBezTo>
                  <a:cubicBezTo>
                    <a:pt x="177" y="288"/>
                    <a:pt x="177" y="288"/>
                    <a:pt x="177" y="288"/>
                  </a:cubicBezTo>
                  <a:cubicBezTo>
                    <a:pt x="338" y="127"/>
                    <a:pt x="338" y="127"/>
                    <a:pt x="338" y="127"/>
                  </a:cubicBezTo>
                  <a:cubicBezTo>
                    <a:pt x="354" y="111"/>
                    <a:pt x="354" y="85"/>
                    <a:pt x="338" y="69"/>
                  </a:cubicBezTo>
                  <a:cubicBezTo>
                    <a:pt x="281" y="12"/>
                    <a:pt x="281" y="12"/>
                    <a:pt x="281" y="12"/>
                  </a:cubicBezTo>
                  <a:cubicBezTo>
                    <a:pt x="273" y="4"/>
                    <a:pt x="263" y="0"/>
                    <a:pt x="252" y="0"/>
                  </a:cubicBezTo>
                  <a:cubicBezTo>
                    <a:pt x="242" y="0"/>
                    <a:pt x="232" y="4"/>
                    <a:pt x="224" y="12"/>
                  </a:cubicBezTo>
                  <a:cubicBezTo>
                    <a:pt x="177" y="59"/>
                    <a:pt x="177" y="59"/>
                    <a:pt x="177" y="59"/>
                  </a:cubicBezTo>
                  <a:cubicBezTo>
                    <a:pt x="130" y="12"/>
                    <a:pt x="130" y="12"/>
                    <a:pt x="130" y="12"/>
                  </a:cubicBezTo>
                  <a:cubicBezTo>
                    <a:pt x="122" y="4"/>
                    <a:pt x="111" y="0"/>
                    <a:pt x="101" y="0"/>
                  </a:cubicBez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sp>
          <p:nvSpPr>
            <p:cNvPr id="90" name="Freeform 10">
              <a:extLst>
                <a:ext uri="{FF2B5EF4-FFF2-40B4-BE49-F238E27FC236}">
                  <a16:creationId xmlns:a16="http://schemas.microsoft.com/office/drawing/2014/main" id="{3EDE8E81-9781-4645-9DFD-79E2B61F7DE9}"/>
                </a:ext>
              </a:extLst>
            </p:cNvPr>
            <p:cNvSpPr>
              <a:spLocks noEditPoints="1"/>
            </p:cNvSpPr>
            <p:nvPr/>
          </p:nvSpPr>
          <p:spPr bwMode="gray">
            <a:xfrm>
              <a:off x="10806527" y="2471186"/>
              <a:ext cx="233363" cy="239713"/>
            </a:xfrm>
            <a:custGeom>
              <a:avLst/>
              <a:gdLst>
                <a:gd name="T0" fmla="*/ 27 w 55"/>
                <a:gd name="T1" fmla="*/ 56 h 56"/>
                <a:gd name="T2" fmla="*/ 0 w 55"/>
                <a:gd name="T3" fmla="*/ 28 h 56"/>
                <a:gd name="T4" fmla="*/ 27 w 55"/>
                <a:gd name="T5" fmla="*/ 0 h 56"/>
                <a:gd name="T6" fmla="*/ 55 w 55"/>
                <a:gd name="T7" fmla="*/ 28 h 56"/>
                <a:gd name="T8" fmla="*/ 27 w 55"/>
                <a:gd name="T9" fmla="*/ 56 h 56"/>
                <a:gd name="T10" fmla="*/ 27 w 55"/>
                <a:gd name="T11" fmla="*/ 5 h 56"/>
                <a:gd name="T12" fmla="*/ 6 w 55"/>
                <a:gd name="T13" fmla="*/ 28 h 56"/>
                <a:gd name="T14" fmla="*/ 27 w 55"/>
                <a:gd name="T15" fmla="*/ 51 h 56"/>
                <a:gd name="T16" fmla="*/ 49 w 55"/>
                <a:gd name="T17" fmla="*/ 28 h 56"/>
                <a:gd name="T18" fmla="*/ 27 w 55"/>
                <a:gd name="T19" fmla="*/ 5 h 56"/>
                <a:gd name="T20" fmla="*/ 22 w 55"/>
                <a:gd name="T21" fmla="*/ 44 h 56"/>
                <a:gd name="T22" fmla="*/ 16 w 55"/>
                <a:gd name="T23" fmla="*/ 44 h 56"/>
                <a:gd name="T24" fmla="*/ 16 w 55"/>
                <a:gd name="T25" fmla="*/ 13 h 56"/>
                <a:gd name="T26" fmla="*/ 28 w 55"/>
                <a:gd name="T27" fmla="*/ 13 h 56"/>
                <a:gd name="T28" fmla="*/ 40 w 55"/>
                <a:gd name="T29" fmla="*/ 22 h 56"/>
                <a:gd name="T30" fmla="*/ 31 w 55"/>
                <a:gd name="T31" fmla="*/ 30 h 56"/>
                <a:gd name="T32" fmla="*/ 40 w 55"/>
                <a:gd name="T33" fmla="*/ 44 h 56"/>
                <a:gd name="T34" fmla="*/ 34 w 55"/>
                <a:gd name="T35" fmla="*/ 44 h 56"/>
                <a:gd name="T36" fmla="*/ 26 w 55"/>
                <a:gd name="T37" fmla="*/ 31 h 56"/>
                <a:gd name="T38" fmla="*/ 22 w 55"/>
                <a:gd name="T39" fmla="*/ 31 h 56"/>
                <a:gd name="T40" fmla="*/ 22 w 55"/>
                <a:gd name="T41" fmla="*/ 44 h 56"/>
                <a:gd name="T42" fmla="*/ 27 w 55"/>
                <a:gd name="T43" fmla="*/ 26 h 56"/>
                <a:gd name="T44" fmla="*/ 34 w 55"/>
                <a:gd name="T45" fmla="*/ 21 h 56"/>
                <a:gd name="T46" fmla="*/ 28 w 55"/>
                <a:gd name="T47" fmla="*/ 17 h 56"/>
                <a:gd name="T48" fmla="*/ 22 w 55"/>
                <a:gd name="T49" fmla="*/ 17 h 56"/>
                <a:gd name="T50" fmla="*/ 22 w 55"/>
                <a:gd name="T51" fmla="*/ 26 h 56"/>
                <a:gd name="T52" fmla="*/ 27 w 55"/>
                <a:gd name="T5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6">
                  <a:moveTo>
                    <a:pt x="27" y="56"/>
                  </a:moveTo>
                  <a:cubicBezTo>
                    <a:pt x="11" y="56"/>
                    <a:pt x="0" y="44"/>
                    <a:pt x="0" y="28"/>
                  </a:cubicBezTo>
                  <a:cubicBezTo>
                    <a:pt x="0" y="11"/>
                    <a:pt x="12" y="0"/>
                    <a:pt x="27" y="0"/>
                  </a:cubicBezTo>
                  <a:cubicBezTo>
                    <a:pt x="42" y="0"/>
                    <a:pt x="55" y="11"/>
                    <a:pt x="55" y="28"/>
                  </a:cubicBezTo>
                  <a:cubicBezTo>
                    <a:pt x="55" y="45"/>
                    <a:pt x="42" y="56"/>
                    <a:pt x="27" y="56"/>
                  </a:cubicBezTo>
                  <a:close/>
                  <a:moveTo>
                    <a:pt x="27" y="5"/>
                  </a:moveTo>
                  <a:cubicBezTo>
                    <a:pt x="15" y="5"/>
                    <a:pt x="6" y="14"/>
                    <a:pt x="6" y="28"/>
                  </a:cubicBezTo>
                  <a:cubicBezTo>
                    <a:pt x="6" y="41"/>
                    <a:pt x="14" y="51"/>
                    <a:pt x="27" y="51"/>
                  </a:cubicBezTo>
                  <a:cubicBezTo>
                    <a:pt x="39" y="51"/>
                    <a:pt x="49" y="42"/>
                    <a:pt x="49" y="28"/>
                  </a:cubicBezTo>
                  <a:cubicBezTo>
                    <a:pt x="49" y="14"/>
                    <a:pt x="39" y="5"/>
                    <a:pt x="27" y="5"/>
                  </a:cubicBezTo>
                  <a:close/>
                  <a:moveTo>
                    <a:pt x="22" y="44"/>
                  </a:moveTo>
                  <a:cubicBezTo>
                    <a:pt x="16" y="44"/>
                    <a:pt x="16" y="44"/>
                    <a:pt x="16" y="44"/>
                  </a:cubicBezTo>
                  <a:cubicBezTo>
                    <a:pt x="16" y="13"/>
                    <a:pt x="16" y="13"/>
                    <a:pt x="16" y="13"/>
                  </a:cubicBezTo>
                  <a:cubicBezTo>
                    <a:pt x="28" y="13"/>
                    <a:pt x="28" y="13"/>
                    <a:pt x="28" y="13"/>
                  </a:cubicBezTo>
                  <a:cubicBezTo>
                    <a:pt x="36" y="13"/>
                    <a:pt x="40" y="16"/>
                    <a:pt x="40" y="22"/>
                  </a:cubicBezTo>
                  <a:cubicBezTo>
                    <a:pt x="40" y="27"/>
                    <a:pt x="36" y="30"/>
                    <a:pt x="31" y="30"/>
                  </a:cubicBezTo>
                  <a:cubicBezTo>
                    <a:pt x="40" y="44"/>
                    <a:pt x="40" y="44"/>
                    <a:pt x="40" y="44"/>
                  </a:cubicBezTo>
                  <a:cubicBezTo>
                    <a:pt x="34" y="44"/>
                    <a:pt x="34" y="44"/>
                    <a:pt x="34" y="44"/>
                  </a:cubicBezTo>
                  <a:cubicBezTo>
                    <a:pt x="26" y="31"/>
                    <a:pt x="26" y="31"/>
                    <a:pt x="26" y="31"/>
                  </a:cubicBezTo>
                  <a:cubicBezTo>
                    <a:pt x="22" y="31"/>
                    <a:pt x="22" y="31"/>
                    <a:pt x="22" y="31"/>
                  </a:cubicBezTo>
                  <a:lnTo>
                    <a:pt x="22" y="44"/>
                  </a:lnTo>
                  <a:close/>
                  <a:moveTo>
                    <a:pt x="27" y="26"/>
                  </a:moveTo>
                  <a:cubicBezTo>
                    <a:pt x="31" y="26"/>
                    <a:pt x="34" y="26"/>
                    <a:pt x="34" y="21"/>
                  </a:cubicBezTo>
                  <a:cubicBezTo>
                    <a:pt x="34" y="18"/>
                    <a:pt x="31" y="17"/>
                    <a:pt x="28" y="17"/>
                  </a:cubicBezTo>
                  <a:cubicBezTo>
                    <a:pt x="22" y="17"/>
                    <a:pt x="22" y="17"/>
                    <a:pt x="22" y="17"/>
                  </a:cubicBezTo>
                  <a:cubicBezTo>
                    <a:pt x="22" y="26"/>
                    <a:pt x="22" y="26"/>
                    <a:pt x="22" y="26"/>
                  </a:cubicBezTo>
                  <a:lnTo>
                    <a:pt x="2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cs typeface="Arial" panose="020B0604020202020204" pitchFamily="34" charset="0"/>
              </a:endParaRPr>
            </a:p>
          </p:txBody>
        </p:sp>
      </p:grpSp>
      <p:sp>
        <p:nvSpPr>
          <p:cNvPr id="91" name="TextBox 90">
            <a:extLst>
              <a:ext uri="{FF2B5EF4-FFF2-40B4-BE49-F238E27FC236}">
                <a16:creationId xmlns:a16="http://schemas.microsoft.com/office/drawing/2014/main" id="{B7AB0367-39CD-424A-8DF6-6311D225960D}"/>
              </a:ext>
            </a:extLst>
          </p:cNvPr>
          <p:cNvSpPr txBox="1"/>
          <p:nvPr/>
        </p:nvSpPr>
        <p:spPr>
          <a:xfrm>
            <a:off x="4384126" y="6431612"/>
            <a:ext cx="609320" cy="123047"/>
          </a:xfrm>
          <a:prstGeom prst="rect">
            <a:avLst/>
          </a:prstGeom>
          <a:noFill/>
        </p:spPr>
        <p:txBody>
          <a:bodyPr wrap="square" lIns="73114" tIns="0" rIns="0" bIns="0" rtlCol="0" anchor="b">
            <a:spAutoFit/>
          </a:bodyPr>
          <a:lstStyle>
            <a:defPPr>
              <a:defRPr lang="en-US"/>
            </a:defPPr>
            <a:lvl1pPr>
              <a:defRPr sz="800">
                <a:solidFill>
                  <a:schemeClr val="tx2"/>
                </a:solidFill>
              </a:defRPr>
            </a:lvl1pPr>
            <a:lvl2pPr defTabSz="914400"/>
            <a:lvl3pPr defTabSz="914400"/>
            <a:lvl4pPr defTabSz="914400"/>
            <a:lvl5pPr defTabSz="914400"/>
            <a:lvl6pPr defTabSz="914400"/>
            <a:lvl7pPr defTabSz="914400"/>
            <a:lvl8pPr defTabSz="914400"/>
            <a:lvl9pPr defTabSz="914400"/>
          </a:lstStyle>
          <a:p>
            <a:pPr lvl="0"/>
            <a:r>
              <a:rPr lang="en-US" dirty="0"/>
              <a:t>54266</a:t>
            </a:r>
          </a:p>
        </p:txBody>
      </p:sp>
      <p:grpSp>
        <p:nvGrpSpPr>
          <p:cNvPr id="53" name="Group 52">
            <a:extLst>
              <a:ext uri="{FF2B5EF4-FFF2-40B4-BE49-F238E27FC236}">
                <a16:creationId xmlns:a16="http://schemas.microsoft.com/office/drawing/2014/main" id="{FDCD4E45-37C4-497E-8A37-C2F847CD0167}"/>
              </a:ext>
            </a:extLst>
          </p:cNvPr>
          <p:cNvGrpSpPr/>
          <p:nvPr/>
        </p:nvGrpSpPr>
        <p:grpSpPr>
          <a:xfrm>
            <a:off x="8110867" y="3797846"/>
            <a:ext cx="1849317" cy="1485294"/>
            <a:chOff x="5836268" y="1199724"/>
            <a:chExt cx="5933305" cy="4839137"/>
          </a:xfrm>
          <a:effectLst>
            <a:outerShdw blurRad="50800" dist="38100" dir="5400000" algn="t" rotWithShape="0">
              <a:prstClr val="black">
                <a:alpha val="40000"/>
              </a:prstClr>
            </a:outerShdw>
          </a:effectLst>
        </p:grpSpPr>
        <p:pic>
          <p:nvPicPr>
            <p:cNvPr id="54" name="Picture 53" descr="Graphical user interface, website&#10;&#10;Description automatically generated">
              <a:extLst>
                <a:ext uri="{FF2B5EF4-FFF2-40B4-BE49-F238E27FC236}">
                  <a16:creationId xmlns:a16="http://schemas.microsoft.com/office/drawing/2014/main" id="{8042F651-C63F-43E3-8723-4DF77F724D33}"/>
                </a:ext>
              </a:extLst>
            </p:cNvPr>
            <p:cNvPicPr>
              <a:picLocks noChangeAspect="1"/>
            </p:cNvPicPr>
            <p:nvPr/>
          </p:nvPicPr>
          <p:blipFill>
            <a:blip r:embed="rId15"/>
            <a:stretch>
              <a:fillRect/>
            </a:stretch>
          </p:blipFill>
          <p:spPr>
            <a:xfrm>
              <a:off x="6151182" y="1424802"/>
              <a:ext cx="5314786" cy="3156723"/>
            </a:xfrm>
            <a:prstGeom prst="rect">
              <a:avLst/>
            </a:prstGeom>
          </p:spPr>
        </p:pic>
        <p:pic>
          <p:nvPicPr>
            <p:cNvPr id="64" name="Picture 63">
              <a:extLst>
                <a:ext uri="{FF2B5EF4-FFF2-40B4-BE49-F238E27FC236}">
                  <a16:creationId xmlns:a16="http://schemas.microsoft.com/office/drawing/2014/main" id="{0FB0DB4B-1EBA-4C7F-AA36-FAB71034485D}"/>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tretch>
              <a:fillRect/>
            </a:stretch>
          </p:blipFill>
          <p:spPr bwMode="auto">
            <a:xfrm flipH="1">
              <a:off x="5836268" y="1199724"/>
              <a:ext cx="5933305" cy="483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grpSp>
      <p:pic>
        <p:nvPicPr>
          <p:cNvPr id="2" name="5">
            <a:hlinkClick r:id="" action="ppaction://media"/>
            <a:extLst>
              <a:ext uri="{FF2B5EF4-FFF2-40B4-BE49-F238E27FC236}">
                <a16:creationId xmlns:a16="http://schemas.microsoft.com/office/drawing/2014/main" id="{B8369C09-3A43-E327-CA51-2804672ACECF}"/>
              </a:ext>
            </a:extLst>
          </p:cNvPr>
          <p:cNvPicPr>
            <a:picLocks noChangeAspect="1"/>
          </p:cNvPicPr>
          <p:nvPr>
            <a:audioFile r:link="rId4"/>
            <p:extLst>
              <p:ext uri="{DAA4B4D4-6D71-4841-9C94-3DE7FCFB9230}">
                <p14:media xmlns:p14="http://schemas.microsoft.com/office/powerpoint/2010/main" r:embed="rId3"/>
              </p:ext>
            </p:extLst>
          </p:nvPr>
        </p:nvPicPr>
        <p:blipFill>
          <a:blip r:embed="rId17">
            <a:alphaModFix amt="0"/>
          </a:blip>
          <a:stretch>
            <a:fillRect/>
          </a:stretch>
        </p:blipFill>
        <p:spPr>
          <a:xfrm>
            <a:off x="11499591" y="5843790"/>
            <a:ext cx="609600" cy="609600"/>
          </a:xfrm>
          <a:prstGeom prst="rect">
            <a:avLst/>
          </a:prstGeom>
        </p:spPr>
      </p:pic>
    </p:spTree>
    <p:extLst>
      <p:ext uri="{BB962C8B-B14F-4D97-AF65-F5344CB8AC3E}">
        <p14:creationId xmlns:p14="http://schemas.microsoft.com/office/powerpoint/2010/main" val="2034815746"/>
      </p:ext>
    </p:extLst>
  </p:cSld>
  <p:clrMapOvr>
    <a:masterClrMapping/>
  </p:clrMapOvr>
  <mc:AlternateContent xmlns:mc="http://schemas.openxmlformats.org/markup-compatibility/2006" xmlns:p14="http://schemas.microsoft.com/office/powerpoint/2010/main">
    <mc:Choice Requires="p14">
      <p:transition spd="med" p14:dur="700" advTm="96674">
        <p:fade/>
      </p:transition>
    </mc:Choice>
    <mc:Fallback xmlns="">
      <p:transition spd="med" advTm="9667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667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5" descr="Smiling mature woman at home with coffee cup relaxing by the window.&#10;&#10;G-1145831163.&#10;">
            <a:extLst>
              <a:ext uri="{FF2B5EF4-FFF2-40B4-BE49-F238E27FC236}">
                <a16:creationId xmlns:a16="http://schemas.microsoft.com/office/drawing/2014/main" id="{1C4FCD33-562F-4C43-36EE-DDBA2CC16125}"/>
              </a:ext>
            </a:extLst>
          </p:cNvPr>
          <p:cNvPicPr>
            <a:picLocks noChangeAspect="1"/>
          </p:cNvPicPr>
          <p:nvPr/>
        </p:nvPicPr>
        <p:blipFill rotWithShape="1">
          <a:blip r:embed="rId5"/>
          <a:srcRect l="-1" t="7811" r="41180" b="4658"/>
          <a:stretch/>
        </p:blipFill>
        <p:spPr>
          <a:xfrm>
            <a:off x="-1587" y="0"/>
            <a:ext cx="6912750" cy="6858000"/>
          </a:xfrm>
          <a:prstGeom prst="rect">
            <a:avLst/>
          </a:prstGeom>
          <a:solidFill>
            <a:schemeClr val="bg1">
              <a:lumMod val="75000"/>
            </a:schemeClr>
          </a:solidFill>
        </p:spPr>
      </p:pic>
      <p:sp>
        <p:nvSpPr>
          <p:cNvPr id="14" name="Rectangle 13">
            <a:extLst>
              <a:ext uri="{FF2B5EF4-FFF2-40B4-BE49-F238E27FC236}">
                <a16:creationId xmlns:a16="http://schemas.microsoft.com/office/drawing/2014/main" id="{8A42A67B-311D-49B3-B456-ABC6F771F150}"/>
              </a:ext>
            </a:extLst>
          </p:cNvPr>
          <p:cNvSpPr/>
          <p:nvPr/>
        </p:nvSpPr>
        <p:spPr>
          <a:xfrm>
            <a:off x="7411391" y="2844009"/>
            <a:ext cx="4385935" cy="2243691"/>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1500"/>
              </a:spcBef>
              <a:spcAft>
                <a:spcPts val="0"/>
              </a:spcAft>
              <a:buClrTx/>
              <a:buSzPct val="130000"/>
              <a:buFontTx/>
              <a:buNone/>
              <a:tabLst/>
              <a:defRPr/>
            </a:pPr>
            <a:r>
              <a:rPr kumimoji="0" lang="en-US" sz="1400" b="1"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Certain medications</a:t>
            </a:r>
            <a:r>
              <a:rPr kumimoji="0" lang="en-US" sz="14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 supplements or products to:</a:t>
            </a:r>
          </a:p>
          <a:p>
            <a:pPr marL="292100" marR="0" lvl="1" indent="-227013" algn="l" defTabSz="914400" rtl="0" eaLnBrk="1" fontAlgn="auto" latinLnBrk="0" hangingPunct="1">
              <a:lnSpc>
                <a:spcPct val="90000"/>
              </a:lnSpc>
              <a:spcBef>
                <a:spcPts val="1200"/>
              </a:spcBef>
              <a:spcAft>
                <a:spcPts val="0"/>
              </a:spcAft>
              <a:buClrTx/>
              <a:buSzPct val="130000"/>
              <a:buFont typeface="Wingdings" panose="05000000000000000000" pitchFamily="2" charset="2"/>
              <a:buChar char="ü"/>
              <a:tabLst/>
              <a:defRPr/>
            </a:pPr>
            <a:r>
              <a:rPr kumimoji="0" lang="en-US" sz="12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Prevent certain health conditions </a:t>
            </a:r>
          </a:p>
          <a:p>
            <a:pPr marL="292100" marR="0" lvl="1" indent="-227013" algn="l" defTabSz="914400" rtl="0" eaLnBrk="1" fontAlgn="auto" latinLnBrk="0" hangingPunct="1">
              <a:lnSpc>
                <a:spcPct val="90000"/>
              </a:lnSpc>
              <a:spcBef>
                <a:spcPts val="1500"/>
              </a:spcBef>
              <a:spcAft>
                <a:spcPts val="0"/>
              </a:spcAft>
              <a:buClrTx/>
              <a:buSzPct val="130000"/>
              <a:buFont typeface="Wingdings" panose="05000000000000000000" pitchFamily="2" charset="2"/>
              <a:buChar char="ü"/>
              <a:tabLst/>
              <a:defRPr/>
            </a:pPr>
            <a:r>
              <a:rPr kumimoji="0" lang="en-US" sz="12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Help you quit smoking or using tobacco </a:t>
            </a:r>
          </a:p>
          <a:p>
            <a:pPr marL="292100" marR="0" lvl="1" indent="-227013" algn="l" defTabSz="914400" rtl="0" eaLnBrk="1" fontAlgn="auto" latinLnBrk="0" hangingPunct="1">
              <a:lnSpc>
                <a:spcPct val="90000"/>
              </a:lnSpc>
              <a:spcBef>
                <a:spcPts val="1500"/>
              </a:spcBef>
              <a:spcAft>
                <a:spcPts val="0"/>
              </a:spcAft>
              <a:buClrTx/>
              <a:buSzPct val="130000"/>
              <a:buFont typeface="Wingdings" panose="05000000000000000000" pitchFamily="2" charset="2"/>
              <a:buChar char="ü"/>
              <a:tabLst/>
              <a:defRPr/>
            </a:pPr>
            <a:r>
              <a:rPr kumimoji="0" lang="en-US" sz="12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Prepare for certain health screenings in adults </a:t>
            </a:r>
          </a:p>
          <a:p>
            <a:pPr marL="0" marR="0" lvl="0" indent="0" algn="l" defTabSz="914400" rtl="0" eaLnBrk="1" fontAlgn="auto" latinLnBrk="0" hangingPunct="1">
              <a:lnSpc>
                <a:spcPct val="90000"/>
              </a:lnSpc>
              <a:spcBef>
                <a:spcPts val="1500"/>
              </a:spcBef>
              <a:spcAft>
                <a:spcPts val="0"/>
              </a:spcAft>
              <a:buClrTx/>
              <a:buSzPct val="130000"/>
              <a:buFontTx/>
              <a:buNone/>
              <a:tabLst/>
              <a:defRPr/>
            </a:pPr>
            <a:r>
              <a:rPr kumimoji="0" lang="en-US" sz="1400" b="1"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Vaccines and immunizations </a:t>
            </a:r>
            <a:r>
              <a:rPr kumimoji="0" lang="en-US" sz="14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to prevent certain illnesses in infants, children and adults</a:t>
            </a:r>
          </a:p>
          <a:p>
            <a:pPr marL="0" marR="0" lvl="0" indent="0" algn="l" defTabSz="914400" rtl="0" eaLnBrk="1" fontAlgn="auto" latinLnBrk="0" hangingPunct="1">
              <a:lnSpc>
                <a:spcPct val="90000"/>
              </a:lnSpc>
              <a:spcBef>
                <a:spcPts val="1500"/>
              </a:spcBef>
              <a:spcAft>
                <a:spcPts val="0"/>
              </a:spcAft>
              <a:buClrTx/>
              <a:buSzPct val="130000"/>
              <a:buFontTx/>
              <a:buNone/>
              <a:tabLst/>
              <a:defRPr/>
            </a:pPr>
            <a:r>
              <a:rPr kumimoji="0" lang="en-US" sz="1400" b="1"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Contraceptives for women</a:t>
            </a:r>
          </a:p>
        </p:txBody>
      </p:sp>
      <p:sp>
        <p:nvSpPr>
          <p:cNvPr id="18" name="Rectangle 17">
            <a:extLst>
              <a:ext uri="{FF2B5EF4-FFF2-40B4-BE49-F238E27FC236}">
                <a16:creationId xmlns:a16="http://schemas.microsoft.com/office/drawing/2014/main" id="{36F8260C-CA2C-4A06-9F2C-E64CB7C1F97C}"/>
              </a:ext>
            </a:extLst>
          </p:cNvPr>
          <p:cNvSpPr/>
          <p:nvPr/>
        </p:nvSpPr>
        <p:spPr>
          <a:xfrm>
            <a:off x="7381526" y="681939"/>
            <a:ext cx="4119823" cy="1551194"/>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rPr>
              <a:t>The Affordable Care Act (ACA) Preventive Services Drug List includes: </a:t>
            </a:r>
            <a:endParaRPr kumimoji="0" lang="en-US" sz="2800" b="0" i="0" u="none" strike="noStrike" kern="1200" cap="none" spc="0" normalizeH="0" baseline="0" noProof="0" dirty="0">
              <a:ln>
                <a:noFill/>
              </a:ln>
              <a:solidFill>
                <a:srgbClr val="44546A"/>
              </a:solidFill>
              <a:effectLst/>
              <a:uLnTx/>
              <a:uFillTx/>
              <a:latin typeface="CVS Health Sans" panose="020B0504020202020204" pitchFamily="34" charset="0"/>
              <a:ea typeface="+mn-ea"/>
              <a:cs typeface="+mn-cs"/>
            </a:endParaRPr>
          </a:p>
        </p:txBody>
      </p:sp>
      <p:cxnSp>
        <p:nvCxnSpPr>
          <p:cNvPr id="26" name="Straight Connector 25"/>
          <p:cNvCxnSpPr/>
          <p:nvPr/>
        </p:nvCxnSpPr>
        <p:spPr bwMode="gray">
          <a:xfrm>
            <a:off x="7381526" y="5375842"/>
            <a:ext cx="4000500" cy="0"/>
          </a:xfrm>
          <a:prstGeom prst="line">
            <a:avLst/>
          </a:prstGeom>
          <a:ln w="12700"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sp>
        <p:nvSpPr>
          <p:cNvPr id="3" name="Rectangle 2"/>
          <p:cNvSpPr/>
          <p:nvPr/>
        </p:nvSpPr>
        <p:spPr>
          <a:xfrm>
            <a:off x="7682184" y="5679497"/>
            <a:ext cx="4377233" cy="510653"/>
          </a:xfrm>
          <a:prstGeom prst="rect">
            <a:avLst/>
          </a:prstGeom>
        </p:spPr>
        <p:txBody>
          <a:bodyPr wrap="square" lIns="0" tIns="0" rIns="0" bIns="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CVS Health Sans" panose="020B0504020202020204" pitchFamily="34" charset="0"/>
                <a:ea typeface="Calibri" panose="020F0502020204030204" pitchFamily="34" charset="0"/>
                <a:cs typeface="Times New Roman" panose="02020603050405020304" pitchFamily="18" charset="0"/>
              </a:rPr>
              <a:t>Find the full list at Caremark.com </a:t>
            </a:r>
            <a:br>
              <a:rPr kumimoji="0" lang="en-US" sz="1600" b="1" i="0" u="none" strike="noStrike" kern="1200" cap="none" spc="0" normalizeH="0" baseline="0" noProof="0" dirty="0">
                <a:ln>
                  <a:noFill/>
                </a:ln>
                <a:solidFill>
                  <a:srgbClr val="44546A"/>
                </a:solidFill>
                <a:effectLst/>
                <a:uLnTx/>
                <a:uFillTx/>
                <a:latin typeface="CVS Health Sans" panose="020B0504020202020204" pitchFamily="34" charset="0"/>
                <a:ea typeface="Calibri" panose="020F0502020204030204" pitchFamily="34" charset="0"/>
                <a:cs typeface="Times New Roman" panose="02020603050405020304" pitchFamily="18" charset="0"/>
              </a:rPr>
            </a:br>
            <a:endParaRPr kumimoji="0" lang="en-US" sz="1600" b="1" i="0" u="none" strike="noStrike" kern="1200" cap="none" spc="0" normalizeH="0" baseline="0" noProof="0" dirty="0">
              <a:ln>
                <a:noFill/>
              </a:ln>
              <a:solidFill>
                <a:srgbClr val="00B050"/>
              </a:solidFill>
              <a:effectLst/>
              <a:uLnTx/>
              <a:uFillTx/>
              <a:latin typeface="CVS Health Sans" panose="020B0504020202020204" pitchFamily="34" charset="0"/>
              <a:ea typeface="Calibri" panose="020F0502020204030204" pitchFamily="34" charset="0"/>
              <a:cs typeface="Times New Roman" panose="02020603050405020304" pitchFamily="18" charset="0"/>
            </a:endParaRPr>
          </a:p>
        </p:txBody>
      </p:sp>
      <p:sp>
        <p:nvSpPr>
          <p:cNvPr id="6" name="Rectangle 5"/>
          <p:cNvSpPr/>
          <p:nvPr/>
        </p:nvSpPr>
        <p:spPr>
          <a:xfrm>
            <a:off x="7159305" y="6438362"/>
            <a:ext cx="4820102" cy="216982"/>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4546A"/>
                </a:solidFill>
                <a:effectLst/>
                <a:uLnTx/>
                <a:uFillTx/>
                <a:latin typeface="CVS Health Sans" panose="020B0504020202020204" pitchFamily="34" charset="0"/>
                <a:ea typeface="Calibri" panose="020F0502020204030204" pitchFamily="34" charset="0"/>
                <a:cs typeface="Times New Roman" panose="02020603050405020304" pitchFamily="18" charset="0"/>
              </a:rPr>
              <a:t>Please note: Your exact benefits may vary – see your benefits materials for details</a:t>
            </a:r>
          </a:p>
        </p:txBody>
      </p:sp>
      <p:sp>
        <p:nvSpPr>
          <p:cNvPr id="4" name="Rectangle 3"/>
          <p:cNvSpPr/>
          <p:nvPr/>
        </p:nvSpPr>
        <p:spPr>
          <a:xfrm>
            <a:off x="495301" y="6997627"/>
            <a:ext cx="666400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Image source: CVS Health Creative Resource Library, accessed 2021.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A_RoyaltyFree_0352. Asset ID:  253511. No expiration. </a:t>
            </a:r>
          </a:p>
        </p:txBody>
      </p:sp>
      <p:cxnSp>
        <p:nvCxnSpPr>
          <p:cNvPr id="16" name="Straight Connector 15">
            <a:extLst>
              <a:ext uri="{FF2B5EF4-FFF2-40B4-BE49-F238E27FC236}">
                <a16:creationId xmlns:a16="http://schemas.microsoft.com/office/drawing/2014/main" id="{66FF1F9E-82D5-46AD-85B9-B819076F8075}"/>
              </a:ext>
            </a:extLst>
          </p:cNvPr>
          <p:cNvCxnSpPr>
            <a:cxnSpLocks/>
          </p:cNvCxnSpPr>
          <p:nvPr/>
        </p:nvCxnSpPr>
        <p:spPr>
          <a:xfrm>
            <a:off x="7395906" y="2533012"/>
            <a:ext cx="506412" cy="0"/>
          </a:xfrm>
          <a:prstGeom prst="line">
            <a:avLst/>
          </a:prstGeom>
          <a:ln w="2540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gray">
          <a:xfrm>
            <a:off x="1588" y="4254870"/>
            <a:ext cx="6124075" cy="1387942"/>
          </a:xfrm>
          <a:prstGeom prst="rect">
            <a:avLst/>
          </a:prstGeom>
          <a:solidFill>
            <a:srgbClr val="FFFFFF">
              <a:alpha val="85098"/>
            </a:srgb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Title 2">
            <a:extLst>
              <a:ext uri="{FF2B5EF4-FFF2-40B4-BE49-F238E27FC236}">
                <a16:creationId xmlns:a16="http://schemas.microsoft.com/office/drawing/2014/main" id="{2C08E093-2273-4F02-91DD-820DF5D18137}"/>
              </a:ext>
            </a:extLst>
          </p:cNvPr>
          <p:cNvSpPr txBox="1">
            <a:spLocks/>
          </p:cNvSpPr>
          <p:nvPr/>
        </p:nvSpPr>
        <p:spPr>
          <a:xfrm>
            <a:off x="284539" y="4433505"/>
            <a:ext cx="5558171" cy="1120825"/>
          </a:xfrm>
          <a:prstGeom prst="rect">
            <a:avLst/>
          </a:prstGeom>
        </p:spPr>
        <p:txBody>
          <a:bodyPr lIns="0" tIns="0" rIns="0" bIns="0"/>
          <a:lstStyle>
            <a:lvl1pPr algn="l" defTabSz="457200" rtl="0" eaLnBrk="1" latinLnBrk="0" hangingPunct="1">
              <a:lnSpc>
                <a:spcPct val="90000"/>
              </a:lnSpc>
              <a:spcBef>
                <a:spcPct val="0"/>
              </a:spcBef>
              <a:buNone/>
              <a:defRPr sz="2600" b="1" kern="1200">
                <a:solidFill>
                  <a:schemeClr val="tx2"/>
                </a:solidFill>
                <a:latin typeface="+mj-lt"/>
                <a:ea typeface="+mj-ea"/>
                <a:cs typeface="+mj-cs"/>
              </a:defRPr>
            </a:lvl1pPr>
          </a:lstStyle>
          <a:p>
            <a:pPr marL="0" marR="0" lvl="0" indent="0" algn="l" defTabSz="457200" rtl="0" eaLnBrk="1" fontAlgn="auto" latinLnBrk="0" hangingPunct="1">
              <a:lnSpc>
                <a:spcPct val="90000"/>
              </a:lnSpc>
              <a:spcBef>
                <a:spcPts val="600"/>
              </a:spcBef>
              <a:spcAft>
                <a:spcPts val="0"/>
              </a:spcAft>
              <a:buClrTx/>
              <a:buSzTx/>
              <a:buFontTx/>
              <a:buNone/>
              <a:tabLst/>
              <a:defRPr/>
            </a:pPr>
            <a:r>
              <a:rPr kumimoji="0" lang="en-US" sz="2600" b="1" i="0" u="none" strike="noStrike" kern="1200" cap="none" spc="0" normalizeH="0" baseline="0" noProof="0" dirty="0">
                <a:ln>
                  <a:noFill/>
                </a:ln>
                <a:solidFill>
                  <a:schemeClr val="accent1">
                    <a:lumMod val="50000"/>
                  </a:schemeClr>
                </a:solidFill>
                <a:effectLst/>
                <a:uLnTx/>
                <a:uFillTx/>
                <a:latin typeface="CVS Health Sans" panose="020B0504020202020204" pitchFamily="34" charset="0"/>
                <a:ea typeface="+mj-ea"/>
                <a:cs typeface="+mj-cs"/>
              </a:rPr>
              <a:t>ACA Preventive Services Drug List</a:t>
            </a:r>
          </a:p>
          <a:p>
            <a:pPr marL="0" marR="0" lvl="0" indent="0" algn="l" defTabSz="457200" rtl="0" eaLnBrk="1" fontAlgn="auto" latinLnBrk="0" hangingPunct="1">
              <a:lnSpc>
                <a:spcPct val="9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44546A"/>
                </a:solidFill>
                <a:effectLst/>
                <a:uLnTx/>
                <a:uFillTx/>
                <a:latin typeface="CVS Health Sans" panose="020B0504020202020204" pitchFamily="34" charset="0"/>
                <a:ea typeface="+mj-ea"/>
                <a:cs typeface="+mj-cs"/>
              </a:rPr>
              <a:t>For some medications, </a:t>
            </a:r>
            <a:r>
              <a:rPr kumimoji="0" lang="en-US" sz="1800" b="1" i="0" u="none" strike="noStrike" kern="1200" cap="none" spc="0" normalizeH="0" baseline="0" noProof="0" dirty="0">
                <a:ln>
                  <a:noFill/>
                </a:ln>
                <a:solidFill>
                  <a:srgbClr val="44546A"/>
                </a:solidFill>
                <a:effectLst/>
                <a:uLnTx/>
                <a:uFillTx/>
                <a:latin typeface="CVS Health Sans" panose="020B0504020202020204" pitchFamily="34" charset="0"/>
                <a:ea typeface="+mj-ea"/>
                <a:cs typeface="+mj-cs"/>
              </a:rPr>
              <a:t>you pay $0 </a:t>
            </a:r>
            <a:r>
              <a:rPr kumimoji="0" lang="en-US" sz="1800" b="0" i="0" u="none" strike="noStrike" kern="1200" cap="none" spc="0" normalizeH="0" baseline="0" noProof="0" dirty="0">
                <a:ln>
                  <a:noFill/>
                </a:ln>
                <a:solidFill>
                  <a:srgbClr val="44546A"/>
                </a:solidFill>
                <a:effectLst/>
                <a:uLnTx/>
                <a:uFillTx/>
                <a:latin typeface="CVS Health Sans" panose="020B0504020202020204" pitchFamily="34" charset="0"/>
                <a:ea typeface="+mj-ea"/>
                <a:cs typeface="+mj-cs"/>
              </a:rPr>
              <a:t>even if you or your family haven’t met your annual deductible</a:t>
            </a:r>
          </a:p>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1800" b="1" i="0" u="none" strike="noStrike" kern="1200" cap="none" spc="0" normalizeH="0" baseline="45000" noProof="0" dirty="0">
              <a:ln>
                <a:noFill/>
              </a:ln>
              <a:solidFill>
                <a:srgbClr val="44546A"/>
              </a:solidFill>
              <a:effectLst/>
              <a:uLnTx/>
              <a:uFillTx/>
              <a:latin typeface="Calibri Light" panose="020F0302020204030204"/>
              <a:ea typeface="+mj-ea"/>
              <a:cs typeface="+mj-cs"/>
            </a:endParaRPr>
          </a:p>
        </p:txBody>
      </p:sp>
      <p:sp>
        <p:nvSpPr>
          <p:cNvPr id="20" name="TextBox 19">
            <a:extLst>
              <a:ext uri="{FF2B5EF4-FFF2-40B4-BE49-F238E27FC236}">
                <a16:creationId xmlns:a16="http://schemas.microsoft.com/office/drawing/2014/main" id="{22B9F1AC-7982-48A5-A9F4-F49F09D2E693}"/>
              </a:ext>
            </a:extLst>
          </p:cNvPr>
          <p:cNvSpPr txBox="1"/>
          <p:nvPr/>
        </p:nvSpPr>
        <p:spPr>
          <a:xfrm>
            <a:off x="831458" y="6472976"/>
            <a:ext cx="5264542" cy="24622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rPr>
              <a:t>©2023 CVS Health and/or one of its affiliates. Confidential and proprietary			</a:t>
            </a:r>
          </a:p>
        </p:txBody>
      </p:sp>
      <p:sp>
        <p:nvSpPr>
          <p:cNvPr id="21" name="Content Placeholder 8"/>
          <p:cNvSpPr txBox="1">
            <a:spLocks/>
          </p:cNvSpPr>
          <p:nvPr/>
        </p:nvSpPr>
        <p:spPr>
          <a:xfrm>
            <a:off x="559373" y="6367487"/>
            <a:ext cx="352367"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tab pos="1201738" algn="l"/>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a:ea typeface="Open Sans" panose="020B0606030504020204" pitchFamily="34" charset="0"/>
              <a:cs typeface="Arial" panose="020B0604020202020204" pitchFamily="34" charset="0"/>
            </a:endParaRPr>
          </a:p>
        </p:txBody>
      </p:sp>
      <p:sp>
        <p:nvSpPr>
          <p:cNvPr id="23" name="Text Placeholder 8">
            <a:extLst>
              <a:ext uri="{FF2B5EF4-FFF2-40B4-BE49-F238E27FC236}">
                <a16:creationId xmlns:a16="http://schemas.microsoft.com/office/drawing/2014/main" id="{BD78D1E7-FBEE-4E02-AB55-FAC49EEA3D65}"/>
              </a:ext>
            </a:extLst>
          </p:cNvPr>
          <p:cNvSpPr txBox="1">
            <a:spLocks/>
          </p:cNvSpPr>
          <p:nvPr/>
        </p:nvSpPr>
        <p:spPr>
          <a:xfrm>
            <a:off x="6825849" y="-1"/>
            <a:ext cx="6089904"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ts val="1800"/>
              </a:spcBef>
              <a:spcAft>
                <a:spcPts val="0"/>
              </a:spcAft>
              <a:buClr>
                <a:prstClr val="black"/>
              </a:buClr>
              <a:buSzTx/>
              <a:buFont typeface="Arial"/>
              <a:buNone/>
              <a:tabLst/>
              <a:defRPr/>
            </a:pPr>
            <a:r>
              <a:rPr kumimoji="0" lang="en-US" sz="1200" b="1" i="0" u="none" strike="noStrike" kern="1200" cap="all" spc="0" normalizeH="0" baseline="0" noProof="0" dirty="0">
                <a:ln>
                  <a:noFill/>
                </a:ln>
                <a:solidFill>
                  <a:schemeClr val="accent1">
                    <a:lumMod val="50000"/>
                  </a:schemeClr>
                </a:solidFill>
                <a:effectLst/>
                <a:uLnTx/>
                <a:uFillTx/>
                <a:latin typeface="Calibri" panose="020F0502020204030204"/>
                <a:ea typeface="+mn-ea"/>
                <a:cs typeface="+mn-cs"/>
              </a:rPr>
              <a:t>2025 Prescription Benefits</a:t>
            </a:r>
          </a:p>
        </p:txBody>
      </p:sp>
      <p:pic>
        <p:nvPicPr>
          <p:cNvPr id="7" name="Recorded Sound">
            <a:hlinkClick r:id="" action="ppaction://media"/>
            <a:extLst>
              <a:ext uri="{FF2B5EF4-FFF2-40B4-BE49-F238E27FC236}">
                <a16:creationId xmlns:a16="http://schemas.microsoft.com/office/drawing/2014/main" id="{0E611C96-4361-39B5-CB7B-BC017E7A63B3}"/>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449817" y="5975939"/>
            <a:ext cx="609600" cy="609600"/>
          </a:xfrm>
          <a:prstGeom prst="rect">
            <a:avLst/>
          </a:prstGeom>
        </p:spPr>
      </p:pic>
    </p:spTree>
    <p:extLst>
      <p:ext uri="{BB962C8B-B14F-4D97-AF65-F5344CB8AC3E}">
        <p14:creationId xmlns:p14="http://schemas.microsoft.com/office/powerpoint/2010/main" val="1442973020"/>
      </p:ext>
    </p:extLst>
  </p:cSld>
  <p:clrMapOvr>
    <a:masterClrMapping/>
  </p:clrMapOvr>
  <mc:AlternateContent xmlns:mc="http://schemas.openxmlformats.org/markup-compatibility/2006" xmlns:p14="http://schemas.microsoft.com/office/powerpoint/2010/main">
    <mc:Choice Requires="p14">
      <p:transition spd="slow" p14:dur="2000" advTm="28978"/>
    </mc:Choice>
    <mc:Fallback xmlns="">
      <p:transition spd="slow" advTm="289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98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C69A388-00DD-C195-472C-3E7623B7D750}"/>
              </a:ext>
            </a:extLst>
          </p:cNvPr>
          <p:cNvSpPr/>
          <p:nvPr/>
        </p:nvSpPr>
        <p:spPr bwMode="gray">
          <a:xfrm>
            <a:off x="4521153" y="0"/>
            <a:ext cx="7669260" cy="6858000"/>
          </a:xfrm>
          <a:prstGeom prst="rect">
            <a:avLst/>
          </a:prstGeom>
          <a:solidFill>
            <a:schemeClr val="accent6">
              <a:lumMod val="20000"/>
              <a:lumOff val="80000"/>
            </a:schemeClr>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US" sz="1500" b="1">
              <a:solidFill>
                <a:srgbClr val="FFFFFF"/>
              </a:solidFill>
              <a:latin typeface="CVS Health Sans"/>
            </a:endParaRPr>
          </a:p>
        </p:txBody>
      </p:sp>
      <p:pic>
        <p:nvPicPr>
          <p:cNvPr id="17" name="Picture Placeholder 5" descr="A man and women in a conference room looking at a laptop. &#10;&#10;A-179314920.">
            <a:extLst>
              <a:ext uri="{FF2B5EF4-FFF2-40B4-BE49-F238E27FC236}">
                <a16:creationId xmlns:a16="http://schemas.microsoft.com/office/drawing/2014/main" id="{603B4D30-EA49-227F-99B9-1B37B78B0F8C}"/>
              </a:ext>
            </a:extLst>
          </p:cNvPr>
          <p:cNvPicPr>
            <a:picLocks noChangeAspect="1"/>
          </p:cNvPicPr>
          <p:nvPr/>
        </p:nvPicPr>
        <p:blipFill rotWithShape="1">
          <a:blip r:embed="rId5"/>
          <a:srcRect l="850" t="26857" r="15" b="28999"/>
          <a:stretch/>
        </p:blipFill>
        <p:spPr>
          <a:xfrm>
            <a:off x="4521153" y="1"/>
            <a:ext cx="7669260" cy="2276668"/>
          </a:xfrm>
          <a:prstGeom prst="rect">
            <a:avLst/>
          </a:prstGeom>
        </p:spPr>
      </p:pic>
      <p:cxnSp>
        <p:nvCxnSpPr>
          <p:cNvPr id="5" name="Straight Connector 4">
            <a:extLst>
              <a:ext uri="{FF2B5EF4-FFF2-40B4-BE49-F238E27FC236}">
                <a16:creationId xmlns:a16="http://schemas.microsoft.com/office/drawing/2014/main" id="{ADBC72FA-9283-4040-B982-7906D62547BC}"/>
              </a:ext>
            </a:extLst>
          </p:cNvPr>
          <p:cNvCxnSpPr>
            <a:cxnSpLocks/>
          </p:cNvCxnSpPr>
          <p:nvPr/>
        </p:nvCxnSpPr>
        <p:spPr>
          <a:xfrm flipV="1">
            <a:off x="5556243" y="4148331"/>
            <a:ext cx="5561827" cy="1"/>
          </a:xfrm>
          <a:prstGeom prst="line">
            <a:avLst/>
          </a:prstGeom>
          <a:ln w="1270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6A76FEAD-3029-8649-9A6F-16040A458F3E}"/>
              </a:ext>
            </a:extLst>
          </p:cNvPr>
          <p:cNvSpPr>
            <a:spLocks noGrp="1"/>
          </p:cNvSpPr>
          <p:nvPr>
            <p:ph type="title"/>
          </p:nvPr>
        </p:nvSpPr>
        <p:spPr>
          <a:xfrm>
            <a:off x="559372" y="649223"/>
            <a:ext cx="3014303" cy="2779776"/>
          </a:xfrm>
        </p:spPr>
        <p:txBody>
          <a:bodyPr/>
          <a:lstStyle/>
          <a:p>
            <a:r>
              <a:rPr lang="en-US" sz="3600" spc="-10" dirty="0">
                <a:solidFill>
                  <a:srgbClr val="175592"/>
                </a:solidFill>
              </a:rPr>
              <a:t>Formulary</a:t>
            </a:r>
            <a:br>
              <a:rPr lang="en-US" sz="2000" spc="-10" dirty="0">
                <a:solidFill>
                  <a:schemeClr val="tx1">
                    <a:lumMod val="75000"/>
                    <a:lumOff val="25000"/>
                  </a:schemeClr>
                </a:solidFill>
              </a:rPr>
            </a:br>
            <a:r>
              <a:rPr lang="en-US" sz="2200" spc="-10" dirty="0">
                <a:solidFill>
                  <a:schemeClr val="tx1">
                    <a:lumMod val="75000"/>
                    <a:lumOff val="25000"/>
                  </a:schemeClr>
                </a:solidFill>
                <a:latin typeface="+mn-lt"/>
              </a:rPr>
              <a:t>Also know as a </a:t>
            </a:r>
            <a:br>
              <a:rPr lang="en-US" sz="2200" spc="-10" dirty="0">
                <a:solidFill>
                  <a:schemeClr val="tx1">
                    <a:lumMod val="75000"/>
                    <a:lumOff val="25000"/>
                  </a:schemeClr>
                </a:solidFill>
                <a:latin typeface="+mn-lt"/>
              </a:rPr>
            </a:br>
            <a:r>
              <a:rPr lang="en-US" sz="2200" spc="-10" dirty="0">
                <a:solidFill>
                  <a:schemeClr val="tx1">
                    <a:lumMod val="75000"/>
                    <a:lumOff val="25000"/>
                  </a:schemeClr>
                </a:solidFill>
                <a:latin typeface="+mn-lt"/>
              </a:rPr>
              <a:t>Preferred Drug List (PDL)</a:t>
            </a:r>
          </a:p>
        </p:txBody>
      </p:sp>
      <p:sp>
        <p:nvSpPr>
          <p:cNvPr id="11" name="TextBox 10">
            <a:extLst>
              <a:ext uri="{FF2B5EF4-FFF2-40B4-BE49-F238E27FC236}">
                <a16:creationId xmlns:a16="http://schemas.microsoft.com/office/drawing/2014/main" id="{959647F9-55E3-429B-8279-35B30CC3E62C}"/>
              </a:ext>
            </a:extLst>
          </p:cNvPr>
          <p:cNvSpPr txBox="1"/>
          <p:nvPr/>
        </p:nvSpPr>
        <p:spPr>
          <a:xfrm>
            <a:off x="5063976" y="4632646"/>
            <a:ext cx="6787502" cy="588366"/>
          </a:xfrm>
          <a:prstGeom prst="rect">
            <a:avLst/>
          </a:prstGeom>
          <a:noFill/>
        </p:spPr>
        <p:txBody>
          <a:bodyPr wrap="square" lIns="0" tIns="0" rIns="0" bIns="0" rtlCol="0">
            <a:spAutoFit/>
          </a:bodyPr>
          <a:lstStyle/>
          <a:p>
            <a:pPr>
              <a:lnSpc>
                <a:spcPct val="90000"/>
              </a:lnSpc>
              <a:spcBef>
                <a:spcPts val="600"/>
              </a:spcBef>
              <a:spcAft>
                <a:spcPts val="100"/>
              </a:spcAft>
              <a:defRPr/>
            </a:pPr>
            <a:r>
              <a:rPr lang="en-US" sz="2000" dirty="0">
                <a:solidFill>
                  <a:srgbClr val="175592"/>
                </a:solidFill>
                <a:latin typeface="CVS Health Sans Medium" panose="020B0504020202020204" pitchFamily="34" charset="0"/>
              </a:rPr>
              <a:t>Formulary Categories/ Tiers</a:t>
            </a:r>
          </a:p>
          <a:p>
            <a:pPr>
              <a:lnSpc>
                <a:spcPct val="90000"/>
              </a:lnSpc>
              <a:spcBef>
                <a:spcPts val="600"/>
              </a:spcBef>
              <a:spcAft>
                <a:spcPts val="100"/>
              </a:spcAft>
              <a:defRPr/>
            </a:pPr>
            <a:r>
              <a:rPr lang="en-US" sz="1600" spc="-10" dirty="0">
                <a:solidFill>
                  <a:srgbClr val="3F3F3F"/>
                </a:solidFill>
                <a:latin typeface="CVS Health Sans"/>
              </a:rPr>
              <a:t>Generic Medications</a:t>
            </a:r>
          </a:p>
        </p:txBody>
      </p:sp>
      <p:sp>
        <p:nvSpPr>
          <p:cNvPr id="14" name="Rectangle 13">
            <a:extLst>
              <a:ext uri="{FF2B5EF4-FFF2-40B4-BE49-F238E27FC236}">
                <a16:creationId xmlns:a16="http://schemas.microsoft.com/office/drawing/2014/main" id="{3E1A5625-78F8-4BF8-A790-5D806C920B7C}"/>
              </a:ext>
            </a:extLst>
          </p:cNvPr>
          <p:cNvSpPr/>
          <p:nvPr/>
        </p:nvSpPr>
        <p:spPr>
          <a:xfrm>
            <a:off x="4925133" y="3590627"/>
            <a:ext cx="662361" cy="1015663"/>
          </a:xfrm>
          <a:prstGeom prst="rect">
            <a:avLst/>
          </a:prstGeom>
        </p:spPr>
        <p:txBody>
          <a:bodyPr wrap="none">
            <a:spAutoFit/>
          </a:bodyPr>
          <a:lstStyle/>
          <a:p>
            <a:pPr>
              <a:defRPr/>
            </a:pPr>
            <a:r>
              <a:rPr lang="en-US" sz="6000" b="1">
                <a:solidFill>
                  <a:srgbClr val="FFFFFF">
                    <a:lumMod val="65000"/>
                  </a:srgbClr>
                </a:solidFill>
                <a:latin typeface="CVS Health Sans Medium"/>
                <a:cs typeface="Arial" panose="020B0604020202020204" pitchFamily="34" charset="0"/>
              </a:rPr>
              <a:t>+</a:t>
            </a:r>
            <a:endParaRPr lang="en-US" sz="6000">
              <a:solidFill>
                <a:srgbClr val="FFFFFF">
                  <a:lumMod val="65000"/>
                </a:srgbClr>
              </a:solidFill>
              <a:latin typeface="CVS Health Sans Medium"/>
            </a:endParaRPr>
          </a:p>
        </p:txBody>
      </p:sp>
      <p:sp>
        <p:nvSpPr>
          <p:cNvPr id="16" name="TextBox 15">
            <a:extLst>
              <a:ext uri="{FF2B5EF4-FFF2-40B4-BE49-F238E27FC236}">
                <a16:creationId xmlns:a16="http://schemas.microsoft.com/office/drawing/2014/main" id="{D8A5AA0E-5473-44D5-8AA0-79DEAC8CA7E2}"/>
              </a:ext>
            </a:extLst>
          </p:cNvPr>
          <p:cNvSpPr txBox="1"/>
          <p:nvPr/>
        </p:nvSpPr>
        <p:spPr>
          <a:xfrm>
            <a:off x="5051356" y="2836692"/>
            <a:ext cx="2676243" cy="900759"/>
          </a:xfrm>
          <a:prstGeom prst="rect">
            <a:avLst/>
          </a:prstGeom>
          <a:noFill/>
        </p:spPr>
        <p:txBody>
          <a:bodyPr wrap="square" lIns="0" tIns="0" rIns="0" bIns="0" rtlCol="0">
            <a:spAutoFit/>
          </a:bodyPr>
          <a:lstStyle/>
          <a:p>
            <a:pPr>
              <a:lnSpc>
                <a:spcPct val="90000"/>
              </a:lnSpc>
              <a:spcBef>
                <a:spcPts val="600"/>
              </a:spcBef>
              <a:spcAft>
                <a:spcPts val="100"/>
              </a:spcAft>
              <a:defRPr/>
            </a:pPr>
            <a:r>
              <a:rPr lang="en-US" sz="2000" dirty="0">
                <a:solidFill>
                  <a:srgbClr val="175592"/>
                </a:solidFill>
                <a:latin typeface="CVS Health Sans Medium" panose="020B0504020202020204" pitchFamily="34" charset="0"/>
              </a:rPr>
              <a:t>Formulary principles</a:t>
            </a:r>
          </a:p>
          <a:p>
            <a:pPr>
              <a:lnSpc>
                <a:spcPct val="90000"/>
              </a:lnSpc>
              <a:spcBef>
                <a:spcPts val="1200"/>
              </a:spcBef>
              <a:spcAft>
                <a:spcPts val="100"/>
              </a:spcAft>
              <a:defRPr/>
            </a:pPr>
            <a:r>
              <a:rPr lang="en-US" sz="1600" spc="-10" dirty="0">
                <a:solidFill>
                  <a:srgbClr val="3F3F3F"/>
                </a:solidFill>
                <a:latin typeface="CVS Health Sans"/>
              </a:rPr>
              <a:t>Maintain the highest </a:t>
            </a:r>
            <a:br>
              <a:rPr lang="en-US" sz="1600" spc="-10" dirty="0">
                <a:solidFill>
                  <a:srgbClr val="3F3F3F"/>
                </a:solidFill>
                <a:latin typeface="CVS Health Sans"/>
              </a:rPr>
            </a:br>
            <a:r>
              <a:rPr lang="en-US" sz="1600" spc="-10" dirty="0">
                <a:solidFill>
                  <a:srgbClr val="3F3F3F"/>
                </a:solidFill>
                <a:latin typeface="CVS Health Sans"/>
              </a:rPr>
              <a:t>clinical integrity</a:t>
            </a:r>
          </a:p>
        </p:txBody>
      </p:sp>
      <p:grpSp>
        <p:nvGrpSpPr>
          <p:cNvPr id="9" name="Group 8">
            <a:extLst>
              <a:ext uri="{FF2B5EF4-FFF2-40B4-BE49-F238E27FC236}">
                <a16:creationId xmlns:a16="http://schemas.microsoft.com/office/drawing/2014/main" id="{AC21865E-83D2-0A14-A41A-FD97E6FE21CB}"/>
              </a:ext>
            </a:extLst>
          </p:cNvPr>
          <p:cNvGrpSpPr/>
          <p:nvPr/>
        </p:nvGrpSpPr>
        <p:grpSpPr>
          <a:xfrm>
            <a:off x="3884110" y="1"/>
            <a:ext cx="1274087" cy="657665"/>
            <a:chOff x="5070782" y="15933"/>
            <a:chExt cx="2047255" cy="1056763"/>
          </a:xfrm>
        </p:grpSpPr>
        <p:sp>
          <p:nvSpPr>
            <p:cNvPr id="10" name="Freeform: Shape 9">
              <a:extLst>
                <a:ext uri="{FF2B5EF4-FFF2-40B4-BE49-F238E27FC236}">
                  <a16:creationId xmlns:a16="http://schemas.microsoft.com/office/drawing/2014/main" id="{18CAB931-08A9-8325-5567-3E02641F5174}"/>
                </a:ext>
              </a:extLst>
            </p:cNvPr>
            <p:cNvSpPr/>
            <p:nvPr/>
          </p:nvSpPr>
          <p:spPr bwMode="gray">
            <a:xfrm>
              <a:off x="5070782" y="15933"/>
              <a:ext cx="1023626" cy="1056763"/>
            </a:xfrm>
            <a:custGeom>
              <a:avLst/>
              <a:gdLst>
                <a:gd name="connsiteX0" fmla="*/ 0 w 390727"/>
                <a:gd name="connsiteY0" fmla="*/ 0 h 403375"/>
                <a:gd name="connsiteX1" fmla="*/ 390727 w 390727"/>
                <a:gd name="connsiteY1" fmla="*/ 0 h 403375"/>
                <a:gd name="connsiteX2" fmla="*/ 390727 w 390727"/>
                <a:gd name="connsiteY2" fmla="*/ 403375 h 403375"/>
                <a:gd name="connsiteX3" fmla="*/ 0 w 390727"/>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7" h="403375">
                  <a:moveTo>
                    <a:pt x="0" y="0"/>
                  </a:moveTo>
                  <a:lnTo>
                    <a:pt x="390727" y="0"/>
                  </a:lnTo>
                  <a:lnTo>
                    <a:pt x="390727" y="403375"/>
                  </a:lnTo>
                  <a:lnTo>
                    <a:pt x="0" y="0"/>
                  </a:lnTo>
                  <a:close/>
                </a:path>
              </a:pathLst>
            </a:custGeom>
            <a:solidFill>
              <a:srgbClr val="0B315E"/>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200">
                <a:defRPr/>
              </a:pPr>
              <a:endParaRPr lang="en-US" sz="1500" b="1">
                <a:solidFill>
                  <a:srgbClr val="FFFFFF"/>
                </a:solidFill>
                <a:latin typeface="CVS Health Sans"/>
              </a:endParaRPr>
            </a:p>
          </p:txBody>
        </p:sp>
        <p:sp>
          <p:nvSpPr>
            <p:cNvPr id="12" name="Freeform: Shape 11">
              <a:extLst>
                <a:ext uri="{FF2B5EF4-FFF2-40B4-BE49-F238E27FC236}">
                  <a16:creationId xmlns:a16="http://schemas.microsoft.com/office/drawing/2014/main" id="{6146A8B3-10D3-B987-E9C2-21F957E65C65}"/>
                </a:ext>
              </a:extLst>
            </p:cNvPr>
            <p:cNvSpPr/>
            <p:nvPr/>
          </p:nvSpPr>
          <p:spPr bwMode="gray">
            <a:xfrm>
              <a:off x="6094407" y="15933"/>
              <a:ext cx="1023630" cy="1056763"/>
            </a:xfrm>
            <a:custGeom>
              <a:avLst/>
              <a:gdLst>
                <a:gd name="connsiteX0" fmla="*/ 0 w 390728"/>
                <a:gd name="connsiteY0" fmla="*/ 0 h 403375"/>
                <a:gd name="connsiteX1" fmla="*/ 390728 w 390728"/>
                <a:gd name="connsiteY1" fmla="*/ 0 h 403375"/>
                <a:gd name="connsiteX2" fmla="*/ 0 w 390728"/>
                <a:gd name="connsiteY2" fmla="*/ 403375 h 403375"/>
                <a:gd name="connsiteX3" fmla="*/ 0 w 390728"/>
                <a:gd name="connsiteY3" fmla="*/ 0 h 403375"/>
              </a:gdLst>
              <a:ahLst/>
              <a:cxnLst>
                <a:cxn ang="0">
                  <a:pos x="connsiteX0" y="connsiteY0"/>
                </a:cxn>
                <a:cxn ang="0">
                  <a:pos x="connsiteX1" y="connsiteY1"/>
                </a:cxn>
                <a:cxn ang="0">
                  <a:pos x="connsiteX2" y="connsiteY2"/>
                </a:cxn>
                <a:cxn ang="0">
                  <a:pos x="connsiteX3" y="connsiteY3"/>
                </a:cxn>
              </a:cxnLst>
              <a:rect l="l" t="t" r="r" b="b"/>
              <a:pathLst>
                <a:path w="390728" h="403375">
                  <a:moveTo>
                    <a:pt x="0" y="0"/>
                  </a:moveTo>
                  <a:lnTo>
                    <a:pt x="390728" y="0"/>
                  </a:lnTo>
                  <a:lnTo>
                    <a:pt x="0" y="403375"/>
                  </a:lnTo>
                  <a:lnTo>
                    <a:pt x="0" y="0"/>
                  </a:lnTo>
                  <a:close/>
                </a:path>
              </a:pathLst>
            </a:custGeom>
            <a:solidFill>
              <a:schemeClr val="accent2"/>
            </a:solidFill>
            <a:ln>
              <a:noFill/>
              <a:miter lim="800000"/>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200">
                <a:defRPr/>
              </a:pPr>
              <a:endParaRPr lang="en-US" sz="1500" b="1">
                <a:solidFill>
                  <a:srgbClr val="FFFFFF"/>
                </a:solidFill>
                <a:latin typeface="CVS Health Sans"/>
              </a:endParaRPr>
            </a:p>
          </p:txBody>
        </p:sp>
      </p:grpSp>
      <p:pic>
        <p:nvPicPr>
          <p:cNvPr id="20" name="Graphic 19" descr="CVS Caremark logo.">
            <a:extLst>
              <a:ext uri="{FF2B5EF4-FFF2-40B4-BE49-F238E27FC236}">
                <a16:creationId xmlns:a16="http://schemas.microsoft.com/office/drawing/2014/main" id="{CA56F7DD-2755-D99E-4386-4F2F7A1D6DB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42450" y="6373368"/>
            <a:ext cx="1382188" cy="156078"/>
          </a:xfrm>
          <a:prstGeom prst="rect">
            <a:avLst/>
          </a:prstGeom>
        </p:spPr>
      </p:pic>
      <p:cxnSp>
        <p:nvCxnSpPr>
          <p:cNvPr id="23" name="Straight Connector 22">
            <a:extLst>
              <a:ext uri="{FF2B5EF4-FFF2-40B4-BE49-F238E27FC236}">
                <a16:creationId xmlns:a16="http://schemas.microsoft.com/office/drawing/2014/main" id="{A26BFC27-AC9F-9794-DD9E-82E11AB8F662}"/>
              </a:ext>
            </a:extLst>
          </p:cNvPr>
          <p:cNvCxnSpPr>
            <a:cxnSpLocks/>
          </p:cNvCxnSpPr>
          <p:nvPr/>
        </p:nvCxnSpPr>
        <p:spPr>
          <a:xfrm>
            <a:off x="4521152" y="2273153"/>
            <a:ext cx="7697837" cy="0"/>
          </a:xfrm>
          <a:prstGeom prst="line">
            <a:avLst/>
          </a:prstGeom>
          <a:ln w="12700" cmpd="sng">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E0414C4-2C42-80F8-60D8-A0D9E57E20C9}"/>
              </a:ext>
            </a:extLst>
          </p:cNvPr>
          <p:cNvSpPr txBox="1"/>
          <p:nvPr/>
        </p:nvSpPr>
        <p:spPr>
          <a:xfrm>
            <a:off x="9495818" y="3242281"/>
            <a:ext cx="2287260" cy="313932"/>
          </a:xfrm>
          <a:prstGeom prst="rect">
            <a:avLst/>
          </a:prstGeom>
          <a:noFill/>
        </p:spPr>
        <p:txBody>
          <a:bodyPr wrap="square">
            <a:spAutoFit/>
          </a:bodyPr>
          <a:lstStyle/>
          <a:p>
            <a:pPr>
              <a:lnSpc>
                <a:spcPct val="90000"/>
              </a:lnSpc>
              <a:spcBef>
                <a:spcPts val="600"/>
              </a:spcBef>
              <a:spcAft>
                <a:spcPts val="100"/>
              </a:spcAft>
              <a:defRPr/>
            </a:pPr>
            <a:r>
              <a:rPr lang="en-US" sz="1600" spc="-10" dirty="0">
                <a:solidFill>
                  <a:srgbClr val="3F3F3F"/>
                </a:solidFill>
                <a:latin typeface="CVS Health Sans"/>
              </a:rPr>
              <a:t>Support members</a:t>
            </a:r>
          </a:p>
        </p:txBody>
      </p:sp>
      <p:sp>
        <p:nvSpPr>
          <p:cNvPr id="8" name="TextBox 7">
            <a:extLst>
              <a:ext uri="{FF2B5EF4-FFF2-40B4-BE49-F238E27FC236}">
                <a16:creationId xmlns:a16="http://schemas.microsoft.com/office/drawing/2014/main" id="{C8D5C177-9730-1866-FFB3-778EFF8A55A5}"/>
              </a:ext>
            </a:extLst>
          </p:cNvPr>
          <p:cNvSpPr txBox="1"/>
          <p:nvPr/>
        </p:nvSpPr>
        <p:spPr>
          <a:xfrm>
            <a:off x="7334353" y="3246751"/>
            <a:ext cx="2077080" cy="535531"/>
          </a:xfrm>
          <a:prstGeom prst="rect">
            <a:avLst/>
          </a:prstGeom>
          <a:noFill/>
        </p:spPr>
        <p:txBody>
          <a:bodyPr wrap="square">
            <a:spAutoFit/>
          </a:bodyPr>
          <a:lstStyle/>
          <a:p>
            <a:pPr>
              <a:lnSpc>
                <a:spcPct val="90000"/>
              </a:lnSpc>
              <a:spcBef>
                <a:spcPts val="600"/>
              </a:spcBef>
              <a:spcAft>
                <a:spcPts val="100"/>
              </a:spcAft>
              <a:defRPr/>
            </a:pPr>
            <a:r>
              <a:rPr lang="en-US" sz="1600" spc="-10">
                <a:solidFill>
                  <a:srgbClr val="3F3F3F"/>
                </a:solidFill>
                <a:latin typeface="CVS Health Sans"/>
              </a:rPr>
              <a:t>Secure competitive pricing</a:t>
            </a:r>
          </a:p>
        </p:txBody>
      </p:sp>
      <p:sp>
        <p:nvSpPr>
          <p:cNvPr id="21" name="TextBox 20">
            <a:extLst>
              <a:ext uri="{FF2B5EF4-FFF2-40B4-BE49-F238E27FC236}">
                <a16:creationId xmlns:a16="http://schemas.microsoft.com/office/drawing/2014/main" id="{729FE0FF-FA03-E59B-8EED-3E7545560A35}"/>
              </a:ext>
            </a:extLst>
          </p:cNvPr>
          <p:cNvSpPr txBox="1"/>
          <p:nvPr/>
        </p:nvSpPr>
        <p:spPr>
          <a:xfrm>
            <a:off x="7340248" y="4961651"/>
            <a:ext cx="1835150" cy="535531"/>
          </a:xfrm>
          <a:prstGeom prst="rect">
            <a:avLst/>
          </a:prstGeom>
          <a:noFill/>
        </p:spPr>
        <p:txBody>
          <a:bodyPr wrap="square">
            <a:spAutoFit/>
          </a:bodyPr>
          <a:lstStyle/>
          <a:p>
            <a:pPr>
              <a:lnSpc>
                <a:spcPct val="90000"/>
              </a:lnSpc>
              <a:spcBef>
                <a:spcPts val="600"/>
              </a:spcBef>
              <a:spcAft>
                <a:spcPts val="100"/>
              </a:spcAft>
              <a:defRPr/>
            </a:pPr>
            <a:r>
              <a:rPr lang="en-US" sz="1600" spc="-10" dirty="0">
                <a:solidFill>
                  <a:srgbClr val="3F3F3F"/>
                </a:solidFill>
                <a:latin typeface="CVS Health Sans"/>
              </a:rPr>
              <a:t>Preferred Brand Medications</a:t>
            </a:r>
          </a:p>
        </p:txBody>
      </p:sp>
      <p:sp>
        <p:nvSpPr>
          <p:cNvPr id="24" name="TextBox 23">
            <a:extLst>
              <a:ext uri="{FF2B5EF4-FFF2-40B4-BE49-F238E27FC236}">
                <a16:creationId xmlns:a16="http://schemas.microsoft.com/office/drawing/2014/main" id="{CD507798-DEC2-27DD-AA31-4330711B8D89}"/>
              </a:ext>
            </a:extLst>
          </p:cNvPr>
          <p:cNvSpPr txBox="1"/>
          <p:nvPr/>
        </p:nvSpPr>
        <p:spPr>
          <a:xfrm>
            <a:off x="9492355" y="4994924"/>
            <a:ext cx="1959315" cy="535531"/>
          </a:xfrm>
          <a:prstGeom prst="rect">
            <a:avLst/>
          </a:prstGeom>
          <a:noFill/>
        </p:spPr>
        <p:txBody>
          <a:bodyPr wrap="square">
            <a:spAutoFit/>
          </a:bodyPr>
          <a:lstStyle/>
          <a:p>
            <a:pPr>
              <a:lnSpc>
                <a:spcPct val="90000"/>
              </a:lnSpc>
              <a:spcBef>
                <a:spcPts val="600"/>
              </a:spcBef>
              <a:spcAft>
                <a:spcPts val="100"/>
              </a:spcAft>
              <a:defRPr/>
            </a:pPr>
            <a:r>
              <a:rPr lang="en-US" sz="1600" spc="-10" dirty="0">
                <a:solidFill>
                  <a:srgbClr val="3F3F3F"/>
                </a:solidFill>
                <a:latin typeface="CVS Health Sans"/>
              </a:rPr>
              <a:t>Non-Preferred Brand Medications</a:t>
            </a:r>
          </a:p>
        </p:txBody>
      </p:sp>
      <p:sp>
        <p:nvSpPr>
          <p:cNvPr id="2" name="TextBox 1">
            <a:extLst>
              <a:ext uri="{FF2B5EF4-FFF2-40B4-BE49-F238E27FC236}">
                <a16:creationId xmlns:a16="http://schemas.microsoft.com/office/drawing/2014/main" id="{1909EF79-DAC1-D03D-1421-FC2BC79FCCFB}"/>
              </a:ext>
            </a:extLst>
          </p:cNvPr>
          <p:cNvSpPr txBox="1"/>
          <p:nvPr/>
        </p:nvSpPr>
        <p:spPr>
          <a:xfrm>
            <a:off x="640125" y="4606290"/>
            <a:ext cx="3014303" cy="954107"/>
          </a:xfrm>
          <a:prstGeom prst="rect">
            <a:avLst/>
          </a:prstGeom>
          <a:noFill/>
        </p:spPr>
        <p:txBody>
          <a:bodyPr wrap="square" lIns="0" tIns="0" rIns="0" bIns="0" rtlCol="0">
            <a:spAutoFit/>
          </a:bodyPr>
          <a:lstStyle/>
          <a:p>
            <a:pPr defTabSz="457200">
              <a:defRPr/>
            </a:pPr>
            <a:r>
              <a:rPr lang="en-US" sz="2000" dirty="0">
                <a:solidFill>
                  <a:srgbClr val="0A4B8C"/>
                </a:solidFill>
                <a:latin typeface="CVS Health Sans Medium"/>
              </a:rPr>
              <a:t>Purpose: </a:t>
            </a:r>
            <a:r>
              <a:rPr lang="en-US" sz="1400" dirty="0"/>
              <a:t>to ensure that drugs covered by your plan are safe, effective, and available at a reasonable cost. </a:t>
            </a:r>
            <a:endParaRPr lang="en-US" sz="1500" dirty="0">
              <a:solidFill>
                <a:srgbClr val="3F3F3F"/>
              </a:solidFill>
              <a:latin typeface="CVS Health Sans"/>
            </a:endParaRPr>
          </a:p>
        </p:txBody>
      </p:sp>
      <p:sp>
        <p:nvSpPr>
          <p:cNvPr id="3" name="Freeform 81">
            <a:extLst>
              <a:ext uri="{FF2B5EF4-FFF2-40B4-BE49-F238E27FC236}">
                <a16:creationId xmlns:a16="http://schemas.microsoft.com/office/drawing/2014/main" id="{A6F5A4B5-2EE7-304B-9E66-C98C2988B229}"/>
              </a:ext>
            </a:extLst>
          </p:cNvPr>
          <p:cNvSpPr>
            <a:spLocks noChangeAspect="1" noEditPoints="1"/>
          </p:cNvSpPr>
          <p:nvPr/>
        </p:nvSpPr>
        <p:spPr bwMode="auto">
          <a:xfrm>
            <a:off x="1269441" y="2390454"/>
            <a:ext cx="1333082" cy="1854122"/>
          </a:xfrm>
          <a:custGeom>
            <a:avLst/>
            <a:gdLst>
              <a:gd name="T0" fmla="*/ 454 w 3729"/>
              <a:gd name="T1" fmla="*/ 5187 h 5187"/>
              <a:gd name="T2" fmla="*/ 0 w 3729"/>
              <a:gd name="T3" fmla="*/ 795 h 5187"/>
              <a:gd name="T4" fmla="*/ 1397 w 3729"/>
              <a:gd name="T5" fmla="*/ 342 h 5187"/>
              <a:gd name="T6" fmla="*/ 2333 w 3729"/>
              <a:gd name="T7" fmla="*/ 342 h 5187"/>
              <a:gd name="T8" fmla="*/ 3729 w 3729"/>
              <a:gd name="T9" fmla="*/ 795 h 5187"/>
              <a:gd name="T10" fmla="*/ 3276 w 3729"/>
              <a:gd name="T11" fmla="*/ 5187 h 5187"/>
              <a:gd name="T12" fmla="*/ 232 w 3729"/>
              <a:gd name="T13" fmla="*/ 795 h 5187"/>
              <a:gd name="T14" fmla="*/ 454 w 3729"/>
              <a:gd name="T15" fmla="*/ 4955 h 5187"/>
              <a:gd name="T16" fmla="*/ 3497 w 3729"/>
              <a:gd name="T17" fmla="*/ 4734 h 5187"/>
              <a:gd name="T18" fmla="*/ 3276 w 3729"/>
              <a:gd name="T19" fmla="*/ 574 h 5187"/>
              <a:gd name="T20" fmla="*/ 2308 w 3729"/>
              <a:gd name="T21" fmla="*/ 703 h 5187"/>
              <a:gd name="T22" fmla="*/ 2534 w 3729"/>
              <a:gd name="T23" fmla="*/ 852 h 5187"/>
              <a:gd name="T24" fmla="*/ 3229 w 3729"/>
              <a:gd name="T25" fmla="*/ 4666 h 5187"/>
              <a:gd name="T26" fmla="*/ 475 w 3729"/>
              <a:gd name="T27" fmla="*/ 852 h 5187"/>
              <a:gd name="T28" fmla="*/ 1286 w 3729"/>
              <a:gd name="T29" fmla="*/ 777 h 5187"/>
              <a:gd name="T30" fmla="*/ 1381 w 3729"/>
              <a:gd name="T31" fmla="*/ 574 h 5187"/>
              <a:gd name="T32" fmla="*/ 707 w 3729"/>
              <a:gd name="T33" fmla="*/ 4434 h 5187"/>
              <a:gd name="T34" fmla="*/ 2997 w 3729"/>
              <a:gd name="T35" fmla="*/ 1084 h 5187"/>
              <a:gd name="T36" fmla="*/ 2747 w 3729"/>
              <a:gd name="T37" fmla="*/ 1310 h 5187"/>
              <a:gd name="T38" fmla="*/ 2747 w 3729"/>
              <a:gd name="T39" fmla="*/ 1571 h 5187"/>
              <a:gd name="T40" fmla="*/ 982 w 3729"/>
              <a:gd name="T41" fmla="*/ 1318 h 5187"/>
              <a:gd name="T42" fmla="*/ 1040 w 3729"/>
              <a:gd name="T43" fmla="*/ 1084 h 5187"/>
              <a:gd name="T44" fmla="*/ 707 w 3729"/>
              <a:gd name="T45" fmla="*/ 4434 h 5187"/>
              <a:gd name="T46" fmla="*/ 2516 w 3729"/>
              <a:gd name="T47" fmla="*/ 1339 h 5187"/>
              <a:gd name="T48" fmla="*/ 2311 w 3729"/>
              <a:gd name="T49" fmla="*/ 968 h 5187"/>
              <a:gd name="T50" fmla="*/ 1865 w 3729"/>
              <a:gd name="T51" fmla="*/ 982 h 5187"/>
              <a:gd name="T52" fmla="*/ 1419 w 3729"/>
              <a:gd name="T53" fmla="*/ 968 h 5187"/>
              <a:gd name="T54" fmla="*/ 1214 w 3729"/>
              <a:gd name="T55" fmla="*/ 1339 h 5187"/>
              <a:gd name="T56" fmla="*/ 1606 w 3729"/>
              <a:gd name="T57" fmla="*/ 491 h 5187"/>
              <a:gd name="T58" fmla="*/ 2124 w 3729"/>
              <a:gd name="T59" fmla="*/ 491 h 5187"/>
              <a:gd name="T60" fmla="*/ 2643 w 3729"/>
              <a:gd name="T61" fmla="*/ 3935 h 5187"/>
              <a:gd name="T62" fmla="*/ 1086 w 3729"/>
              <a:gd name="T63" fmla="*/ 3703 h 5187"/>
              <a:gd name="T64" fmla="*/ 2643 w 3729"/>
              <a:gd name="T65" fmla="*/ 3935 h 5187"/>
              <a:gd name="T66" fmla="*/ 1086 w 3729"/>
              <a:gd name="T67" fmla="*/ 3169 h 5187"/>
              <a:gd name="T68" fmla="*/ 2643 w 3729"/>
              <a:gd name="T69" fmla="*/ 2937 h 5187"/>
              <a:gd name="T70" fmla="*/ 2643 w 3729"/>
              <a:gd name="T71" fmla="*/ 2403 h 5187"/>
              <a:gd name="T72" fmla="*/ 1086 w 3729"/>
              <a:gd name="T73" fmla="*/ 2171 h 5187"/>
              <a:gd name="T74" fmla="*/ 2643 w 3729"/>
              <a:gd name="T75" fmla="*/ 2403 h 5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9" h="5187">
                <a:moveTo>
                  <a:pt x="3276" y="5187"/>
                </a:moveTo>
                <a:cubicBezTo>
                  <a:pt x="454" y="5187"/>
                  <a:pt x="454" y="5187"/>
                  <a:pt x="454" y="5187"/>
                </a:cubicBezTo>
                <a:cubicBezTo>
                  <a:pt x="204" y="5187"/>
                  <a:pt x="0" y="4984"/>
                  <a:pt x="0" y="4734"/>
                </a:cubicBezTo>
                <a:cubicBezTo>
                  <a:pt x="0" y="795"/>
                  <a:pt x="0" y="795"/>
                  <a:pt x="0" y="795"/>
                </a:cubicBezTo>
                <a:cubicBezTo>
                  <a:pt x="0" y="545"/>
                  <a:pt x="204" y="342"/>
                  <a:pt x="454" y="342"/>
                </a:cubicBezTo>
                <a:cubicBezTo>
                  <a:pt x="1397" y="342"/>
                  <a:pt x="1397" y="342"/>
                  <a:pt x="1397" y="342"/>
                </a:cubicBezTo>
                <a:cubicBezTo>
                  <a:pt x="1460" y="144"/>
                  <a:pt x="1646" y="0"/>
                  <a:pt x="1865" y="0"/>
                </a:cubicBezTo>
                <a:cubicBezTo>
                  <a:pt x="2084" y="0"/>
                  <a:pt x="2270" y="144"/>
                  <a:pt x="2333" y="342"/>
                </a:cubicBezTo>
                <a:cubicBezTo>
                  <a:pt x="3276" y="342"/>
                  <a:pt x="3276" y="342"/>
                  <a:pt x="3276" y="342"/>
                </a:cubicBezTo>
                <a:cubicBezTo>
                  <a:pt x="3526" y="342"/>
                  <a:pt x="3729" y="545"/>
                  <a:pt x="3729" y="795"/>
                </a:cubicBezTo>
                <a:cubicBezTo>
                  <a:pt x="3729" y="4734"/>
                  <a:pt x="3729" y="4734"/>
                  <a:pt x="3729" y="4734"/>
                </a:cubicBezTo>
                <a:cubicBezTo>
                  <a:pt x="3729" y="4984"/>
                  <a:pt x="3526" y="5187"/>
                  <a:pt x="3276" y="5187"/>
                </a:cubicBezTo>
                <a:close/>
                <a:moveTo>
                  <a:pt x="454" y="574"/>
                </a:moveTo>
                <a:cubicBezTo>
                  <a:pt x="332" y="574"/>
                  <a:pt x="232" y="673"/>
                  <a:pt x="232" y="795"/>
                </a:cubicBezTo>
                <a:cubicBezTo>
                  <a:pt x="232" y="4734"/>
                  <a:pt x="232" y="4734"/>
                  <a:pt x="232" y="4734"/>
                </a:cubicBezTo>
                <a:cubicBezTo>
                  <a:pt x="232" y="4856"/>
                  <a:pt x="332" y="4955"/>
                  <a:pt x="454" y="4955"/>
                </a:cubicBezTo>
                <a:cubicBezTo>
                  <a:pt x="3276" y="4955"/>
                  <a:pt x="3276" y="4955"/>
                  <a:pt x="3276" y="4955"/>
                </a:cubicBezTo>
                <a:cubicBezTo>
                  <a:pt x="3398" y="4955"/>
                  <a:pt x="3497" y="4856"/>
                  <a:pt x="3497" y="4734"/>
                </a:cubicBezTo>
                <a:cubicBezTo>
                  <a:pt x="3497" y="795"/>
                  <a:pt x="3497" y="795"/>
                  <a:pt x="3497" y="795"/>
                </a:cubicBezTo>
                <a:cubicBezTo>
                  <a:pt x="3497" y="673"/>
                  <a:pt x="3398" y="574"/>
                  <a:pt x="3276" y="574"/>
                </a:cubicBezTo>
                <a:cubicBezTo>
                  <a:pt x="2349" y="574"/>
                  <a:pt x="2349" y="574"/>
                  <a:pt x="2349" y="574"/>
                </a:cubicBezTo>
                <a:cubicBezTo>
                  <a:pt x="2341" y="619"/>
                  <a:pt x="2327" y="663"/>
                  <a:pt x="2308" y="703"/>
                </a:cubicBezTo>
                <a:cubicBezTo>
                  <a:pt x="2356" y="723"/>
                  <a:pt x="2401" y="748"/>
                  <a:pt x="2443" y="777"/>
                </a:cubicBezTo>
                <a:cubicBezTo>
                  <a:pt x="2476" y="800"/>
                  <a:pt x="2506" y="825"/>
                  <a:pt x="2534" y="852"/>
                </a:cubicBezTo>
                <a:cubicBezTo>
                  <a:pt x="3229" y="852"/>
                  <a:pt x="3229" y="852"/>
                  <a:pt x="3229" y="852"/>
                </a:cubicBezTo>
                <a:cubicBezTo>
                  <a:pt x="3229" y="4666"/>
                  <a:pt x="3229" y="4666"/>
                  <a:pt x="3229" y="4666"/>
                </a:cubicBezTo>
                <a:cubicBezTo>
                  <a:pt x="475" y="4666"/>
                  <a:pt x="475" y="4666"/>
                  <a:pt x="475" y="4666"/>
                </a:cubicBezTo>
                <a:cubicBezTo>
                  <a:pt x="475" y="852"/>
                  <a:pt x="475" y="852"/>
                  <a:pt x="475" y="852"/>
                </a:cubicBezTo>
                <a:cubicBezTo>
                  <a:pt x="1195" y="852"/>
                  <a:pt x="1195" y="852"/>
                  <a:pt x="1195" y="852"/>
                </a:cubicBezTo>
                <a:cubicBezTo>
                  <a:pt x="1223" y="825"/>
                  <a:pt x="1253" y="800"/>
                  <a:pt x="1286" y="777"/>
                </a:cubicBezTo>
                <a:cubicBezTo>
                  <a:pt x="1328" y="748"/>
                  <a:pt x="1373" y="723"/>
                  <a:pt x="1422" y="703"/>
                </a:cubicBezTo>
                <a:cubicBezTo>
                  <a:pt x="1402" y="663"/>
                  <a:pt x="1388" y="619"/>
                  <a:pt x="1381" y="574"/>
                </a:cubicBezTo>
                <a:cubicBezTo>
                  <a:pt x="454" y="574"/>
                  <a:pt x="454" y="574"/>
                  <a:pt x="454" y="574"/>
                </a:cubicBezTo>
                <a:close/>
                <a:moveTo>
                  <a:pt x="707" y="4434"/>
                </a:moveTo>
                <a:cubicBezTo>
                  <a:pt x="2997" y="4434"/>
                  <a:pt x="2997" y="4434"/>
                  <a:pt x="2997" y="4434"/>
                </a:cubicBezTo>
                <a:cubicBezTo>
                  <a:pt x="2997" y="1084"/>
                  <a:pt x="2997" y="1084"/>
                  <a:pt x="2997" y="1084"/>
                </a:cubicBezTo>
                <a:cubicBezTo>
                  <a:pt x="2689" y="1084"/>
                  <a:pt x="2689" y="1084"/>
                  <a:pt x="2689" y="1084"/>
                </a:cubicBezTo>
                <a:cubicBezTo>
                  <a:pt x="2717" y="1153"/>
                  <a:pt x="2736" y="1228"/>
                  <a:pt x="2747" y="1310"/>
                </a:cubicBezTo>
                <a:cubicBezTo>
                  <a:pt x="2748" y="1318"/>
                  <a:pt x="2748" y="1318"/>
                  <a:pt x="2748" y="1318"/>
                </a:cubicBezTo>
                <a:cubicBezTo>
                  <a:pt x="2747" y="1571"/>
                  <a:pt x="2747" y="1571"/>
                  <a:pt x="2747" y="1571"/>
                </a:cubicBezTo>
                <a:cubicBezTo>
                  <a:pt x="982" y="1571"/>
                  <a:pt x="982" y="1571"/>
                  <a:pt x="982" y="1571"/>
                </a:cubicBezTo>
                <a:cubicBezTo>
                  <a:pt x="982" y="1318"/>
                  <a:pt x="982" y="1318"/>
                  <a:pt x="982" y="1318"/>
                </a:cubicBezTo>
                <a:cubicBezTo>
                  <a:pt x="983" y="1310"/>
                  <a:pt x="983" y="1310"/>
                  <a:pt x="983" y="1310"/>
                </a:cubicBezTo>
                <a:cubicBezTo>
                  <a:pt x="993" y="1228"/>
                  <a:pt x="1012" y="1153"/>
                  <a:pt x="1040" y="1084"/>
                </a:cubicBezTo>
                <a:cubicBezTo>
                  <a:pt x="707" y="1084"/>
                  <a:pt x="707" y="1084"/>
                  <a:pt x="707" y="1084"/>
                </a:cubicBezTo>
                <a:cubicBezTo>
                  <a:pt x="707" y="4434"/>
                  <a:pt x="707" y="4434"/>
                  <a:pt x="707" y="4434"/>
                </a:cubicBezTo>
                <a:close/>
                <a:moveTo>
                  <a:pt x="1214" y="1339"/>
                </a:moveTo>
                <a:cubicBezTo>
                  <a:pt x="2516" y="1339"/>
                  <a:pt x="2516" y="1339"/>
                  <a:pt x="2516" y="1339"/>
                </a:cubicBezTo>
                <a:cubicBezTo>
                  <a:pt x="2516" y="1332"/>
                  <a:pt x="2516" y="1332"/>
                  <a:pt x="2516" y="1332"/>
                </a:cubicBezTo>
                <a:cubicBezTo>
                  <a:pt x="2493" y="1167"/>
                  <a:pt x="2426" y="1048"/>
                  <a:pt x="2311" y="968"/>
                </a:cubicBezTo>
                <a:cubicBezTo>
                  <a:pt x="2263" y="935"/>
                  <a:pt x="2208" y="909"/>
                  <a:pt x="2147" y="893"/>
                </a:cubicBezTo>
                <a:cubicBezTo>
                  <a:pt x="2067" y="949"/>
                  <a:pt x="1970" y="982"/>
                  <a:pt x="1865" y="982"/>
                </a:cubicBezTo>
                <a:cubicBezTo>
                  <a:pt x="1760" y="982"/>
                  <a:pt x="1662" y="949"/>
                  <a:pt x="1582" y="893"/>
                </a:cubicBezTo>
                <a:cubicBezTo>
                  <a:pt x="1521" y="909"/>
                  <a:pt x="1466" y="935"/>
                  <a:pt x="1419" y="968"/>
                </a:cubicBezTo>
                <a:cubicBezTo>
                  <a:pt x="1303" y="1048"/>
                  <a:pt x="1236" y="1167"/>
                  <a:pt x="1214" y="1332"/>
                </a:cubicBezTo>
                <a:cubicBezTo>
                  <a:pt x="1214" y="1339"/>
                  <a:pt x="1214" y="1339"/>
                  <a:pt x="1214" y="1339"/>
                </a:cubicBezTo>
                <a:close/>
                <a:moveTo>
                  <a:pt x="1865" y="232"/>
                </a:moveTo>
                <a:cubicBezTo>
                  <a:pt x="1722" y="232"/>
                  <a:pt x="1606" y="348"/>
                  <a:pt x="1606" y="491"/>
                </a:cubicBezTo>
                <a:cubicBezTo>
                  <a:pt x="1606" y="634"/>
                  <a:pt x="1722" y="750"/>
                  <a:pt x="1865" y="750"/>
                </a:cubicBezTo>
                <a:cubicBezTo>
                  <a:pt x="2008" y="750"/>
                  <a:pt x="2124" y="634"/>
                  <a:pt x="2124" y="491"/>
                </a:cubicBezTo>
                <a:cubicBezTo>
                  <a:pt x="2124" y="348"/>
                  <a:pt x="2008" y="232"/>
                  <a:pt x="1865" y="232"/>
                </a:cubicBezTo>
                <a:close/>
                <a:moveTo>
                  <a:pt x="2643" y="3935"/>
                </a:moveTo>
                <a:cubicBezTo>
                  <a:pt x="1086" y="3935"/>
                  <a:pt x="1086" y="3935"/>
                  <a:pt x="1086" y="3935"/>
                </a:cubicBezTo>
                <a:cubicBezTo>
                  <a:pt x="1086" y="3703"/>
                  <a:pt x="1086" y="3703"/>
                  <a:pt x="1086" y="3703"/>
                </a:cubicBezTo>
                <a:cubicBezTo>
                  <a:pt x="2643" y="3703"/>
                  <a:pt x="2643" y="3703"/>
                  <a:pt x="2643" y="3703"/>
                </a:cubicBezTo>
                <a:cubicBezTo>
                  <a:pt x="2643" y="3935"/>
                  <a:pt x="2643" y="3935"/>
                  <a:pt x="2643" y="3935"/>
                </a:cubicBezTo>
                <a:close/>
                <a:moveTo>
                  <a:pt x="2643" y="3169"/>
                </a:moveTo>
                <a:cubicBezTo>
                  <a:pt x="1086" y="3169"/>
                  <a:pt x="1086" y="3169"/>
                  <a:pt x="1086" y="3169"/>
                </a:cubicBezTo>
                <a:cubicBezTo>
                  <a:pt x="1086" y="2937"/>
                  <a:pt x="1086" y="2937"/>
                  <a:pt x="1086" y="2937"/>
                </a:cubicBezTo>
                <a:cubicBezTo>
                  <a:pt x="2643" y="2937"/>
                  <a:pt x="2643" y="2937"/>
                  <a:pt x="2643" y="2937"/>
                </a:cubicBezTo>
                <a:cubicBezTo>
                  <a:pt x="2643" y="3169"/>
                  <a:pt x="2643" y="3169"/>
                  <a:pt x="2643" y="3169"/>
                </a:cubicBezTo>
                <a:close/>
                <a:moveTo>
                  <a:pt x="2643" y="2403"/>
                </a:moveTo>
                <a:cubicBezTo>
                  <a:pt x="1086" y="2403"/>
                  <a:pt x="1086" y="2403"/>
                  <a:pt x="1086" y="2403"/>
                </a:cubicBezTo>
                <a:cubicBezTo>
                  <a:pt x="1086" y="2171"/>
                  <a:pt x="1086" y="2171"/>
                  <a:pt x="1086" y="2171"/>
                </a:cubicBezTo>
                <a:cubicBezTo>
                  <a:pt x="2643" y="2171"/>
                  <a:pt x="2643" y="2171"/>
                  <a:pt x="2643" y="2171"/>
                </a:cubicBezTo>
                <a:cubicBezTo>
                  <a:pt x="2643" y="2403"/>
                  <a:pt x="2643" y="2403"/>
                  <a:pt x="2643" y="24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indent="0" algn="l" defTabSz="457200" rtl="0" eaLnBrk="1" latinLnBrk="0" hangingPunct="1">
              <a:buClrTx/>
              <a:buFont typeface="Arial"/>
              <a:buNone/>
              <a:defRPr sz="1500" b="0" kern="1200">
                <a:solidFill>
                  <a:schemeClr val="tx2"/>
                </a:solidFill>
                <a:latin typeface="+mn-lt"/>
                <a:ea typeface="+mn-ea"/>
                <a:cs typeface="+mn-cs"/>
              </a:defRPr>
            </a:lvl1pPr>
            <a:lvl2pPr marL="0" indent="0">
              <a:buFontTx/>
              <a:buNone/>
              <a:defRPr sz="1500">
                <a:solidFill>
                  <a:schemeClr val="tx2"/>
                </a:solidFill>
              </a:defRPr>
            </a:lvl2pPr>
            <a:lvl3pPr marL="173038" indent="-173038">
              <a:spcBef>
                <a:spcPts val="1200"/>
              </a:spcBef>
              <a:buFont typeface="Arial" panose="020B0604020202020204" pitchFamily="34" charset="0"/>
              <a:buChar char="•"/>
              <a:defRPr sz="1500">
                <a:solidFill>
                  <a:schemeClr val="tx2"/>
                </a:solidFill>
              </a:defRPr>
            </a:lvl3pPr>
            <a:lvl4pPr marL="347663" indent="-174625">
              <a:spcBef>
                <a:spcPts val="600"/>
              </a:spcBef>
              <a:buFont typeface="Arial" panose="020B0604020202020204" pitchFamily="34" charset="0"/>
              <a:buChar char="–"/>
              <a:defRPr sz="1500">
                <a:solidFill>
                  <a:schemeClr val="tx2"/>
                </a:solidFill>
              </a:defRPr>
            </a:lvl4pPr>
            <a:lvl5pPr marL="509588" indent="-161925">
              <a:spcBef>
                <a:spcPts val="600"/>
              </a:spcBef>
              <a:buFont typeface="Arial" panose="020B0604020202020204" pitchFamily="34" charset="0"/>
              <a:buChar char="•"/>
              <a:defRPr sz="1500">
                <a:solidFill>
                  <a:schemeClr val="tx2"/>
                </a:solidFill>
              </a:defRPr>
            </a:lvl5pPr>
            <a:lvl6pPr marL="682625" indent="-173038">
              <a:buFont typeface="Arial" panose="020B0604020202020204" pitchFamily="34" charset="0"/>
              <a:buChar char="–"/>
              <a:defRPr sz="1500" baseline="0"/>
            </a:lvl6pPr>
            <a:lvl7pPr marL="857250" indent="-174625">
              <a:spcBef>
                <a:spcPts val="600"/>
              </a:spcBef>
              <a:buFont typeface="Arial" panose="020B0604020202020204" pitchFamily="34" charset="0"/>
              <a:buChar char="•"/>
              <a:defRPr sz="1500" baseline="0">
                <a:solidFill>
                  <a:schemeClr val="tx2"/>
                </a:solidFill>
              </a:defRPr>
            </a:lvl7pPr>
            <a:lvl8pPr marL="1030288" indent="-173038">
              <a:spcBef>
                <a:spcPts val="600"/>
              </a:spcBef>
              <a:buFont typeface="Arial" panose="020B0604020202020204" pitchFamily="34" charset="0"/>
              <a:buChar char="–"/>
              <a:defRPr sz="1500" baseline="0">
                <a:solidFill>
                  <a:schemeClr val="tx2"/>
                </a:solidFill>
              </a:defRPr>
            </a:lvl8pPr>
            <a:lvl9pPr marL="1203325" indent="-173038">
              <a:spcBef>
                <a:spcPts val="600"/>
              </a:spcBef>
              <a:buFont typeface="Arial" panose="020B0604020202020204" pitchFamily="34" charset="0"/>
              <a:buChar char="•"/>
              <a:defRPr sz="1500" baseline="0">
                <a:solidFill>
                  <a:schemeClr val="tx2"/>
                </a:solidFill>
              </a:defRPr>
            </a:lvl9pPr>
          </a:lstStyle>
          <a:p>
            <a:endParaRPr lang="en-US" dirty="0"/>
          </a:p>
        </p:txBody>
      </p:sp>
      <p:pic>
        <p:nvPicPr>
          <p:cNvPr id="15" name="Recorded Sound">
            <a:hlinkClick r:id="" action="ppaction://media"/>
            <a:extLst>
              <a:ext uri="{FF2B5EF4-FFF2-40B4-BE49-F238E27FC236}">
                <a16:creationId xmlns:a16="http://schemas.microsoft.com/office/drawing/2014/main" id="{7B9B7766-F61D-92A1-1390-B73CBB9AF0B4}"/>
              </a:ext>
            </a:extLst>
          </p:cNvPr>
          <p:cNvPicPr>
            <a:picLocks noChangeAspect="1"/>
          </p:cNvPicPr>
          <p:nvPr>
            <a:audioFile r:link="rId2"/>
            <p:extLst>
              <p:ext uri="{DAA4B4D4-6D71-4841-9C94-3DE7FCFB9230}">
                <p14:media xmlns:p14="http://schemas.microsoft.com/office/powerpoint/2010/main" r:embed="rId1"/>
              </p:ext>
            </p:extLst>
          </p:nvPr>
        </p:nvPicPr>
        <p:blipFill>
          <a:blip r:embed="rId8">
            <a:alphaModFix amt="0"/>
          </a:blip>
          <a:stretch>
            <a:fillRect/>
          </a:stretch>
        </p:blipFill>
        <p:spPr>
          <a:xfrm>
            <a:off x="11478278" y="5943601"/>
            <a:ext cx="609600" cy="609600"/>
          </a:xfrm>
          <a:prstGeom prst="rect">
            <a:avLst/>
          </a:prstGeom>
        </p:spPr>
      </p:pic>
    </p:spTree>
    <p:extLst>
      <p:ext uri="{BB962C8B-B14F-4D97-AF65-F5344CB8AC3E}">
        <p14:creationId xmlns:p14="http://schemas.microsoft.com/office/powerpoint/2010/main" val="3717180921"/>
      </p:ext>
    </p:extLst>
  </p:cSld>
  <p:clrMapOvr>
    <a:masterClrMapping/>
  </p:clrMapOvr>
  <mc:AlternateContent xmlns:mc="http://schemas.openxmlformats.org/markup-compatibility/2006" xmlns:p14="http://schemas.microsoft.com/office/powerpoint/2010/main">
    <mc:Choice Requires="p14">
      <p:transition spd="med" p14:dur="700" advTm="74966">
        <p:fade/>
      </p:transition>
    </mc:Choice>
    <mc:Fallback xmlns="">
      <p:transition spd="med" advTm="7496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8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100000">
                <p:cTn id="7" fill="hold" display="0">
                  <p:stCondLst>
                    <p:cond delay="indefinite"/>
                  </p:stCondLst>
                  <p:endCondLst>
                    <p:cond evt="onStopAudio" delay="0">
                      <p:tgtEl>
                        <p:sldTgt/>
                      </p:tgtEl>
                    </p:cond>
                  </p:endCondLst>
                </p:cTn>
                <p:tgtEl>
                  <p:spTgt spid="1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7930B50F-1C24-6140-ACD5-D4AFED746B83}"/>
              </a:ext>
            </a:extLst>
          </p:cNvPr>
          <p:cNvSpPr txBox="1"/>
          <p:nvPr/>
        </p:nvSpPr>
        <p:spPr>
          <a:xfrm>
            <a:off x="633239" y="6477469"/>
            <a:ext cx="8046720" cy="123111"/>
          </a:xfrm>
          <a:prstGeom prst="rect">
            <a:avLst/>
          </a:prstGeom>
          <a:noFill/>
        </p:spPr>
        <p:txBody>
          <a:bodyPr wrap="square" lIns="0" tIns="0" rIns="0" bIns="0" rtlCol="0" anchor="b">
            <a:spAutoFit/>
          </a:bodyPr>
          <a:lstStyle/>
          <a:p>
            <a:r>
              <a:rPr lang="en-US" sz="800" dirty="0">
                <a:solidFill>
                  <a:schemeClr val="tx2"/>
                </a:solidFill>
              </a:rPr>
              <a:t>©2023 CVS Health and/or one of its affiliates. Confidential and proprietary.	</a:t>
            </a:r>
          </a:p>
        </p:txBody>
      </p:sp>
      <p:grpSp>
        <p:nvGrpSpPr>
          <p:cNvPr id="22" name="Group 21">
            <a:extLst>
              <a:ext uri="{FF2B5EF4-FFF2-40B4-BE49-F238E27FC236}">
                <a16:creationId xmlns:a16="http://schemas.microsoft.com/office/drawing/2014/main" id="{59A28A4C-ABB5-D84E-9793-C842071196A8}"/>
              </a:ext>
            </a:extLst>
          </p:cNvPr>
          <p:cNvGrpSpPr>
            <a:grpSpLocks noChangeAspect="1"/>
          </p:cNvGrpSpPr>
          <p:nvPr/>
        </p:nvGrpSpPr>
        <p:grpSpPr bwMode="auto">
          <a:xfrm>
            <a:off x="10345383" y="6384131"/>
            <a:ext cx="1275119" cy="143669"/>
            <a:chOff x="-8" y="1835"/>
            <a:chExt cx="5769" cy="650"/>
          </a:xfrm>
          <a:solidFill>
            <a:srgbClr val="000000"/>
          </a:solidFill>
        </p:grpSpPr>
        <p:sp>
          <p:nvSpPr>
            <p:cNvPr id="23" name="Freeform 22">
              <a:extLst>
                <a:ext uri="{FF2B5EF4-FFF2-40B4-BE49-F238E27FC236}">
                  <a16:creationId xmlns:a16="http://schemas.microsoft.com/office/drawing/2014/main" id="{5144F8C0-333C-644D-AF68-27CDBD02F9F2}"/>
                </a:ext>
              </a:extLst>
            </p:cNvPr>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3">
              <a:extLst>
                <a:ext uri="{FF2B5EF4-FFF2-40B4-BE49-F238E27FC236}">
                  <a16:creationId xmlns:a16="http://schemas.microsoft.com/office/drawing/2014/main" id="{74CADA1C-AA64-F648-9A59-71F2117E7EC4}"/>
                </a:ext>
              </a:extLst>
            </p:cNvPr>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Text Placeholder 8">
            <a:extLst>
              <a:ext uri="{FF2B5EF4-FFF2-40B4-BE49-F238E27FC236}">
                <a16:creationId xmlns:a16="http://schemas.microsoft.com/office/drawing/2014/main" id="{C61FF793-B149-456F-BEA3-BDF1B5D73250}"/>
              </a:ext>
            </a:extLst>
          </p:cNvPr>
          <p:cNvSpPr txBox="1">
            <a:spLocks/>
          </p:cNvSpPr>
          <p:nvPr/>
        </p:nvSpPr>
        <p:spPr>
          <a:xfrm>
            <a:off x="1588" y="-1"/>
            <a:ext cx="6089904"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r>
              <a:rPr lang="en-US" sz="1200" b="1" cap="all" dirty="0">
                <a:solidFill>
                  <a:schemeClr val="accent1">
                    <a:lumMod val="50000"/>
                  </a:schemeClr>
                </a:solidFill>
              </a:rPr>
              <a:t>2024-2025 Prescription Benefits</a:t>
            </a:r>
          </a:p>
        </p:txBody>
      </p:sp>
      <p:sp>
        <p:nvSpPr>
          <p:cNvPr id="16" name="TextBox 15">
            <a:extLst>
              <a:ext uri="{FF2B5EF4-FFF2-40B4-BE49-F238E27FC236}">
                <a16:creationId xmlns:a16="http://schemas.microsoft.com/office/drawing/2014/main" id="{59E85E4B-B630-D8A0-11D3-F2A16CB1AE28}"/>
              </a:ext>
            </a:extLst>
          </p:cNvPr>
          <p:cNvSpPr txBox="1"/>
          <p:nvPr/>
        </p:nvSpPr>
        <p:spPr>
          <a:xfrm>
            <a:off x="3804060" y="330200"/>
            <a:ext cx="6660890" cy="523220"/>
          </a:xfrm>
          <a:prstGeom prst="rect">
            <a:avLst/>
          </a:prstGeom>
          <a:noFill/>
        </p:spPr>
        <p:txBody>
          <a:bodyPr wrap="square">
            <a:spAutoFit/>
          </a:bodyPr>
          <a:lstStyle/>
          <a:p>
            <a:r>
              <a:rPr lang="en-US" sz="2800" dirty="0">
                <a:solidFill>
                  <a:schemeClr val="accent1">
                    <a:lumMod val="50000"/>
                  </a:schemeClr>
                </a:solidFill>
                <a:latin typeface="CVS Health Sans Black" panose="020B0904020202020204" pitchFamily="34" charset="0"/>
              </a:rPr>
              <a:t>Benefits at a Glance </a:t>
            </a:r>
            <a:endParaRPr lang="en-US" sz="2800" dirty="0">
              <a:solidFill>
                <a:schemeClr val="accent1">
                  <a:lumMod val="50000"/>
                </a:schemeClr>
              </a:solidFill>
            </a:endParaRPr>
          </a:p>
        </p:txBody>
      </p:sp>
      <p:grpSp>
        <p:nvGrpSpPr>
          <p:cNvPr id="18" name="Group 17">
            <a:extLst>
              <a:ext uri="{FF2B5EF4-FFF2-40B4-BE49-F238E27FC236}">
                <a16:creationId xmlns:a16="http://schemas.microsoft.com/office/drawing/2014/main" id="{6D638A38-1276-F48D-10FC-03E2DC18D676}"/>
              </a:ext>
            </a:extLst>
          </p:cNvPr>
          <p:cNvGrpSpPr>
            <a:grpSpLocks noChangeAspect="1"/>
          </p:cNvGrpSpPr>
          <p:nvPr/>
        </p:nvGrpSpPr>
        <p:grpSpPr bwMode="auto">
          <a:xfrm>
            <a:off x="10100917" y="6356639"/>
            <a:ext cx="1526747" cy="172020"/>
            <a:chOff x="-8" y="1835"/>
            <a:chExt cx="5769" cy="650"/>
          </a:xfrm>
          <a:solidFill>
            <a:schemeClr val="tx2"/>
          </a:solidFill>
        </p:grpSpPr>
        <p:sp>
          <p:nvSpPr>
            <p:cNvPr id="19" name="Freeform 5">
              <a:extLst>
                <a:ext uri="{FF2B5EF4-FFF2-40B4-BE49-F238E27FC236}">
                  <a16:creationId xmlns:a16="http://schemas.microsoft.com/office/drawing/2014/main" id="{D8BE6E77-E703-CB31-3BFC-FD6D674CAC8D}"/>
                </a:ext>
              </a:extLst>
            </p:cNvPr>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CVS Health Sans"/>
                <a:cs typeface="Arial" panose="020B0604020202020204" pitchFamily="34" charset="0"/>
              </a:endParaRPr>
            </a:p>
          </p:txBody>
        </p:sp>
        <p:sp>
          <p:nvSpPr>
            <p:cNvPr id="20" name="Freeform 6">
              <a:extLst>
                <a:ext uri="{FF2B5EF4-FFF2-40B4-BE49-F238E27FC236}">
                  <a16:creationId xmlns:a16="http://schemas.microsoft.com/office/drawing/2014/main" id="{9D9E8E3B-2173-7D0E-7ADD-1659E2A21BAF}"/>
                </a:ext>
              </a:extLst>
            </p:cNvPr>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CVS Health Sans"/>
                <a:cs typeface="Arial" panose="020B0604020202020204" pitchFamily="34" charset="0"/>
              </a:endParaRPr>
            </a:p>
          </p:txBody>
        </p:sp>
      </p:grpSp>
      <p:pic>
        <p:nvPicPr>
          <p:cNvPr id="26" name="Picture 25">
            <a:extLst>
              <a:ext uri="{FF2B5EF4-FFF2-40B4-BE49-F238E27FC236}">
                <a16:creationId xmlns:a16="http://schemas.microsoft.com/office/drawing/2014/main" id="{0C21B839-5F9C-E4F7-73B1-73604AE1FB4C}"/>
              </a:ext>
            </a:extLst>
          </p:cNvPr>
          <p:cNvPicPr>
            <a:picLocks noChangeAspect="1"/>
          </p:cNvPicPr>
          <p:nvPr/>
        </p:nvPicPr>
        <p:blipFill>
          <a:blip r:embed="rId5"/>
          <a:stretch>
            <a:fillRect/>
          </a:stretch>
        </p:blipFill>
        <p:spPr>
          <a:xfrm>
            <a:off x="2004441" y="728285"/>
            <a:ext cx="8183117" cy="5401429"/>
          </a:xfrm>
          <a:prstGeom prst="rect">
            <a:avLst/>
          </a:prstGeom>
        </p:spPr>
      </p:pic>
      <p:pic>
        <p:nvPicPr>
          <p:cNvPr id="2" name="8">
            <a:hlinkClick r:id="" action="ppaction://media"/>
            <a:extLst>
              <a:ext uri="{FF2B5EF4-FFF2-40B4-BE49-F238E27FC236}">
                <a16:creationId xmlns:a16="http://schemas.microsoft.com/office/drawing/2014/main" id="{9884C696-2C05-F3D9-57C7-2F6F3EADC827}"/>
              </a:ext>
            </a:extLst>
          </p:cNvPr>
          <p:cNvPicPr>
            <a:picLocks noChangeAspect="1"/>
          </p:cNvPicPr>
          <p:nvPr>
            <a:audioFile r:link="rId2"/>
            <p:extLst>
              <p:ext uri="{DAA4B4D4-6D71-4841-9C94-3DE7FCFB9230}">
                <p14:media xmlns:p14="http://schemas.microsoft.com/office/powerpoint/2010/main" r:embed="rId1"/>
              </p:ext>
            </p:extLst>
          </p:nvPr>
        </p:nvPicPr>
        <p:blipFill>
          <a:blip r:embed="rId6">
            <a:alphaModFix amt="0"/>
          </a:blip>
          <a:stretch>
            <a:fillRect/>
          </a:stretch>
        </p:blipFill>
        <p:spPr>
          <a:xfrm>
            <a:off x="11521281" y="5867869"/>
            <a:ext cx="609600" cy="609600"/>
          </a:xfrm>
          <a:prstGeom prst="rect">
            <a:avLst/>
          </a:prstGeom>
        </p:spPr>
      </p:pic>
    </p:spTree>
    <p:extLst>
      <p:ext uri="{BB962C8B-B14F-4D97-AF65-F5344CB8AC3E}">
        <p14:creationId xmlns:p14="http://schemas.microsoft.com/office/powerpoint/2010/main" val="431770075"/>
      </p:ext>
    </p:extLst>
  </p:cSld>
  <p:clrMapOvr>
    <a:masterClrMapping/>
  </p:clrMapOvr>
  <mc:AlternateContent xmlns:mc="http://schemas.openxmlformats.org/markup-compatibility/2006" xmlns:p14="http://schemas.microsoft.com/office/powerpoint/2010/main">
    <mc:Choice Requires="p14">
      <p:transition spd="slow" p14:dur="2000" advTm="43968"/>
    </mc:Choice>
    <mc:Fallback xmlns="">
      <p:transition spd="slow" advTm="439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396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8" descr="Pharmacist selecting prescription from shelf&#10;&#10;20190905_02_07_04198_final">
            <a:extLst>
              <a:ext uri="{FF2B5EF4-FFF2-40B4-BE49-F238E27FC236}">
                <a16:creationId xmlns:a16="http://schemas.microsoft.com/office/drawing/2014/main" id="{97C020DD-DEC0-ABBD-3DFA-6D5696D8CA8C}"/>
              </a:ext>
            </a:extLst>
          </p:cNvPr>
          <p:cNvPicPr>
            <a:picLocks noChangeAspect="1"/>
          </p:cNvPicPr>
          <p:nvPr/>
        </p:nvPicPr>
        <p:blipFill rotWithShape="1">
          <a:blip r:embed="rId5"/>
          <a:srcRect l="22505" t="7812" r="21077" b="7812"/>
          <a:stretch/>
        </p:blipFill>
        <p:spPr>
          <a:xfrm>
            <a:off x="-893" y="-22681"/>
            <a:ext cx="6901219" cy="6880681"/>
          </a:xfrm>
          <a:prstGeom prst="rect">
            <a:avLst/>
          </a:prstGeom>
        </p:spPr>
      </p:pic>
      <p:sp>
        <p:nvSpPr>
          <p:cNvPr id="30" name="Rectangle 29">
            <a:extLst>
              <a:ext uri="{FF2B5EF4-FFF2-40B4-BE49-F238E27FC236}">
                <a16:creationId xmlns:a16="http://schemas.microsoft.com/office/drawing/2014/main" id="{5B0499F7-2F2D-E247-8D0F-8299CAED2084}"/>
              </a:ext>
            </a:extLst>
          </p:cNvPr>
          <p:cNvSpPr/>
          <p:nvPr/>
        </p:nvSpPr>
        <p:spPr bwMode="gray">
          <a:xfrm>
            <a:off x="6981740" y="-109165"/>
            <a:ext cx="5210260" cy="6880682"/>
          </a:xfrm>
          <a:prstGeom prst="rect">
            <a:avLst/>
          </a:prstGeom>
          <a:solidFill>
            <a:schemeClr val="bg1"/>
          </a:solidFill>
          <a:ln>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rgbClr val="3F3F3F"/>
              </a:solidFill>
            </a:endParaRPr>
          </a:p>
        </p:txBody>
      </p:sp>
      <p:sp>
        <p:nvSpPr>
          <p:cNvPr id="5" name="Title 4">
            <a:extLst>
              <a:ext uri="{FF2B5EF4-FFF2-40B4-BE49-F238E27FC236}">
                <a16:creationId xmlns:a16="http://schemas.microsoft.com/office/drawing/2014/main" id="{DDA6E9FC-7127-439D-82BD-6A0869922E28}"/>
              </a:ext>
            </a:extLst>
          </p:cNvPr>
          <p:cNvSpPr>
            <a:spLocks noGrp="1"/>
          </p:cNvSpPr>
          <p:nvPr>
            <p:ph type="title"/>
          </p:nvPr>
        </p:nvSpPr>
        <p:spPr>
          <a:xfrm>
            <a:off x="7135691" y="872211"/>
            <a:ext cx="4059823" cy="357899"/>
          </a:xfrm>
        </p:spPr>
        <p:txBody>
          <a:bodyPr>
            <a:normAutofit fontScale="90000"/>
          </a:bodyPr>
          <a:lstStyle/>
          <a:p>
            <a:pPr algn="ctr"/>
            <a:r>
              <a:rPr lang="en-US" sz="3100" dirty="0">
                <a:solidFill>
                  <a:schemeClr val="accent1">
                    <a:lumMod val="50000"/>
                  </a:schemeClr>
                </a:solidFill>
                <a:latin typeface="CVS Health Sans Black" panose="020B0904020202020204" pitchFamily="34" charset="0"/>
                <a:ea typeface="+mn-ea"/>
                <a:cs typeface="+mn-cs"/>
              </a:rPr>
              <a:t>Incentivized Mail Order</a:t>
            </a:r>
            <a:endParaRPr lang="en-US" dirty="0"/>
          </a:p>
        </p:txBody>
      </p:sp>
      <p:sp>
        <p:nvSpPr>
          <p:cNvPr id="2" name="Rectangle 1"/>
          <p:cNvSpPr/>
          <p:nvPr/>
        </p:nvSpPr>
        <p:spPr>
          <a:xfrm>
            <a:off x="7104943" y="1769034"/>
            <a:ext cx="4296472" cy="1089529"/>
          </a:xfrm>
          <a:prstGeom prst="rect">
            <a:avLst/>
          </a:prstGeom>
        </p:spPr>
        <p:txBody>
          <a:bodyPr wrap="square">
            <a:spAutoFit/>
          </a:bodyPr>
          <a:lstStyle/>
          <a:p>
            <a:pPr>
              <a:lnSpc>
                <a:spcPct val="90000"/>
              </a:lnSpc>
            </a:pPr>
            <a:r>
              <a:rPr lang="en-US" sz="1600" b="1" dirty="0">
                <a:solidFill>
                  <a:schemeClr val="accent1">
                    <a:lumMod val="75000"/>
                  </a:schemeClr>
                </a:solidFill>
                <a:latin typeface="CVS Health Sans" panose="020B0504020202020204" pitchFamily="34" charset="0"/>
                <a:ea typeface="Calibri" panose="020F0502020204030204" pitchFamily="34" charset="0"/>
                <a:cs typeface="Times New Roman" panose="02020603050405020304" pitchFamily="18" charset="0"/>
              </a:rPr>
              <a:t>With Incentivized Mail Order</a:t>
            </a:r>
            <a:r>
              <a:rPr lang="en-US" sz="1400" b="1" dirty="0">
                <a:solidFill>
                  <a:schemeClr val="tx2"/>
                </a:solidFill>
                <a:latin typeface="CVS Health Sans" panose="020B0504020202020204" pitchFamily="34" charset="0"/>
                <a:ea typeface="Calibri" panose="020F0502020204030204" pitchFamily="34" charset="0"/>
                <a:cs typeface="Times New Roman" panose="02020603050405020304" pitchFamily="18" charset="0"/>
              </a:rPr>
              <a:t>, medications you take regularly (such as diabetes, asthma or high blood pressure medications)</a:t>
            </a:r>
            <a:r>
              <a:rPr lang="en-US" sz="1400" b="1" dirty="0">
                <a:solidFill>
                  <a:srgbClr val="0070C0"/>
                </a:solidFill>
                <a:latin typeface="CVS Health Sans" panose="020B0504020202020204" pitchFamily="34" charset="0"/>
                <a:ea typeface="Calibri" panose="020F0502020204030204" pitchFamily="34" charset="0"/>
                <a:cs typeface="Times New Roman" panose="02020603050405020304" pitchFamily="18" charset="0"/>
              </a:rPr>
              <a:t> </a:t>
            </a:r>
            <a:r>
              <a:rPr lang="en-US" sz="1400" b="1" dirty="0">
                <a:solidFill>
                  <a:schemeClr val="accent1">
                    <a:lumMod val="75000"/>
                  </a:schemeClr>
                </a:solidFill>
                <a:latin typeface="CVS Health Sans" panose="020B0504020202020204" pitchFamily="34" charset="0"/>
                <a:ea typeface="Calibri" panose="020F0502020204030204" pitchFamily="34" charset="0"/>
                <a:cs typeface="Times New Roman" panose="02020603050405020304" pitchFamily="18" charset="0"/>
              </a:rPr>
              <a:t>can </a:t>
            </a:r>
            <a:r>
              <a:rPr lang="en-US" sz="1400" b="1" dirty="0">
                <a:solidFill>
                  <a:schemeClr val="tx2"/>
                </a:solidFill>
                <a:latin typeface="CVS Health Sans" panose="020B0504020202020204" pitchFamily="34" charset="0"/>
                <a:ea typeface="Calibri" panose="020F0502020204030204" pitchFamily="34" charset="0"/>
                <a:cs typeface="Times New Roman" panose="02020603050405020304" pitchFamily="18" charset="0"/>
              </a:rPr>
              <a:t>be filled in 90-day supplies through CVS Mail Order Pharmacy.</a:t>
            </a:r>
          </a:p>
        </p:txBody>
      </p:sp>
      <p:sp>
        <p:nvSpPr>
          <p:cNvPr id="9" name="TextBox 8">
            <a:extLst>
              <a:ext uri="{FF2B5EF4-FFF2-40B4-BE49-F238E27FC236}">
                <a16:creationId xmlns:a16="http://schemas.microsoft.com/office/drawing/2014/main" id="{78FD0D07-04B5-426F-B398-2B619981098E}"/>
              </a:ext>
            </a:extLst>
          </p:cNvPr>
          <p:cNvSpPr txBox="1"/>
          <p:nvPr/>
        </p:nvSpPr>
        <p:spPr>
          <a:xfrm>
            <a:off x="8294337" y="4976669"/>
            <a:ext cx="3438118" cy="714061"/>
          </a:xfrm>
          <a:prstGeom prst="rect">
            <a:avLst/>
          </a:prstGeom>
          <a:noFill/>
        </p:spPr>
        <p:txBody>
          <a:bodyPr wrap="square" lIns="0" tIns="0" rIns="91440" bIns="0" rtlCol="0" anchor="t">
            <a:noAutofit/>
          </a:bodyPr>
          <a:lstStyle>
            <a:defPPr>
              <a:defRPr lang="en-US"/>
            </a:defPPr>
            <a:lvl1pPr>
              <a:lnSpc>
                <a:spcPct val="90000"/>
              </a:lnSpc>
              <a:spcBef>
                <a:spcPts val="150"/>
              </a:spcBef>
              <a:spcAft>
                <a:spcPts val="225"/>
              </a:spcAft>
              <a:defRPr sz="1200" b="1">
                <a:solidFill>
                  <a:schemeClr val="tx2"/>
                </a:solidFill>
              </a:defRPr>
            </a:lvl1pPr>
            <a:lvl2pPr marL="0" lvl="1">
              <a:lnSpc>
                <a:spcPct val="90000"/>
              </a:lnSpc>
              <a:spcBef>
                <a:spcPts val="150"/>
              </a:spcBef>
              <a:spcAft>
                <a:spcPts val="225"/>
              </a:spcAft>
              <a:defRPr sz="1050"/>
            </a:lvl2pPr>
          </a:lstStyle>
          <a:p>
            <a:pPr>
              <a:spcBef>
                <a:spcPts val="100"/>
              </a:spcBef>
              <a:spcAft>
                <a:spcPts val="100"/>
              </a:spcAft>
            </a:pPr>
            <a:r>
              <a:rPr lang="en-US" sz="1400" b="0" dirty="0">
                <a:latin typeface="CVS Health Sans" panose="020B0504020202020204" pitchFamily="34" charset="0"/>
              </a:rPr>
              <a:t>You  have 3 fills of a medication at retail pharmacies or 30-day supplies: After which cost will increase to 90-day supply copays.</a:t>
            </a:r>
            <a:endParaRPr lang="en-US" sz="1400" b="0" strike="sngStrike" dirty="0"/>
          </a:p>
        </p:txBody>
      </p:sp>
      <p:sp>
        <p:nvSpPr>
          <p:cNvPr id="7" name="Rectangle 6">
            <a:extLst>
              <a:ext uri="{FF2B5EF4-FFF2-40B4-BE49-F238E27FC236}">
                <a16:creationId xmlns:a16="http://schemas.microsoft.com/office/drawing/2014/main" id="{56063EDE-BD81-4DDA-A39E-D391196D3F11}"/>
              </a:ext>
            </a:extLst>
          </p:cNvPr>
          <p:cNvSpPr/>
          <p:nvPr/>
        </p:nvSpPr>
        <p:spPr>
          <a:xfrm>
            <a:off x="8294337" y="3844194"/>
            <a:ext cx="3220010" cy="732497"/>
          </a:xfrm>
          <a:prstGeom prst="rect">
            <a:avLst/>
          </a:prstGeom>
          <a:noFill/>
          <a:ln>
            <a:noFill/>
          </a:ln>
        </p:spPr>
        <p:txBody>
          <a:bodyPr wrap="square" lIns="0" tIns="0" rIns="182880" anchor="t">
            <a:noAutofit/>
          </a:bodyPr>
          <a:lstStyle/>
          <a:p>
            <a:pPr>
              <a:lnSpc>
                <a:spcPct val="90000"/>
              </a:lnSpc>
              <a:spcBef>
                <a:spcPts val="100"/>
              </a:spcBef>
              <a:spcAft>
                <a:spcPts val="100"/>
              </a:spcAft>
            </a:pPr>
            <a:r>
              <a:rPr lang="en-US" sz="1400" dirty="0">
                <a:solidFill>
                  <a:schemeClr val="tx2"/>
                </a:solidFill>
                <a:latin typeface="CVS Health Sans" panose="020B0504020202020204" pitchFamily="34" charset="0"/>
              </a:rPr>
              <a:t>If you fill prescriptions for medications taken regularly at retail pharmacies, or in </a:t>
            </a:r>
            <a:r>
              <a:rPr lang="en-US" sz="1400" dirty="0">
                <a:solidFill>
                  <a:schemeClr val="accent1">
                    <a:lumMod val="50000"/>
                  </a:schemeClr>
                </a:solidFill>
                <a:latin typeface="CVS Health Sans" panose="020B0504020202020204" pitchFamily="34" charset="0"/>
              </a:rPr>
              <a:t>30-day </a:t>
            </a:r>
            <a:r>
              <a:rPr lang="en-US" sz="1400" dirty="0">
                <a:solidFill>
                  <a:schemeClr val="tx2"/>
                </a:solidFill>
                <a:latin typeface="CVS Health Sans" panose="020B0504020202020204" pitchFamily="34" charset="0"/>
              </a:rPr>
              <a:t>supplies, you will </a:t>
            </a:r>
            <a:r>
              <a:rPr lang="en-US" sz="1400" dirty="0">
                <a:solidFill>
                  <a:schemeClr val="accent1">
                    <a:lumMod val="50000"/>
                  </a:schemeClr>
                </a:solidFill>
                <a:latin typeface="CVS Health Sans" panose="020B0504020202020204" pitchFamily="34" charset="0"/>
              </a:rPr>
              <a:t>have to pay a higher copay.</a:t>
            </a:r>
          </a:p>
        </p:txBody>
      </p:sp>
      <p:sp>
        <p:nvSpPr>
          <p:cNvPr id="8" name="Rectangle 7">
            <a:extLst>
              <a:ext uri="{FF2B5EF4-FFF2-40B4-BE49-F238E27FC236}">
                <a16:creationId xmlns:a16="http://schemas.microsoft.com/office/drawing/2014/main" id="{0B2C3556-5C77-4FAC-8968-FBCE2DFDDDEF}"/>
              </a:ext>
            </a:extLst>
          </p:cNvPr>
          <p:cNvSpPr/>
          <p:nvPr/>
        </p:nvSpPr>
        <p:spPr>
          <a:xfrm>
            <a:off x="8294337" y="3078275"/>
            <a:ext cx="2688640" cy="346749"/>
          </a:xfrm>
          <a:prstGeom prst="rect">
            <a:avLst/>
          </a:prstGeom>
          <a:noFill/>
          <a:ln>
            <a:noFill/>
          </a:ln>
        </p:spPr>
        <p:txBody>
          <a:bodyPr wrap="square" lIns="0" tIns="0" rIns="0" anchor="t">
            <a:noAutofit/>
          </a:bodyPr>
          <a:lstStyle/>
          <a:p>
            <a:pPr>
              <a:lnSpc>
                <a:spcPct val="90000"/>
              </a:lnSpc>
              <a:spcBef>
                <a:spcPts val="100"/>
              </a:spcBef>
              <a:spcAft>
                <a:spcPts val="100"/>
              </a:spcAft>
            </a:pPr>
            <a:r>
              <a:rPr lang="en-US" sz="1400" dirty="0">
                <a:solidFill>
                  <a:schemeClr val="tx2"/>
                </a:solidFill>
                <a:latin typeface="CVS Health Sans" panose="020B0504020202020204" pitchFamily="34" charset="0"/>
              </a:rPr>
              <a:t>90-day supplies are more convenient and usually cost less </a:t>
            </a:r>
          </a:p>
        </p:txBody>
      </p:sp>
      <p:pic>
        <p:nvPicPr>
          <p:cNvPr id="32" name="Picture 6">
            <a:extLst>
              <a:ext uri="{FF2B5EF4-FFF2-40B4-BE49-F238E27FC236}">
                <a16:creationId xmlns:a16="http://schemas.microsoft.com/office/drawing/2014/main" id="{2B0B39EA-25BB-F54C-B762-F8A5D159A7E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87702" y="5050093"/>
            <a:ext cx="493394" cy="483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7421919" y="3968572"/>
            <a:ext cx="344208" cy="456627"/>
            <a:chOff x="8136688" y="-1351710"/>
            <a:chExt cx="500730" cy="664270"/>
          </a:xfrm>
        </p:grpSpPr>
        <p:grpSp>
          <p:nvGrpSpPr>
            <p:cNvPr id="35" name="Group 201">
              <a:extLst>
                <a:ext uri="{FF2B5EF4-FFF2-40B4-BE49-F238E27FC236}">
                  <a16:creationId xmlns:a16="http://schemas.microsoft.com/office/drawing/2014/main" id="{93FF3041-1F6C-BC47-9747-C9BD8D3AA652}"/>
                </a:ext>
              </a:extLst>
            </p:cNvPr>
            <p:cNvGrpSpPr>
              <a:grpSpLocks noChangeAspect="1"/>
            </p:cNvGrpSpPr>
            <p:nvPr/>
          </p:nvGrpSpPr>
          <p:grpSpPr bwMode="auto">
            <a:xfrm>
              <a:off x="8136688" y="-1351710"/>
              <a:ext cx="500730" cy="664270"/>
              <a:chOff x="1884" y="1"/>
              <a:chExt cx="2229" cy="2957"/>
            </a:xfrm>
          </p:grpSpPr>
          <p:sp>
            <p:nvSpPr>
              <p:cNvPr id="37" name="Freeform 202">
                <a:extLst>
                  <a:ext uri="{FF2B5EF4-FFF2-40B4-BE49-F238E27FC236}">
                    <a16:creationId xmlns:a16="http://schemas.microsoft.com/office/drawing/2014/main" id="{ABE2ADF7-C524-BA4F-BED4-C3DA6C77B5F1}"/>
                  </a:ext>
                </a:extLst>
              </p:cNvPr>
              <p:cNvSpPr>
                <a:spLocks/>
              </p:cNvSpPr>
              <p:nvPr/>
            </p:nvSpPr>
            <p:spPr bwMode="auto">
              <a:xfrm>
                <a:off x="2163" y="685"/>
                <a:ext cx="1671" cy="2273"/>
              </a:xfrm>
              <a:custGeom>
                <a:avLst/>
                <a:gdLst>
                  <a:gd name="T0" fmla="*/ 1764 w 1951"/>
                  <a:gd name="T1" fmla="*/ 2657 h 2657"/>
                  <a:gd name="T2" fmla="*/ 187 w 1951"/>
                  <a:gd name="T3" fmla="*/ 2657 h 2657"/>
                  <a:gd name="T4" fmla="*/ 0 w 1951"/>
                  <a:gd name="T5" fmla="*/ 2470 h 2657"/>
                  <a:gd name="T6" fmla="*/ 0 w 1951"/>
                  <a:gd name="T7" fmla="*/ 0 h 2657"/>
                  <a:gd name="T8" fmla="*/ 1951 w 1951"/>
                  <a:gd name="T9" fmla="*/ 0 h 2657"/>
                  <a:gd name="T10" fmla="*/ 1951 w 1951"/>
                  <a:gd name="T11" fmla="*/ 2470 h 2657"/>
                  <a:gd name="T12" fmla="*/ 1764 w 1951"/>
                  <a:gd name="T13" fmla="*/ 2657 h 2657"/>
                </a:gdLst>
                <a:ahLst/>
                <a:cxnLst>
                  <a:cxn ang="0">
                    <a:pos x="T0" y="T1"/>
                  </a:cxn>
                  <a:cxn ang="0">
                    <a:pos x="T2" y="T3"/>
                  </a:cxn>
                  <a:cxn ang="0">
                    <a:pos x="T4" y="T5"/>
                  </a:cxn>
                  <a:cxn ang="0">
                    <a:pos x="T6" y="T7"/>
                  </a:cxn>
                  <a:cxn ang="0">
                    <a:pos x="T8" y="T9"/>
                  </a:cxn>
                  <a:cxn ang="0">
                    <a:pos x="T10" y="T11"/>
                  </a:cxn>
                  <a:cxn ang="0">
                    <a:pos x="T12" y="T13"/>
                  </a:cxn>
                </a:cxnLst>
                <a:rect l="0" t="0" r="r" b="b"/>
                <a:pathLst>
                  <a:path w="1951" h="2657">
                    <a:moveTo>
                      <a:pt x="1764" y="2657"/>
                    </a:moveTo>
                    <a:cubicBezTo>
                      <a:pt x="187" y="2657"/>
                      <a:pt x="187" y="2657"/>
                      <a:pt x="187" y="2657"/>
                    </a:cubicBezTo>
                    <a:cubicBezTo>
                      <a:pt x="84" y="2657"/>
                      <a:pt x="0" y="2573"/>
                      <a:pt x="0" y="2470"/>
                    </a:cubicBezTo>
                    <a:cubicBezTo>
                      <a:pt x="0" y="0"/>
                      <a:pt x="0" y="0"/>
                      <a:pt x="0" y="0"/>
                    </a:cubicBezTo>
                    <a:cubicBezTo>
                      <a:pt x="1951" y="0"/>
                      <a:pt x="1951" y="0"/>
                      <a:pt x="1951" y="0"/>
                    </a:cubicBezTo>
                    <a:cubicBezTo>
                      <a:pt x="1951" y="2470"/>
                      <a:pt x="1951" y="2470"/>
                      <a:pt x="1951" y="2470"/>
                    </a:cubicBezTo>
                    <a:cubicBezTo>
                      <a:pt x="1951" y="2573"/>
                      <a:pt x="1867" y="2657"/>
                      <a:pt x="1764" y="2657"/>
                    </a:cubicBezTo>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203">
                <a:extLst>
                  <a:ext uri="{FF2B5EF4-FFF2-40B4-BE49-F238E27FC236}">
                    <a16:creationId xmlns:a16="http://schemas.microsoft.com/office/drawing/2014/main" id="{4278439F-635D-2D4A-8B46-B5655847FED4}"/>
                  </a:ext>
                </a:extLst>
              </p:cNvPr>
              <p:cNvSpPr>
                <a:spLocks noChangeArrowheads="1"/>
              </p:cNvSpPr>
              <p:nvPr/>
            </p:nvSpPr>
            <p:spPr bwMode="auto">
              <a:xfrm>
                <a:off x="2404" y="1001"/>
                <a:ext cx="1430" cy="1573"/>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04">
                <a:extLst>
                  <a:ext uri="{FF2B5EF4-FFF2-40B4-BE49-F238E27FC236}">
                    <a16:creationId xmlns:a16="http://schemas.microsoft.com/office/drawing/2014/main" id="{66AFB0F9-F0C0-3B4F-ABDE-9C3EFBE39317}"/>
                  </a:ext>
                </a:extLst>
              </p:cNvPr>
              <p:cNvSpPr>
                <a:spLocks noEditPoints="1"/>
              </p:cNvSpPr>
              <p:nvPr/>
            </p:nvSpPr>
            <p:spPr bwMode="auto">
              <a:xfrm>
                <a:off x="3459" y="1219"/>
                <a:ext cx="375" cy="1039"/>
              </a:xfrm>
              <a:custGeom>
                <a:avLst/>
                <a:gdLst>
                  <a:gd name="T0" fmla="*/ 375 w 375"/>
                  <a:gd name="T1" fmla="*/ 126 h 1039"/>
                  <a:gd name="T2" fmla="*/ 1 w 375"/>
                  <a:gd name="T3" fmla="*/ 126 h 1039"/>
                  <a:gd name="T4" fmla="*/ 1 w 375"/>
                  <a:gd name="T5" fmla="*/ 0 h 1039"/>
                  <a:gd name="T6" fmla="*/ 375 w 375"/>
                  <a:gd name="T7" fmla="*/ 0 h 1039"/>
                  <a:gd name="T8" fmla="*/ 375 w 375"/>
                  <a:gd name="T9" fmla="*/ 126 h 1039"/>
                  <a:gd name="T10" fmla="*/ 375 w 375"/>
                  <a:gd name="T11" fmla="*/ 306 h 1039"/>
                  <a:gd name="T12" fmla="*/ 1 w 375"/>
                  <a:gd name="T13" fmla="*/ 306 h 1039"/>
                  <a:gd name="T14" fmla="*/ 1 w 375"/>
                  <a:gd name="T15" fmla="*/ 432 h 1039"/>
                  <a:gd name="T16" fmla="*/ 375 w 375"/>
                  <a:gd name="T17" fmla="*/ 432 h 1039"/>
                  <a:gd name="T18" fmla="*/ 375 w 375"/>
                  <a:gd name="T19" fmla="*/ 306 h 1039"/>
                  <a:gd name="T20" fmla="*/ 375 w 375"/>
                  <a:gd name="T21" fmla="*/ 606 h 1039"/>
                  <a:gd name="T22" fmla="*/ 0 w 375"/>
                  <a:gd name="T23" fmla="*/ 606 h 1039"/>
                  <a:gd name="T24" fmla="*/ 0 w 375"/>
                  <a:gd name="T25" fmla="*/ 733 h 1039"/>
                  <a:gd name="T26" fmla="*/ 375 w 375"/>
                  <a:gd name="T27" fmla="*/ 733 h 1039"/>
                  <a:gd name="T28" fmla="*/ 375 w 375"/>
                  <a:gd name="T29" fmla="*/ 606 h 1039"/>
                  <a:gd name="T30" fmla="*/ 375 w 375"/>
                  <a:gd name="T31" fmla="*/ 913 h 1039"/>
                  <a:gd name="T32" fmla="*/ 0 w 375"/>
                  <a:gd name="T33" fmla="*/ 913 h 1039"/>
                  <a:gd name="T34" fmla="*/ 0 w 375"/>
                  <a:gd name="T35" fmla="*/ 1039 h 1039"/>
                  <a:gd name="T36" fmla="*/ 375 w 375"/>
                  <a:gd name="T37" fmla="*/ 1039 h 1039"/>
                  <a:gd name="T38" fmla="*/ 375 w 375"/>
                  <a:gd name="T39" fmla="*/ 91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5" h="1039">
                    <a:moveTo>
                      <a:pt x="375" y="126"/>
                    </a:moveTo>
                    <a:lnTo>
                      <a:pt x="1" y="126"/>
                    </a:lnTo>
                    <a:lnTo>
                      <a:pt x="1" y="0"/>
                    </a:lnTo>
                    <a:lnTo>
                      <a:pt x="375" y="0"/>
                    </a:lnTo>
                    <a:lnTo>
                      <a:pt x="375" y="126"/>
                    </a:lnTo>
                    <a:close/>
                    <a:moveTo>
                      <a:pt x="375" y="306"/>
                    </a:moveTo>
                    <a:lnTo>
                      <a:pt x="1" y="306"/>
                    </a:lnTo>
                    <a:lnTo>
                      <a:pt x="1" y="432"/>
                    </a:lnTo>
                    <a:lnTo>
                      <a:pt x="375" y="432"/>
                    </a:lnTo>
                    <a:lnTo>
                      <a:pt x="375" y="306"/>
                    </a:lnTo>
                    <a:close/>
                    <a:moveTo>
                      <a:pt x="375" y="606"/>
                    </a:moveTo>
                    <a:lnTo>
                      <a:pt x="0" y="606"/>
                    </a:lnTo>
                    <a:lnTo>
                      <a:pt x="0" y="733"/>
                    </a:lnTo>
                    <a:lnTo>
                      <a:pt x="375" y="733"/>
                    </a:lnTo>
                    <a:lnTo>
                      <a:pt x="375" y="606"/>
                    </a:lnTo>
                    <a:close/>
                    <a:moveTo>
                      <a:pt x="375" y="913"/>
                    </a:moveTo>
                    <a:lnTo>
                      <a:pt x="0" y="913"/>
                    </a:lnTo>
                    <a:lnTo>
                      <a:pt x="0" y="1039"/>
                    </a:lnTo>
                    <a:lnTo>
                      <a:pt x="375" y="1039"/>
                    </a:lnTo>
                    <a:lnTo>
                      <a:pt x="375" y="9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08">
                <a:extLst>
                  <a:ext uri="{FF2B5EF4-FFF2-40B4-BE49-F238E27FC236}">
                    <a16:creationId xmlns:a16="http://schemas.microsoft.com/office/drawing/2014/main" id="{DB33D168-811B-7345-B69C-0D575B72A493}"/>
                  </a:ext>
                </a:extLst>
              </p:cNvPr>
              <p:cNvSpPr>
                <a:spLocks/>
              </p:cNvSpPr>
              <p:nvPr/>
            </p:nvSpPr>
            <p:spPr bwMode="auto">
              <a:xfrm>
                <a:off x="1954" y="1"/>
                <a:ext cx="2089" cy="549"/>
              </a:xfrm>
              <a:custGeom>
                <a:avLst/>
                <a:gdLst>
                  <a:gd name="T0" fmla="*/ 2284 w 2439"/>
                  <a:gd name="T1" fmla="*/ 0 h 642"/>
                  <a:gd name="T2" fmla="*/ 1626 w 2439"/>
                  <a:gd name="T3" fmla="*/ 0 h 642"/>
                  <a:gd name="T4" fmla="*/ 1219 w 2439"/>
                  <a:gd name="T5" fmla="*/ 0 h 642"/>
                  <a:gd name="T6" fmla="*/ 147 w 2439"/>
                  <a:gd name="T7" fmla="*/ 0 h 642"/>
                  <a:gd name="T8" fmla="*/ 0 w 2439"/>
                  <a:gd name="T9" fmla="*/ 118 h 642"/>
                  <a:gd name="T10" fmla="*/ 0 w 2439"/>
                  <a:gd name="T11" fmla="*/ 642 h 642"/>
                  <a:gd name="T12" fmla="*/ 1219 w 2439"/>
                  <a:gd name="T13" fmla="*/ 642 h 642"/>
                  <a:gd name="T14" fmla="*/ 1626 w 2439"/>
                  <a:gd name="T15" fmla="*/ 642 h 642"/>
                  <a:gd name="T16" fmla="*/ 2439 w 2439"/>
                  <a:gd name="T17" fmla="*/ 642 h 642"/>
                  <a:gd name="T18" fmla="*/ 2439 w 2439"/>
                  <a:gd name="T19" fmla="*/ 124 h 642"/>
                  <a:gd name="T20" fmla="*/ 2284 w 2439"/>
                  <a:gd name="T21"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9" h="642">
                    <a:moveTo>
                      <a:pt x="2284" y="0"/>
                    </a:moveTo>
                    <a:cubicBezTo>
                      <a:pt x="1626" y="0"/>
                      <a:pt x="1626" y="0"/>
                      <a:pt x="1626" y="0"/>
                    </a:cubicBezTo>
                    <a:cubicBezTo>
                      <a:pt x="1219" y="0"/>
                      <a:pt x="1219" y="0"/>
                      <a:pt x="1219" y="0"/>
                    </a:cubicBezTo>
                    <a:cubicBezTo>
                      <a:pt x="147" y="0"/>
                      <a:pt x="147" y="0"/>
                      <a:pt x="147" y="0"/>
                    </a:cubicBezTo>
                    <a:cubicBezTo>
                      <a:pt x="66" y="0"/>
                      <a:pt x="0" y="53"/>
                      <a:pt x="0" y="118"/>
                    </a:cubicBezTo>
                    <a:cubicBezTo>
                      <a:pt x="0" y="642"/>
                      <a:pt x="0" y="642"/>
                      <a:pt x="0" y="642"/>
                    </a:cubicBezTo>
                    <a:cubicBezTo>
                      <a:pt x="1219" y="642"/>
                      <a:pt x="1219" y="642"/>
                      <a:pt x="1219" y="642"/>
                    </a:cubicBezTo>
                    <a:cubicBezTo>
                      <a:pt x="1626" y="642"/>
                      <a:pt x="1626" y="642"/>
                      <a:pt x="1626" y="642"/>
                    </a:cubicBezTo>
                    <a:cubicBezTo>
                      <a:pt x="2439" y="642"/>
                      <a:pt x="2439" y="642"/>
                      <a:pt x="2439" y="642"/>
                    </a:cubicBezTo>
                    <a:cubicBezTo>
                      <a:pt x="2439" y="124"/>
                      <a:pt x="2439" y="124"/>
                      <a:pt x="2439" y="124"/>
                    </a:cubicBezTo>
                    <a:cubicBezTo>
                      <a:pt x="2439" y="55"/>
                      <a:pt x="2369" y="0"/>
                      <a:pt x="2284" y="0"/>
                    </a:cubicBezTo>
                    <a:close/>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09">
                <a:extLst>
                  <a:ext uri="{FF2B5EF4-FFF2-40B4-BE49-F238E27FC236}">
                    <a16:creationId xmlns:a16="http://schemas.microsoft.com/office/drawing/2014/main" id="{8CF4E780-1DCD-154E-AB0B-B92FDDF9FD47}"/>
                  </a:ext>
                </a:extLst>
              </p:cNvPr>
              <p:cNvSpPr>
                <a:spLocks/>
              </p:cNvSpPr>
              <p:nvPr/>
            </p:nvSpPr>
            <p:spPr bwMode="auto">
              <a:xfrm>
                <a:off x="1884" y="550"/>
                <a:ext cx="2229" cy="135"/>
              </a:xfrm>
              <a:custGeom>
                <a:avLst/>
                <a:gdLst>
                  <a:gd name="T0" fmla="*/ 2603 w 2603"/>
                  <a:gd name="T1" fmla="*/ 0 h 157"/>
                  <a:gd name="T2" fmla="*/ 0 w 2603"/>
                  <a:gd name="T3" fmla="*/ 0 h 157"/>
                  <a:gd name="T4" fmla="*/ 0 w 2603"/>
                  <a:gd name="T5" fmla="*/ 109 h 157"/>
                  <a:gd name="T6" fmla="*/ 48 w 2603"/>
                  <a:gd name="T7" fmla="*/ 157 h 157"/>
                  <a:gd name="T8" fmla="*/ 2555 w 2603"/>
                  <a:gd name="T9" fmla="*/ 157 h 157"/>
                  <a:gd name="T10" fmla="*/ 2603 w 2603"/>
                  <a:gd name="T11" fmla="*/ 109 h 157"/>
                  <a:gd name="T12" fmla="*/ 2603 w 2603"/>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2603" h="157">
                    <a:moveTo>
                      <a:pt x="2603" y="0"/>
                    </a:moveTo>
                    <a:cubicBezTo>
                      <a:pt x="0" y="0"/>
                      <a:pt x="0" y="0"/>
                      <a:pt x="0" y="0"/>
                    </a:cubicBezTo>
                    <a:cubicBezTo>
                      <a:pt x="0" y="109"/>
                      <a:pt x="0" y="109"/>
                      <a:pt x="0" y="109"/>
                    </a:cubicBezTo>
                    <a:cubicBezTo>
                      <a:pt x="0" y="135"/>
                      <a:pt x="22" y="157"/>
                      <a:pt x="48" y="157"/>
                    </a:cubicBezTo>
                    <a:cubicBezTo>
                      <a:pt x="2555" y="157"/>
                      <a:pt x="2555" y="157"/>
                      <a:pt x="2555" y="157"/>
                    </a:cubicBezTo>
                    <a:cubicBezTo>
                      <a:pt x="2581" y="157"/>
                      <a:pt x="2603" y="135"/>
                      <a:pt x="2603" y="109"/>
                    </a:cubicBezTo>
                    <a:lnTo>
                      <a:pt x="260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10">
                <a:extLst>
                  <a:ext uri="{FF2B5EF4-FFF2-40B4-BE49-F238E27FC236}">
                    <a16:creationId xmlns:a16="http://schemas.microsoft.com/office/drawing/2014/main" id="{3C0E6C62-396D-7A4C-A84B-001A3109AAB7}"/>
                  </a:ext>
                </a:extLst>
              </p:cNvPr>
              <p:cNvSpPr>
                <a:spLocks/>
              </p:cNvSpPr>
              <p:nvPr/>
            </p:nvSpPr>
            <p:spPr bwMode="auto">
              <a:xfrm>
                <a:off x="2451" y="1"/>
                <a:ext cx="173" cy="269"/>
              </a:xfrm>
              <a:custGeom>
                <a:avLst/>
                <a:gdLst>
                  <a:gd name="T0" fmla="*/ 0 w 173"/>
                  <a:gd name="T1" fmla="*/ 0 h 269"/>
                  <a:gd name="T2" fmla="*/ 15 w 173"/>
                  <a:gd name="T3" fmla="*/ 269 h 269"/>
                  <a:gd name="T4" fmla="*/ 158 w 173"/>
                  <a:gd name="T5" fmla="*/ 269 h 269"/>
                  <a:gd name="T6" fmla="*/ 173 w 173"/>
                  <a:gd name="T7" fmla="*/ 0 h 269"/>
                  <a:gd name="T8" fmla="*/ 0 w 173"/>
                  <a:gd name="T9" fmla="*/ 0 h 269"/>
                </a:gdLst>
                <a:ahLst/>
                <a:cxnLst>
                  <a:cxn ang="0">
                    <a:pos x="T0" y="T1"/>
                  </a:cxn>
                  <a:cxn ang="0">
                    <a:pos x="T2" y="T3"/>
                  </a:cxn>
                  <a:cxn ang="0">
                    <a:pos x="T4" y="T5"/>
                  </a:cxn>
                  <a:cxn ang="0">
                    <a:pos x="T6" y="T7"/>
                  </a:cxn>
                  <a:cxn ang="0">
                    <a:pos x="T8" y="T9"/>
                  </a:cxn>
                </a:cxnLst>
                <a:rect l="0" t="0" r="r" b="b"/>
                <a:pathLst>
                  <a:path w="173" h="269">
                    <a:moveTo>
                      <a:pt x="0" y="0"/>
                    </a:moveTo>
                    <a:lnTo>
                      <a:pt x="15" y="269"/>
                    </a:lnTo>
                    <a:lnTo>
                      <a:pt x="158" y="269"/>
                    </a:lnTo>
                    <a:lnTo>
                      <a:pt x="173"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11">
                <a:extLst>
                  <a:ext uri="{FF2B5EF4-FFF2-40B4-BE49-F238E27FC236}">
                    <a16:creationId xmlns:a16="http://schemas.microsoft.com/office/drawing/2014/main" id="{FC74AEDC-82F9-774F-872B-0D9B19C629AC}"/>
                  </a:ext>
                </a:extLst>
              </p:cNvPr>
              <p:cNvSpPr>
                <a:spLocks noEditPoints="1"/>
              </p:cNvSpPr>
              <p:nvPr/>
            </p:nvSpPr>
            <p:spPr bwMode="auto">
              <a:xfrm>
                <a:off x="2466" y="270"/>
                <a:ext cx="1065" cy="163"/>
              </a:xfrm>
              <a:custGeom>
                <a:avLst/>
                <a:gdLst>
                  <a:gd name="T0" fmla="*/ 0 w 1065"/>
                  <a:gd name="T1" fmla="*/ 0 h 163"/>
                  <a:gd name="T2" fmla="*/ 143 w 1065"/>
                  <a:gd name="T3" fmla="*/ 0 h 163"/>
                  <a:gd name="T4" fmla="*/ 134 w 1065"/>
                  <a:gd name="T5" fmla="*/ 163 h 163"/>
                  <a:gd name="T6" fmla="*/ 10 w 1065"/>
                  <a:gd name="T7" fmla="*/ 163 h 163"/>
                  <a:gd name="T8" fmla="*/ 0 w 1065"/>
                  <a:gd name="T9" fmla="*/ 0 h 163"/>
                  <a:gd name="T10" fmla="*/ 931 w 1065"/>
                  <a:gd name="T11" fmla="*/ 163 h 163"/>
                  <a:gd name="T12" fmla="*/ 1055 w 1065"/>
                  <a:gd name="T13" fmla="*/ 163 h 163"/>
                  <a:gd name="T14" fmla="*/ 1065 w 1065"/>
                  <a:gd name="T15" fmla="*/ 0 h 163"/>
                  <a:gd name="T16" fmla="*/ 922 w 1065"/>
                  <a:gd name="T17" fmla="*/ 0 h 163"/>
                  <a:gd name="T18" fmla="*/ 931 w 1065"/>
                  <a:gd name="T1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5" h="163">
                    <a:moveTo>
                      <a:pt x="0" y="0"/>
                    </a:moveTo>
                    <a:lnTo>
                      <a:pt x="143" y="0"/>
                    </a:lnTo>
                    <a:lnTo>
                      <a:pt x="134" y="163"/>
                    </a:lnTo>
                    <a:lnTo>
                      <a:pt x="10" y="163"/>
                    </a:lnTo>
                    <a:lnTo>
                      <a:pt x="0" y="0"/>
                    </a:lnTo>
                    <a:close/>
                    <a:moveTo>
                      <a:pt x="931" y="163"/>
                    </a:moveTo>
                    <a:lnTo>
                      <a:pt x="1055" y="163"/>
                    </a:lnTo>
                    <a:lnTo>
                      <a:pt x="1065" y="0"/>
                    </a:lnTo>
                    <a:lnTo>
                      <a:pt x="922" y="0"/>
                    </a:lnTo>
                    <a:lnTo>
                      <a:pt x="931" y="163"/>
                    </a:lnTo>
                    <a:close/>
                  </a:path>
                </a:pathLst>
              </a:custGeom>
              <a:solidFill>
                <a:srgbClr val="A5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12">
                <a:extLst>
                  <a:ext uri="{FF2B5EF4-FFF2-40B4-BE49-F238E27FC236}">
                    <a16:creationId xmlns:a16="http://schemas.microsoft.com/office/drawing/2014/main" id="{BB28AE90-33C6-C444-A094-A145B94647B4}"/>
                  </a:ext>
                </a:extLst>
              </p:cNvPr>
              <p:cNvSpPr>
                <a:spLocks/>
              </p:cNvSpPr>
              <p:nvPr/>
            </p:nvSpPr>
            <p:spPr bwMode="auto">
              <a:xfrm>
                <a:off x="3373" y="1"/>
                <a:ext cx="173" cy="269"/>
              </a:xfrm>
              <a:custGeom>
                <a:avLst/>
                <a:gdLst>
                  <a:gd name="T0" fmla="*/ 0 w 173"/>
                  <a:gd name="T1" fmla="*/ 0 h 269"/>
                  <a:gd name="T2" fmla="*/ 15 w 173"/>
                  <a:gd name="T3" fmla="*/ 269 h 269"/>
                  <a:gd name="T4" fmla="*/ 158 w 173"/>
                  <a:gd name="T5" fmla="*/ 269 h 269"/>
                  <a:gd name="T6" fmla="*/ 173 w 173"/>
                  <a:gd name="T7" fmla="*/ 0 h 269"/>
                  <a:gd name="T8" fmla="*/ 0 w 173"/>
                  <a:gd name="T9" fmla="*/ 0 h 269"/>
                </a:gdLst>
                <a:ahLst/>
                <a:cxnLst>
                  <a:cxn ang="0">
                    <a:pos x="T0" y="T1"/>
                  </a:cxn>
                  <a:cxn ang="0">
                    <a:pos x="T2" y="T3"/>
                  </a:cxn>
                  <a:cxn ang="0">
                    <a:pos x="T4" y="T5"/>
                  </a:cxn>
                  <a:cxn ang="0">
                    <a:pos x="T6" y="T7"/>
                  </a:cxn>
                  <a:cxn ang="0">
                    <a:pos x="T8" y="T9"/>
                  </a:cxn>
                </a:cxnLst>
                <a:rect l="0" t="0" r="r" b="b"/>
                <a:pathLst>
                  <a:path w="173" h="269">
                    <a:moveTo>
                      <a:pt x="0" y="0"/>
                    </a:moveTo>
                    <a:lnTo>
                      <a:pt x="15" y="269"/>
                    </a:lnTo>
                    <a:lnTo>
                      <a:pt x="158" y="269"/>
                    </a:lnTo>
                    <a:lnTo>
                      <a:pt x="173"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Freeform 21"/>
            <p:cNvSpPr>
              <a:spLocks/>
            </p:cNvSpPr>
            <p:nvPr/>
          </p:nvSpPr>
          <p:spPr bwMode="auto">
            <a:xfrm>
              <a:off x="8308886" y="-1073370"/>
              <a:ext cx="107900" cy="220368"/>
            </a:xfrm>
            <a:custGeom>
              <a:avLst/>
              <a:gdLst>
                <a:gd name="T0" fmla="*/ 257 w 472"/>
                <a:gd name="T1" fmla="*/ 417 h 966"/>
                <a:gd name="T2" fmla="*/ 150 w 472"/>
                <a:gd name="T3" fmla="*/ 353 h 966"/>
                <a:gd name="T4" fmla="*/ 131 w 472"/>
                <a:gd name="T5" fmla="*/ 308 h 966"/>
                <a:gd name="T6" fmla="*/ 249 w 472"/>
                <a:gd name="T7" fmla="*/ 226 h 966"/>
                <a:gd name="T8" fmla="*/ 338 w 472"/>
                <a:gd name="T9" fmla="*/ 255 h 966"/>
                <a:gd name="T10" fmla="*/ 389 w 472"/>
                <a:gd name="T11" fmla="*/ 296 h 966"/>
                <a:gd name="T12" fmla="*/ 472 w 472"/>
                <a:gd name="T13" fmla="*/ 194 h 966"/>
                <a:gd name="T14" fmla="*/ 421 w 472"/>
                <a:gd name="T15" fmla="*/ 152 h 966"/>
                <a:gd name="T16" fmla="*/ 302 w 472"/>
                <a:gd name="T17" fmla="*/ 99 h 966"/>
                <a:gd name="T18" fmla="*/ 302 w 472"/>
                <a:gd name="T19" fmla="*/ 0 h 966"/>
                <a:gd name="T20" fmla="*/ 170 w 472"/>
                <a:gd name="T21" fmla="*/ 0 h 966"/>
                <a:gd name="T22" fmla="*/ 170 w 472"/>
                <a:gd name="T23" fmla="*/ 105 h 966"/>
                <a:gd name="T24" fmla="*/ 0 w 472"/>
                <a:gd name="T25" fmla="*/ 308 h 966"/>
                <a:gd name="T26" fmla="*/ 55 w 472"/>
                <a:gd name="T27" fmla="*/ 444 h 966"/>
                <a:gd name="T28" fmla="*/ 200 w 472"/>
                <a:gd name="T29" fmla="*/ 535 h 966"/>
                <a:gd name="T30" fmla="*/ 341 w 472"/>
                <a:gd name="T31" fmla="*/ 657 h 966"/>
                <a:gd name="T32" fmla="*/ 223 w 472"/>
                <a:gd name="T33" fmla="*/ 740 h 966"/>
                <a:gd name="T34" fmla="*/ 134 w 472"/>
                <a:gd name="T35" fmla="*/ 711 h 966"/>
                <a:gd name="T36" fmla="*/ 83 w 472"/>
                <a:gd name="T37" fmla="*/ 670 h 966"/>
                <a:gd name="T38" fmla="*/ 0 w 472"/>
                <a:gd name="T39" fmla="*/ 772 h 966"/>
                <a:gd name="T40" fmla="*/ 51 w 472"/>
                <a:gd name="T41" fmla="*/ 813 h 966"/>
                <a:gd name="T42" fmla="*/ 170 w 472"/>
                <a:gd name="T43" fmla="*/ 866 h 966"/>
                <a:gd name="T44" fmla="*/ 170 w 472"/>
                <a:gd name="T45" fmla="*/ 966 h 966"/>
                <a:gd name="T46" fmla="*/ 302 w 472"/>
                <a:gd name="T47" fmla="*/ 966 h 966"/>
                <a:gd name="T48" fmla="*/ 302 w 472"/>
                <a:gd name="T49" fmla="*/ 860 h 966"/>
                <a:gd name="T50" fmla="*/ 472 w 472"/>
                <a:gd name="T51" fmla="*/ 657 h 966"/>
                <a:gd name="T52" fmla="*/ 257 w 472"/>
                <a:gd name="T53" fmla="*/ 417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2" h="966">
                  <a:moveTo>
                    <a:pt x="257" y="417"/>
                  </a:moveTo>
                  <a:cubicBezTo>
                    <a:pt x="213" y="395"/>
                    <a:pt x="171" y="375"/>
                    <a:pt x="150" y="353"/>
                  </a:cubicBezTo>
                  <a:cubicBezTo>
                    <a:pt x="137" y="339"/>
                    <a:pt x="131" y="326"/>
                    <a:pt x="131" y="308"/>
                  </a:cubicBezTo>
                  <a:cubicBezTo>
                    <a:pt x="131" y="264"/>
                    <a:pt x="186" y="226"/>
                    <a:pt x="249" y="226"/>
                  </a:cubicBezTo>
                  <a:cubicBezTo>
                    <a:pt x="283" y="226"/>
                    <a:pt x="315" y="236"/>
                    <a:pt x="338" y="255"/>
                  </a:cubicBezTo>
                  <a:cubicBezTo>
                    <a:pt x="389" y="296"/>
                    <a:pt x="389" y="296"/>
                    <a:pt x="389" y="296"/>
                  </a:cubicBezTo>
                  <a:cubicBezTo>
                    <a:pt x="472" y="194"/>
                    <a:pt x="472" y="194"/>
                    <a:pt x="472" y="194"/>
                  </a:cubicBezTo>
                  <a:cubicBezTo>
                    <a:pt x="421" y="152"/>
                    <a:pt x="421" y="152"/>
                    <a:pt x="421" y="152"/>
                  </a:cubicBezTo>
                  <a:cubicBezTo>
                    <a:pt x="388" y="126"/>
                    <a:pt x="347" y="107"/>
                    <a:pt x="302" y="99"/>
                  </a:cubicBezTo>
                  <a:cubicBezTo>
                    <a:pt x="302" y="0"/>
                    <a:pt x="302" y="0"/>
                    <a:pt x="302" y="0"/>
                  </a:cubicBezTo>
                  <a:cubicBezTo>
                    <a:pt x="170" y="0"/>
                    <a:pt x="170" y="0"/>
                    <a:pt x="170" y="0"/>
                  </a:cubicBezTo>
                  <a:cubicBezTo>
                    <a:pt x="170" y="105"/>
                    <a:pt x="170" y="105"/>
                    <a:pt x="170" y="105"/>
                  </a:cubicBezTo>
                  <a:cubicBezTo>
                    <a:pt x="70" y="134"/>
                    <a:pt x="0" y="217"/>
                    <a:pt x="0" y="308"/>
                  </a:cubicBezTo>
                  <a:cubicBezTo>
                    <a:pt x="0" y="359"/>
                    <a:pt x="18" y="404"/>
                    <a:pt x="55" y="444"/>
                  </a:cubicBezTo>
                  <a:cubicBezTo>
                    <a:pt x="93" y="483"/>
                    <a:pt x="147" y="510"/>
                    <a:pt x="200" y="535"/>
                  </a:cubicBezTo>
                  <a:cubicBezTo>
                    <a:pt x="287" y="578"/>
                    <a:pt x="341" y="608"/>
                    <a:pt x="341" y="657"/>
                  </a:cubicBezTo>
                  <a:cubicBezTo>
                    <a:pt x="341" y="702"/>
                    <a:pt x="287" y="740"/>
                    <a:pt x="223" y="740"/>
                  </a:cubicBezTo>
                  <a:cubicBezTo>
                    <a:pt x="189" y="740"/>
                    <a:pt x="157" y="729"/>
                    <a:pt x="134" y="711"/>
                  </a:cubicBezTo>
                  <a:cubicBezTo>
                    <a:pt x="83" y="670"/>
                    <a:pt x="83" y="670"/>
                    <a:pt x="83" y="670"/>
                  </a:cubicBezTo>
                  <a:cubicBezTo>
                    <a:pt x="0" y="772"/>
                    <a:pt x="0" y="772"/>
                    <a:pt x="0" y="772"/>
                  </a:cubicBezTo>
                  <a:cubicBezTo>
                    <a:pt x="51" y="813"/>
                    <a:pt x="51" y="813"/>
                    <a:pt x="51" y="813"/>
                  </a:cubicBezTo>
                  <a:cubicBezTo>
                    <a:pt x="84" y="840"/>
                    <a:pt x="125" y="858"/>
                    <a:pt x="170" y="866"/>
                  </a:cubicBezTo>
                  <a:cubicBezTo>
                    <a:pt x="170" y="966"/>
                    <a:pt x="170" y="966"/>
                    <a:pt x="170" y="966"/>
                  </a:cubicBezTo>
                  <a:cubicBezTo>
                    <a:pt x="302" y="966"/>
                    <a:pt x="302" y="966"/>
                    <a:pt x="302" y="966"/>
                  </a:cubicBezTo>
                  <a:cubicBezTo>
                    <a:pt x="302" y="860"/>
                    <a:pt x="302" y="860"/>
                    <a:pt x="302" y="860"/>
                  </a:cubicBezTo>
                  <a:cubicBezTo>
                    <a:pt x="402" y="831"/>
                    <a:pt x="472" y="749"/>
                    <a:pt x="472" y="657"/>
                  </a:cubicBezTo>
                  <a:cubicBezTo>
                    <a:pt x="472" y="522"/>
                    <a:pt x="353" y="464"/>
                    <a:pt x="257" y="4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6" name="Group 108"/>
          <p:cNvGrpSpPr>
            <a:grpSpLocks noChangeAspect="1"/>
          </p:cNvGrpSpPr>
          <p:nvPr/>
        </p:nvGrpSpPr>
        <p:grpSpPr bwMode="auto">
          <a:xfrm>
            <a:off x="7395877" y="3025970"/>
            <a:ext cx="433547" cy="425922"/>
            <a:chOff x="1231" y="0"/>
            <a:chExt cx="3298" cy="3240"/>
          </a:xfrm>
        </p:grpSpPr>
        <p:sp>
          <p:nvSpPr>
            <p:cNvPr id="48" name="Rectangle 109"/>
            <p:cNvSpPr>
              <a:spLocks noChangeArrowheads="1"/>
            </p:cNvSpPr>
            <p:nvPr/>
          </p:nvSpPr>
          <p:spPr bwMode="auto">
            <a:xfrm>
              <a:off x="1231" y="537"/>
              <a:ext cx="2569" cy="1953"/>
            </a:xfrm>
            <a:prstGeom prst="rect">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10"/>
            <p:cNvSpPr>
              <a:spLocks noChangeArrowheads="1"/>
            </p:cNvSpPr>
            <p:nvPr/>
          </p:nvSpPr>
          <p:spPr bwMode="auto">
            <a:xfrm>
              <a:off x="1231" y="0"/>
              <a:ext cx="2569" cy="537"/>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11"/>
            <p:cNvSpPr>
              <a:spLocks noEditPoints="1"/>
            </p:cNvSpPr>
            <p:nvPr/>
          </p:nvSpPr>
          <p:spPr bwMode="auto">
            <a:xfrm>
              <a:off x="1497" y="782"/>
              <a:ext cx="2012" cy="1412"/>
            </a:xfrm>
            <a:custGeom>
              <a:avLst/>
              <a:gdLst>
                <a:gd name="T0" fmla="*/ 1643 w 2012"/>
                <a:gd name="T1" fmla="*/ 0 h 1412"/>
                <a:gd name="T2" fmla="*/ 2012 w 2012"/>
                <a:gd name="T3" fmla="*/ 0 h 1412"/>
                <a:gd name="T4" fmla="*/ 2012 w 2012"/>
                <a:gd name="T5" fmla="*/ 368 h 1412"/>
                <a:gd name="T6" fmla="*/ 1643 w 2012"/>
                <a:gd name="T7" fmla="*/ 368 h 1412"/>
                <a:gd name="T8" fmla="*/ 1643 w 2012"/>
                <a:gd name="T9" fmla="*/ 0 h 1412"/>
                <a:gd name="T10" fmla="*/ 1096 w 2012"/>
                <a:gd name="T11" fmla="*/ 368 h 1412"/>
                <a:gd name="T12" fmla="*/ 1465 w 2012"/>
                <a:gd name="T13" fmla="*/ 368 h 1412"/>
                <a:gd name="T14" fmla="*/ 1465 w 2012"/>
                <a:gd name="T15" fmla="*/ 0 h 1412"/>
                <a:gd name="T16" fmla="*/ 1096 w 2012"/>
                <a:gd name="T17" fmla="*/ 0 h 1412"/>
                <a:gd name="T18" fmla="*/ 1096 w 2012"/>
                <a:gd name="T19" fmla="*/ 368 h 1412"/>
                <a:gd name="T20" fmla="*/ 1641 w 2012"/>
                <a:gd name="T21" fmla="*/ 890 h 1412"/>
                <a:gd name="T22" fmla="*/ 2010 w 2012"/>
                <a:gd name="T23" fmla="*/ 890 h 1412"/>
                <a:gd name="T24" fmla="*/ 2010 w 2012"/>
                <a:gd name="T25" fmla="*/ 521 h 1412"/>
                <a:gd name="T26" fmla="*/ 1641 w 2012"/>
                <a:gd name="T27" fmla="*/ 521 h 1412"/>
                <a:gd name="T28" fmla="*/ 1641 w 2012"/>
                <a:gd name="T29" fmla="*/ 890 h 1412"/>
                <a:gd name="T30" fmla="*/ 1094 w 2012"/>
                <a:gd name="T31" fmla="*/ 890 h 1412"/>
                <a:gd name="T32" fmla="*/ 1463 w 2012"/>
                <a:gd name="T33" fmla="*/ 890 h 1412"/>
                <a:gd name="T34" fmla="*/ 1463 w 2012"/>
                <a:gd name="T35" fmla="*/ 521 h 1412"/>
                <a:gd name="T36" fmla="*/ 1094 w 2012"/>
                <a:gd name="T37" fmla="*/ 521 h 1412"/>
                <a:gd name="T38" fmla="*/ 1094 w 2012"/>
                <a:gd name="T39" fmla="*/ 890 h 1412"/>
                <a:gd name="T40" fmla="*/ 1641 w 2012"/>
                <a:gd name="T41" fmla="*/ 1412 h 1412"/>
                <a:gd name="T42" fmla="*/ 2010 w 2012"/>
                <a:gd name="T43" fmla="*/ 1412 h 1412"/>
                <a:gd name="T44" fmla="*/ 2010 w 2012"/>
                <a:gd name="T45" fmla="*/ 1042 h 1412"/>
                <a:gd name="T46" fmla="*/ 1641 w 2012"/>
                <a:gd name="T47" fmla="*/ 1042 h 1412"/>
                <a:gd name="T48" fmla="*/ 1641 w 2012"/>
                <a:gd name="T49" fmla="*/ 1412 h 1412"/>
                <a:gd name="T50" fmla="*/ 1094 w 2012"/>
                <a:gd name="T51" fmla="*/ 1412 h 1412"/>
                <a:gd name="T52" fmla="*/ 1463 w 2012"/>
                <a:gd name="T53" fmla="*/ 1412 h 1412"/>
                <a:gd name="T54" fmla="*/ 1463 w 2012"/>
                <a:gd name="T55" fmla="*/ 1042 h 1412"/>
                <a:gd name="T56" fmla="*/ 1094 w 2012"/>
                <a:gd name="T57" fmla="*/ 1042 h 1412"/>
                <a:gd name="T58" fmla="*/ 1094 w 2012"/>
                <a:gd name="T59" fmla="*/ 1412 h 1412"/>
                <a:gd name="T60" fmla="*/ 547 w 2012"/>
                <a:gd name="T61" fmla="*/ 1412 h 1412"/>
                <a:gd name="T62" fmla="*/ 916 w 2012"/>
                <a:gd name="T63" fmla="*/ 1412 h 1412"/>
                <a:gd name="T64" fmla="*/ 916 w 2012"/>
                <a:gd name="T65" fmla="*/ 1042 h 1412"/>
                <a:gd name="T66" fmla="*/ 547 w 2012"/>
                <a:gd name="T67" fmla="*/ 1042 h 1412"/>
                <a:gd name="T68" fmla="*/ 547 w 2012"/>
                <a:gd name="T69" fmla="*/ 1412 h 1412"/>
                <a:gd name="T70" fmla="*/ 0 w 2012"/>
                <a:gd name="T71" fmla="*/ 1412 h 1412"/>
                <a:gd name="T72" fmla="*/ 369 w 2012"/>
                <a:gd name="T73" fmla="*/ 1412 h 1412"/>
                <a:gd name="T74" fmla="*/ 369 w 2012"/>
                <a:gd name="T75" fmla="*/ 1042 h 1412"/>
                <a:gd name="T76" fmla="*/ 0 w 2012"/>
                <a:gd name="T77" fmla="*/ 1042 h 1412"/>
                <a:gd name="T78" fmla="*/ 0 w 2012"/>
                <a:gd name="T79"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12" h="1412">
                  <a:moveTo>
                    <a:pt x="1643" y="0"/>
                  </a:moveTo>
                  <a:lnTo>
                    <a:pt x="2012" y="0"/>
                  </a:lnTo>
                  <a:lnTo>
                    <a:pt x="2012" y="368"/>
                  </a:lnTo>
                  <a:lnTo>
                    <a:pt x="1643" y="368"/>
                  </a:lnTo>
                  <a:lnTo>
                    <a:pt x="1643" y="0"/>
                  </a:lnTo>
                  <a:close/>
                  <a:moveTo>
                    <a:pt x="1096" y="368"/>
                  </a:moveTo>
                  <a:lnTo>
                    <a:pt x="1465" y="368"/>
                  </a:lnTo>
                  <a:lnTo>
                    <a:pt x="1465" y="0"/>
                  </a:lnTo>
                  <a:lnTo>
                    <a:pt x="1096" y="0"/>
                  </a:lnTo>
                  <a:lnTo>
                    <a:pt x="1096" y="368"/>
                  </a:lnTo>
                  <a:close/>
                  <a:moveTo>
                    <a:pt x="1641" y="890"/>
                  </a:moveTo>
                  <a:lnTo>
                    <a:pt x="2010" y="890"/>
                  </a:lnTo>
                  <a:lnTo>
                    <a:pt x="2010" y="521"/>
                  </a:lnTo>
                  <a:lnTo>
                    <a:pt x="1641" y="521"/>
                  </a:lnTo>
                  <a:lnTo>
                    <a:pt x="1641" y="890"/>
                  </a:lnTo>
                  <a:close/>
                  <a:moveTo>
                    <a:pt x="1094" y="890"/>
                  </a:moveTo>
                  <a:lnTo>
                    <a:pt x="1463" y="890"/>
                  </a:lnTo>
                  <a:lnTo>
                    <a:pt x="1463" y="521"/>
                  </a:lnTo>
                  <a:lnTo>
                    <a:pt x="1094" y="521"/>
                  </a:lnTo>
                  <a:lnTo>
                    <a:pt x="1094" y="890"/>
                  </a:lnTo>
                  <a:close/>
                  <a:moveTo>
                    <a:pt x="1641" y="1412"/>
                  </a:moveTo>
                  <a:lnTo>
                    <a:pt x="2010" y="1412"/>
                  </a:lnTo>
                  <a:lnTo>
                    <a:pt x="2010" y="1042"/>
                  </a:lnTo>
                  <a:lnTo>
                    <a:pt x="1641" y="1042"/>
                  </a:lnTo>
                  <a:lnTo>
                    <a:pt x="1641" y="1412"/>
                  </a:lnTo>
                  <a:close/>
                  <a:moveTo>
                    <a:pt x="1094" y="1412"/>
                  </a:moveTo>
                  <a:lnTo>
                    <a:pt x="1463" y="1412"/>
                  </a:lnTo>
                  <a:lnTo>
                    <a:pt x="1463" y="1042"/>
                  </a:lnTo>
                  <a:lnTo>
                    <a:pt x="1094" y="1042"/>
                  </a:lnTo>
                  <a:lnTo>
                    <a:pt x="1094" y="1412"/>
                  </a:lnTo>
                  <a:close/>
                  <a:moveTo>
                    <a:pt x="547" y="1412"/>
                  </a:moveTo>
                  <a:lnTo>
                    <a:pt x="916" y="1412"/>
                  </a:lnTo>
                  <a:lnTo>
                    <a:pt x="916" y="1042"/>
                  </a:lnTo>
                  <a:lnTo>
                    <a:pt x="547" y="1042"/>
                  </a:lnTo>
                  <a:lnTo>
                    <a:pt x="547" y="1412"/>
                  </a:lnTo>
                  <a:close/>
                  <a:moveTo>
                    <a:pt x="0" y="1412"/>
                  </a:moveTo>
                  <a:lnTo>
                    <a:pt x="369" y="1412"/>
                  </a:lnTo>
                  <a:lnTo>
                    <a:pt x="369" y="1042"/>
                  </a:lnTo>
                  <a:lnTo>
                    <a:pt x="0" y="1042"/>
                  </a:lnTo>
                  <a:lnTo>
                    <a:pt x="0" y="1412"/>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12"/>
            <p:cNvSpPr>
              <a:spLocks/>
            </p:cNvSpPr>
            <p:nvPr/>
          </p:nvSpPr>
          <p:spPr bwMode="auto">
            <a:xfrm>
              <a:off x="1508" y="901"/>
              <a:ext cx="888" cy="720"/>
            </a:xfrm>
            <a:custGeom>
              <a:avLst/>
              <a:gdLst>
                <a:gd name="T0" fmla="*/ 287 w 1000"/>
                <a:gd name="T1" fmla="*/ 0 h 811"/>
                <a:gd name="T2" fmla="*/ 206 w 1000"/>
                <a:gd name="T3" fmla="*/ 33 h 811"/>
                <a:gd name="T4" fmla="*/ 45 w 1000"/>
                <a:gd name="T5" fmla="*/ 195 h 811"/>
                <a:gd name="T6" fmla="*/ 45 w 1000"/>
                <a:gd name="T7" fmla="*/ 356 h 811"/>
                <a:gd name="T8" fmla="*/ 500 w 1000"/>
                <a:gd name="T9" fmla="*/ 811 h 811"/>
                <a:gd name="T10" fmla="*/ 956 w 1000"/>
                <a:gd name="T11" fmla="*/ 356 h 811"/>
                <a:gd name="T12" fmla="*/ 955 w 1000"/>
                <a:gd name="T13" fmla="*/ 195 h 811"/>
                <a:gd name="T14" fmla="*/ 794 w 1000"/>
                <a:gd name="T15" fmla="*/ 34 h 811"/>
                <a:gd name="T16" fmla="*/ 714 w 1000"/>
                <a:gd name="T17" fmla="*/ 0 h 811"/>
                <a:gd name="T18" fmla="*/ 633 w 1000"/>
                <a:gd name="T19" fmla="*/ 34 h 811"/>
                <a:gd name="T20" fmla="*/ 500 w 1000"/>
                <a:gd name="T21" fmla="*/ 166 h 811"/>
                <a:gd name="T22" fmla="*/ 367 w 1000"/>
                <a:gd name="T23" fmla="*/ 34 h 811"/>
                <a:gd name="T24" fmla="*/ 287 w 1000"/>
                <a:gd name="T25"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0" h="811">
                  <a:moveTo>
                    <a:pt x="287" y="0"/>
                  </a:moveTo>
                  <a:cubicBezTo>
                    <a:pt x="257" y="0"/>
                    <a:pt x="228" y="11"/>
                    <a:pt x="206" y="33"/>
                  </a:cubicBezTo>
                  <a:cubicBezTo>
                    <a:pt x="45" y="195"/>
                    <a:pt x="45" y="195"/>
                    <a:pt x="45" y="195"/>
                  </a:cubicBezTo>
                  <a:cubicBezTo>
                    <a:pt x="0" y="239"/>
                    <a:pt x="0" y="312"/>
                    <a:pt x="45" y="356"/>
                  </a:cubicBezTo>
                  <a:cubicBezTo>
                    <a:pt x="500" y="811"/>
                    <a:pt x="500" y="811"/>
                    <a:pt x="500" y="811"/>
                  </a:cubicBezTo>
                  <a:cubicBezTo>
                    <a:pt x="956" y="356"/>
                    <a:pt x="956" y="356"/>
                    <a:pt x="956" y="356"/>
                  </a:cubicBezTo>
                  <a:cubicBezTo>
                    <a:pt x="1000" y="312"/>
                    <a:pt x="1000" y="239"/>
                    <a:pt x="955" y="195"/>
                  </a:cubicBezTo>
                  <a:cubicBezTo>
                    <a:pt x="794" y="34"/>
                    <a:pt x="794" y="34"/>
                    <a:pt x="794" y="34"/>
                  </a:cubicBezTo>
                  <a:cubicBezTo>
                    <a:pt x="772" y="11"/>
                    <a:pt x="743" y="0"/>
                    <a:pt x="714" y="0"/>
                  </a:cubicBezTo>
                  <a:cubicBezTo>
                    <a:pt x="684" y="0"/>
                    <a:pt x="655" y="11"/>
                    <a:pt x="633" y="34"/>
                  </a:cubicBezTo>
                  <a:cubicBezTo>
                    <a:pt x="500" y="166"/>
                    <a:pt x="500" y="166"/>
                    <a:pt x="500" y="166"/>
                  </a:cubicBezTo>
                  <a:cubicBezTo>
                    <a:pt x="367" y="34"/>
                    <a:pt x="367" y="34"/>
                    <a:pt x="367" y="34"/>
                  </a:cubicBezTo>
                  <a:cubicBezTo>
                    <a:pt x="345" y="11"/>
                    <a:pt x="316" y="0"/>
                    <a:pt x="287" y="0"/>
                  </a:cubicBezTo>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13"/>
            <p:cNvSpPr>
              <a:spLocks/>
            </p:cNvSpPr>
            <p:nvPr/>
          </p:nvSpPr>
          <p:spPr bwMode="auto">
            <a:xfrm>
              <a:off x="3092" y="1563"/>
              <a:ext cx="1231" cy="1677"/>
            </a:xfrm>
            <a:custGeom>
              <a:avLst/>
              <a:gdLst>
                <a:gd name="T0" fmla="*/ 1254 w 1386"/>
                <a:gd name="T1" fmla="*/ 1888 h 1888"/>
                <a:gd name="T2" fmla="*/ 132 w 1386"/>
                <a:gd name="T3" fmla="*/ 1888 h 1888"/>
                <a:gd name="T4" fmla="*/ 0 w 1386"/>
                <a:gd name="T5" fmla="*/ 1755 h 1888"/>
                <a:gd name="T6" fmla="*/ 0 w 1386"/>
                <a:gd name="T7" fmla="*/ 0 h 1888"/>
                <a:gd name="T8" fmla="*/ 1386 w 1386"/>
                <a:gd name="T9" fmla="*/ 0 h 1888"/>
                <a:gd name="T10" fmla="*/ 1386 w 1386"/>
                <a:gd name="T11" fmla="*/ 1755 h 1888"/>
                <a:gd name="T12" fmla="*/ 1254 w 1386"/>
                <a:gd name="T13" fmla="*/ 1888 h 1888"/>
              </a:gdLst>
              <a:ahLst/>
              <a:cxnLst>
                <a:cxn ang="0">
                  <a:pos x="T0" y="T1"/>
                </a:cxn>
                <a:cxn ang="0">
                  <a:pos x="T2" y="T3"/>
                </a:cxn>
                <a:cxn ang="0">
                  <a:pos x="T4" y="T5"/>
                </a:cxn>
                <a:cxn ang="0">
                  <a:pos x="T6" y="T7"/>
                </a:cxn>
                <a:cxn ang="0">
                  <a:pos x="T8" y="T9"/>
                </a:cxn>
                <a:cxn ang="0">
                  <a:pos x="T10" y="T11"/>
                </a:cxn>
                <a:cxn ang="0">
                  <a:pos x="T12" y="T13"/>
                </a:cxn>
              </a:cxnLst>
              <a:rect l="0" t="0" r="r" b="b"/>
              <a:pathLst>
                <a:path w="1386" h="1888">
                  <a:moveTo>
                    <a:pt x="1254" y="1888"/>
                  </a:moveTo>
                  <a:cubicBezTo>
                    <a:pt x="132" y="1888"/>
                    <a:pt x="132" y="1888"/>
                    <a:pt x="132" y="1888"/>
                  </a:cubicBezTo>
                  <a:cubicBezTo>
                    <a:pt x="59" y="1888"/>
                    <a:pt x="0" y="1829"/>
                    <a:pt x="0" y="1755"/>
                  </a:cubicBezTo>
                  <a:cubicBezTo>
                    <a:pt x="0" y="0"/>
                    <a:pt x="0" y="0"/>
                    <a:pt x="0" y="0"/>
                  </a:cubicBezTo>
                  <a:cubicBezTo>
                    <a:pt x="1386" y="0"/>
                    <a:pt x="1386" y="0"/>
                    <a:pt x="1386" y="0"/>
                  </a:cubicBezTo>
                  <a:cubicBezTo>
                    <a:pt x="1386" y="1755"/>
                    <a:pt x="1386" y="1755"/>
                    <a:pt x="1386" y="1755"/>
                  </a:cubicBezTo>
                  <a:cubicBezTo>
                    <a:pt x="1386" y="1829"/>
                    <a:pt x="1327" y="1888"/>
                    <a:pt x="1254" y="1888"/>
                  </a:cubicBezTo>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14"/>
            <p:cNvSpPr>
              <a:spLocks/>
            </p:cNvSpPr>
            <p:nvPr/>
          </p:nvSpPr>
          <p:spPr bwMode="auto">
            <a:xfrm>
              <a:off x="2939" y="1059"/>
              <a:ext cx="1538" cy="405"/>
            </a:xfrm>
            <a:custGeom>
              <a:avLst/>
              <a:gdLst>
                <a:gd name="T0" fmla="*/ 1623 w 1733"/>
                <a:gd name="T1" fmla="*/ 0 h 456"/>
                <a:gd name="T2" fmla="*/ 1155 w 1733"/>
                <a:gd name="T3" fmla="*/ 0 h 456"/>
                <a:gd name="T4" fmla="*/ 866 w 1733"/>
                <a:gd name="T5" fmla="*/ 0 h 456"/>
                <a:gd name="T6" fmla="*/ 104 w 1733"/>
                <a:gd name="T7" fmla="*/ 0 h 456"/>
                <a:gd name="T8" fmla="*/ 0 w 1733"/>
                <a:gd name="T9" fmla="*/ 84 h 456"/>
                <a:gd name="T10" fmla="*/ 0 w 1733"/>
                <a:gd name="T11" fmla="*/ 456 h 456"/>
                <a:gd name="T12" fmla="*/ 866 w 1733"/>
                <a:gd name="T13" fmla="*/ 456 h 456"/>
                <a:gd name="T14" fmla="*/ 1155 w 1733"/>
                <a:gd name="T15" fmla="*/ 456 h 456"/>
                <a:gd name="T16" fmla="*/ 1733 w 1733"/>
                <a:gd name="T17" fmla="*/ 456 h 456"/>
                <a:gd name="T18" fmla="*/ 1733 w 1733"/>
                <a:gd name="T19" fmla="*/ 88 h 456"/>
                <a:gd name="T20" fmla="*/ 1623 w 1733"/>
                <a:gd name="T21"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3" h="456">
                  <a:moveTo>
                    <a:pt x="1623" y="0"/>
                  </a:moveTo>
                  <a:cubicBezTo>
                    <a:pt x="1155" y="0"/>
                    <a:pt x="1155" y="0"/>
                    <a:pt x="1155" y="0"/>
                  </a:cubicBezTo>
                  <a:cubicBezTo>
                    <a:pt x="866" y="0"/>
                    <a:pt x="866" y="0"/>
                    <a:pt x="866" y="0"/>
                  </a:cubicBezTo>
                  <a:cubicBezTo>
                    <a:pt x="104" y="0"/>
                    <a:pt x="104" y="0"/>
                    <a:pt x="104" y="0"/>
                  </a:cubicBezTo>
                  <a:cubicBezTo>
                    <a:pt x="46" y="0"/>
                    <a:pt x="0" y="37"/>
                    <a:pt x="0" y="84"/>
                  </a:cubicBezTo>
                  <a:cubicBezTo>
                    <a:pt x="0" y="456"/>
                    <a:pt x="0" y="456"/>
                    <a:pt x="0" y="456"/>
                  </a:cubicBezTo>
                  <a:cubicBezTo>
                    <a:pt x="866" y="456"/>
                    <a:pt x="866" y="456"/>
                    <a:pt x="866" y="456"/>
                  </a:cubicBezTo>
                  <a:cubicBezTo>
                    <a:pt x="1155" y="456"/>
                    <a:pt x="1155" y="456"/>
                    <a:pt x="1155" y="456"/>
                  </a:cubicBezTo>
                  <a:cubicBezTo>
                    <a:pt x="1733" y="456"/>
                    <a:pt x="1733" y="456"/>
                    <a:pt x="1733" y="456"/>
                  </a:cubicBezTo>
                  <a:cubicBezTo>
                    <a:pt x="1733" y="88"/>
                    <a:pt x="1733" y="88"/>
                    <a:pt x="1733" y="88"/>
                  </a:cubicBezTo>
                  <a:cubicBezTo>
                    <a:pt x="1733" y="39"/>
                    <a:pt x="1683" y="0"/>
                    <a:pt x="1623"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15"/>
            <p:cNvSpPr>
              <a:spLocks/>
            </p:cNvSpPr>
            <p:nvPr/>
          </p:nvSpPr>
          <p:spPr bwMode="auto">
            <a:xfrm>
              <a:off x="2886" y="1464"/>
              <a:ext cx="1643" cy="99"/>
            </a:xfrm>
            <a:custGeom>
              <a:avLst/>
              <a:gdLst>
                <a:gd name="T0" fmla="*/ 1850 w 1850"/>
                <a:gd name="T1" fmla="*/ 0 h 112"/>
                <a:gd name="T2" fmla="*/ 0 w 1850"/>
                <a:gd name="T3" fmla="*/ 0 h 112"/>
                <a:gd name="T4" fmla="*/ 0 w 1850"/>
                <a:gd name="T5" fmla="*/ 78 h 112"/>
                <a:gd name="T6" fmla="*/ 34 w 1850"/>
                <a:gd name="T7" fmla="*/ 112 h 112"/>
                <a:gd name="T8" fmla="*/ 1816 w 1850"/>
                <a:gd name="T9" fmla="*/ 112 h 112"/>
                <a:gd name="T10" fmla="*/ 1850 w 1850"/>
                <a:gd name="T11" fmla="*/ 78 h 112"/>
                <a:gd name="T12" fmla="*/ 1850 w 1850"/>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850" h="112">
                  <a:moveTo>
                    <a:pt x="1850" y="0"/>
                  </a:moveTo>
                  <a:cubicBezTo>
                    <a:pt x="0" y="0"/>
                    <a:pt x="0" y="0"/>
                    <a:pt x="0" y="0"/>
                  </a:cubicBezTo>
                  <a:cubicBezTo>
                    <a:pt x="0" y="78"/>
                    <a:pt x="0" y="78"/>
                    <a:pt x="0" y="78"/>
                  </a:cubicBezTo>
                  <a:cubicBezTo>
                    <a:pt x="0" y="97"/>
                    <a:pt x="15" y="112"/>
                    <a:pt x="34" y="112"/>
                  </a:cubicBezTo>
                  <a:cubicBezTo>
                    <a:pt x="1816" y="112"/>
                    <a:pt x="1816" y="112"/>
                    <a:pt x="1816" y="112"/>
                  </a:cubicBezTo>
                  <a:cubicBezTo>
                    <a:pt x="1835" y="112"/>
                    <a:pt x="1850" y="97"/>
                    <a:pt x="1850" y="78"/>
                  </a:cubicBezTo>
                  <a:lnTo>
                    <a:pt x="185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16"/>
            <p:cNvSpPr>
              <a:spLocks/>
            </p:cNvSpPr>
            <p:nvPr/>
          </p:nvSpPr>
          <p:spPr bwMode="auto">
            <a:xfrm>
              <a:off x="3304" y="1059"/>
              <a:ext cx="127" cy="199"/>
            </a:xfrm>
            <a:custGeom>
              <a:avLst/>
              <a:gdLst>
                <a:gd name="T0" fmla="*/ 0 w 127"/>
                <a:gd name="T1" fmla="*/ 0 h 199"/>
                <a:gd name="T2" fmla="*/ 11 w 127"/>
                <a:gd name="T3" fmla="*/ 199 h 199"/>
                <a:gd name="T4" fmla="*/ 117 w 127"/>
                <a:gd name="T5" fmla="*/ 199 h 199"/>
                <a:gd name="T6" fmla="*/ 127 w 127"/>
                <a:gd name="T7" fmla="*/ 0 h 199"/>
                <a:gd name="T8" fmla="*/ 0 w 127"/>
                <a:gd name="T9" fmla="*/ 0 h 199"/>
              </a:gdLst>
              <a:ahLst/>
              <a:cxnLst>
                <a:cxn ang="0">
                  <a:pos x="T0" y="T1"/>
                </a:cxn>
                <a:cxn ang="0">
                  <a:pos x="T2" y="T3"/>
                </a:cxn>
                <a:cxn ang="0">
                  <a:pos x="T4" y="T5"/>
                </a:cxn>
                <a:cxn ang="0">
                  <a:pos x="T6" y="T7"/>
                </a:cxn>
                <a:cxn ang="0">
                  <a:pos x="T8" y="T9"/>
                </a:cxn>
              </a:cxnLst>
              <a:rect l="0" t="0" r="r" b="b"/>
              <a:pathLst>
                <a:path w="127" h="199">
                  <a:moveTo>
                    <a:pt x="0" y="0"/>
                  </a:moveTo>
                  <a:lnTo>
                    <a:pt x="11" y="199"/>
                  </a:lnTo>
                  <a:lnTo>
                    <a:pt x="117" y="199"/>
                  </a:lnTo>
                  <a:lnTo>
                    <a:pt x="127"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17"/>
            <p:cNvSpPr>
              <a:spLocks noEditPoints="1"/>
            </p:cNvSpPr>
            <p:nvPr/>
          </p:nvSpPr>
          <p:spPr bwMode="auto">
            <a:xfrm>
              <a:off x="3315" y="1258"/>
              <a:ext cx="785" cy="120"/>
            </a:xfrm>
            <a:custGeom>
              <a:avLst/>
              <a:gdLst>
                <a:gd name="T0" fmla="*/ 0 w 785"/>
                <a:gd name="T1" fmla="*/ 0 h 120"/>
                <a:gd name="T2" fmla="*/ 106 w 785"/>
                <a:gd name="T3" fmla="*/ 0 h 120"/>
                <a:gd name="T4" fmla="*/ 99 w 785"/>
                <a:gd name="T5" fmla="*/ 120 h 120"/>
                <a:gd name="T6" fmla="*/ 7 w 785"/>
                <a:gd name="T7" fmla="*/ 120 h 120"/>
                <a:gd name="T8" fmla="*/ 0 w 785"/>
                <a:gd name="T9" fmla="*/ 0 h 120"/>
                <a:gd name="T10" fmla="*/ 687 w 785"/>
                <a:gd name="T11" fmla="*/ 120 h 120"/>
                <a:gd name="T12" fmla="*/ 778 w 785"/>
                <a:gd name="T13" fmla="*/ 120 h 120"/>
                <a:gd name="T14" fmla="*/ 785 w 785"/>
                <a:gd name="T15" fmla="*/ 0 h 120"/>
                <a:gd name="T16" fmla="*/ 679 w 785"/>
                <a:gd name="T17" fmla="*/ 0 h 120"/>
                <a:gd name="T18" fmla="*/ 687 w 785"/>
                <a:gd name="T1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5" h="120">
                  <a:moveTo>
                    <a:pt x="0" y="0"/>
                  </a:moveTo>
                  <a:lnTo>
                    <a:pt x="106" y="0"/>
                  </a:lnTo>
                  <a:lnTo>
                    <a:pt x="99" y="120"/>
                  </a:lnTo>
                  <a:lnTo>
                    <a:pt x="7" y="120"/>
                  </a:lnTo>
                  <a:lnTo>
                    <a:pt x="0" y="0"/>
                  </a:lnTo>
                  <a:close/>
                  <a:moveTo>
                    <a:pt x="687" y="120"/>
                  </a:moveTo>
                  <a:lnTo>
                    <a:pt x="778" y="120"/>
                  </a:lnTo>
                  <a:lnTo>
                    <a:pt x="785" y="0"/>
                  </a:lnTo>
                  <a:lnTo>
                    <a:pt x="679" y="0"/>
                  </a:lnTo>
                  <a:lnTo>
                    <a:pt x="687" y="120"/>
                  </a:lnTo>
                  <a:close/>
                </a:path>
              </a:pathLst>
            </a:custGeom>
            <a:solidFill>
              <a:srgbClr val="A5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8"/>
            <p:cNvSpPr>
              <a:spLocks/>
            </p:cNvSpPr>
            <p:nvPr/>
          </p:nvSpPr>
          <p:spPr bwMode="auto">
            <a:xfrm>
              <a:off x="3984" y="1059"/>
              <a:ext cx="127" cy="199"/>
            </a:xfrm>
            <a:custGeom>
              <a:avLst/>
              <a:gdLst>
                <a:gd name="T0" fmla="*/ 0 w 127"/>
                <a:gd name="T1" fmla="*/ 0 h 199"/>
                <a:gd name="T2" fmla="*/ 10 w 127"/>
                <a:gd name="T3" fmla="*/ 199 h 199"/>
                <a:gd name="T4" fmla="*/ 116 w 127"/>
                <a:gd name="T5" fmla="*/ 199 h 199"/>
                <a:gd name="T6" fmla="*/ 127 w 127"/>
                <a:gd name="T7" fmla="*/ 0 h 199"/>
                <a:gd name="T8" fmla="*/ 0 w 127"/>
                <a:gd name="T9" fmla="*/ 0 h 199"/>
              </a:gdLst>
              <a:ahLst/>
              <a:cxnLst>
                <a:cxn ang="0">
                  <a:pos x="T0" y="T1"/>
                </a:cxn>
                <a:cxn ang="0">
                  <a:pos x="T2" y="T3"/>
                </a:cxn>
                <a:cxn ang="0">
                  <a:pos x="T4" y="T5"/>
                </a:cxn>
                <a:cxn ang="0">
                  <a:pos x="T6" y="T7"/>
                </a:cxn>
                <a:cxn ang="0">
                  <a:pos x="T8" y="T9"/>
                </a:cxn>
              </a:cxnLst>
              <a:rect l="0" t="0" r="r" b="b"/>
              <a:pathLst>
                <a:path w="127" h="199">
                  <a:moveTo>
                    <a:pt x="0" y="0"/>
                  </a:moveTo>
                  <a:lnTo>
                    <a:pt x="10" y="199"/>
                  </a:lnTo>
                  <a:lnTo>
                    <a:pt x="116" y="199"/>
                  </a:lnTo>
                  <a:lnTo>
                    <a:pt x="127"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119"/>
            <p:cNvSpPr>
              <a:spLocks noChangeArrowheads="1"/>
            </p:cNvSpPr>
            <p:nvPr/>
          </p:nvSpPr>
          <p:spPr bwMode="auto">
            <a:xfrm>
              <a:off x="3092" y="1807"/>
              <a:ext cx="773" cy="115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20"/>
            <p:cNvSpPr>
              <a:spLocks noEditPoints="1"/>
            </p:cNvSpPr>
            <p:nvPr/>
          </p:nvSpPr>
          <p:spPr bwMode="auto">
            <a:xfrm>
              <a:off x="3092" y="1966"/>
              <a:ext cx="501" cy="764"/>
            </a:xfrm>
            <a:custGeom>
              <a:avLst/>
              <a:gdLst>
                <a:gd name="T0" fmla="*/ 0 w 501"/>
                <a:gd name="T1" fmla="*/ 0 h 764"/>
                <a:gd name="T2" fmla="*/ 501 w 501"/>
                <a:gd name="T3" fmla="*/ 0 h 764"/>
                <a:gd name="T4" fmla="*/ 501 w 501"/>
                <a:gd name="T5" fmla="*/ 96 h 764"/>
                <a:gd name="T6" fmla="*/ 0 w 501"/>
                <a:gd name="T7" fmla="*/ 96 h 764"/>
                <a:gd name="T8" fmla="*/ 0 w 501"/>
                <a:gd name="T9" fmla="*/ 0 h 764"/>
                <a:gd name="T10" fmla="*/ 0 w 501"/>
                <a:gd name="T11" fmla="*/ 320 h 764"/>
                <a:gd name="T12" fmla="*/ 501 w 501"/>
                <a:gd name="T13" fmla="*/ 320 h 764"/>
                <a:gd name="T14" fmla="*/ 501 w 501"/>
                <a:gd name="T15" fmla="*/ 223 h 764"/>
                <a:gd name="T16" fmla="*/ 0 w 501"/>
                <a:gd name="T17" fmla="*/ 223 h 764"/>
                <a:gd name="T18" fmla="*/ 0 w 501"/>
                <a:gd name="T19" fmla="*/ 320 h 764"/>
                <a:gd name="T20" fmla="*/ 0 w 501"/>
                <a:gd name="T21" fmla="*/ 540 h 764"/>
                <a:gd name="T22" fmla="*/ 501 w 501"/>
                <a:gd name="T23" fmla="*/ 540 h 764"/>
                <a:gd name="T24" fmla="*/ 501 w 501"/>
                <a:gd name="T25" fmla="*/ 444 h 764"/>
                <a:gd name="T26" fmla="*/ 0 w 501"/>
                <a:gd name="T27" fmla="*/ 444 h 764"/>
                <a:gd name="T28" fmla="*/ 0 w 501"/>
                <a:gd name="T29" fmla="*/ 540 h 764"/>
                <a:gd name="T30" fmla="*/ 0 w 501"/>
                <a:gd name="T31" fmla="*/ 764 h 764"/>
                <a:gd name="T32" fmla="*/ 275 w 501"/>
                <a:gd name="T33" fmla="*/ 764 h 764"/>
                <a:gd name="T34" fmla="*/ 275 w 501"/>
                <a:gd name="T35" fmla="*/ 667 h 764"/>
                <a:gd name="T36" fmla="*/ 0 w 501"/>
                <a:gd name="T37" fmla="*/ 667 h 764"/>
                <a:gd name="T38" fmla="*/ 0 w 501"/>
                <a:gd name="T39" fmla="*/ 76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764">
                  <a:moveTo>
                    <a:pt x="0" y="0"/>
                  </a:moveTo>
                  <a:lnTo>
                    <a:pt x="501" y="0"/>
                  </a:lnTo>
                  <a:lnTo>
                    <a:pt x="501" y="96"/>
                  </a:lnTo>
                  <a:lnTo>
                    <a:pt x="0" y="96"/>
                  </a:lnTo>
                  <a:lnTo>
                    <a:pt x="0" y="0"/>
                  </a:lnTo>
                  <a:close/>
                  <a:moveTo>
                    <a:pt x="0" y="320"/>
                  </a:moveTo>
                  <a:lnTo>
                    <a:pt x="501" y="320"/>
                  </a:lnTo>
                  <a:lnTo>
                    <a:pt x="501" y="223"/>
                  </a:lnTo>
                  <a:lnTo>
                    <a:pt x="0" y="223"/>
                  </a:lnTo>
                  <a:lnTo>
                    <a:pt x="0" y="320"/>
                  </a:lnTo>
                  <a:close/>
                  <a:moveTo>
                    <a:pt x="0" y="540"/>
                  </a:moveTo>
                  <a:lnTo>
                    <a:pt x="501" y="540"/>
                  </a:lnTo>
                  <a:lnTo>
                    <a:pt x="501" y="444"/>
                  </a:lnTo>
                  <a:lnTo>
                    <a:pt x="0" y="444"/>
                  </a:lnTo>
                  <a:lnTo>
                    <a:pt x="0" y="540"/>
                  </a:lnTo>
                  <a:close/>
                  <a:moveTo>
                    <a:pt x="0" y="764"/>
                  </a:moveTo>
                  <a:lnTo>
                    <a:pt x="275" y="764"/>
                  </a:lnTo>
                  <a:lnTo>
                    <a:pt x="275" y="667"/>
                  </a:lnTo>
                  <a:lnTo>
                    <a:pt x="0" y="667"/>
                  </a:lnTo>
                  <a:lnTo>
                    <a:pt x="0" y="7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61" name="Straight Connector 60"/>
          <p:cNvCxnSpPr/>
          <p:nvPr/>
        </p:nvCxnSpPr>
        <p:spPr bwMode="gray">
          <a:xfrm>
            <a:off x="7154264" y="5934448"/>
            <a:ext cx="4247151" cy="0"/>
          </a:xfrm>
          <a:prstGeom prst="line">
            <a:avLst/>
          </a:prstGeom>
          <a:ln w="12700" cmpd="sng">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677DDEB7-6458-5541-A011-6807844163EE}"/>
              </a:ext>
            </a:extLst>
          </p:cNvPr>
          <p:cNvCxnSpPr/>
          <p:nvPr/>
        </p:nvCxnSpPr>
        <p:spPr>
          <a:xfrm>
            <a:off x="7169899" y="1652195"/>
            <a:ext cx="539945" cy="0"/>
          </a:xfrm>
          <a:prstGeom prst="line">
            <a:avLst/>
          </a:prstGeom>
          <a:noFill/>
          <a:ln w="25400" cap="flat" cmpd="sng" algn="ctr">
            <a:solidFill>
              <a:schemeClr val="accent2"/>
            </a:solidFill>
            <a:prstDash val="solid"/>
          </a:ln>
          <a:effectLst/>
        </p:spPr>
      </p:cxnSp>
      <p:grpSp>
        <p:nvGrpSpPr>
          <p:cNvPr id="63" name="Group 62"/>
          <p:cNvGrpSpPr>
            <a:grpSpLocks noChangeAspect="1"/>
          </p:cNvGrpSpPr>
          <p:nvPr/>
        </p:nvGrpSpPr>
        <p:grpSpPr bwMode="auto">
          <a:xfrm>
            <a:off x="10343967" y="6383972"/>
            <a:ext cx="1276535" cy="143828"/>
            <a:chOff x="-8" y="1835"/>
            <a:chExt cx="5769" cy="650"/>
          </a:xfrm>
          <a:solidFill>
            <a:schemeClr val="tx2"/>
          </a:solidFill>
        </p:grpSpPr>
        <p:sp>
          <p:nvSpPr>
            <p:cNvPr id="64" name="Freeform 5"/>
            <p:cNvSpPr>
              <a:spLocks noEditPoints="1"/>
            </p:cNvSpPr>
            <p:nvPr/>
          </p:nvSpPr>
          <p:spPr bwMode="auto">
            <a:xfrm>
              <a:off x="-8" y="1835"/>
              <a:ext cx="5595" cy="650"/>
            </a:xfrm>
            <a:custGeom>
              <a:avLst/>
              <a:gdLst>
                <a:gd name="T0" fmla="*/ 2336 w 5575"/>
                <a:gd name="T1" fmla="*/ 454 h 644"/>
                <a:gd name="T2" fmla="*/ 1995 w 5575"/>
                <a:gd name="T3" fmla="*/ 195 h 644"/>
                <a:gd name="T4" fmla="*/ 2325 w 5575"/>
                <a:gd name="T5" fmla="*/ 192 h 644"/>
                <a:gd name="T6" fmla="*/ 2274 w 5575"/>
                <a:gd name="T7" fmla="*/ 234 h 644"/>
                <a:gd name="T8" fmla="*/ 2255 w 5575"/>
                <a:gd name="T9" fmla="*/ 644 h 644"/>
                <a:gd name="T10" fmla="*/ 1456 w 5575"/>
                <a:gd name="T11" fmla="*/ 390 h 644"/>
                <a:gd name="T12" fmla="*/ 1160 w 5575"/>
                <a:gd name="T13" fmla="*/ 0 h 644"/>
                <a:gd name="T14" fmla="*/ 1163 w 5575"/>
                <a:gd name="T15" fmla="*/ 153 h 644"/>
                <a:gd name="T16" fmla="*/ 1271 w 5575"/>
                <a:gd name="T17" fmla="*/ 390 h 644"/>
                <a:gd name="T18" fmla="*/ 1613 w 5575"/>
                <a:gd name="T19" fmla="*/ 18 h 644"/>
                <a:gd name="T20" fmla="*/ 2017 w 5575"/>
                <a:gd name="T21" fmla="*/ 18 h 644"/>
                <a:gd name="T22" fmla="*/ 1414 w 5575"/>
                <a:gd name="T23" fmla="*/ 18 h 644"/>
                <a:gd name="T24" fmla="*/ 35 w 5575"/>
                <a:gd name="T25" fmla="*/ 155 h 644"/>
                <a:gd name="T26" fmla="*/ 756 w 5575"/>
                <a:gd name="T27" fmla="*/ 283 h 644"/>
                <a:gd name="T28" fmla="*/ 564 w 5575"/>
                <a:gd name="T29" fmla="*/ 1 h 644"/>
                <a:gd name="T30" fmla="*/ 290 w 5575"/>
                <a:gd name="T31" fmla="*/ 28 h 644"/>
                <a:gd name="T32" fmla="*/ 2841 w 5575"/>
                <a:gd name="T33" fmla="*/ 247 h 644"/>
                <a:gd name="T34" fmla="*/ 2843 w 5575"/>
                <a:gd name="T35" fmla="*/ 313 h 644"/>
                <a:gd name="T36" fmla="*/ 2927 w 5575"/>
                <a:gd name="T37" fmla="*/ 495 h 644"/>
                <a:gd name="T38" fmla="*/ 2660 w 5575"/>
                <a:gd name="T39" fmla="*/ 441 h 644"/>
                <a:gd name="T40" fmla="*/ 3036 w 5575"/>
                <a:gd name="T41" fmla="*/ 524 h 644"/>
                <a:gd name="T42" fmla="*/ 3204 w 5575"/>
                <a:gd name="T43" fmla="*/ 309 h 644"/>
                <a:gd name="T44" fmla="*/ 3203 w 5575"/>
                <a:gd name="T45" fmla="*/ 249 h 644"/>
                <a:gd name="T46" fmla="*/ 3385 w 5575"/>
                <a:gd name="T47" fmla="*/ 569 h 644"/>
                <a:gd name="T48" fmla="*/ 3350 w 5575"/>
                <a:gd name="T49" fmla="*/ 629 h 644"/>
                <a:gd name="T50" fmla="*/ 3275 w 5575"/>
                <a:gd name="T51" fmla="*/ 492 h 644"/>
                <a:gd name="T52" fmla="*/ 3118 w 5575"/>
                <a:gd name="T53" fmla="*/ 522 h 644"/>
                <a:gd name="T54" fmla="*/ 3511 w 5575"/>
                <a:gd name="T55" fmla="*/ 317 h 644"/>
                <a:gd name="T56" fmla="*/ 3633 w 5575"/>
                <a:gd name="T57" fmla="*/ 257 h 644"/>
                <a:gd name="T58" fmla="*/ 3612 w 5575"/>
                <a:gd name="T59" fmla="*/ 328 h 644"/>
                <a:gd name="T60" fmla="*/ 3432 w 5575"/>
                <a:gd name="T61" fmla="*/ 624 h 644"/>
                <a:gd name="T62" fmla="*/ 3511 w 5575"/>
                <a:gd name="T63" fmla="*/ 317 h 644"/>
                <a:gd name="T64" fmla="*/ 3993 w 5575"/>
                <a:gd name="T65" fmla="*/ 462 h 644"/>
                <a:gd name="T66" fmla="*/ 3906 w 5575"/>
                <a:gd name="T67" fmla="*/ 520 h 644"/>
                <a:gd name="T68" fmla="*/ 3639 w 5575"/>
                <a:gd name="T69" fmla="*/ 441 h 644"/>
                <a:gd name="T70" fmla="*/ 3818 w 5575"/>
                <a:gd name="T71" fmla="*/ 310 h 644"/>
                <a:gd name="T72" fmla="*/ 4125 w 5575"/>
                <a:gd name="T73" fmla="*/ 257 h 644"/>
                <a:gd name="T74" fmla="*/ 4234 w 5575"/>
                <a:gd name="T75" fmla="*/ 247 h 644"/>
                <a:gd name="T76" fmla="*/ 4446 w 5575"/>
                <a:gd name="T77" fmla="*/ 247 h 644"/>
                <a:gd name="T78" fmla="*/ 4482 w 5575"/>
                <a:gd name="T79" fmla="*/ 624 h 644"/>
                <a:gd name="T80" fmla="*/ 4345 w 5575"/>
                <a:gd name="T81" fmla="*/ 404 h 644"/>
                <a:gd name="T82" fmla="*/ 4264 w 5575"/>
                <a:gd name="T83" fmla="*/ 384 h 644"/>
                <a:gd name="T84" fmla="*/ 4127 w 5575"/>
                <a:gd name="T85" fmla="*/ 624 h 644"/>
                <a:gd name="T86" fmla="*/ 4851 w 5575"/>
                <a:gd name="T87" fmla="*/ 577 h 644"/>
                <a:gd name="T88" fmla="*/ 4764 w 5575"/>
                <a:gd name="T89" fmla="*/ 406 h 644"/>
                <a:gd name="T90" fmla="*/ 4706 w 5575"/>
                <a:gd name="T91" fmla="*/ 371 h 644"/>
                <a:gd name="T92" fmla="*/ 4931 w 5575"/>
                <a:gd name="T93" fmla="*/ 376 h 644"/>
                <a:gd name="T94" fmla="*/ 4964 w 5575"/>
                <a:gd name="T95" fmla="*/ 569 h 644"/>
                <a:gd name="T96" fmla="*/ 4852 w 5575"/>
                <a:gd name="T97" fmla="*/ 577 h 644"/>
                <a:gd name="T98" fmla="*/ 4852 w 5575"/>
                <a:gd name="T99" fmla="*/ 434 h 644"/>
                <a:gd name="T100" fmla="*/ 4757 w 5575"/>
                <a:gd name="T101" fmla="*/ 574 h 644"/>
                <a:gd name="T102" fmla="*/ 5090 w 5575"/>
                <a:gd name="T103" fmla="*/ 317 h 644"/>
                <a:gd name="T104" fmla="*/ 5211 w 5575"/>
                <a:gd name="T105" fmla="*/ 330 h 644"/>
                <a:gd name="T106" fmla="*/ 5090 w 5575"/>
                <a:gd name="T107" fmla="*/ 436 h 644"/>
                <a:gd name="T108" fmla="*/ 5009 w 5575"/>
                <a:gd name="T109" fmla="*/ 257 h 644"/>
                <a:gd name="T110" fmla="*/ 5379 w 5575"/>
                <a:gd name="T111" fmla="*/ 443 h 644"/>
                <a:gd name="T112" fmla="*/ 5250 w 5575"/>
                <a:gd name="T113" fmla="*/ 624 h 644"/>
                <a:gd name="T114" fmla="*/ 5331 w 5575"/>
                <a:gd name="T115" fmla="*/ 404 h 644"/>
                <a:gd name="T116" fmla="*/ 5435 w 5575"/>
                <a:gd name="T117" fmla="*/ 393 h 644"/>
                <a:gd name="T118" fmla="*/ 5379 w 5575"/>
                <a:gd name="T119" fmla="*/ 44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5" h="644">
                  <a:moveTo>
                    <a:pt x="2173" y="436"/>
                  </a:moveTo>
                  <a:cubicBezTo>
                    <a:pt x="2183" y="482"/>
                    <a:pt x="2209" y="498"/>
                    <a:pt x="2263" y="498"/>
                  </a:cubicBezTo>
                  <a:cubicBezTo>
                    <a:pt x="2310" y="498"/>
                    <a:pt x="2336" y="481"/>
                    <a:pt x="2336" y="454"/>
                  </a:cubicBezTo>
                  <a:cubicBezTo>
                    <a:pt x="2336" y="416"/>
                    <a:pt x="2301" y="413"/>
                    <a:pt x="2229" y="394"/>
                  </a:cubicBezTo>
                  <a:cubicBezTo>
                    <a:pt x="2144" y="372"/>
                    <a:pt x="2090" y="353"/>
                    <a:pt x="2065" y="335"/>
                  </a:cubicBezTo>
                  <a:cubicBezTo>
                    <a:pt x="2017" y="302"/>
                    <a:pt x="1995" y="255"/>
                    <a:pt x="1995" y="195"/>
                  </a:cubicBezTo>
                  <a:cubicBezTo>
                    <a:pt x="1995" y="77"/>
                    <a:pt x="2087" y="0"/>
                    <a:pt x="2249" y="0"/>
                  </a:cubicBezTo>
                  <a:cubicBezTo>
                    <a:pt x="2406" y="0"/>
                    <a:pt x="2499" y="70"/>
                    <a:pt x="2509" y="192"/>
                  </a:cubicBezTo>
                  <a:cubicBezTo>
                    <a:pt x="2325" y="192"/>
                    <a:pt x="2325" y="192"/>
                    <a:pt x="2325" y="192"/>
                  </a:cubicBezTo>
                  <a:cubicBezTo>
                    <a:pt x="2318" y="156"/>
                    <a:pt x="2293" y="139"/>
                    <a:pt x="2246" y="139"/>
                  </a:cubicBezTo>
                  <a:cubicBezTo>
                    <a:pt x="2204" y="139"/>
                    <a:pt x="2184" y="152"/>
                    <a:pt x="2184" y="180"/>
                  </a:cubicBezTo>
                  <a:cubicBezTo>
                    <a:pt x="2184" y="213"/>
                    <a:pt x="2216" y="218"/>
                    <a:pt x="2274" y="234"/>
                  </a:cubicBezTo>
                  <a:cubicBezTo>
                    <a:pt x="2350" y="253"/>
                    <a:pt x="2410" y="266"/>
                    <a:pt x="2448" y="292"/>
                  </a:cubicBezTo>
                  <a:cubicBezTo>
                    <a:pt x="2502" y="327"/>
                    <a:pt x="2526" y="371"/>
                    <a:pt x="2526" y="434"/>
                  </a:cubicBezTo>
                  <a:cubicBezTo>
                    <a:pt x="2526" y="566"/>
                    <a:pt x="2431" y="644"/>
                    <a:pt x="2255" y="644"/>
                  </a:cubicBezTo>
                  <a:cubicBezTo>
                    <a:pt x="2091" y="644"/>
                    <a:pt x="1995" y="566"/>
                    <a:pt x="1983" y="436"/>
                  </a:cubicBezTo>
                  <a:lnTo>
                    <a:pt x="2173" y="436"/>
                  </a:lnTo>
                  <a:close/>
                  <a:moveTo>
                    <a:pt x="1456" y="390"/>
                  </a:moveTo>
                  <a:cubicBezTo>
                    <a:pt x="1445" y="550"/>
                    <a:pt x="1339" y="644"/>
                    <a:pt x="1164" y="644"/>
                  </a:cubicBezTo>
                  <a:cubicBezTo>
                    <a:pt x="970" y="644"/>
                    <a:pt x="851" y="520"/>
                    <a:pt x="851" y="322"/>
                  </a:cubicBezTo>
                  <a:cubicBezTo>
                    <a:pt x="851" y="123"/>
                    <a:pt x="971" y="0"/>
                    <a:pt x="1160" y="0"/>
                  </a:cubicBezTo>
                  <a:cubicBezTo>
                    <a:pt x="1337" y="0"/>
                    <a:pt x="1441" y="90"/>
                    <a:pt x="1452" y="248"/>
                  </a:cubicBezTo>
                  <a:cubicBezTo>
                    <a:pt x="1266" y="248"/>
                    <a:pt x="1266" y="248"/>
                    <a:pt x="1266" y="248"/>
                  </a:cubicBezTo>
                  <a:cubicBezTo>
                    <a:pt x="1260" y="186"/>
                    <a:pt x="1225" y="153"/>
                    <a:pt x="1163" y="153"/>
                  </a:cubicBezTo>
                  <a:cubicBezTo>
                    <a:pt x="1086" y="153"/>
                    <a:pt x="1048" y="209"/>
                    <a:pt x="1048" y="322"/>
                  </a:cubicBezTo>
                  <a:cubicBezTo>
                    <a:pt x="1048" y="433"/>
                    <a:pt x="1090" y="491"/>
                    <a:pt x="1169" y="491"/>
                  </a:cubicBezTo>
                  <a:cubicBezTo>
                    <a:pt x="1228" y="491"/>
                    <a:pt x="1265" y="455"/>
                    <a:pt x="1271" y="390"/>
                  </a:cubicBezTo>
                  <a:lnTo>
                    <a:pt x="1456" y="390"/>
                  </a:lnTo>
                  <a:close/>
                  <a:moveTo>
                    <a:pt x="1414" y="18"/>
                  </a:moveTo>
                  <a:cubicBezTo>
                    <a:pt x="1613" y="18"/>
                    <a:pt x="1613" y="18"/>
                    <a:pt x="1613" y="18"/>
                  </a:cubicBezTo>
                  <a:cubicBezTo>
                    <a:pt x="1716" y="411"/>
                    <a:pt x="1716" y="411"/>
                    <a:pt x="1716" y="411"/>
                  </a:cubicBezTo>
                  <a:cubicBezTo>
                    <a:pt x="1826" y="18"/>
                    <a:pt x="1826" y="18"/>
                    <a:pt x="1826" y="18"/>
                  </a:cubicBezTo>
                  <a:cubicBezTo>
                    <a:pt x="2017" y="18"/>
                    <a:pt x="2017" y="18"/>
                    <a:pt x="2017" y="18"/>
                  </a:cubicBezTo>
                  <a:cubicBezTo>
                    <a:pt x="1813" y="626"/>
                    <a:pt x="1813" y="626"/>
                    <a:pt x="1813" y="626"/>
                  </a:cubicBezTo>
                  <a:cubicBezTo>
                    <a:pt x="1618" y="626"/>
                    <a:pt x="1618" y="626"/>
                    <a:pt x="1618" y="626"/>
                  </a:cubicBezTo>
                  <a:lnTo>
                    <a:pt x="1414" y="18"/>
                  </a:lnTo>
                  <a:close/>
                  <a:moveTo>
                    <a:pt x="226" y="1"/>
                  </a:moveTo>
                  <a:cubicBezTo>
                    <a:pt x="203" y="1"/>
                    <a:pt x="180" y="10"/>
                    <a:pt x="162" y="28"/>
                  </a:cubicBezTo>
                  <a:cubicBezTo>
                    <a:pt x="35" y="155"/>
                    <a:pt x="35" y="155"/>
                    <a:pt x="35" y="155"/>
                  </a:cubicBezTo>
                  <a:cubicBezTo>
                    <a:pt x="0" y="191"/>
                    <a:pt x="0" y="248"/>
                    <a:pt x="35" y="283"/>
                  </a:cubicBezTo>
                  <a:cubicBezTo>
                    <a:pt x="395" y="644"/>
                    <a:pt x="395" y="644"/>
                    <a:pt x="395" y="644"/>
                  </a:cubicBezTo>
                  <a:cubicBezTo>
                    <a:pt x="756" y="283"/>
                    <a:pt x="756" y="283"/>
                    <a:pt x="756" y="283"/>
                  </a:cubicBezTo>
                  <a:cubicBezTo>
                    <a:pt x="791" y="248"/>
                    <a:pt x="791" y="191"/>
                    <a:pt x="756" y="155"/>
                  </a:cubicBezTo>
                  <a:cubicBezTo>
                    <a:pt x="628" y="28"/>
                    <a:pt x="628" y="28"/>
                    <a:pt x="628" y="28"/>
                  </a:cubicBezTo>
                  <a:cubicBezTo>
                    <a:pt x="610" y="10"/>
                    <a:pt x="587" y="1"/>
                    <a:pt x="564" y="1"/>
                  </a:cubicBezTo>
                  <a:cubicBezTo>
                    <a:pt x="541" y="1"/>
                    <a:pt x="518" y="10"/>
                    <a:pt x="500" y="28"/>
                  </a:cubicBezTo>
                  <a:cubicBezTo>
                    <a:pt x="395" y="133"/>
                    <a:pt x="395" y="133"/>
                    <a:pt x="395" y="133"/>
                  </a:cubicBezTo>
                  <a:cubicBezTo>
                    <a:pt x="290" y="28"/>
                    <a:pt x="290" y="28"/>
                    <a:pt x="290" y="28"/>
                  </a:cubicBezTo>
                  <a:cubicBezTo>
                    <a:pt x="273" y="10"/>
                    <a:pt x="249" y="1"/>
                    <a:pt x="226" y="1"/>
                  </a:cubicBezTo>
                  <a:close/>
                  <a:moveTo>
                    <a:pt x="2660" y="441"/>
                  </a:moveTo>
                  <a:cubicBezTo>
                    <a:pt x="2660" y="332"/>
                    <a:pt x="2730" y="247"/>
                    <a:pt x="2841" y="247"/>
                  </a:cubicBezTo>
                  <a:cubicBezTo>
                    <a:pt x="2933" y="247"/>
                    <a:pt x="2991" y="300"/>
                    <a:pt x="3003" y="379"/>
                  </a:cubicBezTo>
                  <a:cubicBezTo>
                    <a:pt x="2923" y="379"/>
                    <a:pt x="2923" y="379"/>
                    <a:pt x="2923" y="379"/>
                  </a:cubicBezTo>
                  <a:cubicBezTo>
                    <a:pt x="2916" y="339"/>
                    <a:pt x="2887" y="313"/>
                    <a:pt x="2843" y="313"/>
                  </a:cubicBezTo>
                  <a:cubicBezTo>
                    <a:pt x="2776" y="313"/>
                    <a:pt x="2742" y="366"/>
                    <a:pt x="2742" y="441"/>
                  </a:cubicBezTo>
                  <a:cubicBezTo>
                    <a:pt x="2742" y="515"/>
                    <a:pt x="2776" y="569"/>
                    <a:pt x="2843" y="569"/>
                  </a:cubicBezTo>
                  <a:cubicBezTo>
                    <a:pt x="2891" y="569"/>
                    <a:pt x="2921" y="543"/>
                    <a:pt x="2927" y="495"/>
                  </a:cubicBezTo>
                  <a:cubicBezTo>
                    <a:pt x="3006" y="495"/>
                    <a:pt x="3006" y="495"/>
                    <a:pt x="3006" y="495"/>
                  </a:cubicBezTo>
                  <a:cubicBezTo>
                    <a:pt x="2999" y="577"/>
                    <a:pt x="2939" y="635"/>
                    <a:pt x="2844" y="635"/>
                  </a:cubicBezTo>
                  <a:cubicBezTo>
                    <a:pt x="2731" y="635"/>
                    <a:pt x="2660" y="549"/>
                    <a:pt x="2660" y="441"/>
                  </a:cubicBezTo>
                  <a:close/>
                  <a:moveTo>
                    <a:pt x="3274" y="577"/>
                  </a:moveTo>
                  <a:cubicBezTo>
                    <a:pt x="3253" y="606"/>
                    <a:pt x="3221" y="632"/>
                    <a:pt x="3160" y="632"/>
                  </a:cubicBezTo>
                  <a:cubicBezTo>
                    <a:pt x="3088" y="632"/>
                    <a:pt x="3036" y="596"/>
                    <a:pt x="3036" y="524"/>
                  </a:cubicBezTo>
                  <a:cubicBezTo>
                    <a:pt x="3036" y="441"/>
                    <a:pt x="3103" y="418"/>
                    <a:pt x="3187" y="406"/>
                  </a:cubicBezTo>
                  <a:cubicBezTo>
                    <a:pt x="3243" y="397"/>
                    <a:pt x="3273" y="392"/>
                    <a:pt x="3273" y="359"/>
                  </a:cubicBezTo>
                  <a:cubicBezTo>
                    <a:pt x="3273" y="328"/>
                    <a:pt x="3248" y="309"/>
                    <a:pt x="3204" y="309"/>
                  </a:cubicBezTo>
                  <a:cubicBezTo>
                    <a:pt x="3155" y="309"/>
                    <a:pt x="3131" y="328"/>
                    <a:pt x="3129" y="371"/>
                  </a:cubicBezTo>
                  <a:cubicBezTo>
                    <a:pt x="3053" y="371"/>
                    <a:pt x="3053" y="371"/>
                    <a:pt x="3053" y="371"/>
                  </a:cubicBezTo>
                  <a:cubicBezTo>
                    <a:pt x="3055" y="304"/>
                    <a:pt x="3101" y="249"/>
                    <a:pt x="3203" y="249"/>
                  </a:cubicBezTo>
                  <a:cubicBezTo>
                    <a:pt x="3303" y="249"/>
                    <a:pt x="3353" y="289"/>
                    <a:pt x="3353" y="376"/>
                  </a:cubicBezTo>
                  <a:cubicBezTo>
                    <a:pt x="3353" y="537"/>
                    <a:pt x="3353" y="537"/>
                    <a:pt x="3353" y="537"/>
                  </a:cubicBezTo>
                  <a:cubicBezTo>
                    <a:pt x="3353" y="563"/>
                    <a:pt x="3359" y="574"/>
                    <a:pt x="3385" y="569"/>
                  </a:cubicBezTo>
                  <a:cubicBezTo>
                    <a:pt x="3387" y="569"/>
                    <a:pt x="3387" y="569"/>
                    <a:pt x="3387" y="569"/>
                  </a:cubicBezTo>
                  <a:cubicBezTo>
                    <a:pt x="3387" y="622"/>
                    <a:pt x="3387" y="622"/>
                    <a:pt x="3387" y="622"/>
                  </a:cubicBezTo>
                  <a:cubicBezTo>
                    <a:pt x="3379" y="626"/>
                    <a:pt x="3368" y="629"/>
                    <a:pt x="3350" y="629"/>
                  </a:cubicBezTo>
                  <a:cubicBezTo>
                    <a:pt x="3305" y="629"/>
                    <a:pt x="3281" y="614"/>
                    <a:pt x="3275" y="577"/>
                  </a:cubicBezTo>
                  <a:lnTo>
                    <a:pt x="3274" y="577"/>
                  </a:lnTo>
                  <a:close/>
                  <a:moveTo>
                    <a:pt x="3275" y="492"/>
                  </a:moveTo>
                  <a:cubicBezTo>
                    <a:pt x="3275" y="434"/>
                    <a:pt x="3275" y="434"/>
                    <a:pt x="3275" y="434"/>
                  </a:cubicBezTo>
                  <a:cubicBezTo>
                    <a:pt x="3257" y="445"/>
                    <a:pt x="3229" y="452"/>
                    <a:pt x="3203" y="458"/>
                  </a:cubicBezTo>
                  <a:cubicBezTo>
                    <a:pt x="3150" y="469"/>
                    <a:pt x="3118" y="479"/>
                    <a:pt x="3118" y="522"/>
                  </a:cubicBezTo>
                  <a:cubicBezTo>
                    <a:pt x="3118" y="562"/>
                    <a:pt x="3146" y="574"/>
                    <a:pt x="3180" y="574"/>
                  </a:cubicBezTo>
                  <a:cubicBezTo>
                    <a:pt x="3243" y="574"/>
                    <a:pt x="3275" y="531"/>
                    <a:pt x="3275" y="492"/>
                  </a:cubicBezTo>
                  <a:close/>
                  <a:moveTo>
                    <a:pt x="3511" y="317"/>
                  </a:moveTo>
                  <a:cubicBezTo>
                    <a:pt x="3513" y="317"/>
                    <a:pt x="3513" y="317"/>
                    <a:pt x="3513" y="317"/>
                  </a:cubicBezTo>
                  <a:cubicBezTo>
                    <a:pt x="3535" y="278"/>
                    <a:pt x="3565" y="254"/>
                    <a:pt x="3611" y="254"/>
                  </a:cubicBezTo>
                  <a:cubicBezTo>
                    <a:pt x="3621" y="254"/>
                    <a:pt x="3628" y="254"/>
                    <a:pt x="3633" y="257"/>
                  </a:cubicBezTo>
                  <a:cubicBezTo>
                    <a:pt x="3633" y="330"/>
                    <a:pt x="3633" y="330"/>
                    <a:pt x="3633" y="330"/>
                  </a:cubicBezTo>
                  <a:cubicBezTo>
                    <a:pt x="3631" y="330"/>
                    <a:pt x="3631" y="330"/>
                    <a:pt x="3631" y="330"/>
                  </a:cubicBezTo>
                  <a:cubicBezTo>
                    <a:pt x="3626" y="329"/>
                    <a:pt x="3620" y="328"/>
                    <a:pt x="3612" y="328"/>
                  </a:cubicBezTo>
                  <a:cubicBezTo>
                    <a:pt x="3556" y="328"/>
                    <a:pt x="3513" y="366"/>
                    <a:pt x="3513" y="436"/>
                  </a:cubicBezTo>
                  <a:cubicBezTo>
                    <a:pt x="3513" y="624"/>
                    <a:pt x="3513" y="624"/>
                    <a:pt x="3513" y="624"/>
                  </a:cubicBezTo>
                  <a:cubicBezTo>
                    <a:pt x="3432" y="624"/>
                    <a:pt x="3432" y="624"/>
                    <a:pt x="3432" y="624"/>
                  </a:cubicBezTo>
                  <a:cubicBezTo>
                    <a:pt x="3432" y="257"/>
                    <a:pt x="3432" y="257"/>
                    <a:pt x="3432" y="257"/>
                  </a:cubicBezTo>
                  <a:cubicBezTo>
                    <a:pt x="3511" y="257"/>
                    <a:pt x="3511" y="257"/>
                    <a:pt x="3511" y="257"/>
                  </a:cubicBezTo>
                  <a:lnTo>
                    <a:pt x="3511" y="317"/>
                  </a:lnTo>
                  <a:close/>
                  <a:moveTo>
                    <a:pt x="3639" y="441"/>
                  </a:moveTo>
                  <a:cubicBezTo>
                    <a:pt x="3639" y="332"/>
                    <a:pt x="3711" y="247"/>
                    <a:pt x="3818" y="247"/>
                  </a:cubicBezTo>
                  <a:cubicBezTo>
                    <a:pt x="3932" y="247"/>
                    <a:pt x="3993" y="335"/>
                    <a:pt x="3993" y="462"/>
                  </a:cubicBezTo>
                  <a:cubicBezTo>
                    <a:pt x="3720" y="462"/>
                    <a:pt x="3720" y="462"/>
                    <a:pt x="3720" y="462"/>
                  </a:cubicBezTo>
                  <a:cubicBezTo>
                    <a:pt x="3726" y="527"/>
                    <a:pt x="3761" y="571"/>
                    <a:pt x="3824" y="571"/>
                  </a:cubicBezTo>
                  <a:cubicBezTo>
                    <a:pt x="3866" y="571"/>
                    <a:pt x="3893" y="552"/>
                    <a:pt x="3906" y="520"/>
                  </a:cubicBezTo>
                  <a:cubicBezTo>
                    <a:pt x="3986" y="520"/>
                    <a:pt x="3986" y="520"/>
                    <a:pt x="3986" y="520"/>
                  </a:cubicBezTo>
                  <a:cubicBezTo>
                    <a:pt x="3971" y="586"/>
                    <a:pt x="3913" y="635"/>
                    <a:pt x="3824" y="635"/>
                  </a:cubicBezTo>
                  <a:cubicBezTo>
                    <a:pt x="3706" y="635"/>
                    <a:pt x="3639" y="549"/>
                    <a:pt x="3639" y="441"/>
                  </a:cubicBezTo>
                  <a:close/>
                  <a:moveTo>
                    <a:pt x="3721" y="405"/>
                  </a:moveTo>
                  <a:cubicBezTo>
                    <a:pt x="3908" y="405"/>
                    <a:pt x="3908" y="405"/>
                    <a:pt x="3908" y="405"/>
                  </a:cubicBezTo>
                  <a:cubicBezTo>
                    <a:pt x="3906" y="347"/>
                    <a:pt x="3871" y="310"/>
                    <a:pt x="3818" y="310"/>
                  </a:cubicBezTo>
                  <a:cubicBezTo>
                    <a:pt x="3760" y="310"/>
                    <a:pt x="3730" y="349"/>
                    <a:pt x="3721" y="405"/>
                  </a:cubicBezTo>
                  <a:close/>
                  <a:moveTo>
                    <a:pt x="4046" y="257"/>
                  </a:moveTo>
                  <a:cubicBezTo>
                    <a:pt x="4125" y="257"/>
                    <a:pt x="4125" y="257"/>
                    <a:pt x="4125" y="257"/>
                  </a:cubicBezTo>
                  <a:cubicBezTo>
                    <a:pt x="4125" y="307"/>
                    <a:pt x="4125" y="307"/>
                    <a:pt x="4125" y="307"/>
                  </a:cubicBezTo>
                  <a:cubicBezTo>
                    <a:pt x="4127" y="307"/>
                    <a:pt x="4127" y="307"/>
                    <a:pt x="4127" y="307"/>
                  </a:cubicBezTo>
                  <a:cubicBezTo>
                    <a:pt x="4148" y="273"/>
                    <a:pt x="4185" y="247"/>
                    <a:pt x="4234" y="247"/>
                  </a:cubicBezTo>
                  <a:cubicBezTo>
                    <a:pt x="4280" y="247"/>
                    <a:pt x="4316" y="272"/>
                    <a:pt x="4333" y="312"/>
                  </a:cubicBezTo>
                  <a:cubicBezTo>
                    <a:pt x="4335" y="312"/>
                    <a:pt x="4335" y="312"/>
                    <a:pt x="4335" y="312"/>
                  </a:cubicBezTo>
                  <a:cubicBezTo>
                    <a:pt x="4359" y="272"/>
                    <a:pt x="4400" y="247"/>
                    <a:pt x="4446" y="247"/>
                  </a:cubicBezTo>
                  <a:cubicBezTo>
                    <a:pt x="4518" y="247"/>
                    <a:pt x="4563" y="294"/>
                    <a:pt x="4563" y="373"/>
                  </a:cubicBezTo>
                  <a:cubicBezTo>
                    <a:pt x="4563" y="624"/>
                    <a:pt x="4563" y="624"/>
                    <a:pt x="4563" y="624"/>
                  </a:cubicBezTo>
                  <a:cubicBezTo>
                    <a:pt x="4482" y="624"/>
                    <a:pt x="4482" y="624"/>
                    <a:pt x="4482" y="624"/>
                  </a:cubicBezTo>
                  <a:cubicBezTo>
                    <a:pt x="4482" y="384"/>
                    <a:pt x="4482" y="384"/>
                    <a:pt x="4482" y="384"/>
                  </a:cubicBezTo>
                  <a:cubicBezTo>
                    <a:pt x="4482" y="340"/>
                    <a:pt x="4457" y="317"/>
                    <a:pt x="4421" y="317"/>
                  </a:cubicBezTo>
                  <a:cubicBezTo>
                    <a:pt x="4378" y="317"/>
                    <a:pt x="4345" y="352"/>
                    <a:pt x="4345" y="404"/>
                  </a:cubicBezTo>
                  <a:cubicBezTo>
                    <a:pt x="4345" y="624"/>
                    <a:pt x="4345" y="624"/>
                    <a:pt x="4345" y="624"/>
                  </a:cubicBezTo>
                  <a:cubicBezTo>
                    <a:pt x="4264" y="624"/>
                    <a:pt x="4264" y="624"/>
                    <a:pt x="4264" y="624"/>
                  </a:cubicBezTo>
                  <a:cubicBezTo>
                    <a:pt x="4264" y="384"/>
                    <a:pt x="4264" y="384"/>
                    <a:pt x="4264" y="384"/>
                  </a:cubicBezTo>
                  <a:cubicBezTo>
                    <a:pt x="4264" y="340"/>
                    <a:pt x="4241" y="317"/>
                    <a:pt x="4205" y="317"/>
                  </a:cubicBezTo>
                  <a:cubicBezTo>
                    <a:pt x="4163" y="317"/>
                    <a:pt x="4127" y="352"/>
                    <a:pt x="4127" y="404"/>
                  </a:cubicBezTo>
                  <a:cubicBezTo>
                    <a:pt x="4127" y="624"/>
                    <a:pt x="4127" y="624"/>
                    <a:pt x="4127" y="624"/>
                  </a:cubicBezTo>
                  <a:cubicBezTo>
                    <a:pt x="4046" y="624"/>
                    <a:pt x="4046" y="624"/>
                    <a:pt x="4046" y="624"/>
                  </a:cubicBezTo>
                  <a:lnTo>
                    <a:pt x="4046" y="257"/>
                  </a:lnTo>
                  <a:close/>
                  <a:moveTo>
                    <a:pt x="4851" y="577"/>
                  </a:moveTo>
                  <a:cubicBezTo>
                    <a:pt x="4831" y="606"/>
                    <a:pt x="4798" y="632"/>
                    <a:pt x="4737" y="632"/>
                  </a:cubicBezTo>
                  <a:cubicBezTo>
                    <a:pt x="4666" y="632"/>
                    <a:pt x="4613" y="596"/>
                    <a:pt x="4613" y="524"/>
                  </a:cubicBezTo>
                  <a:cubicBezTo>
                    <a:pt x="4613" y="441"/>
                    <a:pt x="4680" y="418"/>
                    <a:pt x="4764" y="406"/>
                  </a:cubicBezTo>
                  <a:cubicBezTo>
                    <a:pt x="4820" y="397"/>
                    <a:pt x="4851" y="392"/>
                    <a:pt x="4851" y="359"/>
                  </a:cubicBezTo>
                  <a:cubicBezTo>
                    <a:pt x="4851" y="328"/>
                    <a:pt x="4826" y="309"/>
                    <a:pt x="4781" y="309"/>
                  </a:cubicBezTo>
                  <a:cubicBezTo>
                    <a:pt x="4732" y="309"/>
                    <a:pt x="4708" y="328"/>
                    <a:pt x="4706" y="371"/>
                  </a:cubicBezTo>
                  <a:cubicBezTo>
                    <a:pt x="4630" y="371"/>
                    <a:pt x="4630" y="371"/>
                    <a:pt x="4630" y="371"/>
                  </a:cubicBezTo>
                  <a:cubicBezTo>
                    <a:pt x="4632" y="304"/>
                    <a:pt x="4678" y="249"/>
                    <a:pt x="4781" y="249"/>
                  </a:cubicBezTo>
                  <a:cubicBezTo>
                    <a:pt x="4880" y="249"/>
                    <a:pt x="4931" y="289"/>
                    <a:pt x="4931" y="376"/>
                  </a:cubicBezTo>
                  <a:cubicBezTo>
                    <a:pt x="4931" y="537"/>
                    <a:pt x="4931" y="537"/>
                    <a:pt x="4931" y="537"/>
                  </a:cubicBezTo>
                  <a:cubicBezTo>
                    <a:pt x="4931" y="563"/>
                    <a:pt x="4936" y="574"/>
                    <a:pt x="4962" y="569"/>
                  </a:cubicBezTo>
                  <a:cubicBezTo>
                    <a:pt x="4964" y="569"/>
                    <a:pt x="4964" y="569"/>
                    <a:pt x="4964" y="569"/>
                  </a:cubicBezTo>
                  <a:cubicBezTo>
                    <a:pt x="4964" y="622"/>
                    <a:pt x="4964" y="622"/>
                    <a:pt x="4964" y="622"/>
                  </a:cubicBezTo>
                  <a:cubicBezTo>
                    <a:pt x="4956" y="626"/>
                    <a:pt x="4946" y="629"/>
                    <a:pt x="4927" y="629"/>
                  </a:cubicBezTo>
                  <a:cubicBezTo>
                    <a:pt x="4882" y="629"/>
                    <a:pt x="4858" y="614"/>
                    <a:pt x="4852" y="577"/>
                  </a:cubicBezTo>
                  <a:lnTo>
                    <a:pt x="4851" y="577"/>
                  </a:lnTo>
                  <a:close/>
                  <a:moveTo>
                    <a:pt x="4852" y="492"/>
                  </a:moveTo>
                  <a:cubicBezTo>
                    <a:pt x="4852" y="434"/>
                    <a:pt x="4852" y="434"/>
                    <a:pt x="4852" y="434"/>
                  </a:cubicBezTo>
                  <a:cubicBezTo>
                    <a:pt x="4834" y="445"/>
                    <a:pt x="4806" y="452"/>
                    <a:pt x="4780" y="458"/>
                  </a:cubicBezTo>
                  <a:cubicBezTo>
                    <a:pt x="4727" y="469"/>
                    <a:pt x="4696" y="479"/>
                    <a:pt x="4696" y="522"/>
                  </a:cubicBezTo>
                  <a:cubicBezTo>
                    <a:pt x="4696" y="562"/>
                    <a:pt x="4723" y="574"/>
                    <a:pt x="4757" y="574"/>
                  </a:cubicBezTo>
                  <a:cubicBezTo>
                    <a:pt x="4821" y="574"/>
                    <a:pt x="4852" y="531"/>
                    <a:pt x="4852" y="492"/>
                  </a:cubicBezTo>
                  <a:close/>
                  <a:moveTo>
                    <a:pt x="5088" y="317"/>
                  </a:moveTo>
                  <a:cubicBezTo>
                    <a:pt x="5090" y="317"/>
                    <a:pt x="5090" y="317"/>
                    <a:pt x="5090" y="317"/>
                  </a:cubicBezTo>
                  <a:cubicBezTo>
                    <a:pt x="5112" y="278"/>
                    <a:pt x="5142" y="254"/>
                    <a:pt x="5188" y="254"/>
                  </a:cubicBezTo>
                  <a:cubicBezTo>
                    <a:pt x="5198" y="254"/>
                    <a:pt x="5205" y="254"/>
                    <a:pt x="5211" y="257"/>
                  </a:cubicBezTo>
                  <a:cubicBezTo>
                    <a:pt x="5211" y="330"/>
                    <a:pt x="5211" y="330"/>
                    <a:pt x="5211" y="330"/>
                  </a:cubicBezTo>
                  <a:cubicBezTo>
                    <a:pt x="5208" y="330"/>
                    <a:pt x="5208" y="330"/>
                    <a:pt x="5208" y="330"/>
                  </a:cubicBezTo>
                  <a:cubicBezTo>
                    <a:pt x="5203" y="329"/>
                    <a:pt x="5197" y="328"/>
                    <a:pt x="5189" y="328"/>
                  </a:cubicBezTo>
                  <a:cubicBezTo>
                    <a:pt x="5133" y="328"/>
                    <a:pt x="5090" y="366"/>
                    <a:pt x="5090" y="436"/>
                  </a:cubicBezTo>
                  <a:cubicBezTo>
                    <a:pt x="5090" y="624"/>
                    <a:pt x="5090" y="624"/>
                    <a:pt x="5090" y="624"/>
                  </a:cubicBezTo>
                  <a:cubicBezTo>
                    <a:pt x="5009" y="624"/>
                    <a:pt x="5009" y="624"/>
                    <a:pt x="5009" y="624"/>
                  </a:cubicBezTo>
                  <a:cubicBezTo>
                    <a:pt x="5009" y="257"/>
                    <a:pt x="5009" y="257"/>
                    <a:pt x="5009" y="257"/>
                  </a:cubicBezTo>
                  <a:cubicBezTo>
                    <a:pt x="5088" y="257"/>
                    <a:pt x="5088" y="257"/>
                    <a:pt x="5088" y="257"/>
                  </a:cubicBezTo>
                  <a:lnTo>
                    <a:pt x="5088" y="317"/>
                  </a:lnTo>
                  <a:close/>
                  <a:moveTo>
                    <a:pt x="5379" y="443"/>
                  </a:moveTo>
                  <a:cubicBezTo>
                    <a:pt x="5331" y="494"/>
                    <a:pt x="5331" y="494"/>
                    <a:pt x="5331" y="494"/>
                  </a:cubicBezTo>
                  <a:cubicBezTo>
                    <a:pt x="5331" y="624"/>
                    <a:pt x="5331" y="624"/>
                    <a:pt x="5331" y="624"/>
                  </a:cubicBezTo>
                  <a:cubicBezTo>
                    <a:pt x="5250" y="624"/>
                    <a:pt x="5250" y="624"/>
                    <a:pt x="5250" y="624"/>
                  </a:cubicBezTo>
                  <a:cubicBezTo>
                    <a:pt x="5250" y="114"/>
                    <a:pt x="5250" y="114"/>
                    <a:pt x="5250" y="114"/>
                  </a:cubicBezTo>
                  <a:cubicBezTo>
                    <a:pt x="5331" y="114"/>
                    <a:pt x="5331" y="114"/>
                    <a:pt x="5331" y="114"/>
                  </a:cubicBezTo>
                  <a:cubicBezTo>
                    <a:pt x="5331" y="404"/>
                    <a:pt x="5331" y="404"/>
                    <a:pt x="5331" y="404"/>
                  </a:cubicBezTo>
                  <a:cubicBezTo>
                    <a:pt x="5469" y="257"/>
                    <a:pt x="5469" y="257"/>
                    <a:pt x="5469" y="257"/>
                  </a:cubicBezTo>
                  <a:cubicBezTo>
                    <a:pt x="5565" y="257"/>
                    <a:pt x="5565" y="257"/>
                    <a:pt x="5565" y="257"/>
                  </a:cubicBezTo>
                  <a:cubicBezTo>
                    <a:pt x="5435" y="393"/>
                    <a:pt x="5435" y="393"/>
                    <a:pt x="5435" y="393"/>
                  </a:cubicBezTo>
                  <a:cubicBezTo>
                    <a:pt x="5575" y="624"/>
                    <a:pt x="5575" y="624"/>
                    <a:pt x="5575" y="624"/>
                  </a:cubicBezTo>
                  <a:cubicBezTo>
                    <a:pt x="5484" y="624"/>
                    <a:pt x="5484" y="624"/>
                    <a:pt x="5484" y="624"/>
                  </a:cubicBezTo>
                  <a:lnTo>
                    <a:pt x="5379" y="443"/>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Arial" panose="020B0604020202020204" pitchFamily="34" charset="0"/>
              </a:endParaRPr>
            </a:p>
          </p:txBody>
        </p:sp>
        <p:sp>
          <p:nvSpPr>
            <p:cNvPr id="65" name="Freeform 6"/>
            <p:cNvSpPr>
              <a:spLocks noEditPoints="1"/>
            </p:cNvSpPr>
            <p:nvPr/>
          </p:nvSpPr>
          <p:spPr bwMode="auto">
            <a:xfrm>
              <a:off x="5598" y="1933"/>
              <a:ext cx="163" cy="167"/>
            </a:xfrm>
            <a:custGeom>
              <a:avLst/>
              <a:gdLst>
                <a:gd name="T0" fmla="*/ 81 w 162"/>
                <a:gd name="T1" fmla="*/ 166 h 166"/>
                <a:gd name="T2" fmla="*/ 0 w 162"/>
                <a:gd name="T3" fmla="*/ 83 h 166"/>
                <a:gd name="T4" fmla="*/ 81 w 162"/>
                <a:gd name="T5" fmla="*/ 0 h 166"/>
                <a:gd name="T6" fmla="*/ 162 w 162"/>
                <a:gd name="T7" fmla="*/ 83 h 166"/>
                <a:gd name="T8" fmla="*/ 81 w 162"/>
                <a:gd name="T9" fmla="*/ 166 h 166"/>
                <a:gd name="T10" fmla="*/ 81 w 162"/>
                <a:gd name="T11" fmla="*/ 15 h 166"/>
                <a:gd name="T12" fmla="*/ 17 w 162"/>
                <a:gd name="T13" fmla="*/ 83 h 166"/>
                <a:gd name="T14" fmla="*/ 81 w 162"/>
                <a:gd name="T15" fmla="*/ 152 h 166"/>
                <a:gd name="T16" fmla="*/ 145 w 162"/>
                <a:gd name="T17" fmla="*/ 83 h 166"/>
                <a:gd name="T18" fmla="*/ 81 w 162"/>
                <a:gd name="T19" fmla="*/ 15 h 166"/>
                <a:gd name="T20" fmla="*/ 65 w 162"/>
                <a:gd name="T21" fmla="*/ 131 h 166"/>
                <a:gd name="T22" fmla="*/ 50 w 162"/>
                <a:gd name="T23" fmla="*/ 131 h 166"/>
                <a:gd name="T24" fmla="*/ 50 w 162"/>
                <a:gd name="T25" fmla="*/ 39 h 166"/>
                <a:gd name="T26" fmla="*/ 84 w 162"/>
                <a:gd name="T27" fmla="*/ 39 h 166"/>
                <a:gd name="T28" fmla="*/ 118 w 162"/>
                <a:gd name="T29" fmla="*/ 65 h 166"/>
                <a:gd name="T30" fmla="*/ 94 w 162"/>
                <a:gd name="T31" fmla="*/ 90 h 166"/>
                <a:gd name="T32" fmla="*/ 120 w 162"/>
                <a:gd name="T33" fmla="*/ 131 h 166"/>
                <a:gd name="T34" fmla="*/ 103 w 162"/>
                <a:gd name="T35" fmla="*/ 131 h 166"/>
                <a:gd name="T36" fmla="*/ 79 w 162"/>
                <a:gd name="T37" fmla="*/ 91 h 166"/>
                <a:gd name="T38" fmla="*/ 65 w 162"/>
                <a:gd name="T39" fmla="*/ 91 h 166"/>
                <a:gd name="T40" fmla="*/ 65 w 162"/>
                <a:gd name="T41" fmla="*/ 131 h 166"/>
                <a:gd name="T42" fmla="*/ 82 w 162"/>
                <a:gd name="T43" fmla="*/ 78 h 166"/>
                <a:gd name="T44" fmla="*/ 103 w 162"/>
                <a:gd name="T45" fmla="*/ 64 h 166"/>
                <a:gd name="T46" fmla="*/ 83 w 162"/>
                <a:gd name="T47" fmla="*/ 52 h 166"/>
                <a:gd name="T48" fmla="*/ 65 w 162"/>
                <a:gd name="T49" fmla="*/ 52 h 166"/>
                <a:gd name="T50" fmla="*/ 65 w 162"/>
                <a:gd name="T51" fmla="*/ 78 h 166"/>
                <a:gd name="T52" fmla="*/ 82 w 162"/>
                <a:gd name="T53" fmla="*/ 7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66">
                  <a:moveTo>
                    <a:pt x="81" y="166"/>
                  </a:moveTo>
                  <a:cubicBezTo>
                    <a:pt x="33" y="166"/>
                    <a:pt x="0" y="130"/>
                    <a:pt x="0" y="83"/>
                  </a:cubicBezTo>
                  <a:cubicBezTo>
                    <a:pt x="0" y="33"/>
                    <a:pt x="37" y="0"/>
                    <a:pt x="81" y="0"/>
                  </a:cubicBezTo>
                  <a:cubicBezTo>
                    <a:pt x="125" y="0"/>
                    <a:pt x="162" y="33"/>
                    <a:pt x="162" y="83"/>
                  </a:cubicBezTo>
                  <a:cubicBezTo>
                    <a:pt x="162" y="133"/>
                    <a:pt x="125" y="166"/>
                    <a:pt x="81" y="166"/>
                  </a:cubicBezTo>
                  <a:close/>
                  <a:moveTo>
                    <a:pt x="81" y="15"/>
                  </a:moveTo>
                  <a:cubicBezTo>
                    <a:pt x="45" y="15"/>
                    <a:pt x="17" y="43"/>
                    <a:pt x="17" y="83"/>
                  </a:cubicBezTo>
                  <a:cubicBezTo>
                    <a:pt x="17" y="121"/>
                    <a:pt x="42" y="152"/>
                    <a:pt x="81" y="152"/>
                  </a:cubicBezTo>
                  <a:cubicBezTo>
                    <a:pt x="117" y="152"/>
                    <a:pt x="145" y="124"/>
                    <a:pt x="145" y="83"/>
                  </a:cubicBezTo>
                  <a:cubicBezTo>
                    <a:pt x="145" y="43"/>
                    <a:pt x="117" y="15"/>
                    <a:pt x="81" y="15"/>
                  </a:cubicBezTo>
                  <a:close/>
                  <a:moveTo>
                    <a:pt x="65" y="131"/>
                  </a:moveTo>
                  <a:cubicBezTo>
                    <a:pt x="50" y="131"/>
                    <a:pt x="50" y="131"/>
                    <a:pt x="50" y="131"/>
                  </a:cubicBezTo>
                  <a:cubicBezTo>
                    <a:pt x="50" y="39"/>
                    <a:pt x="50" y="39"/>
                    <a:pt x="50" y="39"/>
                  </a:cubicBezTo>
                  <a:cubicBezTo>
                    <a:pt x="84" y="39"/>
                    <a:pt x="84" y="39"/>
                    <a:pt x="84" y="39"/>
                  </a:cubicBezTo>
                  <a:cubicBezTo>
                    <a:pt x="107" y="39"/>
                    <a:pt x="118" y="46"/>
                    <a:pt x="118" y="65"/>
                  </a:cubicBezTo>
                  <a:cubicBezTo>
                    <a:pt x="118" y="82"/>
                    <a:pt x="108" y="89"/>
                    <a:pt x="94" y="90"/>
                  </a:cubicBezTo>
                  <a:cubicBezTo>
                    <a:pt x="120" y="131"/>
                    <a:pt x="120" y="131"/>
                    <a:pt x="120" y="131"/>
                  </a:cubicBezTo>
                  <a:cubicBezTo>
                    <a:pt x="103" y="131"/>
                    <a:pt x="103" y="131"/>
                    <a:pt x="103" y="131"/>
                  </a:cubicBezTo>
                  <a:cubicBezTo>
                    <a:pt x="79" y="91"/>
                    <a:pt x="79" y="91"/>
                    <a:pt x="79" y="91"/>
                  </a:cubicBezTo>
                  <a:cubicBezTo>
                    <a:pt x="65" y="91"/>
                    <a:pt x="65" y="91"/>
                    <a:pt x="65" y="91"/>
                  </a:cubicBezTo>
                  <a:lnTo>
                    <a:pt x="65" y="131"/>
                  </a:lnTo>
                  <a:close/>
                  <a:moveTo>
                    <a:pt x="82" y="78"/>
                  </a:moveTo>
                  <a:cubicBezTo>
                    <a:pt x="93" y="78"/>
                    <a:pt x="103" y="77"/>
                    <a:pt x="103" y="64"/>
                  </a:cubicBezTo>
                  <a:cubicBezTo>
                    <a:pt x="103" y="53"/>
                    <a:pt x="92" y="52"/>
                    <a:pt x="83" y="52"/>
                  </a:cubicBezTo>
                  <a:cubicBezTo>
                    <a:pt x="65" y="52"/>
                    <a:pt x="65" y="52"/>
                    <a:pt x="65" y="52"/>
                  </a:cubicBezTo>
                  <a:cubicBezTo>
                    <a:pt x="65" y="78"/>
                    <a:pt x="65" y="78"/>
                    <a:pt x="65" y="78"/>
                  </a:cubicBezTo>
                  <a:lnTo>
                    <a:pt x="82" y="7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cs typeface="Arial" panose="020B0604020202020204" pitchFamily="34" charset="0"/>
              </a:endParaRPr>
            </a:p>
          </p:txBody>
        </p:sp>
      </p:grpSp>
      <p:sp>
        <p:nvSpPr>
          <p:cNvPr id="66" name="TextBox 65">
            <a:extLst>
              <a:ext uri="{FF2B5EF4-FFF2-40B4-BE49-F238E27FC236}">
                <a16:creationId xmlns:a16="http://schemas.microsoft.com/office/drawing/2014/main" id="{22B9F1AC-7982-48A5-A9F4-F49F09D2E693}"/>
              </a:ext>
            </a:extLst>
          </p:cNvPr>
          <p:cNvSpPr txBox="1"/>
          <p:nvPr/>
        </p:nvSpPr>
        <p:spPr>
          <a:xfrm>
            <a:off x="610000" y="6567167"/>
            <a:ext cx="5130832" cy="123111"/>
          </a:xfrm>
          <a:prstGeom prst="rect">
            <a:avLst/>
          </a:prstGeom>
          <a:noFill/>
        </p:spPr>
        <p:txBody>
          <a:bodyPr wrap="square" lIns="0" tIns="0" rIns="0" bIns="0" rtlCol="0" anchor="b">
            <a:spAutoFit/>
          </a:bodyPr>
          <a:lstStyle/>
          <a:p>
            <a:r>
              <a:rPr lang="en-US" sz="800" dirty="0">
                <a:solidFill>
                  <a:schemeClr val="bg1"/>
                </a:solidFill>
              </a:rPr>
              <a:t>©2023 CVS Health and/or one of its affiliates. Confidential and proprietary.	</a:t>
            </a:r>
          </a:p>
        </p:txBody>
      </p:sp>
      <p:sp>
        <p:nvSpPr>
          <p:cNvPr id="47" name="Text Placeholder 8">
            <a:extLst>
              <a:ext uri="{FF2B5EF4-FFF2-40B4-BE49-F238E27FC236}">
                <a16:creationId xmlns:a16="http://schemas.microsoft.com/office/drawing/2014/main" id="{E0A5766B-411A-44C6-828B-1BF603964E0B}"/>
              </a:ext>
            </a:extLst>
          </p:cNvPr>
          <p:cNvSpPr txBox="1">
            <a:spLocks/>
          </p:cNvSpPr>
          <p:nvPr/>
        </p:nvSpPr>
        <p:spPr>
          <a:xfrm>
            <a:off x="6571849" y="-1"/>
            <a:ext cx="6089904" cy="457200"/>
          </a:xfrm>
          <a:prstGeom prst="rect">
            <a:avLst/>
          </a:prstGeom>
        </p:spPr>
        <p:txBody>
          <a:bodyPr lIns="566928" tIns="0" rIns="0" bIns="0" anchor="b" anchorCtr="0"/>
          <a:lstStyle>
            <a:lvl1pPr marL="0" indent="0" algn="l" defTabSz="457200" rtl="0" eaLnBrk="1" latinLnBrk="0" hangingPunct="1">
              <a:spcBef>
                <a:spcPts val="1800"/>
              </a:spcBef>
              <a:buClr>
                <a:schemeClr val="tx1"/>
              </a:buClr>
              <a:buFont typeface="Arial"/>
              <a:buNone/>
              <a:defRPr sz="1400" b="0" kern="1200">
                <a:solidFill>
                  <a:schemeClr val="tx2"/>
                </a:solidFill>
                <a:latin typeface="+mn-lt"/>
                <a:ea typeface="+mn-ea"/>
                <a:cs typeface="+mn-cs"/>
              </a:defRPr>
            </a:lvl1pPr>
            <a:lvl2pPr marL="171450" indent="-171450" algn="l" defTabSz="457200" rtl="0" eaLnBrk="1" latinLnBrk="0" hangingPunct="1">
              <a:spcBef>
                <a:spcPts val="1200"/>
              </a:spcBef>
              <a:buClr>
                <a:schemeClr val="tx1"/>
              </a:buClr>
              <a:buFont typeface="Arial"/>
              <a:buChar char="•"/>
              <a:defRPr sz="1400" kern="1200">
                <a:solidFill>
                  <a:schemeClr val="tx2"/>
                </a:solidFill>
                <a:latin typeface="+mn-lt"/>
                <a:ea typeface="+mn-ea"/>
                <a:cs typeface="+mn-cs"/>
              </a:defRPr>
            </a:lvl2pPr>
            <a:lvl3pPr marL="342900" indent="-171450" algn="l" defTabSz="457200" rtl="0" eaLnBrk="1" latinLnBrk="0" hangingPunct="1">
              <a:spcBef>
                <a:spcPts val="600"/>
              </a:spcBef>
              <a:buClr>
                <a:schemeClr val="tx1"/>
              </a:buClr>
              <a:buFont typeface="Lucida Grande"/>
              <a:buChar char="–"/>
              <a:defRPr sz="1400" kern="1200">
                <a:solidFill>
                  <a:schemeClr val="tx2"/>
                </a:solidFill>
                <a:latin typeface="+mn-lt"/>
                <a:ea typeface="+mn-ea"/>
                <a:cs typeface="+mn-cs"/>
              </a:defRPr>
            </a:lvl3pPr>
            <a:lvl4pPr marL="514350" indent="-171450" algn="l" defTabSz="457200" rtl="0" eaLnBrk="1" latinLnBrk="0" hangingPunct="1">
              <a:spcBef>
                <a:spcPts val="600"/>
              </a:spcBef>
              <a:buClr>
                <a:schemeClr val="tx1"/>
              </a:buClr>
              <a:buFont typeface="Arial"/>
              <a:buChar char="•"/>
              <a:defRPr sz="1400" kern="1200">
                <a:solidFill>
                  <a:schemeClr val="tx2"/>
                </a:solidFill>
                <a:latin typeface="+mn-lt"/>
                <a:ea typeface="+mn-ea"/>
                <a:cs typeface="+mn-cs"/>
              </a:defRPr>
            </a:lvl4pPr>
            <a:lvl5pPr marL="685800" indent="-171450" algn="l" defTabSz="457200" rtl="0" eaLnBrk="1" latinLnBrk="0" hangingPunct="1">
              <a:spcBef>
                <a:spcPts val="600"/>
              </a:spcBef>
              <a:buClr>
                <a:schemeClr val="tx1"/>
              </a:buClr>
              <a:buFont typeface="Arial" panose="020B0604020202020204" pitchFamily="34" charset="0"/>
              <a:buChar char="–"/>
              <a:defRPr sz="1400" kern="1200" baseline="0">
                <a:solidFill>
                  <a:schemeClr val="tx2"/>
                </a:solidFill>
                <a:latin typeface="+mn-lt"/>
                <a:ea typeface="+mn-ea"/>
                <a:cs typeface="+mn-cs"/>
              </a:defRPr>
            </a:lvl5pPr>
            <a:lvl6pPr marL="857250" indent="-17145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6pPr>
            <a:lvl7pPr marL="10287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7pPr>
            <a:lvl8pPr marL="1206500" indent="-177800" algn="l" defTabSz="457200" rtl="0" eaLnBrk="1" latinLnBrk="0" hangingPunct="1">
              <a:spcBef>
                <a:spcPts val="600"/>
              </a:spcBef>
              <a:buFont typeface="Arial"/>
              <a:buChar char="•"/>
              <a:defRPr sz="1400" kern="1200">
                <a:solidFill>
                  <a:schemeClr val="tx2"/>
                </a:solidFill>
                <a:latin typeface="+mn-lt"/>
                <a:ea typeface="+mn-ea"/>
                <a:cs typeface="+mn-cs"/>
              </a:defRPr>
            </a:lvl8pPr>
            <a:lvl9pPr marL="1371600" indent="-165100" algn="l" defTabSz="457200" rtl="0" eaLnBrk="1" latinLnBrk="0" hangingPunct="1">
              <a:spcBef>
                <a:spcPts val="600"/>
              </a:spcBef>
              <a:buFont typeface="Arial" panose="020B0604020202020204" pitchFamily="34" charset="0"/>
              <a:buChar char="–"/>
              <a:defRPr sz="1400" kern="1200">
                <a:solidFill>
                  <a:schemeClr val="tx2"/>
                </a:solidFill>
                <a:latin typeface="+mn-lt"/>
                <a:ea typeface="+mn-ea"/>
                <a:cs typeface="+mn-cs"/>
              </a:defRPr>
            </a:lvl9pPr>
          </a:lstStyle>
          <a:p>
            <a:r>
              <a:rPr lang="en-US" sz="1200" b="1" cap="all" dirty="0">
                <a:solidFill>
                  <a:schemeClr val="accent1">
                    <a:lumMod val="50000"/>
                  </a:schemeClr>
                </a:solidFill>
              </a:rPr>
              <a:t>2025 Prescription Benefits</a:t>
            </a:r>
          </a:p>
        </p:txBody>
      </p:sp>
      <p:sp>
        <p:nvSpPr>
          <p:cNvPr id="10" name="TextBox 9">
            <a:extLst>
              <a:ext uri="{FF2B5EF4-FFF2-40B4-BE49-F238E27FC236}">
                <a16:creationId xmlns:a16="http://schemas.microsoft.com/office/drawing/2014/main" id="{323499CF-FC93-4DD2-D293-45BE4594E90D}"/>
              </a:ext>
            </a:extLst>
          </p:cNvPr>
          <p:cNvSpPr txBox="1"/>
          <p:nvPr/>
        </p:nvSpPr>
        <p:spPr>
          <a:xfrm>
            <a:off x="20821" y="6852756"/>
            <a:ext cx="11270956"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Image source: CVS Health Creative Resource Library, accessed 2020, 20191113_07_pharmacy_shot_B_02622 </a:t>
            </a:r>
            <a:endParaRPr lang="en-US" altLang="en-US" sz="1100" b="1" dirty="0"/>
          </a:p>
        </p:txBody>
      </p:sp>
      <p:pic>
        <p:nvPicPr>
          <p:cNvPr id="3" name="9">
            <a:hlinkClick r:id="" action="ppaction://media"/>
            <a:extLst>
              <a:ext uri="{FF2B5EF4-FFF2-40B4-BE49-F238E27FC236}">
                <a16:creationId xmlns:a16="http://schemas.microsoft.com/office/drawing/2014/main" id="{E5E58619-15B1-5DB0-FDCD-B6D016177B9C}"/>
              </a:ext>
            </a:extLst>
          </p:cNvPr>
          <p:cNvPicPr>
            <a:picLocks noChangeAspect="1"/>
          </p:cNvPicPr>
          <p:nvPr>
            <a:audioFile r:link="rId2"/>
            <p:extLst>
              <p:ext uri="{DAA4B4D4-6D71-4841-9C94-3DE7FCFB9230}">
                <p14:media xmlns:p14="http://schemas.microsoft.com/office/powerpoint/2010/main" r:embed="rId1"/>
              </p:ext>
            </p:extLst>
          </p:nvPr>
        </p:nvPicPr>
        <p:blipFill>
          <a:blip r:embed="rId7">
            <a:alphaModFix amt="0"/>
          </a:blip>
          <a:stretch>
            <a:fillRect/>
          </a:stretch>
        </p:blipFill>
        <p:spPr>
          <a:xfrm>
            <a:off x="11482829" y="5814533"/>
            <a:ext cx="609600" cy="609600"/>
          </a:xfrm>
          <a:prstGeom prst="rect">
            <a:avLst/>
          </a:prstGeom>
        </p:spPr>
      </p:pic>
    </p:spTree>
    <p:extLst>
      <p:ext uri="{BB962C8B-B14F-4D97-AF65-F5344CB8AC3E}">
        <p14:creationId xmlns:p14="http://schemas.microsoft.com/office/powerpoint/2010/main" val="2308901982"/>
      </p:ext>
    </p:extLst>
  </p:cSld>
  <p:clrMapOvr>
    <a:masterClrMapping/>
  </p:clrMapOvr>
  <mc:AlternateContent xmlns:mc="http://schemas.openxmlformats.org/markup-compatibility/2006" xmlns:p14="http://schemas.microsoft.com/office/powerpoint/2010/main">
    <mc:Choice Requires="p14">
      <p:transition spd="slow" p14:dur="2000" advTm="25749"/>
    </mc:Choice>
    <mc:Fallback xmlns="">
      <p:transition spd="slow" advTm="257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74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97556" y="2524086"/>
            <a:ext cx="4681728" cy="2011680"/>
          </a:xfrm>
        </p:spPr>
        <p:txBody>
          <a:bodyPr>
            <a:normAutofit/>
          </a:bodyPr>
          <a:lstStyle/>
          <a:p>
            <a:pPr algn="ctr"/>
            <a:r>
              <a:rPr lang="en-US" sz="3200" b="1" dirty="0">
                <a:solidFill>
                  <a:srgbClr val="0A4B8C"/>
                </a:solidFill>
                <a:latin typeface="CVS Health Sans" panose="020B0504020202020204" pitchFamily="34" charset="0"/>
              </a:rPr>
              <a:t>CVS Specialty </a:t>
            </a:r>
            <a:br>
              <a:rPr lang="en-US" sz="3200" b="1" dirty="0">
                <a:solidFill>
                  <a:srgbClr val="0A4B8C"/>
                </a:solidFill>
                <a:latin typeface="CVS Health Sans" panose="020B0504020202020204" pitchFamily="34" charset="0"/>
              </a:rPr>
            </a:br>
            <a:r>
              <a:rPr lang="en-US" sz="3200" b="1" dirty="0">
                <a:solidFill>
                  <a:srgbClr val="0A4B8C"/>
                </a:solidFill>
                <a:latin typeface="CVS Health Sans" panose="020B0504020202020204" pitchFamily="34" charset="0"/>
              </a:rPr>
              <a:t>and </a:t>
            </a:r>
            <a:br>
              <a:rPr lang="en-US" sz="3200" b="1" dirty="0">
                <a:solidFill>
                  <a:srgbClr val="0A4B8C"/>
                </a:solidFill>
                <a:latin typeface="CVS Health Sans" panose="020B0504020202020204" pitchFamily="34" charset="0"/>
              </a:rPr>
            </a:br>
            <a:r>
              <a:rPr lang="en-US" sz="3200" b="1" dirty="0" err="1">
                <a:solidFill>
                  <a:srgbClr val="0A4B8C"/>
                </a:solidFill>
                <a:latin typeface="CVS Health Sans" panose="020B0504020202020204" pitchFamily="34" charset="0"/>
              </a:rPr>
              <a:t>PrudentRx</a:t>
            </a:r>
            <a:br>
              <a:rPr lang="en-US" dirty="0">
                <a:solidFill>
                  <a:schemeClr val="accent1"/>
                </a:solidFill>
              </a:rPr>
            </a:br>
            <a:r>
              <a:rPr lang="en-US" dirty="0">
                <a:solidFill>
                  <a:schemeClr val="accent1"/>
                </a:solidFill>
              </a:rPr>
              <a:t> </a:t>
            </a:r>
          </a:p>
        </p:txBody>
      </p:sp>
      <p:pic>
        <p:nvPicPr>
          <p:cNvPr id="20" name="Picture Placeholder 6" descr="Two businesspeople shaking hands during a meeting in the boardroom&#10;&#10;—&#10;&#10;Image source: CVS Health Creative Resource Library, accessed 2021, G-949464280. Asset ID: 421754. No restrictions">
            <a:extLst>
              <a:ext uri="{FF2B5EF4-FFF2-40B4-BE49-F238E27FC236}">
                <a16:creationId xmlns:a16="http://schemas.microsoft.com/office/drawing/2014/main" id="{B26F8C8C-768F-7D45-949D-CA174921862B}"/>
              </a:ext>
            </a:extLst>
          </p:cNvPr>
          <p:cNvPicPr>
            <a:picLocks noGrp="1" noChangeAspect="1"/>
          </p:cNvPicPr>
          <p:nvPr>
            <p:ph type="pic" sz="quarter" idx="4294967295"/>
          </p:nvPr>
        </p:nvPicPr>
        <p:blipFill rotWithShape="1">
          <a:blip r:embed="rId8"/>
          <a:srcRect l="48976" t="5303" r="-1" b="21147"/>
          <a:stretch/>
        </p:blipFill>
        <p:spPr>
          <a:xfrm>
            <a:off x="5061269" y="1589"/>
            <a:ext cx="7129145" cy="6854825"/>
          </a:xfrm>
        </p:spPr>
      </p:pic>
      <p:graphicFrame>
        <p:nvGraphicFramePr>
          <p:cNvPr id="7" name="Object 6" hidden="1"/>
          <p:cNvGraphicFramePr>
            <a:graphicFrameLocks noChangeAspect="1"/>
          </p:cNvGraphicFramePr>
          <p:nvPr>
            <p:custDataLst>
              <p:tags r:id="rId2"/>
            </p:custDataLst>
          </p:nvPr>
        </p:nvGraphicFramePr>
        <p:xfrm>
          <a:off x="1526778" y="2480"/>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1526778" y="2480"/>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1525191" y="894"/>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399" b="1" dirty="0">
              <a:latin typeface="Arial"/>
              <a:ea typeface="+mj-ea"/>
              <a:cs typeface="+mj-cs"/>
              <a:sym typeface="Arial"/>
            </a:endParaRPr>
          </a:p>
        </p:txBody>
      </p:sp>
      <p:sp>
        <p:nvSpPr>
          <p:cNvPr id="31" name="Text Placeholder 8">
            <a:extLst>
              <a:ext uri="{FF2B5EF4-FFF2-40B4-BE49-F238E27FC236}">
                <a16:creationId xmlns:a16="http://schemas.microsoft.com/office/drawing/2014/main" id="{C48BAF56-76EC-4B47-961C-F186E1EF2776}"/>
              </a:ext>
            </a:extLst>
          </p:cNvPr>
          <p:cNvSpPr txBox="1">
            <a:spLocks/>
          </p:cNvSpPr>
          <p:nvPr/>
        </p:nvSpPr>
        <p:spPr>
          <a:xfrm>
            <a:off x="460138" y="6949392"/>
            <a:ext cx="8225314" cy="456962"/>
          </a:xfrm>
          <a:prstGeom prst="rect">
            <a:avLst/>
          </a:prstGeom>
        </p:spPr>
        <p:txBody>
          <a:bodyPr lIns="0" tIns="0" rIns="0" bIns="0" anchor="t" anchorCtr="0">
            <a:noAutofit/>
          </a:bodyPr>
          <a:lstStyle>
            <a:defPPr>
              <a:defRPr lang="en-US"/>
            </a:defPPr>
            <a:lvl1pPr indent="0" defTabSz="457200">
              <a:lnSpc>
                <a:spcPct val="90000"/>
              </a:lnSpc>
              <a:spcBef>
                <a:spcPts val="0"/>
              </a:spcBef>
              <a:spcAft>
                <a:spcPts val="0"/>
              </a:spcAft>
              <a:buClrTx/>
              <a:buFont typeface="Arial"/>
              <a:buNone/>
              <a:defRPr sz="1000" b="0">
                <a:solidFill>
                  <a:schemeClr val="tx2"/>
                </a:solidFill>
              </a:defRPr>
            </a:lvl1pPr>
            <a:lvl2pPr marL="230188" lvl="1" indent="-107950" defTabSz="457200">
              <a:lnSpc>
                <a:spcPct val="90000"/>
              </a:lnSpc>
              <a:spcBef>
                <a:spcPts val="0"/>
              </a:spcBef>
              <a:buClrTx/>
              <a:buFont typeface="Arial"/>
              <a:buChar char="•"/>
              <a:defRPr sz="1000">
                <a:solidFill>
                  <a:schemeClr val="tx2"/>
                </a:solidFill>
              </a:defRPr>
            </a:lvl2pPr>
            <a:lvl3pPr marL="342900" indent="-171450" defTabSz="457200">
              <a:spcBef>
                <a:spcPts val="600"/>
              </a:spcBef>
              <a:buClrTx/>
              <a:buFont typeface="Lucida Grande"/>
              <a:buChar char="–"/>
              <a:defRPr sz="1400" baseline="0">
                <a:solidFill>
                  <a:schemeClr val="tx2"/>
                </a:solidFill>
              </a:defRPr>
            </a:lvl3pPr>
            <a:lvl4pPr marL="514350" indent="-171450" defTabSz="457200">
              <a:spcBef>
                <a:spcPts val="600"/>
              </a:spcBef>
              <a:buClrTx/>
              <a:buFont typeface="Arial"/>
              <a:buChar char="•"/>
              <a:defRPr sz="1400">
                <a:solidFill>
                  <a:schemeClr val="tx2"/>
                </a:solidFill>
              </a:defRPr>
            </a:lvl4pPr>
            <a:lvl5pPr marL="685800" indent="-171450" defTabSz="457200">
              <a:spcBef>
                <a:spcPts val="600"/>
              </a:spcBef>
              <a:buClrTx/>
              <a:buFont typeface="Arial" panose="020B0604020202020204" pitchFamily="34" charset="0"/>
              <a:buChar char="–"/>
              <a:defRPr sz="1400" baseline="0">
                <a:solidFill>
                  <a:schemeClr val="tx2"/>
                </a:solidFill>
              </a:defRPr>
            </a:lvl5pPr>
            <a:lvl6pPr marL="857250" indent="-171450" defTabSz="457200">
              <a:spcBef>
                <a:spcPts val="600"/>
              </a:spcBef>
              <a:buClrTx/>
              <a:buFont typeface="Arial" panose="020B0604020202020204" pitchFamily="34" charset="0"/>
              <a:buChar char="•"/>
              <a:defRPr sz="1400">
                <a:solidFill>
                  <a:schemeClr val="tx2"/>
                </a:solidFill>
              </a:defRPr>
            </a:lvl6pPr>
            <a:lvl7pPr marL="1028700" indent="-165100" defTabSz="457200">
              <a:spcBef>
                <a:spcPts val="600"/>
              </a:spcBef>
              <a:buClrTx/>
              <a:buFont typeface="Arial" panose="020B0604020202020204" pitchFamily="34" charset="0"/>
              <a:buChar char="–"/>
              <a:defRPr sz="1400">
                <a:solidFill>
                  <a:schemeClr val="tx2"/>
                </a:solidFill>
              </a:defRPr>
            </a:lvl7pPr>
            <a:lvl8pPr marL="1206500" indent="-177800" defTabSz="457200">
              <a:spcBef>
                <a:spcPts val="600"/>
              </a:spcBef>
              <a:buClrTx/>
              <a:buFont typeface="Arial"/>
              <a:buChar char="•"/>
              <a:defRPr sz="1400">
                <a:solidFill>
                  <a:schemeClr val="tx2"/>
                </a:solidFill>
              </a:defRPr>
            </a:lvl8pPr>
            <a:lvl9pPr marL="1371600" indent="-165100" defTabSz="457200">
              <a:spcBef>
                <a:spcPts val="600"/>
              </a:spcBef>
              <a:buClrTx/>
              <a:buFont typeface="Arial" panose="020B0604020202020204" pitchFamily="34" charset="0"/>
              <a:buChar char="–"/>
              <a:defRPr sz="1400">
                <a:solidFill>
                  <a:schemeClr val="tx2"/>
                </a:solidFill>
              </a:defRPr>
            </a:lvl9pPr>
          </a:lstStyle>
          <a:p>
            <a:pPr lvl="0">
              <a:lnSpc>
                <a:spcPct val="100000"/>
              </a:lnSpc>
              <a:defRPr/>
            </a:pPr>
            <a:r>
              <a:rPr lang="en-US" dirty="0"/>
              <a:t>Image source: CVS Health Creative Resource Library, accessed 2021, G-949464280. Asset ID: </a:t>
            </a:r>
            <a:r>
              <a:rPr lang="en-US" dirty="0">
                <a:cs typeface="Arial" panose="020B0604020202020204" pitchFamily="34" charset="0"/>
              </a:rPr>
              <a:t>421754. No restrictions</a:t>
            </a:r>
            <a:endParaRPr lang="en-US" dirty="0"/>
          </a:p>
        </p:txBody>
      </p:sp>
      <p:pic>
        <p:nvPicPr>
          <p:cNvPr id="9" name="Audio 8">
            <a:hlinkClick r:id="" action="ppaction://media"/>
            <a:extLst>
              <a:ext uri="{FF2B5EF4-FFF2-40B4-BE49-F238E27FC236}">
                <a16:creationId xmlns:a16="http://schemas.microsoft.com/office/drawing/2014/main" id="{7C777CCB-46A7-4972-7326-24FAA5A0378A}"/>
              </a:ext>
            </a:extLst>
          </p:cNvPr>
          <p:cNvPicPr>
            <a:picLocks noChangeAspect="1"/>
          </p:cNvPicPr>
          <p:nvPr>
            <a:audioFile r:link="rId5"/>
            <p:extLst>
              <p:ext uri="{DAA4B4D4-6D71-4841-9C94-3DE7FCFB9230}">
                <p14:media xmlns:p14="http://schemas.microsoft.com/office/powerpoint/2010/main" r:embed="rId4"/>
              </p:ext>
            </p:extLst>
          </p:nvPr>
        </p:nvPicPr>
        <p:blipFill>
          <a:blip r:embed="rId11">
            <a:alphaModFix amt="0"/>
          </a:blip>
          <a:srcRect l="-118750" t="-118750" r="-118750" b="-118750"/>
          <a:stretch>
            <a:fillRect/>
          </a:stretch>
        </p:blipFill>
        <p:spPr>
          <a:xfrm>
            <a:off x="10703162" y="5348954"/>
            <a:ext cx="2057400" cy="2057400"/>
          </a:xfrm>
          <a:prstGeom prst="ellipse">
            <a:avLst/>
          </a:prstGeom>
        </p:spPr>
      </p:pic>
    </p:spTree>
    <p:custDataLst>
      <p:tags r:id="rId1"/>
    </p:custDataLst>
    <p:extLst>
      <p:ext uri="{BB962C8B-B14F-4D97-AF65-F5344CB8AC3E}">
        <p14:creationId xmlns:p14="http://schemas.microsoft.com/office/powerpoint/2010/main" val="3824817091"/>
      </p:ext>
    </p:extLst>
  </p:cSld>
  <p:clrMapOvr>
    <a:masterClrMapping/>
  </p:clrMapOvr>
  <mc:AlternateContent xmlns:mc="http://schemas.openxmlformats.org/markup-compatibility/2006" xmlns:p14="http://schemas.microsoft.com/office/powerpoint/2010/main">
    <mc:Choice Requires="p14">
      <p:transition spd="med" p14:dur="700" advTm="1315">
        <p:fade/>
      </p:transition>
    </mc:Choice>
    <mc:Fallback xmlns="">
      <p:transition spd="med" advTm="131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e.Wz4p1TNmHrQfSYyZ7CA"/>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vhQFI8RTRKik7NHbhboS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SONM">
      <a:dk1>
        <a:srgbClr val="000000"/>
      </a:dk1>
      <a:lt1>
        <a:srgbClr val="FFFFFF"/>
      </a:lt1>
      <a:dk2>
        <a:srgbClr val="057D8E"/>
      </a:dk2>
      <a:lt2>
        <a:srgbClr val="E7E6E6"/>
      </a:lt2>
      <a:accent1>
        <a:srgbClr val="E9C73C"/>
      </a:accent1>
      <a:accent2>
        <a:srgbClr val="D8892A"/>
      </a:accent2>
      <a:accent3>
        <a:srgbClr val="A3CF47"/>
      </a:accent3>
      <a:accent4>
        <a:srgbClr val="0CA3C3"/>
      </a:accent4>
      <a:accent5>
        <a:srgbClr val="FFFFFF"/>
      </a:accent5>
      <a:accent6>
        <a:srgbClr val="FFFFFF"/>
      </a:accent6>
      <a:hlink>
        <a:srgbClr val="0563C1"/>
      </a:hlink>
      <a:folHlink>
        <a:srgbClr val="954F7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VS_Caremark_PPT_Executive_Template">
  <a:themeElements>
    <a:clrScheme name="Custom 12">
      <a:dk1>
        <a:srgbClr val="000000"/>
      </a:dk1>
      <a:lt1>
        <a:srgbClr val="FFFFFF"/>
      </a:lt1>
      <a:dk2>
        <a:srgbClr val="3F3F3F"/>
      </a:dk2>
      <a:lt2>
        <a:srgbClr val="C0C0C0"/>
      </a:lt2>
      <a:accent1>
        <a:srgbClr val="0A4B8C"/>
      </a:accent1>
      <a:accent2>
        <a:srgbClr val="0073E3"/>
      </a:accent2>
      <a:accent3>
        <a:srgbClr val="6AB2E6"/>
      </a:accent3>
      <a:accent4>
        <a:srgbClr val="A7D2F4"/>
      </a:accent4>
      <a:accent5>
        <a:srgbClr val="646464"/>
      </a:accent5>
      <a:accent6>
        <a:srgbClr val="868686"/>
      </a:accent6>
      <a:hlink>
        <a:srgbClr val="3F3F3F"/>
      </a:hlink>
      <a:folHlink>
        <a:srgbClr val="A5A5A5"/>
      </a:folHlink>
    </a:clrScheme>
    <a:fontScheme name="Custom 3">
      <a:majorFont>
        <a:latin typeface="CVS Health Sans Medium"/>
        <a:ea typeface=""/>
        <a:cs typeface=""/>
      </a:majorFont>
      <a:minorFont>
        <a:latin typeface="CVS Health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5"/>
        </a:solidFill>
        <a:ln>
          <a:noFill/>
          <a:miter lim="800000"/>
        </a:ln>
        <a:effectLst/>
      </a:spPr>
      <a:bodyPr rtlCol="0" anchor="ctr"/>
      <a:lstStyle>
        <a:defPPr algn="ctr">
          <a:defRPr sz="1500" b="1"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CVS Health Red">
      <a:srgbClr val="CC0000"/>
    </a:custClr>
    <a:custClr name="PPT Red Dark">
      <a:srgbClr val="9E0000"/>
    </a:custClr>
    <a:custClr name="Gray Extralight">
      <a:srgbClr val="E9E9E9"/>
    </a:custClr>
    <a:custClr name="PPT Gray Light">
      <a:srgbClr val="C0C0C0"/>
    </a:custClr>
    <a:custClr name="PPT Gray Medium">
      <a:srgbClr val="868686"/>
    </a:custClr>
    <a:custClr name="PPT Gray Dark">
      <a:srgbClr val="646464"/>
    </a:custClr>
    <a:custClr name="Aetna Violet">
      <a:srgbClr val="7D3F98"/>
    </a:custClr>
    <a:custClr name="PPT Violet Dark">
      <a:srgbClr val="563D82"/>
    </a:custClr>
    <a:custClr name="Navy Light">
      <a:srgbClr val="0A4B8C"/>
    </a:custClr>
    <a:custClr name="Navy">
      <a:srgbClr val="0B315E"/>
    </a:custClr>
    <a:custClr name="Navy Light">
      <a:srgbClr val="0A4B8C"/>
    </a:custClr>
    <a:custClr name="PPT Blue Dark">
      <a:srgbClr val="267AC0"/>
    </a:custClr>
    <a:custClr name="PPT Teal Extradark">
      <a:srgbClr val="00787E"/>
    </a:custClr>
    <a:custClr name="Teal Dark">
      <a:srgbClr val="00A78E"/>
    </a:custClr>
    <a:custClr name="PPT Gray Dark">
      <a:srgbClr val="646464"/>
    </a:custClr>
    <a:custClr name="PPT Gray Medium">
      <a:srgbClr val="868686"/>
    </a:custClr>
    <a:custClr name="PPT Green Extradark">
      <a:srgbClr val="487A10"/>
    </a:custClr>
    <a:custClr name="Green Dark">
      <a:srgbClr val="61A515"/>
    </a:custClr>
    <a:custClr name="PPT Orange Extradark">
      <a:srgbClr val="CE430C"/>
    </a:custClr>
    <a:custClr name="Orange Dark">
      <a:srgbClr val="F4642A"/>
    </a:custClr>
  </a:custClrLst>
  <a:extLst>
    <a:ext uri="{05A4C25C-085E-4340-85A3-A5531E510DB2}">
      <thm15:themeFamily xmlns:thm15="http://schemas.microsoft.com/office/thememl/2012/main" name="pbm_cvscaremark_template_1123.potx" id="{E19EDADF-761D-43B5-89EC-476EC9AD4C17}" vid="{707D8319-D0A2-4E04-ACFD-A8D22557BE9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62</TotalTime>
  <Words>2599</Words>
  <Application>Microsoft Office PowerPoint</Application>
  <PresentationFormat>Widescreen</PresentationFormat>
  <Paragraphs>161</Paragraphs>
  <Slides>13</Slides>
  <Notes>13</Notes>
  <HiddenSlides>0</HiddenSlides>
  <MMClips>12</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Calibri Light</vt:lpstr>
      <vt:lpstr>CVS Health Sans</vt:lpstr>
      <vt:lpstr>CVS Health Sans Black</vt:lpstr>
      <vt:lpstr>CVS Health Sans Medium</vt:lpstr>
      <vt:lpstr>CVSHealthSans-Regular</vt:lpstr>
      <vt:lpstr>Times New Roman</vt:lpstr>
      <vt:lpstr>Wingdings</vt:lpstr>
      <vt:lpstr>Office Theme</vt:lpstr>
      <vt:lpstr>1_Office Theme</vt:lpstr>
      <vt:lpstr>CVS_Caremark_PPT_Executive_Template</vt:lpstr>
      <vt:lpstr>think-cell Slide</vt:lpstr>
      <vt:lpstr>2025 Benefits Information:  Prescription Benefits</vt:lpstr>
      <vt:lpstr>The CVS Caremark focus</vt:lpstr>
      <vt:lpstr>Everything you need to manage your medications anytime, anywhere</vt:lpstr>
      <vt:lpstr>PowerPoint Presentation</vt:lpstr>
      <vt:lpstr>PowerPoint Presentation</vt:lpstr>
      <vt:lpstr>Formulary Also know as a  Preferred Drug List (PDL)</vt:lpstr>
      <vt:lpstr>PowerPoint Presentation</vt:lpstr>
      <vt:lpstr>Incentivized Mail Order</vt:lpstr>
      <vt:lpstr>CVS Specialty  and  PrudentRx  </vt:lpstr>
      <vt:lpstr>Pay $0 for specialty medications with PrudentRx</vt:lpstr>
      <vt:lpstr>Thank you</vt:lpstr>
      <vt:lpstr>CVS Health policy stat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d Client Name]  Your 2023-2024 Prescription Benefits</dc:title>
  <dc:creator>Goodrich, Elizabeth</dc:creator>
  <cp:lastModifiedBy>Ziegler, Judson M</cp:lastModifiedBy>
  <cp:revision>7</cp:revision>
  <dcterms:created xsi:type="dcterms:W3CDTF">2023-08-01T19:14:33Z</dcterms:created>
  <dcterms:modified xsi:type="dcterms:W3CDTF">2024-09-13T17:4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7599526-06ca-49cc-9fa9-5307800a949a_Enabled">
    <vt:lpwstr>true</vt:lpwstr>
  </property>
  <property fmtid="{D5CDD505-2E9C-101B-9397-08002B2CF9AE}" pid="3" name="MSIP_Label_67599526-06ca-49cc-9fa9-5307800a949a_SetDate">
    <vt:lpwstr>2023-08-01T19:14:33Z</vt:lpwstr>
  </property>
  <property fmtid="{D5CDD505-2E9C-101B-9397-08002B2CF9AE}" pid="4" name="MSIP_Label_67599526-06ca-49cc-9fa9-5307800a949a_Method">
    <vt:lpwstr>Standard</vt:lpwstr>
  </property>
  <property fmtid="{D5CDD505-2E9C-101B-9397-08002B2CF9AE}" pid="5" name="MSIP_Label_67599526-06ca-49cc-9fa9-5307800a949a_Name">
    <vt:lpwstr>67599526-06ca-49cc-9fa9-5307800a949a</vt:lpwstr>
  </property>
  <property fmtid="{D5CDD505-2E9C-101B-9397-08002B2CF9AE}" pid="6" name="MSIP_Label_67599526-06ca-49cc-9fa9-5307800a949a_SiteId">
    <vt:lpwstr>fabb61b8-3afe-4e75-b934-a47f782b8cd7</vt:lpwstr>
  </property>
  <property fmtid="{D5CDD505-2E9C-101B-9397-08002B2CF9AE}" pid="7" name="MSIP_Label_67599526-06ca-49cc-9fa9-5307800a949a_ActionId">
    <vt:lpwstr>824c628f-a387-4793-922d-da5373e5f68b</vt:lpwstr>
  </property>
  <property fmtid="{D5CDD505-2E9C-101B-9397-08002B2CF9AE}" pid="8" name="MSIP_Label_67599526-06ca-49cc-9fa9-5307800a949a_ContentBits">
    <vt:lpwstr>0</vt:lpwstr>
  </property>
</Properties>
</file>